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60" r:id="rId1"/>
    <p:sldMasterId id="2147483665" r:id="rId2"/>
  </p:sldMasterIdLst>
  <p:notesMasterIdLst>
    <p:notesMasterId r:id="rId19"/>
  </p:notesMasterIdLst>
  <p:sldIdLst>
    <p:sldId id="265" r:id="rId3"/>
    <p:sldId id="10313" r:id="rId4"/>
    <p:sldId id="10312" r:id="rId5"/>
    <p:sldId id="10362" r:id="rId6"/>
    <p:sldId id="10363" r:id="rId7"/>
    <p:sldId id="10376" r:id="rId8"/>
    <p:sldId id="10400" r:id="rId9"/>
    <p:sldId id="10424" r:id="rId10"/>
    <p:sldId id="10380" r:id="rId11"/>
    <p:sldId id="10406" r:id="rId12"/>
    <p:sldId id="10354" r:id="rId13"/>
    <p:sldId id="10402" r:id="rId14"/>
    <p:sldId id="10393" r:id="rId15"/>
    <p:sldId id="10368" r:id="rId16"/>
    <p:sldId id="10399" r:id="rId17"/>
    <p:sldId id="269" r:id="rId18"/>
  </p:sldIdLst>
  <p:sldSz cx="12192000" cy="6858000"/>
  <p:notesSz cx="6858000" cy="9144000"/>
  <p:defaultTextStyle>
    <a:defPPr>
      <a:defRPr lang="en-GB"/>
    </a:defPPr>
    <a:lvl1pPr algn="l" rtl="0" eaLnBrk="0" fontAlgn="base" hangingPunct="0">
      <a:spcBef>
        <a:spcPct val="0"/>
      </a:spcBef>
      <a:spcAft>
        <a:spcPct val="0"/>
      </a:spcAft>
      <a:defRPr sz="2400" kern="1200">
        <a:solidFill>
          <a:schemeClr val="tx1"/>
        </a:solidFill>
        <a:latin typeface="Times" panose="02020603050405020304" pitchFamily="18" charset="0"/>
        <a:ea typeface="MS PGothic" panose="020B0600070205080204" pitchFamily="34" charset="-128"/>
        <a:cs typeface="+mn-cs"/>
      </a:defRPr>
    </a:lvl1pPr>
    <a:lvl2pPr marL="457200" algn="l" rtl="0" eaLnBrk="0" fontAlgn="base" hangingPunct="0">
      <a:spcBef>
        <a:spcPct val="0"/>
      </a:spcBef>
      <a:spcAft>
        <a:spcPct val="0"/>
      </a:spcAft>
      <a:defRPr sz="2400" kern="1200">
        <a:solidFill>
          <a:schemeClr val="tx1"/>
        </a:solidFill>
        <a:latin typeface="Times" panose="02020603050405020304" pitchFamily="18" charset="0"/>
        <a:ea typeface="MS PGothic" panose="020B0600070205080204" pitchFamily="34" charset="-128"/>
        <a:cs typeface="+mn-cs"/>
      </a:defRPr>
    </a:lvl2pPr>
    <a:lvl3pPr marL="914400" algn="l" rtl="0" eaLnBrk="0" fontAlgn="base" hangingPunct="0">
      <a:spcBef>
        <a:spcPct val="0"/>
      </a:spcBef>
      <a:spcAft>
        <a:spcPct val="0"/>
      </a:spcAft>
      <a:defRPr sz="2400" kern="1200">
        <a:solidFill>
          <a:schemeClr val="tx1"/>
        </a:solidFill>
        <a:latin typeface="Times" panose="02020603050405020304" pitchFamily="18" charset="0"/>
        <a:ea typeface="MS PGothic" panose="020B0600070205080204" pitchFamily="34" charset="-128"/>
        <a:cs typeface="+mn-cs"/>
      </a:defRPr>
    </a:lvl3pPr>
    <a:lvl4pPr marL="1371600" algn="l" rtl="0" eaLnBrk="0" fontAlgn="base" hangingPunct="0">
      <a:spcBef>
        <a:spcPct val="0"/>
      </a:spcBef>
      <a:spcAft>
        <a:spcPct val="0"/>
      </a:spcAft>
      <a:defRPr sz="2400" kern="1200">
        <a:solidFill>
          <a:schemeClr val="tx1"/>
        </a:solidFill>
        <a:latin typeface="Times" panose="02020603050405020304" pitchFamily="18" charset="0"/>
        <a:ea typeface="MS PGothic" panose="020B0600070205080204" pitchFamily="34" charset="-128"/>
        <a:cs typeface="+mn-cs"/>
      </a:defRPr>
    </a:lvl4pPr>
    <a:lvl5pPr marL="1828800" algn="l" rtl="0" eaLnBrk="0" fontAlgn="base" hangingPunct="0">
      <a:spcBef>
        <a:spcPct val="0"/>
      </a:spcBef>
      <a:spcAft>
        <a:spcPct val="0"/>
      </a:spcAft>
      <a:defRPr sz="2400" kern="1200">
        <a:solidFill>
          <a:schemeClr val="tx1"/>
        </a:solidFill>
        <a:latin typeface="Times" panose="02020603050405020304" pitchFamily="18" charset="0"/>
        <a:ea typeface="MS PGothic" panose="020B0600070205080204" pitchFamily="34" charset="-128"/>
        <a:cs typeface="+mn-cs"/>
      </a:defRPr>
    </a:lvl5pPr>
    <a:lvl6pPr marL="2286000" algn="l" defTabSz="914400" rtl="0" eaLnBrk="1" latinLnBrk="0" hangingPunct="1">
      <a:defRPr sz="2400" kern="1200">
        <a:solidFill>
          <a:schemeClr val="tx1"/>
        </a:solidFill>
        <a:latin typeface="Times" panose="02020603050405020304" pitchFamily="18" charset="0"/>
        <a:ea typeface="MS PGothic" panose="020B0600070205080204" pitchFamily="34" charset="-128"/>
        <a:cs typeface="+mn-cs"/>
      </a:defRPr>
    </a:lvl6pPr>
    <a:lvl7pPr marL="2743200" algn="l" defTabSz="914400" rtl="0" eaLnBrk="1" latinLnBrk="0" hangingPunct="1">
      <a:defRPr sz="2400" kern="1200">
        <a:solidFill>
          <a:schemeClr val="tx1"/>
        </a:solidFill>
        <a:latin typeface="Times" panose="02020603050405020304" pitchFamily="18" charset="0"/>
        <a:ea typeface="MS PGothic" panose="020B0600070205080204" pitchFamily="34" charset="-128"/>
        <a:cs typeface="+mn-cs"/>
      </a:defRPr>
    </a:lvl7pPr>
    <a:lvl8pPr marL="3200400" algn="l" defTabSz="914400" rtl="0" eaLnBrk="1" latinLnBrk="0" hangingPunct="1">
      <a:defRPr sz="2400" kern="1200">
        <a:solidFill>
          <a:schemeClr val="tx1"/>
        </a:solidFill>
        <a:latin typeface="Times" panose="02020603050405020304" pitchFamily="18" charset="0"/>
        <a:ea typeface="MS PGothic" panose="020B0600070205080204" pitchFamily="34" charset="-128"/>
        <a:cs typeface="+mn-cs"/>
      </a:defRPr>
    </a:lvl8pPr>
    <a:lvl9pPr marL="3657600" algn="l" defTabSz="914400" rtl="0" eaLnBrk="1" latinLnBrk="0" hangingPunct="1">
      <a:defRPr sz="2400" kern="1200">
        <a:solidFill>
          <a:schemeClr val="tx1"/>
        </a:solidFill>
        <a:latin typeface="Times" panose="02020603050405020304" pitchFamily="18" charset="0"/>
        <a:ea typeface="MS PGothic" panose="020B0600070205080204" pitchFamily="34" charset="-128"/>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D4D4D"/>
    <a:srgbClr val="0078BF"/>
    <a:srgbClr val="81818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651" autoAdjust="0"/>
    <p:restoredTop sz="87046" autoAdjust="0"/>
  </p:normalViewPr>
  <p:slideViewPr>
    <p:cSldViewPr>
      <p:cViewPr varScale="1">
        <p:scale>
          <a:sx n="79" d="100"/>
          <a:sy n="79" d="100"/>
        </p:scale>
        <p:origin x="926" y="7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oleObject" Target="file:///\\Thanos\Development\COMMERCIAL\MD034%20-%20Slag%20Valorisation\FINANCIAL\CAPEX\MD034%20SVF%20Techno-Economics%20RE%2020250602.xlsx"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830463655142007E-2"/>
          <c:y val="0.10102567090020569"/>
          <c:w val="0.91579316642736985"/>
          <c:h val="0.80861385971159805"/>
        </c:manualLayout>
      </c:layout>
      <c:ofPieChart>
        <c:ofPieType val="pie"/>
        <c:varyColors val="1"/>
        <c:ser>
          <c:idx val="0"/>
          <c:order val="0"/>
          <c:dPt>
            <c:idx val="0"/>
            <c:bubble3D val="0"/>
            <c:spPr>
              <a:solidFill>
                <a:schemeClr val="accent2"/>
              </a:solidFill>
              <a:ln w="19050">
                <a:solidFill>
                  <a:schemeClr val="lt1"/>
                </a:solidFill>
              </a:ln>
              <a:effectLst/>
            </c:spPr>
            <c:extLst>
              <c:ext xmlns:c16="http://schemas.microsoft.com/office/drawing/2014/chart" uri="{C3380CC4-5D6E-409C-BE32-E72D297353CC}">
                <c16:uniqueId val="{00000001-F5B8-446B-9DDE-DAA9ECEFE845}"/>
              </c:ext>
            </c:extLst>
          </c:dPt>
          <c:dPt>
            <c:idx val="1"/>
            <c:bubble3D val="0"/>
            <c:spPr>
              <a:solidFill>
                <a:srgbClr val="0078BF"/>
              </a:solidFill>
              <a:ln w="19050">
                <a:solidFill>
                  <a:schemeClr val="lt1"/>
                </a:solidFill>
              </a:ln>
              <a:effectLst/>
            </c:spPr>
            <c:extLst>
              <c:ext xmlns:c16="http://schemas.microsoft.com/office/drawing/2014/chart" uri="{C3380CC4-5D6E-409C-BE32-E72D297353CC}">
                <c16:uniqueId val="{00000003-F5B8-446B-9DDE-DAA9ECEFE845}"/>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F5B8-446B-9DDE-DAA9ECEFE845}"/>
              </c:ext>
            </c:extLst>
          </c:dPt>
          <c:dPt>
            <c:idx val="3"/>
            <c:bubble3D val="0"/>
            <c:spPr>
              <a:solidFill>
                <a:srgbClr val="4D4D4D"/>
              </a:solidFill>
              <a:ln w="19050">
                <a:solidFill>
                  <a:schemeClr val="lt1"/>
                </a:solidFill>
              </a:ln>
              <a:effectLst/>
            </c:spPr>
            <c:extLst>
              <c:ext xmlns:c16="http://schemas.microsoft.com/office/drawing/2014/chart" uri="{C3380CC4-5D6E-409C-BE32-E72D297353CC}">
                <c16:uniqueId val="{00000007-F5B8-446B-9DDE-DAA9ECEFE845}"/>
              </c:ext>
            </c:extLst>
          </c:dPt>
          <c:dPt>
            <c:idx val="4"/>
            <c:bubble3D val="0"/>
            <c:spPr>
              <a:solidFill>
                <a:schemeClr val="accent4">
                  <a:lumMod val="60000"/>
                </a:schemeClr>
              </a:solidFill>
              <a:ln w="19050">
                <a:solidFill>
                  <a:schemeClr val="lt1"/>
                </a:solidFill>
              </a:ln>
              <a:effectLst/>
            </c:spPr>
            <c:extLst>
              <c:ext xmlns:c16="http://schemas.microsoft.com/office/drawing/2014/chart" uri="{C3380CC4-5D6E-409C-BE32-E72D297353CC}">
                <c16:uniqueId val="{00000009-F5B8-446B-9DDE-DAA9ECEFE845}"/>
              </c:ext>
            </c:extLst>
          </c:dPt>
          <c:dLbls>
            <c:dLbl>
              <c:idx val="0"/>
              <c:layout>
                <c:manualLayout>
                  <c:x val="6.0838965226038912E-2"/>
                  <c:y val="1.4452507284274088E-2"/>
                </c:manualLayout>
              </c:layout>
              <c:tx>
                <c:rich>
                  <a:bodyPr/>
                  <a:lstStyle/>
                  <a:p>
                    <a:r>
                      <a:rPr lang="en-US" dirty="0"/>
                      <a:t>EAF</a:t>
                    </a:r>
                    <a:r>
                      <a:rPr lang="en-US" baseline="0" dirty="0"/>
                      <a:t> Steel Production </a:t>
                    </a:r>
                  </a:p>
                  <a:p>
                    <a:r>
                      <a:rPr lang="en-US" dirty="0"/>
                      <a:t>~8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5B8-446B-9DDE-DAA9ECEFE845}"/>
                </c:ext>
              </c:extLst>
            </c:dLbl>
            <c:dLbl>
              <c:idx val="1"/>
              <c:layout>
                <c:manualLayout>
                  <c:x val="-3.6391442430925285E-2"/>
                  <c:y val="-0.22328701659705427"/>
                </c:manualLayout>
              </c:layout>
              <c:tx>
                <c:rich>
                  <a:bodyPr/>
                  <a:lstStyle/>
                  <a:p>
                    <a:r>
                      <a:rPr lang="en-US" dirty="0"/>
                      <a:t>SVF HM </a:t>
                    </a:r>
                  </a:p>
                  <a:p>
                    <a:r>
                      <a:rPr lang="en-US" dirty="0"/>
                      <a:t>Production</a:t>
                    </a:r>
                  </a:p>
                  <a:p>
                    <a:r>
                      <a:rPr lang="en-US" dirty="0"/>
                      <a:t>~2</a:t>
                    </a:r>
                    <a:fld id="{4707883C-7B87-47D2-B676-44A643BB4DEE}" type="VALUE">
                      <a:rPr lang="en-US" smtClean="0"/>
                      <a:pPr/>
                      <a:t>[VALUE]</a:t>
                    </a:fld>
                    <a:endParaRPr lang="en-US" dirty="0"/>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F5B8-446B-9DDE-DAA9ECEFE845}"/>
                </c:ext>
              </c:extLst>
            </c:dLbl>
            <c:dLbl>
              <c:idx val="2"/>
              <c:layout>
                <c:manualLayout>
                  <c:x val="0.12517893544320252"/>
                  <c:y val="0.20169309754943396"/>
                </c:manualLayout>
              </c:layout>
              <c:tx>
                <c:rich>
                  <a:bodyPr/>
                  <a:lstStyle/>
                  <a:p>
                    <a:r>
                      <a:rPr lang="en-US" dirty="0" err="1"/>
                      <a:t>Valorised</a:t>
                    </a:r>
                    <a:r>
                      <a:rPr lang="en-US" dirty="0"/>
                      <a:t> Slag</a:t>
                    </a:r>
                    <a:r>
                      <a:rPr lang="en-US" baseline="0" dirty="0"/>
                      <a:t> Production  </a:t>
                    </a:r>
                  </a:p>
                  <a:p>
                    <a:r>
                      <a:rPr lang="en-US" baseline="0" dirty="0"/>
                      <a:t>~70%</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F5B8-446B-9DDE-DAA9ECEFE845}"/>
                </c:ext>
              </c:extLst>
            </c:dLbl>
            <c:dLbl>
              <c:idx val="3"/>
              <c:layout>
                <c:manualLayout>
                  <c:x val="-6.4238563967744453E-2"/>
                  <c:y val="-5.5743795886558256E-2"/>
                </c:manualLayout>
              </c:layout>
              <c:tx>
                <c:rich>
                  <a:bodyPr/>
                  <a:lstStyle/>
                  <a:p>
                    <a:r>
                      <a:rPr lang="en-US" dirty="0"/>
                      <a:t>Other</a:t>
                    </a:r>
                  </a:p>
                  <a:p>
                    <a:r>
                      <a:rPr lang="en-US" dirty="0"/>
                      <a:t>~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F5B8-446B-9DDE-DAA9ECEFE845}"/>
                </c:ext>
              </c:extLst>
            </c:dLbl>
            <c:dLbl>
              <c:idx val="4"/>
              <c:layout>
                <c:manualLayout>
                  <c:x val="-0.18216650403969858"/>
                  <c:y val="2.3402228175130768E-2"/>
                </c:manualLayout>
              </c:layout>
              <c:tx>
                <c:rich>
                  <a:bodyPr/>
                  <a:lstStyle/>
                  <a:p>
                    <a:r>
                      <a:rPr lang="en-US" dirty="0"/>
                      <a:t>EAF Slag Production</a:t>
                    </a:r>
                  </a:p>
                  <a:p>
                    <a:r>
                      <a:rPr lang="en-US" dirty="0"/>
                      <a:t>~2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F5B8-446B-9DDE-DAA9ECEFE845}"/>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VF Calculations'!$A$47,'SVF Calculations'!$A$49:$A$51)</c:f>
              <c:strCache>
                <c:ptCount val="4"/>
                <c:pt idx="0">
                  <c:v>EAF Steel Production </c:v>
                </c:pt>
                <c:pt idx="1">
                  <c:v>SVF HM Production </c:v>
                </c:pt>
                <c:pt idx="2">
                  <c:v>Valorised Slag Production </c:v>
                </c:pt>
                <c:pt idx="3">
                  <c:v>Other</c:v>
                </c:pt>
              </c:strCache>
            </c:strRef>
          </c:cat>
          <c:val>
            <c:numRef>
              <c:f>('SVF Calculations'!$C$47,'SVF Calculations'!$C$49:$C$51)</c:f>
              <c:numCache>
                <c:formatCode>0%</c:formatCode>
                <c:ptCount val="4"/>
                <c:pt idx="0">
                  <c:v>0.79300000000000004</c:v>
                </c:pt>
                <c:pt idx="1">
                  <c:v>4.9434591122068869E-2</c:v>
                </c:pt>
                <c:pt idx="2">
                  <c:v>0.1431016105259556</c:v>
                </c:pt>
                <c:pt idx="3">
                  <c:v>1.4463798351975506E-2</c:v>
                </c:pt>
              </c:numCache>
            </c:numRef>
          </c:val>
          <c:extLst>
            <c:ext xmlns:c16="http://schemas.microsoft.com/office/drawing/2014/chart" uri="{C3380CC4-5D6E-409C-BE32-E72D297353CC}">
              <c16:uniqueId val="{0000000A-F5B8-446B-9DDE-DAA9ECEFE845}"/>
            </c:ext>
          </c:extLst>
        </c:ser>
        <c:dLbls>
          <c:showLegendKey val="0"/>
          <c:showVal val="0"/>
          <c:showCatName val="0"/>
          <c:showSerName val="0"/>
          <c:showPercent val="0"/>
          <c:showBubbleSize val="0"/>
          <c:showLeaderLines val="1"/>
        </c:dLbls>
        <c:gapWidth val="100"/>
        <c:splitType val="pos"/>
        <c:splitPos val="3"/>
        <c:secondPieSize val="75"/>
        <c:serLines>
          <c:spPr>
            <a:ln w="9525" cap="flat" cmpd="sng" algn="ctr">
              <a:solidFill>
                <a:srgbClr val="4D4D4D"/>
              </a:solidFill>
              <a:round/>
            </a:ln>
            <a:effectLst/>
          </c:spPr>
        </c:serLines>
      </c:of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3">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50000"/>
            <a:lumOff val="50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40" b="0" kern="1200" spc="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43615</cdr:x>
      <cdr:y>0.3926</cdr:y>
    </cdr:from>
    <cdr:to>
      <cdr:x>0.56385</cdr:x>
      <cdr:y>0.6074</cdr:y>
    </cdr:to>
    <cdr:sp macro="" textlink="">
      <cdr:nvSpPr>
        <cdr:cNvPr id="2" name="TextBox 1">
          <a:extLst xmlns:a="http://schemas.openxmlformats.org/drawingml/2006/main">
            <a:ext uri="{FF2B5EF4-FFF2-40B4-BE49-F238E27FC236}">
              <a16:creationId xmlns:a16="http://schemas.microsoft.com/office/drawing/2014/main" id="{A61C792E-538D-14D1-D842-81D57847878A}"/>
            </a:ext>
          </a:extLst>
        </cdr:cNvPr>
        <cdr:cNvSpPr txBox="1"/>
      </cdr:nvSpPr>
      <cdr:spPr>
        <a:xfrm xmlns:a="http://schemas.openxmlformats.org/drawingml/2006/main">
          <a:off x="3123079" y="1671358"/>
          <a:ext cx="914400" cy="9144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ZA" sz="1100" kern="1200"/>
        </a:p>
      </cdr:txBody>
    </cdr:sp>
  </cdr:relSizeAnchor>
  <cdr:relSizeAnchor xmlns:cdr="http://schemas.openxmlformats.org/drawingml/2006/chartDrawing">
    <cdr:from>
      <cdr:x>0.65258</cdr:x>
      <cdr:y>0.88155</cdr:y>
    </cdr:from>
    <cdr:to>
      <cdr:x>0.6651</cdr:x>
      <cdr:y>0.89229</cdr:y>
    </cdr:to>
    <cdr:sp macro="" textlink="">
      <cdr:nvSpPr>
        <cdr:cNvPr id="3" name="TextBox 2">
          <a:extLst xmlns:a="http://schemas.openxmlformats.org/drawingml/2006/main">
            <a:ext uri="{FF2B5EF4-FFF2-40B4-BE49-F238E27FC236}">
              <a16:creationId xmlns:a16="http://schemas.microsoft.com/office/drawing/2014/main" id="{1CA5888D-4639-01BC-F9E0-B8F9AC68C80C}"/>
            </a:ext>
          </a:extLst>
        </cdr:cNvPr>
        <cdr:cNvSpPr txBox="1"/>
      </cdr:nvSpPr>
      <cdr:spPr>
        <a:xfrm xmlns:a="http://schemas.openxmlformats.org/drawingml/2006/main">
          <a:off x="4672853" y="3752850"/>
          <a:ext cx="89647" cy="4571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ZA" sz="1100" kern="1200"/>
        </a:p>
      </cdr:txBody>
    </cdr:sp>
  </cdr:relSizeAnchor>
  <cdr:relSizeAnchor xmlns:cdr="http://schemas.openxmlformats.org/drawingml/2006/chartDrawing">
    <cdr:from>
      <cdr:x>0.60876</cdr:x>
      <cdr:y>0.58147</cdr:y>
    </cdr:from>
    <cdr:to>
      <cdr:x>0.71601</cdr:x>
      <cdr:y>0.63578</cdr:y>
    </cdr:to>
    <cdr:sp macro="" textlink="">
      <cdr:nvSpPr>
        <cdr:cNvPr id="6" name="Arrow: Right 5">
          <a:extLst xmlns:a="http://schemas.openxmlformats.org/drawingml/2006/main">
            <a:ext uri="{FF2B5EF4-FFF2-40B4-BE49-F238E27FC236}">
              <a16:creationId xmlns:a16="http://schemas.microsoft.com/office/drawing/2014/main" id="{A5F6E910-6827-3EEB-C323-775CED16A34C}"/>
            </a:ext>
          </a:extLst>
        </cdr:cNvPr>
        <cdr:cNvSpPr/>
      </cdr:nvSpPr>
      <cdr:spPr>
        <a:xfrm xmlns:a="http://schemas.openxmlformats.org/drawingml/2006/main">
          <a:off x="4359088" y="2475381"/>
          <a:ext cx="767978" cy="231213"/>
        </a:xfrm>
        <a:prstGeom xmlns:a="http://schemas.openxmlformats.org/drawingml/2006/main" prst="rightArrow">
          <a:avLst/>
        </a:prstGeom>
        <a:solidFill xmlns:a="http://schemas.openxmlformats.org/drawingml/2006/main">
          <a:srgbClr val="FFC000"/>
        </a:solidFill>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ZA" kern="1200"/>
        </a:p>
      </cdr:txBody>
    </cdr:sp>
  </cdr:relSizeAnchor>
  <cdr:relSizeAnchor xmlns:cdr="http://schemas.openxmlformats.org/drawingml/2006/chartDrawing">
    <cdr:from>
      <cdr:x>0.35138</cdr:x>
      <cdr:y>0.4252</cdr:y>
    </cdr:from>
    <cdr:to>
      <cdr:x>0.45863</cdr:x>
      <cdr:y>0.47951</cdr:y>
    </cdr:to>
    <cdr:sp macro="" textlink="">
      <cdr:nvSpPr>
        <cdr:cNvPr id="7" name="Arrow: Right 6">
          <a:extLst xmlns:a="http://schemas.openxmlformats.org/drawingml/2006/main">
            <a:ext uri="{FF2B5EF4-FFF2-40B4-BE49-F238E27FC236}">
              <a16:creationId xmlns:a16="http://schemas.microsoft.com/office/drawing/2014/main" id="{83E24DB6-D4BA-C9BC-F030-41FFAF5D94F7}"/>
            </a:ext>
          </a:extLst>
        </cdr:cNvPr>
        <cdr:cNvSpPr/>
      </cdr:nvSpPr>
      <cdr:spPr>
        <a:xfrm xmlns:a="http://schemas.openxmlformats.org/drawingml/2006/main">
          <a:off x="2516094" y="1810124"/>
          <a:ext cx="767978" cy="231213"/>
        </a:xfrm>
        <a:prstGeom xmlns:a="http://schemas.openxmlformats.org/drawingml/2006/main" prst="rightArrow">
          <a:avLst/>
        </a:prstGeom>
        <a:solidFill xmlns:a="http://schemas.openxmlformats.org/drawingml/2006/main">
          <a:srgbClr val="FFC000"/>
        </a:solidFill>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ZA" kern="120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7175E0-0D47-4B0C-8B15-361EB39B4B53}" type="datetimeFigureOut">
              <a:rPr lang="en-ZA" smtClean="0"/>
              <a:t>2025/09/11</a:t>
            </a:fld>
            <a:endParaRPr lang="en-Z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44CE5B4-F6F6-4EBB-83C1-56EEAB9B081F}" type="slidenum">
              <a:rPr lang="en-ZA" smtClean="0"/>
              <a:t>‹#›</a:t>
            </a:fld>
            <a:endParaRPr lang="en-ZA"/>
          </a:p>
        </p:txBody>
      </p:sp>
    </p:spTree>
    <p:extLst>
      <p:ext uri="{BB962C8B-B14F-4D97-AF65-F5344CB8AC3E}">
        <p14:creationId xmlns:p14="http://schemas.microsoft.com/office/powerpoint/2010/main" val="31826762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18480F-90A5-65B4-F984-DCDAA8443BF1}"/>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5992CB1-A0B9-B66D-B56B-D4C4448EA722}"/>
              </a:ext>
            </a:extLst>
          </p:cNvPr>
          <p:cNvSpPr>
            <a:spLocks noGrp="1" noRot="1" noChangeAspect="1"/>
          </p:cNvSpPr>
          <p:nvPr>
            <p:ph type="sldImg"/>
          </p:nvPr>
        </p:nvSpPr>
        <p:spPr>
          <a:xfrm>
            <a:off x="93663" y="703263"/>
            <a:ext cx="6615112" cy="3722687"/>
          </a:xfrm>
        </p:spPr>
      </p:sp>
      <p:sp>
        <p:nvSpPr>
          <p:cNvPr id="3" name="Notizenplatzhalter 2">
            <a:extLst>
              <a:ext uri="{FF2B5EF4-FFF2-40B4-BE49-F238E27FC236}">
                <a16:creationId xmlns:a16="http://schemas.microsoft.com/office/drawing/2014/main" id="{FD21E657-7949-44F9-BBEF-19B6CE97EAA8}"/>
              </a:ext>
            </a:extLst>
          </p:cNvPr>
          <p:cNvSpPr>
            <a:spLocks noGrp="1"/>
          </p:cNvSpPr>
          <p:nvPr>
            <p:ph type="body" idx="1"/>
          </p:nvPr>
        </p:nvSpPr>
        <p:spPr/>
        <p:txBody>
          <a:bodyPr/>
          <a:lstStyle/>
          <a:p>
            <a:endParaRPr lang="en-US" dirty="0"/>
          </a:p>
        </p:txBody>
      </p:sp>
      <p:sp>
        <p:nvSpPr>
          <p:cNvPr id="4" name="Foliennummernplatzhalter 3">
            <a:extLst>
              <a:ext uri="{FF2B5EF4-FFF2-40B4-BE49-F238E27FC236}">
                <a16:creationId xmlns:a16="http://schemas.microsoft.com/office/drawing/2014/main" id="{1D650A4E-959D-0AFB-DD0F-5061FD9A97D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88B0A8-247C-4AEA-9692-DFDBBF17104A}" type="slidenum">
              <a:rPr kumimoji="0" lang="de-DE"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de-DE" sz="12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6313872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1030" name="SMS group style element 2" descr="W:\zwablage\CMM\Bender, Siggi\Unbenannt-1.png"/>
          <p:cNvPicPr>
            <a:picLocks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9600" y="6786000"/>
            <a:ext cx="12201600" cy="72000"/>
          </a:xfrm>
          <a:prstGeom prst="rect">
            <a:avLst/>
          </a:prstGeom>
          <a:noFill/>
          <a:extLst>
            <a:ext uri="{909E8E84-426E-40DD-AFC4-6F175D3DCCD1}">
              <a14:hiddenFill xmlns:a14="http://schemas.microsoft.com/office/drawing/2010/main">
                <a:solidFill>
                  <a:srgbClr val="FFFFFF"/>
                </a:solidFill>
              </a14:hiddenFill>
            </a:ext>
          </a:extLst>
        </p:spPr>
      </p:pic>
      <p:sp>
        <p:nvSpPr>
          <p:cNvPr id="7" name="SMS group style element"/>
          <p:cNvSpPr>
            <a:spLocks noGrp="1"/>
          </p:cNvSpPr>
          <p:nvPr userDrawn="1">
            <p:ph type="body" sz="quarter" idx="15" hasCustomPrompt="1"/>
          </p:nvPr>
        </p:nvSpPr>
        <p:spPr bwMode="gray">
          <a:xfrm>
            <a:off x="-4800" y="4680000"/>
            <a:ext cx="12201600" cy="2170800"/>
          </a:xfrm>
          <a:prstGeom prst="rect">
            <a:avLst/>
          </a:prstGeom>
          <a:blipFill>
            <a:blip r:embed="rId3">
              <a:extLst>
                <a:ext uri="{28A0092B-C50C-407E-A947-70E740481C1C}">
                  <a14:useLocalDpi xmlns:a14="http://schemas.microsoft.com/office/drawing/2010/main" val="0"/>
                </a:ext>
              </a:extLst>
            </a:blip>
            <a:stretch>
              <a:fillRect/>
            </a:stretch>
          </a:blipFill>
        </p:spPr>
        <p:txBody>
          <a:bodyPr anchor="t" anchorCtr="0">
            <a:noAutofit/>
          </a:bodyPr>
          <a:lstStyle>
            <a:lvl1pPr algn="ctr">
              <a:defRPr sz="100">
                <a:solidFill>
                  <a:sysClr val="windowText" lastClr="000000"/>
                </a:solidFill>
              </a:defRPr>
            </a:lvl1pPr>
            <a:lvl2pPr>
              <a:defRPr sz="100"/>
            </a:lvl2pPr>
            <a:lvl3pPr>
              <a:defRPr sz="100"/>
            </a:lvl3pPr>
            <a:lvl4pPr>
              <a:defRPr sz="100"/>
            </a:lvl4pPr>
            <a:lvl5pPr>
              <a:defRPr sz="100"/>
            </a:lvl5pPr>
          </a:lstStyle>
          <a:p>
            <a:pPr lvl="0"/>
            <a:r>
              <a:rPr lang="de-DE"/>
              <a:t> </a:t>
            </a:r>
            <a:endParaRPr lang="en-US"/>
          </a:p>
        </p:txBody>
      </p:sp>
      <p:sp>
        <p:nvSpPr>
          <p:cNvPr id="38" name="Textplatzhalter 11"/>
          <p:cNvSpPr>
            <a:spLocks noGrp="1"/>
          </p:cNvSpPr>
          <p:nvPr userDrawn="1">
            <p:ph type="body" sz="quarter" idx="14"/>
          </p:nvPr>
        </p:nvSpPr>
        <p:spPr bwMode="white">
          <a:xfrm>
            <a:off x="4271438" y="6660000"/>
            <a:ext cx="3649132" cy="198000"/>
          </a:xfrm>
          <a:prstGeom prst="rect">
            <a:avLst/>
          </a:prstGeom>
        </p:spPr>
        <p:txBody>
          <a:bodyPr wrap="none" tIns="36000" rIns="0" bIns="36000" anchor="ctr" anchorCtr="0">
            <a:noAutofit/>
          </a:bodyPr>
          <a:lstStyle>
            <a:lvl1pPr algn="r">
              <a:defRPr sz="600">
                <a:solidFill>
                  <a:schemeClr val="tx2"/>
                </a:solidFill>
              </a:defRPr>
            </a:lvl1pPr>
          </a:lstStyle>
          <a:p>
            <a:pPr lvl="0"/>
            <a:r>
              <a:rPr lang="de-DE"/>
              <a:t>Textmasterformat bearbeiten</a:t>
            </a:r>
          </a:p>
        </p:txBody>
      </p:sp>
      <p:sp>
        <p:nvSpPr>
          <p:cNvPr id="39" name="Textplatzhalter 10"/>
          <p:cNvSpPr>
            <a:spLocks noGrp="1"/>
          </p:cNvSpPr>
          <p:nvPr userDrawn="1">
            <p:ph type="body" sz="quarter" idx="13"/>
          </p:nvPr>
        </p:nvSpPr>
        <p:spPr bwMode="white">
          <a:xfrm>
            <a:off x="0" y="6660000"/>
            <a:ext cx="3984000" cy="198000"/>
          </a:xfrm>
          <a:prstGeom prst="rect">
            <a:avLst/>
          </a:prstGeom>
        </p:spPr>
        <p:txBody>
          <a:bodyPr wrap="none" lIns="252000" tIns="36000" bIns="36000" anchor="ctr" anchorCtr="0">
            <a:noAutofit/>
          </a:bodyPr>
          <a:lstStyle>
            <a:lvl1pPr>
              <a:defRPr sz="600" b="0">
                <a:solidFill>
                  <a:schemeClr val="tx2"/>
                </a:solidFill>
              </a:defRPr>
            </a:lvl1pPr>
          </a:lstStyle>
          <a:p>
            <a:pPr lvl="0"/>
            <a:r>
              <a:rPr lang="de-DE"/>
              <a:t>Textmasterformat bearbeiten</a:t>
            </a:r>
          </a:p>
        </p:txBody>
      </p:sp>
      <p:sp>
        <p:nvSpPr>
          <p:cNvPr id="17" name="Foliennummernplatzhalter"/>
          <p:cNvSpPr>
            <a:spLocks noGrp="1"/>
          </p:cNvSpPr>
          <p:nvPr userDrawn="1">
            <p:ph type="sldNum" sz="quarter" idx="4"/>
          </p:nvPr>
        </p:nvSpPr>
        <p:spPr bwMode="white">
          <a:xfrm>
            <a:off x="11472000" y="6480000"/>
            <a:ext cx="720000" cy="180000"/>
          </a:xfrm>
          <a:prstGeom prst="rect">
            <a:avLst/>
          </a:prstGeom>
        </p:spPr>
        <p:txBody>
          <a:bodyPr wrap="none" lIns="0" tIns="0" rIns="252000" bIns="0" anchor="ctr" anchorCtr="0">
            <a:noAutofit/>
          </a:bodyPr>
          <a:lstStyle>
            <a:lvl1pPr algn="r">
              <a:defRPr lang="de-DE" sz="750" smtClean="0">
                <a:solidFill>
                  <a:schemeClr val="tx2"/>
                </a:solidFill>
              </a:defRPr>
            </a:lvl1pPr>
          </a:lstStyle>
          <a:p>
            <a:fld id="{44043744-42FE-4892-90BA-7087481EB81E}" type="slidenum">
              <a:rPr lang="en-US" smtClean="0"/>
              <a:pPr/>
              <a:t>‹#›</a:t>
            </a:fld>
            <a:endParaRPr lang="en-US"/>
          </a:p>
        </p:txBody>
      </p:sp>
      <p:sp>
        <p:nvSpPr>
          <p:cNvPr id="15" name="Datumsplatzhalter"/>
          <p:cNvSpPr>
            <a:spLocks noGrp="1"/>
          </p:cNvSpPr>
          <p:nvPr userDrawn="1">
            <p:ph type="dt" sz="half" idx="2"/>
          </p:nvPr>
        </p:nvSpPr>
        <p:spPr bwMode="white">
          <a:xfrm>
            <a:off x="8208435" y="6480000"/>
            <a:ext cx="3263567" cy="179488"/>
          </a:xfrm>
          <a:prstGeom prst="rect">
            <a:avLst/>
          </a:prstGeom>
        </p:spPr>
        <p:txBody>
          <a:bodyPr wrap="square" lIns="0" tIns="0" rIns="0" bIns="0" anchor="ctr" anchorCtr="0">
            <a:noAutofit/>
          </a:bodyPr>
          <a:lstStyle>
            <a:lvl1pPr algn="l">
              <a:defRPr lang="en-US" sz="750" smtClean="0">
                <a:solidFill>
                  <a:schemeClr val="tx2"/>
                </a:solidFill>
              </a:defRPr>
            </a:lvl1pPr>
          </a:lstStyle>
          <a:p>
            <a:fld id="{35011CFB-35CD-4E97-ABE5-70AB652EFAE8}" type="datetime4">
              <a:rPr lang="en-US" smtClean="0"/>
              <a:t>September 11, 2025</a:t>
            </a:fld>
            <a:endParaRPr lang="de-DE"/>
          </a:p>
        </p:txBody>
      </p:sp>
      <p:sp>
        <p:nvSpPr>
          <p:cNvPr id="16" name="Fußzeilenplatzhalter"/>
          <p:cNvSpPr>
            <a:spLocks noGrp="1"/>
          </p:cNvSpPr>
          <p:nvPr userDrawn="1">
            <p:ph type="ftr" sz="quarter" idx="3"/>
          </p:nvPr>
        </p:nvSpPr>
        <p:spPr bwMode="white">
          <a:xfrm>
            <a:off x="2" y="6480000"/>
            <a:ext cx="8208433" cy="179488"/>
          </a:xfrm>
          <a:prstGeom prst="rect">
            <a:avLst/>
          </a:prstGeom>
        </p:spPr>
        <p:txBody>
          <a:bodyPr wrap="square" lIns="252000" tIns="0" rIns="0" bIns="0" anchor="ctr" anchorCtr="0">
            <a:noAutofit/>
          </a:bodyPr>
          <a:lstStyle>
            <a:lvl1pPr algn="l">
              <a:defRPr sz="750">
                <a:solidFill>
                  <a:schemeClr val="tx2"/>
                </a:solidFill>
              </a:defRPr>
            </a:lvl1pPr>
          </a:lstStyle>
          <a:p>
            <a:endParaRPr lang="de-DE" dirty="0"/>
          </a:p>
        </p:txBody>
      </p:sp>
      <p:sp>
        <p:nvSpPr>
          <p:cNvPr id="23" name="Untertitel"/>
          <p:cNvSpPr>
            <a:spLocks noGrp="1"/>
          </p:cNvSpPr>
          <p:nvPr userDrawn="1">
            <p:ph type="subTitle" idx="1"/>
          </p:nvPr>
        </p:nvSpPr>
        <p:spPr bwMode="white">
          <a:xfrm>
            <a:off x="-379" y="6175429"/>
            <a:ext cx="9600000" cy="141321"/>
          </a:xfrm>
          <a:prstGeom prst="rect">
            <a:avLst/>
          </a:prstGeom>
        </p:spPr>
        <p:txBody>
          <a:bodyPr wrap="square" lIns="252000" rIns="0" bIns="0" anchor="b" anchorCtr="0">
            <a:spAutoFit/>
          </a:bodyPr>
          <a:lstStyle>
            <a:lvl1pPr marL="0" indent="0" algn="l">
              <a:lnSpc>
                <a:spcPts val="1050"/>
              </a:lnSpc>
              <a:spcAft>
                <a:spcPts val="0"/>
              </a:spcAft>
              <a:buNone/>
              <a:defRPr sz="1050">
                <a:solidFill>
                  <a:schemeClr val="tx2"/>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de-DE"/>
              <a:t>Formatvorlage des Untertitelmasters durch Klicken bearbeiten</a:t>
            </a:r>
          </a:p>
        </p:txBody>
      </p:sp>
      <p:sp>
        <p:nvSpPr>
          <p:cNvPr id="22" name="Titel"/>
          <p:cNvSpPr>
            <a:spLocks noGrp="1"/>
          </p:cNvSpPr>
          <p:nvPr userDrawn="1">
            <p:ph type="ctrTitle"/>
          </p:nvPr>
        </p:nvSpPr>
        <p:spPr bwMode="white">
          <a:xfrm>
            <a:off x="-380" y="5400003"/>
            <a:ext cx="11857947" cy="195053"/>
          </a:xfrm>
        </p:spPr>
        <p:txBody>
          <a:bodyPr wrap="square" lIns="252000" tIns="0" rIns="0" anchor="t" anchorCtr="0">
            <a:spAutoFit/>
          </a:bodyPr>
          <a:lstStyle>
            <a:lvl1pPr algn="l">
              <a:lnSpc>
                <a:spcPts val="1500"/>
              </a:lnSpc>
              <a:defRPr baseline="0">
                <a:solidFill>
                  <a:schemeClr val="tx2"/>
                </a:solidFill>
              </a:defRPr>
            </a:lvl1pPr>
          </a:lstStyle>
          <a:p>
            <a:r>
              <a:rPr lang="de-DE"/>
              <a:t>Titelmasterformat durch Klicken bearbeiten</a:t>
            </a:r>
          </a:p>
        </p:txBody>
      </p:sp>
    </p:spTree>
    <p:extLst>
      <p:ext uri="{BB962C8B-B14F-4D97-AF65-F5344CB8AC3E}">
        <p14:creationId xmlns:p14="http://schemas.microsoft.com/office/powerpoint/2010/main" val="25222786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Content slide - empty">
    <p:spTree>
      <p:nvGrpSpPr>
        <p:cNvPr id="1" name=""/>
        <p:cNvGrpSpPr/>
        <p:nvPr/>
      </p:nvGrpSpPr>
      <p:grpSpPr>
        <a:xfrm>
          <a:off x="0" y="0"/>
          <a:ext cx="0" cy="0"/>
          <a:chOff x="0" y="0"/>
          <a:chExt cx="0" cy="0"/>
        </a:xfrm>
      </p:grpSpPr>
      <p:sp>
        <p:nvSpPr>
          <p:cNvPr id="12" name="Brand element white bottom"/>
          <p:cNvSpPr>
            <a:spLocks noGrp="1"/>
          </p:cNvSpPr>
          <p:nvPr>
            <p:ph type="body" sz="quarter" idx="12" hasCustomPrompt="1"/>
          </p:nvPr>
        </p:nvSpPr>
        <p:spPr>
          <a:xfrm>
            <a:off x="1732934" y="5850000"/>
            <a:ext cx="10459066" cy="1008000"/>
          </a:xfrm>
          <a:prstGeom prst="rect">
            <a:avLst/>
          </a:prstGeom>
          <a:blipFill>
            <a:blip r:embed="rId2"/>
            <a:stretch>
              <a:fillRect/>
            </a:stretch>
          </a:blipFill>
        </p:spPr>
        <p:txBody>
          <a:bodyPr>
            <a:noAutofit/>
          </a:bodyPr>
          <a:lstStyle>
            <a:lvl1pPr>
              <a:defRPr/>
            </a:lvl1pPr>
          </a:lstStyle>
          <a:p>
            <a:pPr lvl="0"/>
            <a:r>
              <a:rPr lang="de-DE" dirty="0"/>
              <a:t> </a:t>
            </a:r>
          </a:p>
        </p:txBody>
      </p:sp>
      <p:sp>
        <p:nvSpPr>
          <p:cNvPr id="29" name="Green Screen" hidden="1"/>
          <p:cNvSpPr/>
          <p:nvPr userDrawn="1"/>
        </p:nvSpPr>
        <p:spPr>
          <a:xfrm>
            <a:off x="0" y="0"/>
            <a:ext cx="12190222" cy="6840000"/>
          </a:xfrm>
          <a:prstGeom prst="rect">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Calibri"/>
              <a:ea typeface="+mn-ea"/>
              <a:cs typeface="+mn-cs"/>
            </a:endParaRPr>
          </a:p>
        </p:txBody>
      </p:sp>
      <p:sp>
        <p:nvSpPr>
          <p:cNvPr id="15" name="Titelplatzhalter"/>
          <p:cNvSpPr>
            <a:spLocks noGrp="1"/>
          </p:cNvSpPr>
          <p:nvPr>
            <p:ph type="title"/>
          </p:nvPr>
        </p:nvSpPr>
        <p:spPr bwMode="auto">
          <a:xfrm>
            <a:off x="289454" y="377999"/>
            <a:ext cx="11613389" cy="702000"/>
          </a:xfrm>
          <a:prstGeom prst="rect">
            <a:avLst/>
          </a:prstGeom>
        </p:spPr>
        <p:txBody>
          <a:bodyPr vert="horz" wrap="square" lIns="0" tIns="0" rIns="0" bIns="0" rtlCol="0" anchor="t" anchorCtr="0">
            <a:noAutofit/>
          </a:bodyPr>
          <a:lstStyle>
            <a:lvl1pPr>
              <a:defRPr sz="2400">
                <a:solidFill>
                  <a:schemeClr val="tx1"/>
                </a:solidFill>
              </a:defRPr>
            </a:lvl1pPr>
          </a:lstStyle>
          <a:p>
            <a:pPr lvl="0"/>
            <a:r>
              <a:rPr lang="de-DE"/>
              <a:t>Titelmasterformat durch Klicken bearbeiten</a:t>
            </a:r>
          </a:p>
        </p:txBody>
      </p:sp>
      <p:sp>
        <p:nvSpPr>
          <p:cNvPr id="18" name="SMS group logo vector"/>
          <p:cNvSpPr>
            <a:spLocks noGrp="1"/>
          </p:cNvSpPr>
          <p:nvPr>
            <p:ph type="body" sz="quarter" idx="14" hasCustomPrompt="1"/>
          </p:nvPr>
        </p:nvSpPr>
        <p:spPr>
          <a:xfrm>
            <a:off x="10099557" y="6282019"/>
            <a:ext cx="1803287" cy="255600"/>
          </a:xfrm>
          <a:prstGeom prst="rect">
            <a:avLst/>
          </a:prstGeom>
          <a:blipFill>
            <a:blip r:embed="rId3"/>
            <a:stretch>
              <a:fillRect/>
            </a:stretch>
          </a:blipFill>
        </p:spPr>
        <p:txBody>
          <a:bodyPr>
            <a:noAutofit/>
          </a:bodyPr>
          <a:lstStyle>
            <a:lvl1pPr>
              <a:defRPr/>
            </a:lvl1pPr>
          </a:lstStyle>
          <a:p>
            <a:pPr lvl="0"/>
            <a:r>
              <a:rPr lang="de-DE" dirty="0"/>
              <a:t> </a:t>
            </a:r>
          </a:p>
        </p:txBody>
      </p:sp>
      <p:sp>
        <p:nvSpPr>
          <p:cNvPr id="13" name="Foliennummernplatzhalter"/>
          <p:cNvSpPr>
            <a:spLocks noGrp="1"/>
          </p:cNvSpPr>
          <p:nvPr>
            <p:ph type="sldNum" sz="quarter" idx="4"/>
          </p:nvPr>
        </p:nvSpPr>
        <p:spPr bwMode="black">
          <a:xfrm>
            <a:off x="11468908" y="6640462"/>
            <a:ext cx="720001" cy="216000"/>
          </a:xfrm>
          <a:prstGeom prst="rect">
            <a:avLst/>
          </a:prstGeom>
        </p:spPr>
        <p:txBody>
          <a:bodyPr wrap="none" lIns="0" tIns="0" rIns="288000" bIns="36000" anchor="b" anchorCtr="0">
            <a:noAutofit/>
          </a:bodyPr>
          <a:lstStyle>
            <a:lvl1pPr algn="r">
              <a:defRPr lang="de-DE" sz="1000" smtClean="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4043744-42FE-4892-90BA-7087481EB81E}" type="slidenum">
              <a:rPr kumimoji="0" lang="de-DE" sz="10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de-DE" sz="10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6" name="Datumsplatzhalter"/>
          <p:cNvSpPr>
            <a:spLocks noGrp="1"/>
          </p:cNvSpPr>
          <p:nvPr>
            <p:ph type="dt" sz="half" idx="2"/>
          </p:nvPr>
        </p:nvSpPr>
        <p:spPr bwMode="black">
          <a:xfrm>
            <a:off x="10098242" y="6640462"/>
            <a:ext cx="1334600" cy="216000"/>
          </a:xfrm>
          <a:prstGeom prst="rect">
            <a:avLst/>
          </a:prstGeom>
        </p:spPr>
        <p:txBody>
          <a:bodyPr wrap="square" lIns="0" tIns="0" rIns="0" bIns="36000" anchor="b" anchorCtr="0">
            <a:noAutofit/>
          </a:bodyPr>
          <a:lstStyle>
            <a:lvl1pPr algn="l">
              <a:defRPr lang="en-US" sz="1000" smtClean="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F9A72395-0365-4637-8A17-5DC21426E8C0}" type="datetime4">
              <a:rPr kumimoji="0" lang="en-US" sz="1000" b="0" i="0" u="none" strike="noStrike" kern="1200" cap="none" spc="0" normalizeH="0" baseline="0" noProof="0" smtClean="0">
                <a:ln>
                  <a:noFill/>
                </a:ln>
                <a:solidFill>
                  <a:srgbClr val="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September 11, 2025</a:t>
            </a:fld>
            <a:endParaRPr kumimoji="0" lang="de-DE" sz="10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7" name="Fußzeilenplatzhalter"/>
          <p:cNvSpPr>
            <a:spLocks noGrp="1"/>
          </p:cNvSpPr>
          <p:nvPr>
            <p:ph type="ftr" sz="quarter" idx="3"/>
          </p:nvPr>
        </p:nvSpPr>
        <p:spPr bwMode="black">
          <a:xfrm>
            <a:off x="1" y="6640462"/>
            <a:ext cx="10050319" cy="216000"/>
          </a:xfrm>
          <a:prstGeom prst="rect">
            <a:avLst/>
          </a:prstGeom>
        </p:spPr>
        <p:txBody>
          <a:bodyPr wrap="square" lIns="2592000" tIns="0" rIns="216000" bIns="36000" anchor="b" anchorCtr="0">
            <a:noAutofit/>
          </a:bodyPr>
          <a:lstStyle>
            <a:lvl1pPr algn="r">
              <a:defRPr sz="10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a:ea typeface="+mn-ea"/>
                <a:cs typeface="+mn-cs"/>
              </a:rPr>
              <a:t>4.0 </a:t>
            </a:r>
            <a:r>
              <a:rPr kumimoji="0" lang="en-US" sz="1000" b="0" i="0" u="none" strike="noStrike" kern="1200" cap="none" spc="0" normalizeH="0" baseline="0" noProof="0" dirty="0" err="1">
                <a:ln>
                  <a:noFill/>
                </a:ln>
                <a:solidFill>
                  <a:srgbClr val="000000"/>
                </a:solidFill>
                <a:effectLst/>
                <a:uLnTx/>
                <a:uFillTx/>
                <a:latin typeface="Calibri"/>
                <a:ea typeface="+mn-ea"/>
                <a:cs typeface="+mn-cs"/>
              </a:rPr>
              <a:t>Mtpy</a:t>
            </a:r>
            <a:r>
              <a:rPr kumimoji="0" lang="en-US" sz="1000" b="0" i="0" u="none" strike="noStrike" kern="1200" cap="none" spc="0" normalizeH="0" baseline="0" noProof="0" dirty="0">
                <a:ln>
                  <a:noFill/>
                </a:ln>
                <a:solidFill>
                  <a:srgbClr val="000000"/>
                </a:solidFill>
                <a:effectLst/>
                <a:uLnTx/>
                <a:uFillTx/>
                <a:latin typeface="Calibri"/>
                <a:ea typeface="+mn-ea"/>
                <a:cs typeface="+mn-cs"/>
              </a:rPr>
              <a:t> HRC production complex - SMS solution out of one hand</a:t>
            </a:r>
            <a:endParaRPr kumimoji="0" lang="de-DE" sz="1000" b="0" i="0" u="none" strike="noStrike" kern="1200" cap="none" spc="0" normalizeH="0" baseline="0" noProof="0" dirty="0">
              <a:ln>
                <a:noFill/>
              </a:ln>
              <a:solidFill>
                <a:srgbClr val="000000"/>
              </a:solidFill>
              <a:effectLst/>
              <a:uLnTx/>
              <a:uFillTx/>
              <a:latin typeface="Calibri"/>
              <a:ea typeface="+mn-ea"/>
              <a:cs typeface="+mn-cs"/>
            </a:endParaRPr>
          </a:p>
        </p:txBody>
      </p:sp>
      <p:sp>
        <p:nvSpPr>
          <p:cNvPr id="31" name="Tags and categories"/>
          <p:cNvSpPr>
            <a:spLocks noGrp="1"/>
          </p:cNvSpPr>
          <p:nvPr>
            <p:ph type="body" sz="quarter" idx="10" hasCustomPrompt="1"/>
          </p:nvPr>
        </p:nvSpPr>
        <p:spPr>
          <a:xfrm>
            <a:off x="0" y="6948000"/>
            <a:ext cx="8943927" cy="144000"/>
          </a:xfrm>
          <a:prstGeom prst="rect">
            <a:avLst/>
          </a:prstGeom>
        </p:spPr>
        <p:txBody>
          <a:bodyPr wrap="square" lIns="288000" tIns="0" rIns="0" bIns="0" anchor="t" anchorCtr="0">
            <a:noAutofit/>
          </a:bodyPr>
          <a:lstStyle>
            <a:lvl1pPr>
              <a:defRPr sz="800" baseline="0">
                <a:solidFill>
                  <a:schemeClr val="accent4"/>
                </a:solidFill>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de-DE" dirty="0" err="1"/>
              <a:t>Please</a:t>
            </a:r>
            <a:r>
              <a:rPr lang="de-DE" dirty="0"/>
              <a:t> check </a:t>
            </a:r>
            <a:r>
              <a:rPr lang="de-DE" dirty="0" err="1"/>
              <a:t>the</a:t>
            </a:r>
            <a:r>
              <a:rPr lang="de-DE" dirty="0"/>
              <a:t> </a:t>
            </a:r>
            <a:r>
              <a:rPr lang="de-DE" dirty="0" err="1"/>
              <a:t>speaking</a:t>
            </a:r>
            <a:r>
              <a:rPr lang="de-DE" dirty="0"/>
              <a:t> </a:t>
            </a:r>
            <a:r>
              <a:rPr lang="de-DE" dirty="0" err="1"/>
              <a:t>notes</a:t>
            </a:r>
            <a:r>
              <a:rPr lang="de-DE" dirty="0"/>
              <a:t> in </a:t>
            </a:r>
            <a:r>
              <a:rPr lang="de-DE" dirty="0" err="1"/>
              <a:t>this</a:t>
            </a:r>
            <a:r>
              <a:rPr lang="de-DE" dirty="0"/>
              <a:t> </a:t>
            </a:r>
            <a:r>
              <a:rPr lang="de-DE" dirty="0" err="1"/>
              <a:t>slide</a:t>
            </a:r>
            <a:r>
              <a:rPr lang="de-DE" dirty="0"/>
              <a:t> </a:t>
            </a:r>
            <a:r>
              <a:rPr lang="de-DE" dirty="0" err="1"/>
              <a:t>and</a:t>
            </a:r>
            <a:r>
              <a:rPr lang="de-DE" dirty="0"/>
              <a:t> </a:t>
            </a:r>
            <a:r>
              <a:rPr lang="de-DE" dirty="0" err="1"/>
              <a:t>delete</a:t>
            </a:r>
            <a:r>
              <a:rPr lang="de-DE" dirty="0"/>
              <a:t> </a:t>
            </a:r>
            <a:r>
              <a:rPr lang="de-DE" dirty="0" err="1"/>
              <a:t>if</a:t>
            </a:r>
            <a:r>
              <a:rPr lang="de-DE" dirty="0"/>
              <a:t> </a:t>
            </a:r>
            <a:r>
              <a:rPr lang="de-DE" dirty="0" err="1"/>
              <a:t>appropriate</a:t>
            </a:r>
            <a:r>
              <a:rPr lang="de-DE" dirty="0"/>
              <a:t>.</a:t>
            </a:r>
          </a:p>
        </p:txBody>
      </p:sp>
      <p:sp>
        <p:nvSpPr>
          <p:cNvPr id="32" name="Confidentiality level"/>
          <p:cNvSpPr>
            <a:spLocks noGrp="1"/>
          </p:cNvSpPr>
          <p:nvPr>
            <p:ph type="body" sz="quarter" idx="11" hasCustomPrompt="1"/>
          </p:nvPr>
        </p:nvSpPr>
        <p:spPr>
          <a:xfrm>
            <a:off x="10099556" y="6948000"/>
            <a:ext cx="2092444" cy="144000"/>
          </a:xfrm>
          <a:prstGeom prst="rect">
            <a:avLst/>
          </a:prstGeom>
        </p:spPr>
        <p:txBody>
          <a:bodyPr wrap="square" lIns="0" tIns="0" rIns="288000" bIns="0" anchor="t" anchorCtr="0">
            <a:noAutofit/>
          </a:bodyPr>
          <a:lstStyle>
            <a:lvl1pPr algn="r">
              <a:defRPr sz="800">
                <a:solidFill>
                  <a:schemeClr val="accent4"/>
                </a:solidFill>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de-DE" dirty="0" err="1"/>
              <a:t>Confidential</a:t>
            </a:r>
            <a:endParaRPr lang="de-DE" dirty="0"/>
          </a:p>
        </p:txBody>
      </p:sp>
    </p:spTree>
    <p:extLst>
      <p:ext uri="{BB962C8B-B14F-4D97-AF65-F5344CB8AC3E}">
        <p14:creationId xmlns:p14="http://schemas.microsoft.com/office/powerpoint/2010/main" val="956151359"/>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extLst>
    <p:ext uri="{DCECCB84-F9BA-43D5-87BE-67443E8EF086}">
      <p15:sldGuideLst xmlns:p15="http://schemas.microsoft.com/office/powerpoint/2012/main">
        <p15:guide id="1" pos="1908">
          <p15:clr>
            <a:srgbClr val="FBAE40"/>
          </p15:clr>
        </p15:guide>
        <p15:guide id="2" pos="2045">
          <p15:clr>
            <a:srgbClr val="FBAE40"/>
          </p15:clr>
        </p15:guide>
        <p15:guide id="3" pos="3772">
          <p15:clr>
            <a:srgbClr val="FBAE40"/>
          </p15:clr>
        </p15:guide>
        <p15:guide id="4" pos="3908">
          <p15:clr>
            <a:srgbClr val="FBAE40"/>
          </p15:clr>
        </p15:guide>
        <p15:guide id="5" pos="5635">
          <p15:clr>
            <a:srgbClr val="FBAE40"/>
          </p15:clr>
        </p15:guide>
        <p15:guide id="6" pos="5772">
          <p15:clr>
            <a:srgbClr val="FBAE40"/>
          </p15:clr>
        </p15:guide>
        <p15:guide id="7" orient="horz" pos="2931">
          <p15:clr>
            <a:srgbClr val="FBAE40"/>
          </p15:clr>
        </p15:guide>
        <p15:guide id="8" orient="horz" pos="2818">
          <p15:clr>
            <a:srgbClr val="FBAE40"/>
          </p15:clr>
        </p15:guide>
        <p15:guide id="9" orient="horz" pos="1842">
          <p15:clr>
            <a:srgbClr val="FBAE40"/>
          </p15:clr>
        </p15:guide>
        <p15:guide id="10" orient="horz" pos="1684">
          <p15:clr>
            <a:srgbClr val="FBAE40"/>
          </p15:clr>
        </p15:guide>
        <p15:guide id="11" orient="horz" pos="395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ontent slide - empty">
    <p:spTree>
      <p:nvGrpSpPr>
        <p:cNvPr id="1" name=""/>
        <p:cNvGrpSpPr/>
        <p:nvPr/>
      </p:nvGrpSpPr>
      <p:grpSpPr>
        <a:xfrm>
          <a:off x="0" y="0"/>
          <a:ext cx="0" cy="0"/>
          <a:chOff x="0" y="0"/>
          <a:chExt cx="0" cy="0"/>
        </a:xfrm>
      </p:grpSpPr>
      <p:sp>
        <p:nvSpPr>
          <p:cNvPr id="29" name="Green Screen" hidden="1"/>
          <p:cNvSpPr/>
          <p:nvPr userDrawn="1"/>
        </p:nvSpPr>
        <p:spPr>
          <a:xfrm>
            <a:off x="0" y="0"/>
            <a:ext cx="12190222" cy="6840000"/>
          </a:xfrm>
          <a:prstGeom prst="rect">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2" name="Brand element white bottom"/>
          <p:cNvSpPr>
            <a:spLocks noGrp="1"/>
          </p:cNvSpPr>
          <p:nvPr>
            <p:ph type="body" sz="quarter" idx="12" hasCustomPrompt="1"/>
          </p:nvPr>
        </p:nvSpPr>
        <p:spPr>
          <a:xfrm>
            <a:off x="1732934" y="5850000"/>
            <a:ext cx="10459066" cy="1008000"/>
          </a:xfrm>
          <a:prstGeom prst="rect">
            <a:avLst/>
          </a:prstGeom>
          <a:blipFill>
            <a:blip r:embed="rId2"/>
            <a:stretch>
              <a:fillRect/>
            </a:stretch>
          </a:blipFill>
        </p:spPr>
        <p:txBody>
          <a:bodyPr>
            <a:noAutofit/>
          </a:bodyPr>
          <a:lstStyle>
            <a:lvl1pPr>
              <a:defRPr/>
            </a:lvl1pPr>
          </a:lstStyle>
          <a:p>
            <a:pPr lvl="0"/>
            <a:r>
              <a:rPr lang="de-DE" dirty="0"/>
              <a:t> </a:t>
            </a:r>
          </a:p>
        </p:txBody>
      </p:sp>
      <p:sp>
        <p:nvSpPr>
          <p:cNvPr id="27" name="Brand element white top"/>
          <p:cNvSpPr>
            <a:spLocks noGrp="1"/>
          </p:cNvSpPr>
          <p:nvPr>
            <p:ph type="body" sz="quarter" idx="15" hasCustomPrompt="1"/>
          </p:nvPr>
        </p:nvSpPr>
        <p:spPr>
          <a:xfrm>
            <a:off x="0" y="0"/>
            <a:ext cx="12190222" cy="1944000"/>
          </a:xfrm>
          <a:prstGeom prst="rect">
            <a:avLst/>
          </a:prstGeom>
          <a:blipFill>
            <a:blip r:embed="rId3"/>
            <a:stretch>
              <a:fillRect/>
            </a:stretch>
          </a:blipFill>
        </p:spPr>
        <p:txBody>
          <a:bodyPr>
            <a:noAutofit/>
          </a:bodyPr>
          <a:lstStyle>
            <a:lvl1pPr>
              <a:defRPr/>
            </a:lvl1pPr>
          </a:lstStyle>
          <a:p>
            <a:pPr lvl="0"/>
            <a:r>
              <a:rPr lang="de-DE" dirty="0"/>
              <a:t> </a:t>
            </a:r>
          </a:p>
        </p:txBody>
      </p:sp>
      <p:sp>
        <p:nvSpPr>
          <p:cNvPr id="15" name="Titelplatzhalter"/>
          <p:cNvSpPr>
            <a:spLocks noGrp="1"/>
          </p:cNvSpPr>
          <p:nvPr>
            <p:ph type="title"/>
          </p:nvPr>
        </p:nvSpPr>
        <p:spPr bwMode="auto">
          <a:xfrm>
            <a:off x="289453" y="377999"/>
            <a:ext cx="11613389" cy="702000"/>
          </a:xfrm>
          <a:prstGeom prst="rect">
            <a:avLst/>
          </a:prstGeom>
        </p:spPr>
        <p:txBody>
          <a:bodyPr vert="horz" wrap="square" lIns="0" tIns="0" rIns="0" bIns="0" rtlCol="0" anchor="t" anchorCtr="0">
            <a:noAutofit/>
          </a:bodyPr>
          <a:lstStyle>
            <a:lvl1pPr>
              <a:defRPr sz="2400">
                <a:solidFill>
                  <a:schemeClr val="tx1"/>
                </a:solidFill>
              </a:defRPr>
            </a:lvl1pPr>
          </a:lstStyle>
          <a:p>
            <a:pPr lvl="0"/>
            <a:r>
              <a:rPr lang="de-DE"/>
              <a:t>Titelmasterformat durch Klicken bearbeiten</a:t>
            </a:r>
          </a:p>
        </p:txBody>
      </p:sp>
      <p:sp>
        <p:nvSpPr>
          <p:cNvPr id="18" name="SMS group logo vector"/>
          <p:cNvSpPr>
            <a:spLocks noGrp="1"/>
          </p:cNvSpPr>
          <p:nvPr>
            <p:ph type="body" sz="quarter" idx="14" hasCustomPrompt="1"/>
          </p:nvPr>
        </p:nvSpPr>
        <p:spPr>
          <a:xfrm>
            <a:off x="10099556" y="6282019"/>
            <a:ext cx="1803287" cy="255600"/>
          </a:xfrm>
          <a:prstGeom prst="rect">
            <a:avLst/>
          </a:prstGeom>
          <a:blipFill>
            <a:blip r:embed="rId4"/>
            <a:stretch>
              <a:fillRect/>
            </a:stretch>
          </a:blipFill>
        </p:spPr>
        <p:txBody>
          <a:bodyPr>
            <a:noAutofit/>
          </a:bodyPr>
          <a:lstStyle>
            <a:lvl1pPr>
              <a:defRPr/>
            </a:lvl1pPr>
          </a:lstStyle>
          <a:p>
            <a:pPr lvl="0"/>
            <a:r>
              <a:rPr lang="de-DE" dirty="0"/>
              <a:t> </a:t>
            </a:r>
          </a:p>
        </p:txBody>
      </p:sp>
      <p:sp>
        <p:nvSpPr>
          <p:cNvPr id="13" name="Foliennummernplatzhalter"/>
          <p:cNvSpPr>
            <a:spLocks noGrp="1"/>
          </p:cNvSpPr>
          <p:nvPr>
            <p:ph type="sldNum" sz="quarter" idx="4"/>
          </p:nvPr>
        </p:nvSpPr>
        <p:spPr bwMode="black">
          <a:xfrm>
            <a:off x="11468907" y="6640462"/>
            <a:ext cx="720001" cy="216000"/>
          </a:xfrm>
          <a:prstGeom prst="rect">
            <a:avLst/>
          </a:prstGeom>
        </p:spPr>
        <p:txBody>
          <a:bodyPr wrap="none" lIns="0" tIns="0" rIns="288000" bIns="36000" anchor="b" anchorCtr="0">
            <a:noAutofit/>
          </a:bodyPr>
          <a:lstStyle>
            <a:lvl1pPr algn="r">
              <a:defRPr lang="de-DE" sz="1000" smtClean="0">
                <a:solidFill>
                  <a:schemeClr val="tx1"/>
                </a:solidFill>
              </a:defRPr>
            </a:lvl1pPr>
          </a:lstStyle>
          <a:p>
            <a:fld id="{44043744-42FE-4892-90BA-7087481EB81E}" type="slidenum">
              <a:rPr lang="de-DE" smtClean="0"/>
              <a:pPr/>
              <a:t>‹#›</a:t>
            </a:fld>
            <a:endParaRPr lang="de-DE" dirty="0"/>
          </a:p>
        </p:txBody>
      </p:sp>
      <p:sp>
        <p:nvSpPr>
          <p:cNvPr id="31" name="Tags and categories"/>
          <p:cNvSpPr>
            <a:spLocks noGrp="1"/>
          </p:cNvSpPr>
          <p:nvPr>
            <p:ph type="body" sz="quarter" idx="10" hasCustomPrompt="1"/>
          </p:nvPr>
        </p:nvSpPr>
        <p:spPr>
          <a:xfrm>
            <a:off x="-1" y="6948000"/>
            <a:ext cx="8943927" cy="144000"/>
          </a:xfrm>
          <a:prstGeom prst="rect">
            <a:avLst/>
          </a:prstGeom>
        </p:spPr>
        <p:txBody>
          <a:bodyPr wrap="square" lIns="288000" tIns="0" rIns="0" bIns="0" anchor="t" anchorCtr="0">
            <a:noAutofit/>
          </a:bodyPr>
          <a:lstStyle>
            <a:lvl1pPr>
              <a:defRPr sz="800" baseline="0">
                <a:solidFill>
                  <a:schemeClr val="accent4"/>
                </a:solidFill>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de-DE" dirty="0" err="1"/>
              <a:t>Please</a:t>
            </a:r>
            <a:r>
              <a:rPr lang="de-DE" dirty="0"/>
              <a:t> check </a:t>
            </a:r>
            <a:r>
              <a:rPr lang="de-DE" dirty="0" err="1"/>
              <a:t>the</a:t>
            </a:r>
            <a:r>
              <a:rPr lang="de-DE" dirty="0"/>
              <a:t> </a:t>
            </a:r>
            <a:r>
              <a:rPr lang="de-DE" dirty="0" err="1"/>
              <a:t>speaking</a:t>
            </a:r>
            <a:r>
              <a:rPr lang="de-DE" dirty="0"/>
              <a:t> </a:t>
            </a:r>
            <a:r>
              <a:rPr lang="de-DE" dirty="0" err="1"/>
              <a:t>notes</a:t>
            </a:r>
            <a:r>
              <a:rPr lang="de-DE" dirty="0"/>
              <a:t> in </a:t>
            </a:r>
            <a:r>
              <a:rPr lang="de-DE" dirty="0" err="1"/>
              <a:t>this</a:t>
            </a:r>
            <a:r>
              <a:rPr lang="de-DE" dirty="0"/>
              <a:t> </a:t>
            </a:r>
            <a:r>
              <a:rPr lang="de-DE" dirty="0" err="1"/>
              <a:t>slide</a:t>
            </a:r>
            <a:r>
              <a:rPr lang="de-DE" dirty="0"/>
              <a:t> </a:t>
            </a:r>
            <a:r>
              <a:rPr lang="de-DE" dirty="0" err="1"/>
              <a:t>and</a:t>
            </a:r>
            <a:r>
              <a:rPr lang="de-DE" dirty="0"/>
              <a:t> </a:t>
            </a:r>
            <a:r>
              <a:rPr lang="de-DE" dirty="0" err="1"/>
              <a:t>delete</a:t>
            </a:r>
            <a:r>
              <a:rPr lang="de-DE" dirty="0"/>
              <a:t> </a:t>
            </a:r>
            <a:r>
              <a:rPr lang="de-DE" dirty="0" err="1"/>
              <a:t>if</a:t>
            </a:r>
            <a:r>
              <a:rPr lang="de-DE" dirty="0"/>
              <a:t> </a:t>
            </a:r>
            <a:r>
              <a:rPr lang="de-DE" dirty="0" err="1"/>
              <a:t>appropriate</a:t>
            </a:r>
            <a:r>
              <a:rPr lang="de-DE" dirty="0"/>
              <a:t>.</a:t>
            </a:r>
          </a:p>
        </p:txBody>
      </p:sp>
      <p:sp>
        <p:nvSpPr>
          <p:cNvPr id="32" name="Confidentiality level"/>
          <p:cNvSpPr>
            <a:spLocks noGrp="1"/>
          </p:cNvSpPr>
          <p:nvPr>
            <p:ph type="body" sz="quarter" idx="11" hasCustomPrompt="1"/>
          </p:nvPr>
        </p:nvSpPr>
        <p:spPr>
          <a:xfrm>
            <a:off x="10099556" y="6948000"/>
            <a:ext cx="2092444" cy="144000"/>
          </a:xfrm>
          <a:prstGeom prst="rect">
            <a:avLst/>
          </a:prstGeom>
        </p:spPr>
        <p:txBody>
          <a:bodyPr wrap="square" lIns="0" tIns="0" rIns="288000" bIns="0" anchor="t" anchorCtr="0">
            <a:noAutofit/>
          </a:bodyPr>
          <a:lstStyle>
            <a:lvl1pPr algn="r">
              <a:defRPr sz="800">
                <a:solidFill>
                  <a:schemeClr val="accent4"/>
                </a:solidFill>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de-DE" dirty="0" err="1"/>
              <a:t>Confidential</a:t>
            </a:r>
            <a:endParaRPr lang="de-DE" dirty="0"/>
          </a:p>
        </p:txBody>
      </p:sp>
      <p:sp>
        <p:nvSpPr>
          <p:cNvPr id="2" name="Rechteck 1" hidden="1"/>
          <p:cNvSpPr/>
          <p:nvPr userDrawn="1"/>
        </p:nvSpPr>
        <p:spPr>
          <a:xfrm>
            <a:off x="0" y="0"/>
            <a:ext cx="159040" cy="158750"/>
          </a:xfrm>
          <a:prstGeom prst="rect">
            <a:avLst/>
          </a:prstGeom>
          <a:solidFill>
            <a:schemeClr val="accent4"/>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rtl="0"/>
            <a:endParaRPr kumimoji="0" lang="de-DE" sz="2400" b="1" i="0" u="none" cap="none" baseline="0" dirty="0">
              <a:latin typeface="Calibri" panose="020F0502020204030204" pitchFamily="34" charset="0"/>
              <a:ea typeface="+mj-ea"/>
              <a:cs typeface="Arial" panose="020B0604020202020204" pitchFamily="34" charset="0"/>
            </a:endParaRPr>
          </a:p>
        </p:txBody>
      </p:sp>
      <p:sp>
        <p:nvSpPr>
          <p:cNvPr id="19" name="Datumsplatzhalter 7"/>
          <p:cNvSpPr>
            <a:spLocks noGrp="1"/>
          </p:cNvSpPr>
          <p:nvPr>
            <p:ph type="dt" sz="half" idx="2"/>
          </p:nvPr>
        </p:nvSpPr>
        <p:spPr>
          <a:xfrm>
            <a:off x="10098241" y="6640462"/>
            <a:ext cx="1334600" cy="216000"/>
          </a:xfrm>
        </p:spPr>
        <p:txBody>
          <a:bodyPr/>
          <a:lstStyle/>
          <a:p>
            <a:r>
              <a:rPr lang="en-US" dirty="0"/>
              <a:t>1st June 2022</a:t>
            </a:r>
            <a:endParaRPr lang="de-DE" dirty="0"/>
          </a:p>
        </p:txBody>
      </p:sp>
    </p:spTree>
    <p:extLst>
      <p:ext uri="{BB962C8B-B14F-4D97-AF65-F5344CB8AC3E}">
        <p14:creationId xmlns:p14="http://schemas.microsoft.com/office/powerpoint/2010/main" val="1832276650"/>
      </p:ext>
    </p:extLst>
  </p:cSld>
  <p:clrMapOvr>
    <a:masterClrMapping/>
  </p:clrMapOvr>
  <p:extLst>
    <p:ext uri="{DCECCB84-F9BA-43D5-87BE-67443E8EF086}">
      <p15:sldGuideLst xmlns:p15="http://schemas.microsoft.com/office/powerpoint/2012/main">
        <p15:guide id="1" pos="1905">
          <p15:clr>
            <a:srgbClr val="FBAE40"/>
          </p15:clr>
        </p15:guide>
        <p15:guide id="2" pos="2041">
          <p15:clr>
            <a:srgbClr val="FBAE40"/>
          </p15:clr>
        </p15:guide>
        <p15:guide id="3" pos="3765">
          <p15:clr>
            <a:srgbClr val="FBAE40"/>
          </p15:clr>
        </p15:guide>
        <p15:guide id="4" pos="3901">
          <p15:clr>
            <a:srgbClr val="FBAE40"/>
          </p15:clr>
        </p15:guide>
        <p15:guide id="5" pos="5625">
          <p15:clr>
            <a:srgbClr val="FBAE40"/>
          </p15:clr>
        </p15:guide>
        <p15:guide id="6" pos="5761">
          <p15:clr>
            <a:srgbClr val="FBAE40"/>
          </p15:clr>
        </p15:guide>
        <p15:guide id="7" orient="horz" pos="2931">
          <p15:clr>
            <a:srgbClr val="FBAE40"/>
          </p15:clr>
        </p15:guide>
        <p15:guide id="8" orient="horz" pos="2818">
          <p15:clr>
            <a:srgbClr val="FBAE40"/>
          </p15:clr>
        </p15:guide>
        <p15:guide id="9" orient="horz" pos="1842">
          <p15:clr>
            <a:srgbClr val="FBAE40"/>
          </p15:clr>
        </p15:guide>
        <p15:guide id="10" orient="horz" pos="1684">
          <p15:clr>
            <a:srgbClr val="FBAE40"/>
          </p15:clr>
        </p15:guide>
        <p15:guide id="11" orient="horz" pos="395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1030" name="SMS group style element 2" descr="W:\zwablage\CMM\Bender, Siggi\Unbenannt-1.png"/>
          <p:cNvPicPr>
            <a:picLocks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9600" y="6786000"/>
            <a:ext cx="12201600" cy="72000"/>
          </a:xfrm>
          <a:prstGeom prst="rect">
            <a:avLst/>
          </a:prstGeom>
          <a:noFill/>
          <a:extLst>
            <a:ext uri="{909E8E84-426E-40DD-AFC4-6F175D3DCCD1}">
              <a14:hiddenFill xmlns:a14="http://schemas.microsoft.com/office/drawing/2010/main">
                <a:solidFill>
                  <a:srgbClr val="FFFFFF"/>
                </a:solidFill>
              </a14:hiddenFill>
            </a:ext>
          </a:extLst>
        </p:spPr>
      </p:pic>
      <p:sp>
        <p:nvSpPr>
          <p:cNvPr id="7" name="SMS group style element"/>
          <p:cNvSpPr>
            <a:spLocks noGrp="1"/>
          </p:cNvSpPr>
          <p:nvPr userDrawn="1">
            <p:ph type="body" sz="quarter" idx="15" hasCustomPrompt="1"/>
          </p:nvPr>
        </p:nvSpPr>
        <p:spPr bwMode="gray">
          <a:xfrm>
            <a:off x="-4800" y="4680000"/>
            <a:ext cx="12201600" cy="2170800"/>
          </a:xfrm>
          <a:prstGeom prst="rect">
            <a:avLst/>
          </a:prstGeom>
          <a:blipFill>
            <a:blip r:embed="rId3">
              <a:extLst>
                <a:ext uri="{28A0092B-C50C-407E-A947-70E740481C1C}">
                  <a14:useLocalDpi xmlns:a14="http://schemas.microsoft.com/office/drawing/2010/main" val="0"/>
                </a:ext>
              </a:extLst>
            </a:blip>
            <a:stretch>
              <a:fillRect/>
            </a:stretch>
          </a:blipFill>
        </p:spPr>
        <p:txBody>
          <a:bodyPr anchor="t" anchorCtr="0">
            <a:noAutofit/>
          </a:bodyPr>
          <a:lstStyle>
            <a:lvl1pPr algn="ctr">
              <a:defRPr sz="100">
                <a:solidFill>
                  <a:sysClr val="windowText" lastClr="000000"/>
                </a:solidFill>
              </a:defRPr>
            </a:lvl1pPr>
            <a:lvl2pPr>
              <a:defRPr sz="100"/>
            </a:lvl2pPr>
            <a:lvl3pPr>
              <a:defRPr sz="100"/>
            </a:lvl3pPr>
            <a:lvl4pPr>
              <a:defRPr sz="100"/>
            </a:lvl4pPr>
            <a:lvl5pPr>
              <a:defRPr sz="100"/>
            </a:lvl5pPr>
          </a:lstStyle>
          <a:p>
            <a:pPr lvl="0"/>
            <a:r>
              <a:rPr lang="de-DE"/>
              <a:t> </a:t>
            </a:r>
            <a:endParaRPr lang="en-US"/>
          </a:p>
        </p:txBody>
      </p:sp>
      <p:sp>
        <p:nvSpPr>
          <p:cNvPr id="38" name="Textplatzhalter 11"/>
          <p:cNvSpPr>
            <a:spLocks noGrp="1"/>
          </p:cNvSpPr>
          <p:nvPr userDrawn="1">
            <p:ph type="body" sz="quarter" idx="14"/>
          </p:nvPr>
        </p:nvSpPr>
        <p:spPr bwMode="white">
          <a:xfrm>
            <a:off x="4271438" y="6660000"/>
            <a:ext cx="3649132" cy="198000"/>
          </a:xfrm>
          <a:prstGeom prst="rect">
            <a:avLst/>
          </a:prstGeom>
        </p:spPr>
        <p:txBody>
          <a:bodyPr wrap="none" tIns="36000" rIns="0" bIns="36000" anchor="ctr" anchorCtr="0">
            <a:noAutofit/>
          </a:bodyPr>
          <a:lstStyle>
            <a:lvl1pPr algn="r">
              <a:defRPr sz="600">
                <a:solidFill>
                  <a:schemeClr val="tx2"/>
                </a:solidFill>
              </a:defRPr>
            </a:lvl1pPr>
          </a:lstStyle>
          <a:p>
            <a:pPr lvl="0"/>
            <a:r>
              <a:rPr lang="de-DE"/>
              <a:t>Textmasterformat bearbeiten</a:t>
            </a:r>
          </a:p>
        </p:txBody>
      </p:sp>
      <p:sp>
        <p:nvSpPr>
          <p:cNvPr id="39" name="Textplatzhalter 10"/>
          <p:cNvSpPr>
            <a:spLocks noGrp="1"/>
          </p:cNvSpPr>
          <p:nvPr userDrawn="1">
            <p:ph type="body" sz="quarter" idx="13"/>
          </p:nvPr>
        </p:nvSpPr>
        <p:spPr bwMode="white">
          <a:xfrm>
            <a:off x="0" y="6660000"/>
            <a:ext cx="3984000" cy="198000"/>
          </a:xfrm>
          <a:prstGeom prst="rect">
            <a:avLst/>
          </a:prstGeom>
        </p:spPr>
        <p:txBody>
          <a:bodyPr wrap="none" lIns="252000" tIns="36000" bIns="36000" anchor="ctr" anchorCtr="0">
            <a:noAutofit/>
          </a:bodyPr>
          <a:lstStyle>
            <a:lvl1pPr>
              <a:defRPr sz="600" b="0">
                <a:solidFill>
                  <a:schemeClr val="tx2"/>
                </a:solidFill>
              </a:defRPr>
            </a:lvl1pPr>
          </a:lstStyle>
          <a:p>
            <a:pPr lvl="0"/>
            <a:r>
              <a:rPr lang="de-DE"/>
              <a:t>Textmasterformat bearbeiten</a:t>
            </a:r>
          </a:p>
        </p:txBody>
      </p:sp>
      <p:sp>
        <p:nvSpPr>
          <p:cNvPr id="17" name="Foliennummernplatzhalter"/>
          <p:cNvSpPr>
            <a:spLocks noGrp="1"/>
          </p:cNvSpPr>
          <p:nvPr userDrawn="1">
            <p:ph type="sldNum" sz="quarter" idx="4"/>
          </p:nvPr>
        </p:nvSpPr>
        <p:spPr bwMode="white">
          <a:xfrm>
            <a:off x="11472000" y="6480000"/>
            <a:ext cx="720000" cy="180000"/>
          </a:xfrm>
          <a:prstGeom prst="rect">
            <a:avLst/>
          </a:prstGeom>
        </p:spPr>
        <p:txBody>
          <a:bodyPr wrap="none" lIns="0" tIns="0" rIns="252000" bIns="0" anchor="ctr" anchorCtr="0">
            <a:noAutofit/>
          </a:bodyPr>
          <a:lstStyle>
            <a:lvl1pPr algn="r">
              <a:defRPr lang="de-DE" sz="750" smtClean="0">
                <a:solidFill>
                  <a:schemeClr val="tx2"/>
                </a:solidFill>
              </a:defRPr>
            </a:lvl1pPr>
          </a:lstStyle>
          <a:p>
            <a:fld id="{44043744-42FE-4892-90BA-7087481EB81E}" type="slidenum">
              <a:rPr lang="en-US" smtClean="0"/>
              <a:pPr/>
              <a:t>‹#›</a:t>
            </a:fld>
            <a:endParaRPr lang="en-US"/>
          </a:p>
        </p:txBody>
      </p:sp>
      <p:sp>
        <p:nvSpPr>
          <p:cNvPr id="15" name="Datumsplatzhalter"/>
          <p:cNvSpPr>
            <a:spLocks noGrp="1"/>
          </p:cNvSpPr>
          <p:nvPr userDrawn="1">
            <p:ph type="dt" sz="half" idx="2"/>
          </p:nvPr>
        </p:nvSpPr>
        <p:spPr bwMode="white">
          <a:xfrm>
            <a:off x="8208435" y="6480000"/>
            <a:ext cx="3263567" cy="179488"/>
          </a:xfrm>
          <a:prstGeom prst="rect">
            <a:avLst/>
          </a:prstGeom>
        </p:spPr>
        <p:txBody>
          <a:bodyPr wrap="square" lIns="0" tIns="0" rIns="0" bIns="0" anchor="ctr" anchorCtr="0">
            <a:noAutofit/>
          </a:bodyPr>
          <a:lstStyle>
            <a:lvl1pPr algn="l">
              <a:defRPr lang="en-US" sz="750" smtClean="0">
                <a:solidFill>
                  <a:schemeClr val="tx2"/>
                </a:solidFill>
              </a:defRPr>
            </a:lvl1pPr>
          </a:lstStyle>
          <a:p>
            <a:fld id="{35011CFB-35CD-4E97-ABE5-70AB652EFAE8}" type="datetime4">
              <a:rPr lang="en-US" smtClean="0"/>
              <a:t>September 11, 2025</a:t>
            </a:fld>
            <a:endParaRPr lang="de-DE"/>
          </a:p>
        </p:txBody>
      </p:sp>
      <p:sp>
        <p:nvSpPr>
          <p:cNvPr id="16" name="Fußzeilenplatzhalter"/>
          <p:cNvSpPr>
            <a:spLocks noGrp="1"/>
          </p:cNvSpPr>
          <p:nvPr userDrawn="1">
            <p:ph type="ftr" sz="quarter" idx="3"/>
          </p:nvPr>
        </p:nvSpPr>
        <p:spPr bwMode="white">
          <a:xfrm>
            <a:off x="2" y="6480000"/>
            <a:ext cx="8208433" cy="179488"/>
          </a:xfrm>
          <a:prstGeom prst="rect">
            <a:avLst/>
          </a:prstGeom>
        </p:spPr>
        <p:txBody>
          <a:bodyPr wrap="square" lIns="252000" tIns="0" rIns="0" bIns="0" anchor="ctr" anchorCtr="0">
            <a:noAutofit/>
          </a:bodyPr>
          <a:lstStyle>
            <a:lvl1pPr algn="l">
              <a:defRPr sz="750">
                <a:solidFill>
                  <a:schemeClr val="tx2"/>
                </a:solidFill>
              </a:defRPr>
            </a:lvl1pPr>
          </a:lstStyle>
          <a:p>
            <a:endParaRPr lang="de-DE" dirty="0"/>
          </a:p>
        </p:txBody>
      </p:sp>
      <p:sp>
        <p:nvSpPr>
          <p:cNvPr id="23" name="Untertitel"/>
          <p:cNvSpPr>
            <a:spLocks noGrp="1"/>
          </p:cNvSpPr>
          <p:nvPr userDrawn="1">
            <p:ph type="subTitle" idx="1"/>
          </p:nvPr>
        </p:nvSpPr>
        <p:spPr bwMode="white">
          <a:xfrm>
            <a:off x="-379" y="6175429"/>
            <a:ext cx="9600000" cy="141321"/>
          </a:xfrm>
          <a:prstGeom prst="rect">
            <a:avLst/>
          </a:prstGeom>
        </p:spPr>
        <p:txBody>
          <a:bodyPr wrap="square" lIns="252000" rIns="0" bIns="0" anchor="b" anchorCtr="0">
            <a:spAutoFit/>
          </a:bodyPr>
          <a:lstStyle>
            <a:lvl1pPr marL="0" indent="0" algn="l">
              <a:lnSpc>
                <a:spcPts val="1050"/>
              </a:lnSpc>
              <a:spcAft>
                <a:spcPts val="0"/>
              </a:spcAft>
              <a:buNone/>
              <a:defRPr sz="1050">
                <a:solidFill>
                  <a:schemeClr val="tx2"/>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de-DE"/>
              <a:t>Formatvorlage des Untertitelmasters durch Klicken bearbeiten</a:t>
            </a:r>
          </a:p>
        </p:txBody>
      </p:sp>
      <p:sp>
        <p:nvSpPr>
          <p:cNvPr id="22" name="Titel"/>
          <p:cNvSpPr>
            <a:spLocks noGrp="1"/>
          </p:cNvSpPr>
          <p:nvPr userDrawn="1">
            <p:ph type="ctrTitle"/>
          </p:nvPr>
        </p:nvSpPr>
        <p:spPr bwMode="white">
          <a:xfrm>
            <a:off x="-380" y="5400003"/>
            <a:ext cx="11857947" cy="195053"/>
          </a:xfrm>
        </p:spPr>
        <p:txBody>
          <a:bodyPr wrap="square" lIns="252000" tIns="0" rIns="0" anchor="t" anchorCtr="0">
            <a:spAutoFit/>
          </a:bodyPr>
          <a:lstStyle>
            <a:lvl1pPr algn="l">
              <a:lnSpc>
                <a:spcPts val="1500"/>
              </a:lnSpc>
              <a:defRPr baseline="0">
                <a:solidFill>
                  <a:schemeClr val="tx2"/>
                </a:solidFill>
              </a:defRPr>
            </a:lvl1pPr>
          </a:lstStyle>
          <a:p>
            <a:r>
              <a:rPr lang="de-DE"/>
              <a:t>Titelmasterformat durch Klicken bearbeiten</a:t>
            </a:r>
          </a:p>
        </p:txBody>
      </p:sp>
    </p:spTree>
    <p:extLst>
      <p:ext uri="{BB962C8B-B14F-4D97-AF65-F5344CB8AC3E}">
        <p14:creationId xmlns:p14="http://schemas.microsoft.com/office/powerpoint/2010/main" val="21806118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ontent slide - empty">
    <p:spTree>
      <p:nvGrpSpPr>
        <p:cNvPr id="1" name=""/>
        <p:cNvGrpSpPr/>
        <p:nvPr/>
      </p:nvGrpSpPr>
      <p:grpSpPr>
        <a:xfrm>
          <a:off x="0" y="0"/>
          <a:ext cx="0" cy="0"/>
          <a:chOff x="0" y="0"/>
          <a:chExt cx="0" cy="0"/>
        </a:xfrm>
      </p:grpSpPr>
      <p:sp>
        <p:nvSpPr>
          <p:cNvPr id="29" name="Green Screen" hidden="1"/>
          <p:cNvSpPr/>
          <p:nvPr userDrawn="1"/>
        </p:nvSpPr>
        <p:spPr>
          <a:xfrm>
            <a:off x="0" y="0"/>
            <a:ext cx="12190222" cy="6840000"/>
          </a:xfrm>
          <a:prstGeom prst="rect">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2" name="Brand element white bottom"/>
          <p:cNvSpPr>
            <a:spLocks noGrp="1"/>
          </p:cNvSpPr>
          <p:nvPr>
            <p:ph type="body" sz="quarter" idx="12" hasCustomPrompt="1"/>
          </p:nvPr>
        </p:nvSpPr>
        <p:spPr>
          <a:xfrm>
            <a:off x="1732934" y="5850000"/>
            <a:ext cx="10459066" cy="1008000"/>
          </a:xfrm>
          <a:prstGeom prst="rect">
            <a:avLst/>
          </a:prstGeom>
          <a:blipFill>
            <a:blip r:embed="rId2"/>
            <a:stretch>
              <a:fillRect/>
            </a:stretch>
          </a:blipFill>
        </p:spPr>
        <p:txBody>
          <a:bodyPr>
            <a:noAutofit/>
          </a:bodyPr>
          <a:lstStyle>
            <a:lvl1pPr>
              <a:defRPr/>
            </a:lvl1pPr>
          </a:lstStyle>
          <a:p>
            <a:pPr lvl="0"/>
            <a:r>
              <a:rPr lang="de-DE" dirty="0"/>
              <a:t> </a:t>
            </a:r>
          </a:p>
        </p:txBody>
      </p:sp>
      <p:sp>
        <p:nvSpPr>
          <p:cNvPr id="27" name="Brand element white top"/>
          <p:cNvSpPr>
            <a:spLocks noGrp="1"/>
          </p:cNvSpPr>
          <p:nvPr>
            <p:ph type="body" sz="quarter" idx="15" hasCustomPrompt="1"/>
          </p:nvPr>
        </p:nvSpPr>
        <p:spPr>
          <a:xfrm>
            <a:off x="0" y="0"/>
            <a:ext cx="12190222" cy="1944000"/>
          </a:xfrm>
          <a:prstGeom prst="rect">
            <a:avLst/>
          </a:prstGeom>
          <a:blipFill>
            <a:blip r:embed="rId3"/>
            <a:stretch>
              <a:fillRect/>
            </a:stretch>
          </a:blipFill>
        </p:spPr>
        <p:txBody>
          <a:bodyPr>
            <a:noAutofit/>
          </a:bodyPr>
          <a:lstStyle>
            <a:lvl1pPr>
              <a:defRPr/>
            </a:lvl1pPr>
          </a:lstStyle>
          <a:p>
            <a:pPr lvl="0"/>
            <a:r>
              <a:rPr lang="de-DE" dirty="0"/>
              <a:t> </a:t>
            </a:r>
          </a:p>
        </p:txBody>
      </p:sp>
      <p:sp>
        <p:nvSpPr>
          <p:cNvPr id="15" name="Titelplatzhalter"/>
          <p:cNvSpPr>
            <a:spLocks noGrp="1"/>
          </p:cNvSpPr>
          <p:nvPr>
            <p:ph type="title"/>
          </p:nvPr>
        </p:nvSpPr>
        <p:spPr bwMode="auto">
          <a:xfrm>
            <a:off x="289453" y="377999"/>
            <a:ext cx="11613389" cy="702000"/>
          </a:xfrm>
          <a:prstGeom prst="rect">
            <a:avLst/>
          </a:prstGeom>
        </p:spPr>
        <p:txBody>
          <a:bodyPr vert="horz" wrap="square" lIns="0" tIns="0" rIns="0" bIns="0" rtlCol="0" anchor="t" anchorCtr="0">
            <a:noAutofit/>
          </a:bodyPr>
          <a:lstStyle>
            <a:lvl1pPr>
              <a:defRPr sz="2400">
                <a:solidFill>
                  <a:schemeClr val="tx1"/>
                </a:solidFill>
              </a:defRPr>
            </a:lvl1pPr>
          </a:lstStyle>
          <a:p>
            <a:pPr lvl="0"/>
            <a:r>
              <a:rPr lang="de-DE"/>
              <a:t>Titelmasterformat durch Klicken bearbeiten</a:t>
            </a:r>
          </a:p>
        </p:txBody>
      </p:sp>
      <p:sp>
        <p:nvSpPr>
          <p:cNvPr id="18" name="SMS group logo vector"/>
          <p:cNvSpPr>
            <a:spLocks noGrp="1"/>
          </p:cNvSpPr>
          <p:nvPr>
            <p:ph type="body" sz="quarter" idx="14" hasCustomPrompt="1"/>
          </p:nvPr>
        </p:nvSpPr>
        <p:spPr>
          <a:xfrm>
            <a:off x="10099556" y="6282019"/>
            <a:ext cx="1803287" cy="255600"/>
          </a:xfrm>
          <a:prstGeom prst="rect">
            <a:avLst/>
          </a:prstGeom>
          <a:blipFill>
            <a:blip r:embed="rId4"/>
            <a:stretch>
              <a:fillRect/>
            </a:stretch>
          </a:blipFill>
        </p:spPr>
        <p:txBody>
          <a:bodyPr>
            <a:noAutofit/>
          </a:bodyPr>
          <a:lstStyle>
            <a:lvl1pPr>
              <a:defRPr/>
            </a:lvl1pPr>
          </a:lstStyle>
          <a:p>
            <a:pPr lvl="0"/>
            <a:r>
              <a:rPr lang="de-DE" dirty="0"/>
              <a:t> </a:t>
            </a:r>
          </a:p>
        </p:txBody>
      </p:sp>
      <p:sp>
        <p:nvSpPr>
          <p:cNvPr id="13" name="Foliennummernplatzhalter"/>
          <p:cNvSpPr>
            <a:spLocks noGrp="1"/>
          </p:cNvSpPr>
          <p:nvPr>
            <p:ph type="sldNum" sz="quarter" idx="4"/>
          </p:nvPr>
        </p:nvSpPr>
        <p:spPr bwMode="black">
          <a:xfrm>
            <a:off x="11468907" y="6640462"/>
            <a:ext cx="720001" cy="216000"/>
          </a:xfrm>
          <a:prstGeom prst="rect">
            <a:avLst/>
          </a:prstGeom>
        </p:spPr>
        <p:txBody>
          <a:bodyPr wrap="none" lIns="0" tIns="0" rIns="288000" bIns="36000" anchor="b" anchorCtr="0">
            <a:noAutofit/>
          </a:bodyPr>
          <a:lstStyle>
            <a:lvl1pPr algn="r">
              <a:defRPr lang="de-DE" sz="1000" smtClean="0">
                <a:solidFill>
                  <a:schemeClr val="tx1"/>
                </a:solidFill>
              </a:defRPr>
            </a:lvl1pPr>
          </a:lstStyle>
          <a:p>
            <a:fld id="{44043744-42FE-4892-90BA-7087481EB81E}" type="slidenum">
              <a:rPr lang="de-DE" smtClean="0"/>
              <a:pPr/>
              <a:t>‹#›</a:t>
            </a:fld>
            <a:endParaRPr lang="de-DE" dirty="0"/>
          </a:p>
        </p:txBody>
      </p:sp>
      <p:sp>
        <p:nvSpPr>
          <p:cNvPr id="31" name="Tags and categories"/>
          <p:cNvSpPr>
            <a:spLocks noGrp="1"/>
          </p:cNvSpPr>
          <p:nvPr>
            <p:ph type="body" sz="quarter" idx="10" hasCustomPrompt="1"/>
          </p:nvPr>
        </p:nvSpPr>
        <p:spPr>
          <a:xfrm>
            <a:off x="-1" y="6948000"/>
            <a:ext cx="8943927" cy="144000"/>
          </a:xfrm>
          <a:prstGeom prst="rect">
            <a:avLst/>
          </a:prstGeom>
        </p:spPr>
        <p:txBody>
          <a:bodyPr wrap="square" lIns="288000" tIns="0" rIns="0" bIns="0" anchor="t" anchorCtr="0">
            <a:noAutofit/>
          </a:bodyPr>
          <a:lstStyle>
            <a:lvl1pPr>
              <a:defRPr sz="800" baseline="0">
                <a:solidFill>
                  <a:schemeClr val="accent4"/>
                </a:solidFill>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de-DE" dirty="0" err="1"/>
              <a:t>Please</a:t>
            </a:r>
            <a:r>
              <a:rPr lang="de-DE" dirty="0"/>
              <a:t> check </a:t>
            </a:r>
            <a:r>
              <a:rPr lang="de-DE" dirty="0" err="1"/>
              <a:t>the</a:t>
            </a:r>
            <a:r>
              <a:rPr lang="de-DE" dirty="0"/>
              <a:t> </a:t>
            </a:r>
            <a:r>
              <a:rPr lang="de-DE" dirty="0" err="1"/>
              <a:t>speaking</a:t>
            </a:r>
            <a:r>
              <a:rPr lang="de-DE" dirty="0"/>
              <a:t> </a:t>
            </a:r>
            <a:r>
              <a:rPr lang="de-DE" dirty="0" err="1"/>
              <a:t>notes</a:t>
            </a:r>
            <a:r>
              <a:rPr lang="de-DE" dirty="0"/>
              <a:t> in </a:t>
            </a:r>
            <a:r>
              <a:rPr lang="de-DE" dirty="0" err="1"/>
              <a:t>this</a:t>
            </a:r>
            <a:r>
              <a:rPr lang="de-DE" dirty="0"/>
              <a:t> </a:t>
            </a:r>
            <a:r>
              <a:rPr lang="de-DE" dirty="0" err="1"/>
              <a:t>slide</a:t>
            </a:r>
            <a:r>
              <a:rPr lang="de-DE" dirty="0"/>
              <a:t> </a:t>
            </a:r>
            <a:r>
              <a:rPr lang="de-DE" dirty="0" err="1"/>
              <a:t>and</a:t>
            </a:r>
            <a:r>
              <a:rPr lang="de-DE" dirty="0"/>
              <a:t> </a:t>
            </a:r>
            <a:r>
              <a:rPr lang="de-DE" dirty="0" err="1"/>
              <a:t>delete</a:t>
            </a:r>
            <a:r>
              <a:rPr lang="de-DE" dirty="0"/>
              <a:t> </a:t>
            </a:r>
            <a:r>
              <a:rPr lang="de-DE" dirty="0" err="1"/>
              <a:t>if</a:t>
            </a:r>
            <a:r>
              <a:rPr lang="de-DE" dirty="0"/>
              <a:t> </a:t>
            </a:r>
            <a:r>
              <a:rPr lang="de-DE" dirty="0" err="1"/>
              <a:t>appropriate</a:t>
            </a:r>
            <a:r>
              <a:rPr lang="de-DE" dirty="0"/>
              <a:t>.</a:t>
            </a:r>
          </a:p>
        </p:txBody>
      </p:sp>
      <p:sp>
        <p:nvSpPr>
          <p:cNvPr id="32" name="Confidentiality level"/>
          <p:cNvSpPr>
            <a:spLocks noGrp="1"/>
          </p:cNvSpPr>
          <p:nvPr>
            <p:ph type="body" sz="quarter" idx="11" hasCustomPrompt="1"/>
          </p:nvPr>
        </p:nvSpPr>
        <p:spPr>
          <a:xfrm>
            <a:off x="10099556" y="6948000"/>
            <a:ext cx="2092444" cy="144000"/>
          </a:xfrm>
          <a:prstGeom prst="rect">
            <a:avLst/>
          </a:prstGeom>
        </p:spPr>
        <p:txBody>
          <a:bodyPr wrap="square" lIns="0" tIns="0" rIns="288000" bIns="0" anchor="t" anchorCtr="0">
            <a:noAutofit/>
          </a:bodyPr>
          <a:lstStyle>
            <a:lvl1pPr algn="r">
              <a:defRPr sz="800">
                <a:solidFill>
                  <a:schemeClr val="accent4"/>
                </a:solidFill>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de-DE" dirty="0" err="1"/>
              <a:t>Confidential</a:t>
            </a:r>
            <a:endParaRPr lang="de-DE" dirty="0"/>
          </a:p>
        </p:txBody>
      </p:sp>
      <p:sp>
        <p:nvSpPr>
          <p:cNvPr id="2" name="Rechteck 1" hidden="1"/>
          <p:cNvSpPr/>
          <p:nvPr userDrawn="1"/>
        </p:nvSpPr>
        <p:spPr>
          <a:xfrm>
            <a:off x="0" y="0"/>
            <a:ext cx="159040" cy="158750"/>
          </a:xfrm>
          <a:prstGeom prst="rect">
            <a:avLst/>
          </a:prstGeom>
          <a:solidFill>
            <a:schemeClr val="accent4"/>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rtl="0"/>
            <a:endParaRPr kumimoji="0" lang="de-DE" sz="2400" b="1" i="0" u="none" cap="none" baseline="0" dirty="0">
              <a:latin typeface="Calibri" panose="020F0502020204030204" pitchFamily="34" charset="0"/>
              <a:ea typeface="+mj-ea"/>
              <a:cs typeface="Arial" panose="020B0604020202020204" pitchFamily="34" charset="0"/>
            </a:endParaRPr>
          </a:p>
        </p:txBody>
      </p:sp>
      <p:sp>
        <p:nvSpPr>
          <p:cNvPr id="19" name="Datumsplatzhalter 7"/>
          <p:cNvSpPr>
            <a:spLocks noGrp="1"/>
          </p:cNvSpPr>
          <p:nvPr>
            <p:ph type="dt" sz="half" idx="2"/>
          </p:nvPr>
        </p:nvSpPr>
        <p:spPr>
          <a:xfrm>
            <a:off x="10098241" y="6640462"/>
            <a:ext cx="1334600" cy="216000"/>
          </a:xfrm>
        </p:spPr>
        <p:txBody>
          <a:bodyPr/>
          <a:lstStyle/>
          <a:p>
            <a:r>
              <a:rPr lang="en-US" dirty="0"/>
              <a:t>1st June 2022</a:t>
            </a:r>
            <a:endParaRPr lang="de-DE" dirty="0"/>
          </a:p>
        </p:txBody>
      </p:sp>
    </p:spTree>
    <p:extLst>
      <p:ext uri="{BB962C8B-B14F-4D97-AF65-F5344CB8AC3E}">
        <p14:creationId xmlns:p14="http://schemas.microsoft.com/office/powerpoint/2010/main" val="3414180228"/>
      </p:ext>
    </p:extLst>
  </p:cSld>
  <p:clrMapOvr>
    <a:masterClrMapping/>
  </p:clrMapOvr>
  <p:extLst>
    <p:ext uri="{DCECCB84-F9BA-43D5-87BE-67443E8EF086}">
      <p15:sldGuideLst xmlns:p15="http://schemas.microsoft.com/office/powerpoint/2012/main">
        <p15:guide id="1" pos="1905">
          <p15:clr>
            <a:srgbClr val="FBAE40"/>
          </p15:clr>
        </p15:guide>
        <p15:guide id="2" pos="2041">
          <p15:clr>
            <a:srgbClr val="FBAE40"/>
          </p15:clr>
        </p15:guide>
        <p15:guide id="3" pos="3765">
          <p15:clr>
            <a:srgbClr val="FBAE40"/>
          </p15:clr>
        </p15:guide>
        <p15:guide id="4" pos="3901">
          <p15:clr>
            <a:srgbClr val="FBAE40"/>
          </p15:clr>
        </p15:guide>
        <p15:guide id="5" pos="5625">
          <p15:clr>
            <a:srgbClr val="FBAE40"/>
          </p15:clr>
        </p15:guide>
        <p15:guide id="6" pos="5761">
          <p15:clr>
            <a:srgbClr val="FBAE40"/>
          </p15:clr>
        </p15:guide>
        <p15:guide id="7" orient="horz" pos="2931">
          <p15:clr>
            <a:srgbClr val="FBAE40"/>
          </p15:clr>
        </p15:guide>
        <p15:guide id="8" orient="horz" pos="2818">
          <p15:clr>
            <a:srgbClr val="FBAE40"/>
          </p15:clr>
        </p15:guide>
        <p15:guide id="9" orient="horz" pos="1842">
          <p15:clr>
            <a:srgbClr val="FBAE40"/>
          </p15:clr>
        </p15:guide>
        <p15:guide id="10" orient="horz" pos="1684">
          <p15:clr>
            <a:srgbClr val="FBAE40"/>
          </p15:clr>
        </p15:guide>
        <p15:guide id="11" orient="horz" pos="395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Content slide - empty">
    <p:spTree>
      <p:nvGrpSpPr>
        <p:cNvPr id="1" name=""/>
        <p:cNvGrpSpPr/>
        <p:nvPr/>
      </p:nvGrpSpPr>
      <p:grpSpPr>
        <a:xfrm>
          <a:off x="0" y="0"/>
          <a:ext cx="0" cy="0"/>
          <a:chOff x="0" y="0"/>
          <a:chExt cx="0" cy="0"/>
        </a:xfrm>
      </p:grpSpPr>
      <p:sp>
        <p:nvSpPr>
          <p:cNvPr id="12" name="Brand element white bottom"/>
          <p:cNvSpPr>
            <a:spLocks noGrp="1"/>
          </p:cNvSpPr>
          <p:nvPr>
            <p:ph type="body" sz="quarter" idx="12" hasCustomPrompt="1"/>
          </p:nvPr>
        </p:nvSpPr>
        <p:spPr>
          <a:xfrm>
            <a:off x="1732934" y="5850000"/>
            <a:ext cx="10459066" cy="1008000"/>
          </a:xfrm>
          <a:prstGeom prst="rect">
            <a:avLst/>
          </a:prstGeom>
          <a:blipFill>
            <a:blip r:embed="rId2"/>
            <a:stretch>
              <a:fillRect/>
            </a:stretch>
          </a:blipFill>
        </p:spPr>
        <p:txBody>
          <a:bodyPr>
            <a:noAutofit/>
          </a:bodyPr>
          <a:lstStyle>
            <a:lvl1pPr>
              <a:defRPr/>
            </a:lvl1pPr>
          </a:lstStyle>
          <a:p>
            <a:pPr lvl="0"/>
            <a:r>
              <a:rPr lang="de-DE" dirty="0"/>
              <a:t> </a:t>
            </a:r>
          </a:p>
        </p:txBody>
      </p:sp>
      <p:sp>
        <p:nvSpPr>
          <p:cNvPr id="29" name="Green Screen" hidden="1"/>
          <p:cNvSpPr/>
          <p:nvPr userDrawn="1"/>
        </p:nvSpPr>
        <p:spPr>
          <a:xfrm>
            <a:off x="0" y="0"/>
            <a:ext cx="12190222" cy="6840000"/>
          </a:xfrm>
          <a:prstGeom prst="rect">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Calibri"/>
              <a:ea typeface="+mn-ea"/>
              <a:cs typeface="+mn-cs"/>
            </a:endParaRPr>
          </a:p>
        </p:txBody>
      </p:sp>
      <p:sp>
        <p:nvSpPr>
          <p:cNvPr id="15" name="Titelplatzhalter"/>
          <p:cNvSpPr>
            <a:spLocks noGrp="1"/>
          </p:cNvSpPr>
          <p:nvPr>
            <p:ph type="title"/>
          </p:nvPr>
        </p:nvSpPr>
        <p:spPr bwMode="auto">
          <a:xfrm>
            <a:off x="289454" y="377999"/>
            <a:ext cx="11613389" cy="702000"/>
          </a:xfrm>
          <a:prstGeom prst="rect">
            <a:avLst/>
          </a:prstGeom>
        </p:spPr>
        <p:txBody>
          <a:bodyPr vert="horz" wrap="square" lIns="0" tIns="0" rIns="0" bIns="0" rtlCol="0" anchor="t" anchorCtr="0">
            <a:noAutofit/>
          </a:bodyPr>
          <a:lstStyle>
            <a:lvl1pPr>
              <a:defRPr sz="2400">
                <a:solidFill>
                  <a:schemeClr val="tx1"/>
                </a:solidFill>
              </a:defRPr>
            </a:lvl1pPr>
          </a:lstStyle>
          <a:p>
            <a:pPr lvl="0"/>
            <a:r>
              <a:rPr lang="de-DE"/>
              <a:t>Titelmasterformat durch Klicken bearbeiten</a:t>
            </a:r>
          </a:p>
        </p:txBody>
      </p:sp>
      <p:sp>
        <p:nvSpPr>
          <p:cNvPr id="18" name="SMS group logo vector"/>
          <p:cNvSpPr>
            <a:spLocks noGrp="1"/>
          </p:cNvSpPr>
          <p:nvPr>
            <p:ph type="body" sz="quarter" idx="14" hasCustomPrompt="1"/>
          </p:nvPr>
        </p:nvSpPr>
        <p:spPr>
          <a:xfrm>
            <a:off x="10099557" y="6282019"/>
            <a:ext cx="1803287" cy="255600"/>
          </a:xfrm>
          <a:prstGeom prst="rect">
            <a:avLst/>
          </a:prstGeom>
          <a:blipFill>
            <a:blip r:embed="rId3"/>
            <a:stretch>
              <a:fillRect/>
            </a:stretch>
          </a:blipFill>
        </p:spPr>
        <p:txBody>
          <a:bodyPr>
            <a:noAutofit/>
          </a:bodyPr>
          <a:lstStyle>
            <a:lvl1pPr>
              <a:defRPr/>
            </a:lvl1pPr>
          </a:lstStyle>
          <a:p>
            <a:pPr lvl="0"/>
            <a:r>
              <a:rPr lang="de-DE" dirty="0"/>
              <a:t> </a:t>
            </a:r>
          </a:p>
        </p:txBody>
      </p:sp>
      <p:sp>
        <p:nvSpPr>
          <p:cNvPr id="13" name="Foliennummernplatzhalter"/>
          <p:cNvSpPr>
            <a:spLocks noGrp="1"/>
          </p:cNvSpPr>
          <p:nvPr>
            <p:ph type="sldNum" sz="quarter" idx="4"/>
          </p:nvPr>
        </p:nvSpPr>
        <p:spPr bwMode="black">
          <a:xfrm>
            <a:off x="11468908" y="6640462"/>
            <a:ext cx="720001" cy="216000"/>
          </a:xfrm>
          <a:prstGeom prst="rect">
            <a:avLst/>
          </a:prstGeom>
        </p:spPr>
        <p:txBody>
          <a:bodyPr wrap="none" lIns="0" tIns="0" rIns="288000" bIns="36000" anchor="b" anchorCtr="0">
            <a:noAutofit/>
          </a:bodyPr>
          <a:lstStyle>
            <a:lvl1pPr algn="r">
              <a:defRPr lang="de-DE" sz="1000" smtClean="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4043744-42FE-4892-90BA-7087481EB81E}" type="slidenum">
              <a:rPr kumimoji="0" lang="de-DE" sz="10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de-DE" sz="10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6" name="Datumsplatzhalter"/>
          <p:cNvSpPr>
            <a:spLocks noGrp="1"/>
          </p:cNvSpPr>
          <p:nvPr>
            <p:ph type="dt" sz="half" idx="2"/>
          </p:nvPr>
        </p:nvSpPr>
        <p:spPr bwMode="black">
          <a:xfrm>
            <a:off x="10098242" y="6640462"/>
            <a:ext cx="1334600" cy="216000"/>
          </a:xfrm>
          <a:prstGeom prst="rect">
            <a:avLst/>
          </a:prstGeom>
        </p:spPr>
        <p:txBody>
          <a:bodyPr wrap="square" lIns="0" tIns="0" rIns="0" bIns="36000" anchor="b" anchorCtr="0">
            <a:noAutofit/>
          </a:bodyPr>
          <a:lstStyle>
            <a:lvl1pPr algn="l">
              <a:defRPr lang="en-US" sz="1000" smtClean="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F9A72395-0365-4637-8A17-5DC21426E8C0}" type="datetime4">
              <a:rPr kumimoji="0" lang="en-US" sz="1000" b="0" i="0" u="none" strike="noStrike" kern="1200" cap="none" spc="0" normalizeH="0" baseline="0" noProof="0" smtClean="0">
                <a:ln>
                  <a:noFill/>
                </a:ln>
                <a:solidFill>
                  <a:srgbClr val="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September 11, 2025</a:t>
            </a:fld>
            <a:endParaRPr kumimoji="0" lang="de-DE" sz="10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7" name="Fußzeilenplatzhalter"/>
          <p:cNvSpPr>
            <a:spLocks noGrp="1"/>
          </p:cNvSpPr>
          <p:nvPr>
            <p:ph type="ftr" sz="quarter" idx="3"/>
          </p:nvPr>
        </p:nvSpPr>
        <p:spPr bwMode="black">
          <a:xfrm>
            <a:off x="1" y="6640462"/>
            <a:ext cx="10050319" cy="216000"/>
          </a:xfrm>
          <a:prstGeom prst="rect">
            <a:avLst/>
          </a:prstGeom>
        </p:spPr>
        <p:txBody>
          <a:bodyPr wrap="square" lIns="2592000" tIns="0" rIns="216000" bIns="36000" anchor="b" anchorCtr="0">
            <a:noAutofit/>
          </a:bodyPr>
          <a:lstStyle>
            <a:lvl1pPr algn="r">
              <a:defRPr sz="10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4.0 Mtpy HRC production complex - SMS solution out of one hand</a:t>
            </a:r>
            <a:endParaRPr kumimoji="0" lang="de-DE" sz="1000" b="0" i="0" u="none" strike="noStrike" kern="1200" cap="none" spc="0" normalizeH="0" baseline="0" noProof="0" dirty="0">
              <a:ln>
                <a:noFill/>
              </a:ln>
              <a:solidFill>
                <a:srgbClr val="000000"/>
              </a:solidFill>
              <a:effectLst/>
              <a:uLnTx/>
              <a:uFillTx/>
              <a:latin typeface="Calibri"/>
              <a:ea typeface="+mn-ea"/>
              <a:cs typeface="+mn-cs"/>
            </a:endParaRPr>
          </a:p>
        </p:txBody>
      </p:sp>
      <p:sp>
        <p:nvSpPr>
          <p:cNvPr id="31" name="Tags and categories"/>
          <p:cNvSpPr>
            <a:spLocks noGrp="1"/>
          </p:cNvSpPr>
          <p:nvPr>
            <p:ph type="body" sz="quarter" idx="10" hasCustomPrompt="1"/>
          </p:nvPr>
        </p:nvSpPr>
        <p:spPr>
          <a:xfrm>
            <a:off x="0" y="6948000"/>
            <a:ext cx="8943927" cy="144000"/>
          </a:xfrm>
          <a:prstGeom prst="rect">
            <a:avLst/>
          </a:prstGeom>
        </p:spPr>
        <p:txBody>
          <a:bodyPr wrap="square" lIns="288000" tIns="0" rIns="0" bIns="0" anchor="t" anchorCtr="0">
            <a:noAutofit/>
          </a:bodyPr>
          <a:lstStyle>
            <a:lvl1pPr>
              <a:defRPr sz="800" baseline="0">
                <a:solidFill>
                  <a:schemeClr val="accent4"/>
                </a:solidFill>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de-DE" dirty="0" err="1"/>
              <a:t>Please</a:t>
            </a:r>
            <a:r>
              <a:rPr lang="de-DE" dirty="0"/>
              <a:t> check </a:t>
            </a:r>
            <a:r>
              <a:rPr lang="de-DE" dirty="0" err="1"/>
              <a:t>the</a:t>
            </a:r>
            <a:r>
              <a:rPr lang="de-DE" dirty="0"/>
              <a:t> </a:t>
            </a:r>
            <a:r>
              <a:rPr lang="de-DE" dirty="0" err="1"/>
              <a:t>speaking</a:t>
            </a:r>
            <a:r>
              <a:rPr lang="de-DE" dirty="0"/>
              <a:t> </a:t>
            </a:r>
            <a:r>
              <a:rPr lang="de-DE" dirty="0" err="1"/>
              <a:t>notes</a:t>
            </a:r>
            <a:r>
              <a:rPr lang="de-DE" dirty="0"/>
              <a:t> in </a:t>
            </a:r>
            <a:r>
              <a:rPr lang="de-DE" dirty="0" err="1"/>
              <a:t>this</a:t>
            </a:r>
            <a:r>
              <a:rPr lang="de-DE" dirty="0"/>
              <a:t> </a:t>
            </a:r>
            <a:r>
              <a:rPr lang="de-DE" dirty="0" err="1"/>
              <a:t>slide</a:t>
            </a:r>
            <a:r>
              <a:rPr lang="de-DE" dirty="0"/>
              <a:t> </a:t>
            </a:r>
            <a:r>
              <a:rPr lang="de-DE" dirty="0" err="1"/>
              <a:t>and</a:t>
            </a:r>
            <a:r>
              <a:rPr lang="de-DE" dirty="0"/>
              <a:t> </a:t>
            </a:r>
            <a:r>
              <a:rPr lang="de-DE" dirty="0" err="1"/>
              <a:t>delete</a:t>
            </a:r>
            <a:r>
              <a:rPr lang="de-DE" dirty="0"/>
              <a:t> </a:t>
            </a:r>
            <a:r>
              <a:rPr lang="de-DE" dirty="0" err="1"/>
              <a:t>if</a:t>
            </a:r>
            <a:r>
              <a:rPr lang="de-DE" dirty="0"/>
              <a:t> </a:t>
            </a:r>
            <a:r>
              <a:rPr lang="de-DE" dirty="0" err="1"/>
              <a:t>appropriate</a:t>
            </a:r>
            <a:r>
              <a:rPr lang="de-DE" dirty="0"/>
              <a:t>.</a:t>
            </a:r>
          </a:p>
        </p:txBody>
      </p:sp>
      <p:sp>
        <p:nvSpPr>
          <p:cNvPr id="32" name="Confidentiality level"/>
          <p:cNvSpPr>
            <a:spLocks noGrp="1"/>
          </p:cNvSpPr>
          <p:nvPr>
            <p:ph type="body" sz="quarter" idx="11" hasCustomPrompt="1"/>
          </p:nvPr>
        </p:nvSpPr>
        <p:spPr>
          <a:xfrm>
            <a:off x="10099556" y="6948000"/>
            <a:ext cx="2092444" cy="144000"/>
          </a:xfrm>
          <a:prstGeom prst="rect">
            <a:avLst/>
          </a:prstGeom>
        </p:spPr>
        <p:txBody>
          <a:bodyPr wrap="square" lIns="0" tIns="0" rIns="288000" bIns="0" anchor="t" anchorCtr="0">
            <a:noAutofit/>
          </a:bodyPr>
          <a:lstStyle>
            <a:lvl1pPr algn="r">
              <a:defRPr sz="800">
                <a:solidFill>
                  <a:schemeClr val="accent4"/>
                </a:solidFill>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de-DE" dirty="0" err="1"/>
              <a:t>Confidential</a:t>
            </a:r>
            <a:endParaRPr lang="de-DE" dirty="0"/>
          </a:p>
        </p:txBody>
      </p:sp>
    </p:spTree>
    <p:extLst>
      <p:ext uri="{BB962C8B-B14F-4D97-AF65-F5344CB8AC3E}">
        <p14:creationId xmlns:p14="http://schemas.microsoft.com/office/powerpoint/2010/main" val="281434996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extLst>
    <p:ext uri="{DCECCB84-F9BA-43D5-87BE-67443E8EF086}">
      <p15:sldGuideLst xmlns:p15="http://schemas.microsoft.com/office/powerpoint/2012/main">
        <p15:guide id="1" pos="1908">
          <p15:clr>
            <a:srgbClr val="FBAE40"/>
          </p15:clr>
        </p15:guide>
        <p15:guide id="2" pos="2045">
          <p15:clr>
            <a:srgbClr val="FBAE40"/>
          </p15:clr>
        </p15:guide>
        <p15:guide id="3" pos="3772">
          <p15:clr>
            <a:srgbClr val="FBAE40"/>
          </p15:clr>
        </p15:guide>
        <p15:guide id="4" pos="3908">
          <p15:clr>
            <a:srgbClr val="FBAE40"/>
          </p15:clr>
        </p15:guide>
        <p15:guide id="5" pos="5635">
          <p15:clr>
            <a:srgbClr val="FBAE40"/>
          </p15:clr>
        </p15:guide>
        <p15:guide id="6" pos="5772">
          <p15:clr>
            <a:srgbClr val="FBAE40"/>
          </p15:clr>
        </p15:guide>
        <p15:guide id="7" orient="horz" pos="2931">
          <p15:clr>
            <a:srgbClr val="FBAE40"/>
          </p15:clr>
        </p15:guide>
        <p15:guide id="8" orient="horz" pos="2818">
          <p15:clr>
            <a:srgbClr val="FBAE40"/>
          </p15:clr>
        </p15:guide>
        <p15:guide id="9" orient="horz" pos="1842">
          <p15:clr>
            <a:srgbClr val="FBAE40"/>
          </p15:clr>
        </p15:guide>
        <p15:guide id="10" orient="horz" pos="1684">
          <p15:clr>
            <a:srgbClr val="FBAE40"/>
          </p15:clr>
        </p15:guide>
        <p15:guide id="11" orient="horz" pos="395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D9295A-8162-43A2-9412-E3BDB89A1243}"/>
              </a:ext>
            </a:extLst>
          </p:cNvPr>
          <p:cNvSpPr>
            <a:spLocks noGrp="1"/>
          </p:cNvSpPr>
          <p:nvPr>
            <p:ph type="title"/>
          </p:nvPr>
        </p:nvSpPr>
        <p:spPr/>
        <p:txBody>
          <a:bodyPr/>
          <a:lstStyle/>
          <a:p>
            <a:r>
              <a:rPr lang="en-US"/>
              <a:t>Click to edit Master title style</a:t>
            </a:r>
            <a:endParaRPr lang="en-ZA"/>
          </a:p>
        </p:txBody>
      </p:sp>
      <p:sp>
        <p:nvSpPr>
          <p:cNvPr id="3" name="Content Placeholder 2">
            <a:extLst>
              <a:ext uri="{FF2B5EF4-FFF2-40B4-BE49-F238E27FC236}">
                <a16:creationId xmlns:a16="http://schemas.microsoft.com/office/drawing/2014/main" id="{2441F722-A157-437A-80EA-11E4C07E24B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DCBDAC15-4C3A-44B2-848E-D7504D09A961}"/>
              </a:ext>
            </a:extLst>
          </p:cNvPr>
          <p:cNvSpPr>
            <a:spLocks noGrp="1"/>
          </p:cNvSpPr>
          <p:nvPr>
            <p:ph type="dt" sz="half" idx="10"/>
          </p:nvPr>
        </p:nvSpPr>
        <p:spPr/>
        <p:txBody>
          <a:bodyPr/>
          <a:lstStyle/>
          <a:p>
            <a:fld id="{5DDBFF04-456B-4365-8D3A-3CFD21C6D3BC}" type="datetimeFigureOut">
              <a:rPr lang="en-ZA" smtClean="0"/>
              <a:t>2025/09/11</a:t>
            </a:fld>
            <a:endParaRPr lang="en-ZA"/>
          </a:p>
        </p:txBody>
      </p:sp>
      <p:sp>
        <p:nvSpPr>
          <p:cNvPr id="5" name="Footer Placeholder 4">
            <a:extLst>
              <a:ext uri="{FF2B5EF4-FFF2-40B4-BE49-F238E27FC236}">
                <a16:creationId xmlns:a16="http://schemas.microsoft.com/office/drawing/2014/main" id="{10499DD0-6BFE-4710-8210-99C5A97168AE}"/>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id="{4DDC6A09-F7B6-449D-9303-A6F624DD5142}"/>
              </a:ext>
            </a:extLst>
          </p:cNvPr>
          <p:cNvSpPr>
            <a:spLocks noGrp="1"/>
          </p:cNvSpPr>
          <p:nvPr>
            <p:ph type="sldNum" sz="quarter" idx="12"/>
          </p:nvPr>
        </p:nvSpPr>
        <p:spPr/>
        <p:txBody>
          <a:bodyPr/>
          <a:lstStyle/>
          <a:p>
            <a:fld id="{B14D185F-6E29-46FE-954C-EB708A9E891B}" type="slidenum">
              <a:rPr lang="en-ZA" smtClean="0"/>
              <a:t>‹#›</a:t>
            </a:fld>
            <a:endParaRPr lang="en-ZA"/>
          </a:p>
        </p:txBody>
      </p:sp>
    </p:spTree>
    <p:extLst>
      <p:ext uri="{BB962C8B-B14F-4D97-AF65-F5344CB8AC3E}">
        <p14:creationId xmlns:p14="http://schemas.microsoft.com/office/powerpoint/2010/main" val="74494120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slideLayout" Target="../slideLayouts/slideLayout5.xml"/><Relationship Id="rId1" Type="http://schemas.openxmlformats.org/officeDocument/2006/relationships/slideLayout" Target="../slideLayouts/slideLayout4.xml"/><Relationship Id="rId5" Type="http://schemas.openxmlformats.org/officeDocument/2006/relationships/theme" Target="../theme/theme2.xml"/><Relationship Id="rId4" Type="http://schemas.openxmlformats.org/officeDocument/2006/relationships/slideLayout" Target="../slideLayouts/slideLayout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Foliennummernplatzhalter"/>
          <p:cNvSpPr>
            <a:spLocks noGrp="1"/>
          </p:cNvSpPr>
          <p:nvPr>
            <p:ph type="sldNum" sz="quarter" idx="4"/>
          </p:nvPr>
        </p:nvSpPr>
        <p:spPr bwMode="black">
          <a:xfrm>
            <a:off x="11472000" y="6480000"/>
            <a:ext cx="720000" cy="180000"/>
          </a:xfrm>
          <a:prstGeom prst="rect">
            <a:avLst/>
          </a:prstGeom>
        </p:spPr>
        <p:txBody>
          <a:bodyPr wrap="none" lIns="0" tIns="0" rIns="252000" bIns="0" anchor="ctr" anchorCtr="0">
            <a:noAutofit/>
          </a:bodyPr>
          <a:lstStyle>
            <a:lvl1pPr algn="r">
              <a:defRPr lang="de-DE" sz="750" smtClean="0">
                <a:solidFill>
                  <a:schemeClr val="tx1"/>
                </a:solidFill>
              </a:defRPr>
            </a:lvl1pPr>
          </a:lstStyle>
          <a:p>
            <a:fld id="{44043744-42FE-4892-90BA-7087481EB81E}" type="slidenum">
              <a:rPr lang="de-DE" smtClean="0"/>
              <a:pPr/>
              <a:t>‹#›</a:t>
            </a:fld>
            <a:endParaRPr lang="de-DE"/>
          </a:p>
        </p:txBody>
      </p:sp>
      <p:sp>
        <p:nvSpPr>
          <p:cNvPr id="10" name="Datumsplatzhalter"/>
          <p:cNvSpPr>
            <a:spLocks noGrp="1"/>
          </p:cNvSpPr>
          <p:nvPr>
            <p:ph type="dt" sz="half" idx="2"/>
          </p:nvPr>
        </p:nvSpPr>
        <p:spPr bwMode="black">
          <a:xfrm>
            <a:off x="8208435" y="6480000"/>
            <a:ext cx="3263567" cy="179488"/>
          </a:xfrm>
          <a:prstGeom prst="rect">
            <a:avLst/>
          </a:prstGeom>
        </p:spPr>
        <p:txBody>
          <a:bodyPr wrap="square" lIns="0" tIns="0" rIns="0" bIns="0" anchor="ctr" anchorCtr="0">
            <a:noAutofit/>
          </a:bodyPr>
          <a:lstStyle>
            <a:lvl1pPr algn="l">
              <a:defRPr lang="en-US" sz="750" smtClean="0">
                <a:solidFill>
                  <a:schemeClr val="tx1"/>
                </a:solidFill>
              </a:defRPr>
            </a:lvl1pPr>
          </a:lstStyle>
          <a:p>
            <a:fld id="{CCDB4BEA-D767-4A3B-BFC5-6BC0E5814962}" type="datetime4">
              <a:rPr lang="en-US" smtClean="0"/>
              <a:t>September 11, 2025</a:t>
            </a:fld>
            <a:endParaRPr lang="de-DE"/>
          </a:p>
        </p:txBody>
      </p:sp>
      <p:sp>
        <p:nvSpPr>
          <p:cNvPr id="11" name="Fußzeilenplatzhalter"/>
          <p:cNvSpPr>
            <a:spLocks noGrp="1"/>
          </p:cNvSpPr>
          <p:nvPr>
            <p:ph type="ftr" sz="quarter" idx="3"/>
          </p:nvPr>
        </p:nvSpPr>
        <p:spPr bwMode="black">
          <a:xfrm>
            <a:off x="2" y="6480000"/>
            <a:ext cx="8208433" cy="179488"/>
          </a:xfrm>
          <a:prstGeom prst="rect">
            <a:avLst/>
          </a:prstGeom>
        </p:spPr>
        <p:txBody>
          <a:bodyPr wrap="square" lIns="252000" tIns="0" rIns="0" bIns="0" anchor="ctr" anchorCtr="0">
            <a:noAutofit/>
          </a:bodyPr>
          <a:lstStyle>
            <a:lvl1pPr algn="l">
              <a:defRPr sz="750">
                <a:solidFill>
                  <a:schemeClr val="tx1"/>
                </a:solidFill>
              </a:defRPr>
            </a:lvl1pPr>
          </a:lstStyle>
          <a:p>
            <a:endParaRPr lang="de-DE"/>
          </a:p>
        </p:txBody>
      </p:sp>
      <p:sp>
        <p:nvSpPr>
          <p:cNvPr id="2" name="Titelplatzhalter"/>
          <p:cNvSpPr>
            <a:spLocks noGrp="1"/>
          </p:cNvSpPr>
          <p:nvPr>
            <p:ph type="title"/>
          </p:nvPr>
        </p:nvSpPr>
        <p:spPr bwMode="black">
          <a:xfrm>
            <a:off x="334436" y="378000"/>
            <a:ext cx="11520000" cy="702000"/>
          </a:xfrm>
          <a:prstGeom prst="rect">
            <a:avLst/>
          </a:prstGeom>
        </p:spPr>
        <p:txBody>
          <a:bodyPr vert="horz" wrap="square" lIns="0" tIns="0" rIns="0" bIns="0" rtlCol="0" anchor="t" anchorCtr="0">
            <a:noAutofit/>
          </a:bodyPr>
          <a:lstStyle/>
          <a:p>
            <a:pPr lvl="0"/>
            <a:endParaRPr lang="de-DE"/>
          </a:p>
        </p:txBody>
      </p:sp>
      <p:sp>
        <p:nvSpPr>
          <p:cNvPr id="3" name="Textplatzhalter"/>
          <p:cNvSpPr>
            <a:spLocks noGrp="1"/>
          </p:cNvSpPr>
          <p:nvPr>
            <p:ph type="body" idx="1"/>
          </p:nvPr>
        </p:nvSpPr>
        <p:spPr>
          <a:xfrm>
            <a:off x="333776" y="2880000"/>
            <a:ext cx="3649133" cy="910506"/>
          </a:xfrm>
          <a:prstGeom prst="rect">
            <a:avLst/>
          </a:prstGeom>
        </p:spPr>
        <p:txBody>
          <a:bodyPr vert="horz" wrap="square" lIns="0" tIns="0" rIns="0" bIns="0" rtlCol="0">
            <a:sp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2548379745"/>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664" r:id="rId3"/>
  </p:sldLayoutIdLst>
  <p:hf hdr="0"/>
  <p:txStyles>
    <p:titleStyle>
      <a:lvl1pPr algn="l" defTabSz="685800" rtl="0" eaLnBrk="1" latinLnBrk="0" hangingPunct="1">
        <a:spcBef>
          <a:spcPct val="0"/>
        </a:spcBef>
        <a:buNone/>
        <a:defRPr lang="de-DE" sz="1500" b="1" kern="1200">
          <a:solidFill>
            <a:schemeClr val="tx1"/>
          </a:solidFill>
          <a:latin typeface="+mj-lt"/>
          <a:ea typeface="+mj-ea"/>
          <a:cs typeface="Arial" panose="020B0604020202020204" pitchFamily="34" charset="0"/>
        </a:defRPr>
      </a:lvl1pPr>
    </p:titleStyle>
    <p:bodyStyle>
      <a:lvl1pPr marL="0" indent="0" algn="l" defTabSz="685800" rtl="0" eaLnBrk="1" latinLnBrk="0" hangingPunct="1">
        <a:spcBef>
          <a:spcPts val="0"/>
        </a:spcBef>
        <a:spcAft>
          <a:spcPts val="225"/>
        </a:spcAft>
        <a:buClr>
          <a:schemeClr val="accent5"/>
        </a:buClr>
        <a:buFont typeface="Wingdings" panose="05000000000000000000" pitchFamily="2" charset="2"/>
        <a:buNone/>
        <a:defRPr sz="1050" b="0" kern="1200">
          <a:solidFill>
            <a:schemeClr val="tx1"/>
          </a:solidFill>
          <a:latin typeface="+mn-lt"/>
          <a:ea typeface="+mn-ea"/>
          <a:cs typeface="Arial" panose="020B0604020202020204" pitchFamily="34" charset="0"/>
        </a:defRPr>
      </a:lvl1pPr>
      <a:lvl2pPr marL="0" indent="0" algn="l" defTabSz="685800" rtl="0" eaLnBrk="1" latinLnBrk="0" hangingPunct="1">
        <a:spcBef>
          <a:spcPts val="0"/>
        </a:spcBef>
        <a:spcAft>
          <a:spcPts val="225"/>
        </a:spcAft>
        <a:buClr>
          <a:schemeClr val="accent5"/>
        </a:buClr>
        <a:buFont typeface="Wingdings" panose="05000000000000000000" pitchFamily="2" charset="2"/>
        <a:buNone/>
        <a:defRPr sz="1050" b="1" kern="1200">
          <a:solidFill>
            <a:schemeClr val="tx1"/>
          </a:solidFill>
          <a:latin typeface="+mn-lt"/>
          <a:ea typeface="+mn-ea"/>
          <a:cs typeface="Arial" panose="020B0604020202020204" pitchFamily="34" charset="0"/>
        </a:defRPr>
      </a:lvl2pPr>
      <a:lvl3pPr marL="202406" indent="-204788" algn="l" defTabSz="685800" rtl="0" eaLnBrk="1" latinLnBrk="0" hangingPunct="1">
        <a:spcBef>
          <a:spcPts val="0"/>
        </a:spcBef>
        <a:spcAft>
          <a:spcPts val="225"/>
        </a:spcAft>
        <a:buClr>
          <a:schemeClr val="accent5"/>
        </a:buClr>
        <a:buSzPct val="90000"/>
        <a:buFont typeface="Wingdings" panose="05000000000000000000" pitchFamily="2" charset="2"/>
        <a:buChar char="u"/>
        <a:defRPr sz="1050" kern="1200">
          <a:solidFill>
            <a:schemeClr val="tx1"/>
          </a:solidFill>
          <a:latin typeface="+mn-lt"/>
          <a:ea typeface="+mn-ea"/>
          <a:cs typeface="Arial" panose="020B0604020202020204" pitchFamily="34" charset="0"/>
        </a:defRPr>
      </a:lvl3pPr>
      <a:lvl4pPr marL="202406" indent="-204788" algn="l" defTabSz="685800" rtl="0" eaLnBrk="1" latinLnBrk="0" hangingPunct="1">
        <a:spcBef>
          <a:spcPts val="0"/>
        </a:spcBef>
        <a:spcAft>
          <a:spcPts val="225"/>
        </a:spcAft>
        <a:buClr>
          <a:schemeClr val="accent5"/>
        </a:buClr>
        <a:buSzPct val="90000"/>
        <a:buFont typeface="Wingdings" panose="05000000000000000000" pitchFamily="2" charset="2"/>
        <a:buChar char="è"/>
        <a:defRPr sz="1050" kern="1200">
          <a:solidFill>
            <a:schemeClr val="tx1"/>
          </a:solidFill>
          <a:latin typeface="+mn-lt"/>
          <a:ea typeface="+mn-ea"/>
          <a:cs typeface="Arial" panose="020B0604020202020204" pitchFamily="34" charset="0"/>
        </a:defRPr>
      </a:lvl4pPr>
      <a:lvl5pPr marL="406004" indent="-205979" algn="l" defTabSz="685800" rtl="0" eaLnBrk="1" latinLnBrk="0" hangingPunct="1">
        <a:spcBef>
          <a:spcPts val="0"/>
        </a:spcBef>
        <a:spcAft>
          <a:spcPts val="225"/>
        </a:spcAft>
        <a:buClr>
          <a:schemeClr val="accent5"/>
        </a:buClr>
        <a:buSzPct val="90000"/>
        <a:buFont typeface="Wingdings" panose="05000000000000000000" pitchFamily="2" charset="2"/>
        <a:buChar char="u"/>
        <a:defRPr sz="1050" kern="1200">
          <a:solidFill>
            <a:schemeClr val="tx1"/>
          </a:solidFill>
          <a:latin typeface="+mn-lt"/>
          <a:ea typeface="+mn-ea"/>
          <a:cs typeface="Arial" panose="020B060402020202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Foliennummernplatzhalter"/>
          <p:cNvSpPr>
            <a:spLocks noGrp="1"/>
          </p:cNvSpPr>
          <p:nvPr>
            <p:ph type="sldNum" sz="quarter" idx="4"/>
          </p:nvPr>
        </p:nvSpPr>
        <p:spPr bwMode="black">
          <a:xfrm>
            <a:off x="11472000" y="6480000"/>
            <a:ext cx="720000" cy="180000"/>
          </a:xfrm>
          <a:prstGeom prst="rect">
            <a:avLst/>
          </a:prstGeom>
        </p:spPr>
        <p:txBody>
          <a:bodyPr wrap="none" lIns="0" tIns="0" rIns="252000" bIns="0" anchor="ctr" anchorCtr="0">
            <a:noAutofit/>
          </a:bodyPr>
          <a:lstStyle>
            <a:lvl1pPr algn="r">
              <a:defRPr lang="de-DE" sz="750" smtClean="0">
                <a:solidFill>
                  <a:schemeClr val="tx1"/>
                </a:solidFill>
              </a:defRPr>
            </a:lvl1pPr>
          </a:lstStyle>
          <a:p>
            <a:fld id="{44043744-42FE-4892-90BA-7087481EB81E}" type="slidenum">
              <a:rPr lang="de-DE" smtClean="0"/>
              <a:pPr/>
              <a:t>‹#›</a:t>
            </a:fld>
            <a:endParaRPr lang="de-DE"/>
          </a:p>
        </p:txBody>
      </p:sp>
      <p:sp>
        <p:nvSpPr>
          <p:cNvPr id="10" name="Datumsplatzhalter"/>
          <p:cNvSpPr>
            <a:spLocks noGrp="1"/>
          </p:cNvSpPr>
          <p:nvPr>
            <p:ph type="dt" sz="half" idx="2"/>
          </p:nvPr>
        </p:nvSpPr>
        <p:spPr bwMode="black">
          <a:xfrm>
            <a:off x="8208435" y="6480000"/>
            <a:ext cx="3263567" cy="179488"/>
          </a:xfrm>
          <a:prstGeom prst="rect">
            <a:avLst/>
          </a:prstGeom>
        </p:spPr>
        <p:txBody>
          <a:bodyPr wrap="square" lIns="0" tIns="0" rIns="0" bIns="0" anchor="ctr" anchorCtr="0">
            <a:noAutofit/>
          </a:bodyPr>
          <a:lstStyle>
            <a:lvl1pPr algn="l">
              <a:defRPr lang="en-US" sz="750" smtClean="0">
                <a:solidFill>
                  <a:schemeClr val="tx1"/>
                </a:solidFill>
              </a:defRPr>
            </a:lvl1pPr>
          </a:lstStyle>
          <a:p>
            <a:fld id="{CCDB4BEA-D767-4A3B-BFC5-6BC0E5814962}" type="datetime4">
              <a:rPr lang="en-US" smtClean="0"/>
              <a:t>September 11, 2025</a:t>
            </a:fld>
            <a:endParaRPr lang="de-DE"/>
          </a:p>
        </p:txBody>
      </p:sp>
      <p:sp>
        <p:nvSpPr>
          <p:cNvPr id="11" name="Fußzeilenplatzhalter"/>
          <p:cNvSpPr>
            <a:spLocks noGrp="1"/>
          </p:cNvSpPr>
          <p:nvPr>
            <p:ph type="ftr" sz="quarter" idx="3"/>
          </p:nvPr>
        </p:nvSpPr>
        <p:spPr bwMode="black">
          <a:xfrm>
            <a:off x="2" y="6480000"/>
            <a:ext cx="8208433" cy="179488"/>
          </a:xfrm>
          <a:prstGeom prst="rect">
            <a:avLst/>
          </a:prstGeom>
        </p:spPr>
        <p:txBody>
          <a:bodyPr wrap="square" lIns="252000" tIns="0" rIns="0" bIns="0" anchor="ctr" anchorCtr="0">
            <a:noAutofit/>
          </a:bodyPr>
          <a:lstStyle>
            <a:lvl1pPr algn="l">
              <a:defRPr sz="750">
                <a:solidFill>
                  <a:schemeClr val="tx1"/>
                </a:solidFill>
              </a:defRPr>
            </a:lvl1pPr>
          </a:lstStyle>
          <a:p>
            <a:endParaRPr lang="de-DE"/>
          </a:p>
        </p:txBody>
      </p:sp>
      <p:sp>
        <p:nvSpPr>
          <p:cNvPr id="2" name="Titelplatzhalter"/>
          <p:cNvSpPr>
            <a:spLocks noGrp="1"/>
          </p:cNvSpPr>
          <p:nvPr>
            <p:ph type="title"/>
          </p:nvPr>
        </p:nvSpPr>
        <p:spPr bwMode="black">
          <a:xfrm>
            <a:off x="334436" y="378000"/>
            <a:ext cx="11520000" cy="702000"/>
          </a:xfrm>
          <a:prstGeom prst="rect">
            <a:avLst/>
          </a:prstGeom>
        </p:spPr>
        <p:txBody>
          <a:bodyPr vert="horz" wrap="square" lIns="0" tIns="0" rIns="0" bIns="0" rtlCol="0" anchor="t" anchorCtr="0">
            <a:noAutofit/>
          </a:bodyPr>
          <a:lstStyle/>
          <a:p>
            <a:pPr lvl="0"/>
            <a:endParaRPr lang="de-DE"/>
          </a:p>
        </p:txBody>
      </p:sp>
      <p:sp>
        <p:nvSpPr>
          <p:cNvPr id="3" name="Textplatzhalter"/>
          <p:cNvSpPr>
            <a:spLocks noGrp="1"/>
          </p:cNvSpPr>
          <p:nvPr>
            <p:ph type="body" idx="1"/>
          </p:nvPr>
        </p:nvSpPr>
        <p:spPr>
          <a:xfrm>
            <a:off x="333776" y="2880000"/>
            <a:ext cx="3649133" cy="910506"/>
          </a:xfrm>
          <a:prstGeom prst="rect">
            <a:avLst/>
          </a:prstGeom>
        </p:spPr>
        <p:txBody>
          <a:bodyPr vert="horz" wrap="square" lIns="0" tIns="0" rIns="0" bIns="0" rtlCol="0">
            <a:sp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1777638740"/>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Lst>
  <p:hf hdr="0"/>
  <p:txStyles>
    <p:titleStyle>
      <a:lvl1pPr algn="l" defTabSz="685800" rtl="0" eaLnBrk="1" latinLnBrk="0" hangingPunct="1">
        <a:spcBef>
          <a:spcPct val="0"/>
        </a:spcBef>
        <a:buNone/>
        <a:defRPr lang="de-DE" sz="1500" b="1" kern="1200">
          <a:solidFill>
            <a:schemeClr val="tx1"/>
          </a:solidFill>
          <a:latin typeface="+mj-lt"/>
          <a:ea typeface="+mj-ea"/>
          <a:cs typeface="Arial" panose="020B0604020202020204" pitchFamily="34" charset="0"/>
        </a:defRPr>
      </a:lvl1pPr>
    </p:titleStyle>
    <p:bodyStyle>
      <a:lvl1pPr marL="0" indent="0" algn="l" defTabSz="685800" rtl="0" eaLnBrk="1" latinLnBrk="0" hangingPunct="1">
        <a:spcBef>
          <a:spcPts val="0"/>
        </a:spcBef>
        <a:spcAft>
          <a:spcPts val="225"/>
        </a:spcAft>
        <a:buClr>
          <a:schemeClr val="accent5"/>
        </a:buClr>
        <a:buFont typeface="Wingdings" panose="05000000000000000000" pitchFamily="2" charset="2"/>
        <a:buNone/>
        <a:defRPr sz="1050" b="0" kern="1200">
          <a:solidFill>
            <a:schemeClr val="tx1"/>
          </a:solidFill>
          <a:latin typeface="+mn-lt"/>
          <a:ea typeface="+mn-ea"/>
          <a:cs typeface="Arial" panose="020B0604020202020204" pitchFamily="34" charset="0"/>
        </a:defRPr>
      </a:lvl1pPr>
      <a:lvl2pPr marL="0" indent="0" algn="l" defTabSz="685800" rtl="0" eaLnBrk="1" latinLnBrk="0" hangingPunct="1">
        <a:spcBef>
          <a:spcPts val="0"/>
        </a:spcBef>
        <a:spcAft>
          <a:spcPts val="225"/>
        </a:spcAft>
        <a:buClr>
          <a:schemeClr val="accent5"/>
        </a:buClr>
        <a:buFont typeface="Wingdings" panose="05000000000000000000" pitchFamily="2" charset="2"/>
        <a:buNone/>
        <a:defRPr sz="1050" b="1" kern="1200">
          <a:solidFill>
            <a:schemeClr val="tx1"/>
          </a:solidFill>
          <a:latin typeface="+mn-lt"/>
          <a:ea typeface="+mn-ea"/>
          <a:cs typeface="Arial" panose="020B0604020202020204" pitchFamily="34" charset="0"/>
        </a:defRPr>
      </a:lvl2pPr>
      <a:lvl3pPr marL="202406" indent="-204788" algn="l" defTabSz="685800" rtl="0" eaLnBrk="1" latinLnBrk="0" hangingPunct="1">
        <a:spcBef>
          <a:spcPts val="0"/>
        </a:spcBef>
        <a:spcAft>
          <a:spcPts val="225"/>
        </a:spcAft>
        <a:buClr>
          <a:schemeClr val="accent5"/>
        </a:buClr>
        <a:buSzPct val="90000"/>
        <a:buFont typeface="Wingdings" panose="05000000000000000000" pitchFamily="2" charset="2"/>
        <a:buChar char="u"/>
        <a:defRPr sz="1050" kern="1200">
          <a:solidFill>
            <a:schemeClr val="tx1"/>
          </a:solidFill>
          <a:latin typeface="+mn-lt"/>
          <a:ea typeface="+mn-ea"/>
          <a:cs typeface="Arial" panose="020B0604020202020204" pitchFamily="34" charset="0"/>
        </a:defRPr>
      </a:lvl3pPr>
      <a:lvl4pPr marL="202406" indent="-204788" algn="l" defTabSz="685800" rtl="0" eaLnBrk="1" latinLnBrk="0" hangingPunct="1">
        <a:spcBef>
          <a:spcPts val="0"/>
        </a:spcBef>
        <a:spcAft>
          <a:spcPts val="225"/>
        </a:spcAft>
        <a:buClr>
          <a:schemeClr val="accent5"/>
        </a:buClr>
        <a:buSzPct val="90000"/>
        <a:buFont typeface="Wingdings" panose="05000000000000000000" pitchFamily="2" charset="2"/>
        <a:buChar char="è"/>
        <a:defRPr sz="1050" kern="1200">
          <a:solidFill>
            <a:schemeClr val="tx1"/>
          </a:solidFill>
          <a:latin typeface="+mn-lt"/>
          <a:ea typeface="+mn-ea"/>
          <a:cs typeface="Arial" panose="020B0604020202020204" pitchFamily="34" charset="0"/>
        </a:defRPr>
      </a:lvl4pPr>
      <a:lvl5pPr marL="406004" indent="-205979" algn="l" defTabSz="685800" rtl="0" eaLnBrk="1" latinLnBrk="0" hangingPunct="1">
        <a:spcBef>
          <a:spcPts val="0"/>
        </a:spcBef>
        <a:spcAft>
          <a:spcPts val="225"/>
        </a:spcAft>
        <a:buClr>
          <a:schemeClr val="accent5"/>
        </a:buClr>
        <a:buSzPct val="90000"/>
        <a:buFont typeface="Wingdings" panose="05000000000000000000" pitchFamily="2" charset="2"/>
        <a:buChar char="u"/>
        <a:defRPr sz="1050" kern="1200">
          <a:solidFill>
            <a:schemeClr val="tx1"/>
          </a:solidFill>
          <a:latin typeface="+mn-lt"/>
          <a:ea typeface="+mn-ea"/>
          <a:cs typeface="Arial" panose="020B060402020202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Layout" Target="../slideLayouts/slideLayout1.xml"/><Relationship Id="rId4" Type="http://schemas.openxmlformats.org/officeDocument/2006/relationships/hyperlink" Target="mailto:zak.vanderwesthuizen@sms-group.com"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4.png"/><Relationship Id="rId1" Type="http://schemas.openxmlformats.org/officeDocument/2006/relationships/slideLayout" Target="../slideLayouts/slideLayout2.xml"/><Relationship Id="rId5" Type="http://schemas.openxmlformats.org/officeDocument/2006/relationships/image" Target="../media/image38.png"/><Relationship Id="rId4" Type="http://schemas.openxmlformats.org/officeDocument/2006/relationships/image" Target="../media/image39.jpeg"/></Relationships>
</file>

<file path=ppt/slides/_rels/slide1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notesSlide" Target="../notesSlides/notesSlide1.xml"/><Relationship Id="rId7" Type="http://schemas.openxmlformats.org/officeDocument/2006/relationships/image" Target="../media/image42.jpeg"/><Relationship Id="rId12" Type="http://schemas.openxmlformats.org/officeDocument/2006/relationships/image" Target="../media/image38.png"/><Relationship Id="rId2" Type="http://schemas.openxmlformats.org/officeDocument/2006/relationships/slideLayout" Target="../slideLayouts/slideLayout3.xml"/><Relationship Id="rId1" Type="http://schemas.openxmlformats.org/officeDocument/2006/relationships/tags" Target="../tags/tag1.xml"/><Relationship Id="rId6" Type="http://schemas.openxmlformats.org/officeDocument/2006/relationships/image" Target="../media/image41.emf"/><Relationship Id="rId11" Type="http://schemas.openxmlformats.org/officeDocument/2006/relationships/image" Target="../media/image44.jpeg"/><Relationship Id="rId5" Type="http://schemas.openxmlformats.org/officeDocument/2006/relationships/oleObject" Target="../embeddings/oleObject1.bin"/><Relationship Id="rId10" Type="http://schemas.openxmlformats.org/officeDocument/2006/relationships/image" Target="../media/image43.png"/><Relationship Id="rId4" Type="http://schemas.openxmlformats.org/officeDocument/2006/relationships/image" Target="../media/image40.jpg"/><Relationship Id="rId9" Type="http://schemas.openxmlformats.org/officeDocument/2006/relationships/image" Target="../media/image9.png"/></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4.png"/><Relationship Id="rId1" Type="http://schemas.openxmlformats.org/officeDocument/2006/relationships/slideLayout" Target="../slideLayouts/slideLayout2.xml"/><Relationship Id="rId6" Type="http://schemas.openxmlformats.org/officeDocument/2006/relationships/image" Target="../media/image46.png"/><Relationship Id="rId5" Type="http://schemas.openxmlformats.org/officeDocument/2006/relationships/image" Target="../media/image38.png"/><Relationship Id="rId4" Type="http://schemas.openxmlformats.org/officeDocument/2006/relationships/image" Target="../media/image45.jpeg"/></Relationships>
</file>

<file path=ppt/slides/_rels/slide1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8.png"/><Relationship Id="rId7" Type="http://schemas.openxmlformats.org/officeDocument/2006/relationships/image" Target="../media/image14.png"/><Relationship Id="rId2" Type="http://schemas.openxmlformats.org/officeDocument/2006/relationships/image" Target="../media/image47.png"/><Relationship Id="rId1" Type="http://schemas.openxmlformats.org/officeDocument/2006/relationships/slideLayout" Target="../slideLayouts/slideLayout2.xml"/><Relationship Id="rId6" Type="http://schemas.openxmlformats.org/officeDocument/2006/relationships/chart" Target="../charts/chart1.xml"/><Relationship Id="rId5" Type="http://schemas.openxmlformats.org/officeDocument/2006/relationships/image" Target="../media/image50.png"/><Relationship Id="rId4" Type="http://schemas.openxmlformats.org/officeDocument/2006/relationships/image" Target="../media/image49.png"/><Relationship Id="rId9" Type="http://schemas.openxmlformats.org/officeDocument/2006/relationships/image" Target="../media/image38.png"/></Relationships>
</file>

<file path=ppt/slides/_rels/slide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4.png"/><Relationship Id="rId1" Type="http://schemas.openxmlformats.org/officeDocument/2006/relationships/slideLayout" Target="../slideLayouts/slideLayout2.xml"/><Relationship Id="rId6" Type="http://schemas.openxmlformats.org/officeDocument/2006/relationships/image" Target="../media/image38.png"/><Relationship Id="rId5" Type="http://schemas.openxmlformats.org/officeDocument/2006/relationships/image" Target="../media/image52.jpg"/><Relationship Id="rId4" Type="http://schemas.openxmlformats.org/officeDocument/2006/relationships/image" Target="../media/image51.png"/></Relationships>
</file>

<file path=ppt/slides/_rels/slide1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38.png"/></Relationships>
</file>

<file path=ppt/slides/_rels/slide16.xml.rels><?xml version="1.0" encoding="UTF-8" standalone="yes"?>
<Relationships xmlns="http://schemas.openxmlformats.org/package/2006/relationships"><Relationship Id="rId3" Type="http://schemas.openxmlformats.org/officeDocument/2006/relationships/hyperlink" Target="mailto:zak@metix.co.za" TargetMode="External"/><Relationship Id="rId2" Type="http://schemas.openxmlformats.org/officeDocument/2006/relationships/image" Target="../media/image55.jpg"/><Relationship Id="rId1" Type="http://schemas.openxmlformats.org/officeDocument/2006/relationships/slideLayout" Target="../slideLayouts/slideLayout7.xml"/><Relationship Id="rId5" Type="http://schemas.openxmlformats.org/officeDocument/2006/relationships/image" Target="../media/image10.png"/><Relationship Id="rId4" Type="http://schemas.openxmlformats.org/officeDocument/2006/relationships/hyperlink" Target="http://www.metix.co.za/"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svg"/><Relationship Id="rId2" Type="http://schemas.openxmlformats.org/officeDocument/2006/relationships/image" Target="../media/image8.jpeg"/><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hyperlink" Target="https://www.sms-group.com/" TargetMode="External"/><Relationship Id="rId7" Type="http://schemas.openxmlformats.org/officeDocument/2006/relationships/image" Target="../media/image15.png"/><Relationship Id="rId2" Type="http://schemas.openxmlformats.org/officeDocument/2006/relationships/image" Target="../media/image8.jpeg"/><Relationship Id="rId1" Type="http://schemas.openxmlformats.org/officeDocument/2006/relationships/slideLayout" Target="../slideLayouts/slideLayout2.xml"/><Relationship Id="rId6" Type="http://schemas.openxmlformats.org/officeDocument/2006/relationships/hyperlink" Target="https://tmt.com/" TargetMode="External"/><Relationship Id="rId11" Type="http://schemas.openxmlformats.org/officeDocument/2006/relationships/image" Target="../media/image14.png"/><Relationship Id="rId5" Type="http://schemas.openxmlformats.org/officeDocument/2006/relationships/hyperlink" Target="https://www.paulwurth.com/" TargetMode="External"/><Relationship Id="rId10" Type="http://schemas.openxmlformats.org/officeDocument/2006/relationships/image" Target="../media/image9.png"/><Relationship Id="rId4" Type="http://schemas.openxmlformats.org/officeDocument/2006/relationships/hyperlink" Target="https://www.metix.co.za/" TargetMode="External"/><Relationship Id="rId9" Type="http://schemas.openxmlformats.org/officeDocument/2006/relationships/image" Target="../media/image11.png"/></Relationships>
</file>

<file path=ppt/slides/_rels/slide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jpeg"/><Relationship Id="rId7" Type="http://schemas.openxmlformats.org/officeDocument/2006/relationships/image" Target="../media/image21.png"/><Relationship Id="rId2" Type="http://schemas.openxmlformats.org/officeDocument/2006/relationships/image" Target="../media/image16.png"/><Relationship Id="rId1" Type="http://schemas.openxmlformats.org/officeDocument/2006/relationships/slideLayout" Target="../slideLayouts/slideLayout2.xml"/><Relationship Id="rId6" Type="http://schemas.openxmlformats.org/officeDocument/2006/relationships/image" Target="../media/image20.jpeg"/><Relationship Id="rId5" Type="http://schemas.openxmlformats.org/officeDocument/2006/relationships/image" Target="../media/image19.jpeg"/><Relationship Id="rId10" Type="http://schemas.openxmlformats.org/officeDocument/2006/relationships/image" Target="../media/image9.png"/><Relationship Id="rId4" Type="http://schemas.openxmlformats.org/officeDocument/2006/relationships/image" Target="../media/image18.jpeg"/><Relationship Id="rId9" Type="http://schemas.openxmlformats.org/officeDocument/2006/relationships/image" Target="../media/image14.png"/></Relationships>
</file>

<file path=ppt/slides/_rels/slide5.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2.xml"/><Relationship Id="rId7" Type="http://schemas.openxmlformats.org/officeDocument/2006/relationships/image" Target="../media/image26.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25.png"/><Relationship Id="rId11" Type="http://schemas.openxmlformats.org/officeDocument/2006/relationships/image" Target="../media/image9.png"/><Relationship Id="rId5" Type="http://schemas.openxmlformats.org/officeDocument/2006/relationships/image" Target="../media/image24.png"/><Relationship Id="rId10" Type="http://schemas.openxmlformats.org/officeDocument/2006/relationships/image" Target="../media/image28.png"/><Relationship Id="rId4" Type="http://schemas.openxmlformats.org/officeDocument/2006/relationships/image" Target="../media/image23.jpeg"/><Relationship Id="rId9"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32.png"/><Relationship Id="rId2" Type="http://schemas.openxmlformats.org/officeDocument/2006/relationships/image" Target="../media/image14.png"/><Relationship Id="rId1" Type="http://schemas.openxmlformats.org/officeDocument/2006/relationships/slideLayout" Target="../slideLayouts/slideLayout2.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34.png"/><Relationship Id="rId7" Type="http://schemas.openxmlformats.org/officeDocument/2006/relationships/image" Target="../media/image14.png"/><Relationship Id="rId2" Type="http://schemas.openxmlformats.org/officeDocument/2006/relationships/image" Target="../media/image33.png"/><Relationship Id="rId1" Type="http://schemas.openxmlformats.org/officeDocument/2006/relationships/slideLayout" Target="../slideLayouts/slideLayout2.xml"/><Relationship Id="rId6" Type="http://schemas.openxmlformats.org/officeDocument/2006/relationships/hyperlink" Target="https://cembureau.eu/media/1ibpjhpn/eu-cement-industry-trade-statistics-full-year-2023.pdf" TargetMode="External"/><Relationship Id="rId5" Type="http://schemas.openxmlformats.org/officeDocument/2006/relationships/image" Target="../media/image35.png"/><Relationship Id="rId4" Type="http://schemas.openxmlformats.org/officeDocument/2006/relationships/hyperlink" Target="https://www.mckinsey.com/industries/engineering-construction-and-building-materials/our-insights/the-future-cement-industry-a-cementitious-golden-age"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4.png"/><Relationship Id="rId1" Type="http://schemas.openxmlformats.org/officeDocument/2006/relationships/slideLayout" Target="../slideLayouts/slideLayout2.xml"/><Relationship Id="rId5" Type="http://schemas.openxmlformats.org/officeDocument/2006/relationships/image" Target="../media/image37.png"/><Relationship Id="rId4" Type="http://schemas.openxmlformats.org/officeDocument/2006/relationships/image" Target="../media/image36.jpg"/></Relationships>
</file>

<file path=ppt/slides/_rels/slide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6.jpg"/><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06C80D2B-8C63-435B-8D86-E4AD69C40763}"/>
              </a:ext>
            </a:extLst>
          </p:cNvPr>
          <p:cNvPicPr>
            <a:picLocks noChangeAspect="1"/>
          </p:cNvPicPr>
          <p:nvPr/>
        </p:nvPicPr>
        <p:blipFill>
          <a:blip r:embed="rId2">
            <a:extLst>
              <a:ext uri="{28A0092B-C50C-407E-A947-70E740481C1C}">
                <a14:useLocalDpi xmlns:a14="http://schemas.microsoft.com/office/drawing/2010/main" val="0"/>
              </a:ext>
            </a:extLst>
          </a:blip>
          <a:srcRect t="9" b="9"/>
          <a:stretch/>
        </p:blipFill>
        <p:spPr>
          <a:xfrm flipH="1">
            <a:off x="0" y="-817085"/>
            <a:ext cx="12225237" cy="7667885"/>
          </a:xfrm>
          <a:prstGeom prst="rect">
            <a:avLst/>
          </a:prstGeom>
        </p:spPr>
      </p:pic>
      <p:sp>
        <p:nvSpPr>
          <p:cNvPr id="9" name="Textplatzhalter 8"/>
          <p:cNvSpPr>
            <a:spLocks noGrp="1"/>
          </p:cNvSpPr>
          <p:nvPr>
            <p:ph type="body" sz="quarter" idx="15"/>
          </p:nvPr>
        </p:nvSpPr>
        <p:spPr/>
        <p:txBody>
          <a:bodyPr/>
          <a:lstStyle/>
          <a:p>
            <a:endParaRPr lang="de-DE" dirty="0"/>
          </a:p>
        </p:txBody>
      </p:sp>
      <p:sp>
        <p:nvSpPr>
          <p:cNvPr id="2" name="Textplatzhalter 1"/>
          <p:cNvSpPr>
            <a:spLocks noGrp="1"/>
          </p:cNvSpPr>
          <p:nvPr>
            <p:ph type="body" sz="quarter" idx="14"/>
          </p:nvPr>
        </p:nvSpPr>
        <p:spPr/>
        <p:txBody>
          <a:bodyPr/>
          <a:lstStyle/>
          <a:p>
            <a:r>
              <a:rPr lang="de-DE" dirty="0" err="1"/>
              <a:t>Confidential</a:t>
            </a:r>
            <a:endParaRPr lang="en-US"/>
          </a:p>
        </p:txBody>
      </p:sp>
      <p:sp>
        <p:nvSpPr>
          <p:cNvPr id="20" name="Textplatzhalter 19"/>
          <p:cNvSpPr>
            <a:spLocks noGrp="1"/>
          </p:cNvSpPr>
          <p:nvPr>
            <p:ph type="body" sz="quarter" idx="13"/>
          </p:nvPr>
        </p:nvSpPr>
        <p:spPr/>
        <p:txBody>
          <a:bodyPr/>
          <a:lstStyle/>
          <a:p>
            <a:r>
              <a:rPr lang="de-DE" dirty="0"/>
              <a:t>Metix – SMS group in South Africa</a:t>
            </a:r>
            <a:endParaRPr lang="en-US" dirty="0"/>
          </a:p>
        </p:txBody>
      </p:sp>
      <p:sp>
        <p:nvSpPr>
          <p:cNvPr id="5" name="Foliennummernplatzhalter 4"/>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043744-42FE-4892-90BA-7087481EB81E}" type="slidenum">
              <a:rPr kumimoji="0" lang="en-US" sz="750" b="0" i="0" u="none" strike="noStrike" kern="1200" cap="none" spc="0" normalizeH="0" baseline="0" noProof="0" smtClean="0">
                <a:ln>
                  <a:noFill/>
                </a:ln>
                <a:solidFill>
                  <a:srgbClr val="FFFFFF"/>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750" b="0" i="0" u="none" strike="noStrike" kern="1200" cap="none" spc="0" normalizeH="0" baseline="0" noProof="0">
              <a:ln>
                <a:noFill/>
              </a:ln>
              <a:solidFill>
                <a:srgbClr val="FFFFFF"/>
              </a:solidFill>
              <a:effectLst/>
              <a:uLnTx/>
              <a:uFillTx/>
              <a:latin typeface="Calibri"/>
              <a:ea typeface="+mn-ea"/>
              <a:cs typeface="+mn-cs"/>
            </a:endParaRPr>
          </a:p>
        </p:txBody>
      </p:sp>
      <p:sp>
        <p:nvSpPr>
          <p:cNvPr id="7" name="Fußzeilenplatzhalter 6"/>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750" b="0" i="0" u="none" strike="noStrike" kern="1200" cap="none" spc="0" normalizeH="0" baseline="0" noProof="0" dirty="0">
              <a:ln>
                <a:noFill/>
              </a:ln>
              <a:solidFill>
                <a:srgbClr val="FFFFFF"/>
              </a:solidFill>
              <a:effectLst/>
              <a:uLnTx/>
              <a:uFillTx/>
              <a:latin typeface="Calibri"/>
              <a:ea typeface="+mn-ea"/>
              <a:cs typeface="+mn-cs"/>
            </a:endParaRPr>
          </a:p>
        </p:txBody>
      </p:sp>
      <p:cxnSp>
        <p:nvCxnSpPr>
          <p:cNvPr id="15" name="Gerade Verbindung 14"/>
          <p:cNvCxnSpPr/>
          <p:nvPr/>
        </p:nvCxnSpPr>
        <p:spPr>
          <a:xfrm>
            <a:off x="-189468" y="1674019"/>
            <a:ext cx="162000"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689E55DC-35A9-4AF6-A77A-8FC2497929A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134195" y="4798423"/>
            <a:ext cx="1332393" cy="1150527"/>
          </a:xfrm>
          <a:prstGeom prst="rect">
            <a:avLst/>
          </a:prstGeom>
        </p:spPr>
      </p:pic>
      <p:sp>
        <p:nvSpPr>
          <p:cNvPr id="21" name="Untertitel 7">
            <a:extLst>
              <a:ext uri="{FF2B5EF4-FFF2-40B4-BE49-F238E27FC236}">
                <a16:creationId xmlns:a16="http://schemas.microsoft.com/office/drawing/2014/main" id="{B01397AE-D84D-D5FE-A854-A64FFA649AC6}"/>
              </a:ext>
            </a:extLst>
          </p:cNvPr>
          <p:cNvSpPr txBox="1">
            <a:spLocks/>
          </p:cNvSpPr>
          <p:nvPr/>
        </p:nvSpPr>
        <p:spPr bwMode="white">
          <a:xfrm>
            <a:off x="0" y="6001698"/>
            <a:ext cx="6622804" cy="282385"/>
          </a:xfrm>
          <a:prstGeom prst="rect">
            <a:avLst/>
          </a:prstGeom>
        </p:spPr>
        <p:txBody>
          <a:bodyPr vert="horz" wrap="square" lIns="252000" tIns="0" rIns="0" bIns="0" rtlCol="0" anchor="t" anchorCtr="0">
            <a:spAutoFit/>
          </a:bodyPr>
          <a:lstStyle>
            <a:lvl1pPr marL="0" indent="0" algn="l" defTabSz="685800" rtl="0" eaLnBrk="1" latinLnBrk="0" hangingPunct="1">
              <a:lnSpc>
                <a:spcPts val="1050"/>
              </a:lnSpc>
              <a:spcBef>
                <a:spcPts val="0"/>
              </a:spcBef>
              <a:spcAft>
                <a:spcPts val="0"/>
              </a:spcAft>
              <a:buClr>
                <a:schemeClr val="accent5"/>
              </a:buClr>
              <a:buFont typeface="Wingdings" panose="05000000000000000000" pitchFamily="2" charset="2"/>
              <a:buNone/>
              <a:defRPr sz="1050" b="0" kern="1200">
                <a:solidFill>
                  <a:schemeClr val="tx2"/>
                </a:solidFill>
                <a:latin typeface="+mn-lt"/>
                <a:ea typeface="+mn-ea"/>
                <a:cs typeface="Arial" panose="020B0604020202020204" pitchFamily="34" charset="0"/>
              </a:defRPr>
            </a:lvl1pPr>
            <a:lvl2pPr marL="342900" indent="0" algn="ctr" defTabSz="685800" rtl="0" eaLnBrk="1" latinLnBrk="0" hangingPunct="1">
              <a:spcBef>
                <a:spcPts val="0"/>
              </a:spcBef>
              <a:spcAft>
                <a:spcPts val="225"/>
              </a:spcAft>
              <a:buClr>
                <a:schemeClr val="accent5"/>
              </a:buClr>
              <a:buFont typeface="Wingdings" panose="05000000000000000000" pitchFamily="2" charset="2"/>
              <a:buNone/>
              <a:defRPr sz="1050" b="1" kern="1200">
                <a:solidFill>
                  <a:schemeClr val="tx1">
                    <a:tint val="75000"/>
                  </a:schemeClr>
                </a:solidFill>
                <a:latin typeface="+mn-lt"/>
                <a:ea typeface="+mn-ea"/>
                <a:cs typeface="Arial" panose="020B0604020202020204" pitchFamily="34" charset="0"/>
              </a:defRPr>
            </a:lvl2pPr>
            <a:lvl3pPr marL="685800" indent="0" algn="ctr" defTabSz="685800" rtl="0" eaLnBrk="1" latinLnBrk="0" hangingPunct="1">
              <a:spcBef>
                <a:spcPts val="0"/>
              </a:spcBef>
              <a:spcAft>
                <a:spcPts val="225"/>
              </a:spcAft>
              <a:buClr>
                <a:schemeClr val="accent5"/>
              </a:buClr>
              <a:buSzPct val="90000"/>
              <a:buFont typeface="Wingdings" panose="05000000000000000000" pitchFamily="2" charset="2"/>
              <a:buNone/>
              <a:defRPr sz="1050" kern="1200">
                <a:solidFill>
                  <a:schemeClr val="tx1">
                    <a:tint val="75000"/>
                  </a:schemeClr>
                </a:solidFill>
                <a:latin typeface="+mn-lt"/>
                <a:ea typeface="+mn-ea"/>
                <a:cs typeface="Arial" panose="020B0604020202020204" pitchFamily="34" charset="0"/>
              </a:defRPr>
            </a:lvl3pPr>
            <a:lvl4pPr marL="1028700" indent="0" algn="ctr" defTabSz="685800" rtl="0" eaLnBrk="1" latinLnBrk="0" hangingPunct="1">
              <a:spcBef>
                <a:spcPts val="0"/>
              </a:spcBef>
              <a:spcAft>
                <a:spcPts val="225"/>
              </a:spcAft>
              <a:buClr>
                <a:schemeClr val="accent5"/>
              </a:buClr>
              <a:buSzPct val="90000"/>
              <a:buFont typeface="Wingdings" panose="05000000000000000000" pitchFamily="2" charset="2"/>
              <a:buNone/>
              <a:defRPr sz="1050" kern="1200">
                <a:solidFill>
                  <a:schemeClr val="tx1">
                    <a:tint val="75000"/>
                  </a:schemeClr>
                </a:solidFill>
                <a:latin typeface="+mn-lt"/>
                <a:ea typeface="+mn-ea"/>
                <a:cs typeface="Arial" panose="020B0604020202020204" pitchFamily="34" charset="0"/>
              </a:defRPr>
            </a:lvl4pPr>
            <a:lvl5pPr marL="1371600" indent="0" algn="ctr" defTabSz="685800" rtl="0" eaLnBrk="1" latinLnBrk="0" hangingPunct="1">
              <a:spcBef>
                <a:spcPts val="0"/>
              </a:spcBef>
              <a:spcAft>
                <a:spcPts val="225"/>
              </a:spcAft>
              <a:buClr>
                <a:schemeClr val="accent5"/>
              </a:buClr>
              <a:buSzPct val="90000"/>
              <a:buFont typeface="Wingdings" panose="05000000000000000000" pitchFamily="2" charset="2"/>
              <a:buNone/>
              <a:defRPr sz="1050" kern="1200">
                <a:solidFill>
                  <a:schemeClr val="tx1">
                    <a:tint val="75000"/>
                  </a:schemeClr>
                </a:solidFill>
                <a:latin typeface="+mn-lt"/>
                <a:ea typeface="+mn-ea"/>
                <a:cs typeface="Arial" panose="020B0604020202020204" pitchFamily="34" charset="0"/>
              </a:defRPr>
            </a:lvl5pPr>
            <a:lvl6pPr marL="1714500" indent="0" algn="ctr" defTabSz="685800" rtl="0" eaLnBrk="1" latinLnBrk="0" hangingPunct="1">
              <a:spcBef>
                <a:spcPct val="20000"/>
              </a:spcBef>
              <a:buFont typeface="Arial" panose="020B0604020202020204" pitchFamily="34" charset="0"/>
              <a:buNone/>
              <a:defRPr sz="1500" kern="1200">
                <a:solidFill>
                  <a:schemeClr val="tx1">
                    <a:tint val="75000"/>
                  </a:schemeClr>
                </a:solidFill>
                <a:latin typeface="+mn-lt"/>
                <a:ea typeface="+mn-ea"/>
                <a:cs typeface="+mn-cs"/>
              </a:defRPr>
            </a:lvl6pPr>
            <a:lvl7pPr marL="2057400" indent="0" algn="ctr" defTabSz="685800" rtl="0" eaLnBrk="1" latinLnBrk="0" hangingPunct="1">
              <a:spcBef>
                <a:spcPct val="20000"/>
              </a:spcBef>
              <a:buFont typeface="Arial" panose="020B0604020202020204" pitchFamily="34" charset="0"/>
              <a:buNone/>
              <a:defRPr sz="1500" kern="1200">
                <a:solidFill>
                  <a:schemeClr val="tx1">
                    <a:tint val="75000"/>
                  </a:schemeClr>
                </a:solidFill>
                <a:latin typeface="+mn-lt"/>
                <a:ea typeface="+mn-ea"/>
                <a:cs typeface="+mn-cs"/>
              </a:defRPr>
            </a:lvl7pPr>
            <a:lvl8pPr marL="2400300" indent="0" algn="ctr" defTabSz="685800" rtl="0" eaLnBrk="1" latinLnBrk="0" hangingPunct="1">
              <a:spcBef>
                <a:spcPct val="20000"/>
              </a:spcBef>
              <a:buFont typeface="Arial" panose="020B0604020202020204" pitchFamily="34" charset="0"/>
              <a:buNone/>
              <a:defRPr sz="1500" kern="1200">
                <a:solidFill>
                  <a:schemeClr val="tx1">
                    <a:tint val="75000"/>
                  </a:schemeClr>
                </a:solidFill>
                <a:latin typeface="+mn-lt"/>
                <a:ea typeface="+mn-ea"/>
                <a:cs typeface="+mn-cs"/>
              </a:defRPr>
            </a:lvl8pPr>
            <a:lvl9pPr marL="2743200" indent="0" algn="ctr" defTabSz="685800" rtl="0" eaLnBrk="1" latinLnBrk="0" hangingPunct="1">
              <a:spcBef>
                <a:spcPct val="20000"/>
              </a:spcBef>
              <a:buFont typeface="Arial" panose="020B0604020202020204" pitchFamily="34" charset="0"/>
              <a:buNone/>
              <a:defRPr sz="1500" kern="1200">
                <a:solidFill>
                  <a:schemeClr val="tx1">
                    <a:tint val="75000"/>
                  </a:schemeClr>
                </a:solidFill>
                <a:latin typeface="+mn-lt"/>
                <a:ea typeface="+mn-ea"/>
                <a:cs typeface="+mn-cs"/>
              </a:defRPr>
            </a:lvl9pPr>
          </a:lstStyle>
          <a:p>
            <a:pPr marL="0" marR="0" lvl="0" indent="0" algn="l" defTabSz="685800" rtl="0" eaLnBrk="1" fontAlgn="auto" latinLnBrk="0" hangingPunct="1">
              <a:lnSpc>
                <a:spcPts val="1050"/>
              </a:lnSpc>
              <a:spcBef>
                <a:spcPts val="0"/>
              </a:spcBef>
              <a:spcAft>
                <a:spcPts val="0"/>
              </a:spcAft>
              <a:buClr>
                <a:srgbClr val="2E3135"/>
              </a:buClr>
              <a:buSzTx/>
              <a:buFont typeface="Wingdings" panose="05000000000000000000" pitchFamily="2" charset="2"/>
              <a:buNone/>
              <a:tabLst/>
              <a:defRPr/>
            </a:pPr>
            <a:r>
              <a:rPr kumimoji="0" lang="en-ZA" sz="1050" b="1" i="0" u="sng" strike="noStrike" kern="1200" cap="none" spc="0" normalizeH="0" baseline="0" noProof="0" dirty="0">
                <a:ln>
                  <a:noFill/>
                </a:ln>
                <a:solidFill>
                  <a:srgbClr val="FFFFFF"/>
                </a:solidFill>
                <a:effectLst/>
                <a:uLnTx/>
                <a:uFillTx/>
                <a:latin typeface="Calibri"/>
                <a:ea typeface="+mn-ea"/>
                <a:cs typeface="Arial" panose="020B0604020202020204" pitchFamily="34" charset="0"/>
              </a:rPr>
              <a:t>Presented at </a:t>
            </a:r>
            <a:r>
              <a:rPr kumimoji="0" lang="en-US" sz="1050" b="1" i="0" u="sng" strike="noStrike" kern="1200" cap="none" spc="0" normalizeH="0" baseline="0" noProof="0" dirty="0">
                <a:ln>
                  <a:noFill/>
                </a:ln>
                <a:solidFill>
                  <a:srgbClr val="FFFFFF"/>
                </a:solidFill>
                <a:effectLst/>
                <a:uLnTx/>
                <a:uFillTx/>
                <a:latin typeface="Calibri"/>
                <a:ea typeface="+mn-ea"/>
                <a:cs typeface="Arial" panose="020B0604020202020204" pitchFamily="34" charset="0"/>
              </a:rPr>
              <a:t>2025 National Slag Association Annual Meeting </a:t>
            </a:r>
            <a:r>
              <a:rPr kumimoji="0" lang="en-ZA" sz="1050" b="1" i="0" u="sng" strike="noStrike" kern="1200" cap="none" spc="0" normalizeH="0" baseline="0" noProof="0" dirty="0">
                <a:ln>
                  <a:noFill/>
                </a:ln>
                <a:solidFill>
                  <a:srgbClr val="FFFFFF"/>
                </a:solidFill>
                <a:effectLst/>
                <a:uLnTx/>
                <a:uFillTx/>
                <a:latin typeface="Calibri"/>
                <a:ea typeface="+mn-ea"/>
                <a:cs typeface="Arial" panose="020B0604020202020204" pitchFamily="34" charset="0"/>
              </a:rPr>
              <a:t>by: </a:t>
            </a:r>
          </a:p>
          <a:p>
            <a:pPr marL="0" marR="0" lvl="0" indent="0" algn="l" defTabSz="685800" rtl="0" eaLnBrk="1" fontAlgn="auto" latinLnBrk="0" hangingPunct="1">
              <a:lnSpc>
                <a:spcPts val="1050"/>
              </a:lnSpc>
              <a:spcBef>
                <a:spcPts val="0"/>
              </a:spcBef>
              <a:spcAft>
                <a:spcPts val="0"/>
              </a:spcAft>
              <a:buClr>
                <a:srgbClr val="2E3135"/>
              </a:buClr>
              <a:buSzTx/>
              <a:buFont typeface="Wingdings" panose="05000000000000000000" pitchFamily="2" charset="2"/>
              <a:buNone/>
              <a:tabLst/>
              <a:defRPr/>
            </a:pPr>
            <a:r>
              <a:rPr kumimoji="0" lang="de-DE" sz="1050" b="0" i="0" u="none" strike="noStrike" kern="1200" cap="none" spc="0" normalizeH="0" baseline="0" noProof="0" dirty="0">
                <a:ln>
                  <a:noFill/>
                </a:ln>
                <a:solidFill>
                  <a:srgbClr val="FFFFFF"/>
                </a:solidFill>
                <a:effectLst/>
                <a:uLnTx/>
                <a:uFillTx/>
                <a:latin typeface="Calibri"/>
                <a:ea typeface="+mn-ea"/>
                <a:cs typeface="Arial" panose="020B0604020202020204" pitchFamily="34" charset="0"/>
              </a:rPr>
              <a:t>- Zak van der Westhuizen (Sales Manager): </a:t>
            </a:r>
            <a:r>
              <a:rPr kumimoji="0" lang="de-DE" sz="1050" b="0" i="0" u="none" strike="noStrike" kern="1200" cap="none" spc="0" normalizeH="0" baseline="0" noProof="0" dirty="0">
                <a:ln>
                  <a:noFill/>
                </a:ln>
                <a:solidFill>
                  <a:srgbClr val="0070C0"/>
                </a:solidFill>
                <a:effectLst/>
                <a:uLnTx/>
                <a:uFillTx/>
                <a:latin typeface="Calibri"/>
                <a:ea typeface="+mn-ea"/>
                <a:cs typeface="Arial" panose="020B0604020202020204" pitchFamily="34" charset="0"/>
                <a:hlinkClick r:id="rId4">
                  <a:extLst>
                    <a:ext uri="{A12FA001-AC4F-418D-AE19-62706E023703}">
                      <ahyp:hlinkClr xmlns:ahyp="http://schemas.microsoft.com/office/drawing/2018/hyperlinkcolor" val="tx"/>
                    </a:ext>
                  </a:extLst>
                </a:hlinkClick>
              </a:rPr>
              <a:t>zak.vanderwesthuizen@sms-group.com</a:t>
            </a:r>
            <a:endParaRPr kumimoji="0" lang="de-DE" sz="1050" b="0" i="0" u="none" strike="noStrike" kern="1200" cap="none" spc="0" normalizeH="0" baseline="0" noProof="0" dirty="0">
              <a:ln>
                <a:noFill/>
              </a:ln>
              <a:solidFill>
                <a:srgbClr val="FFFFFF"/>
              </a:solidFill>
              <a:effectLst/>
              <a:uLnTx/>
              <a:uFillTx/>
              <a:latin typeface="Calibri"/>
              <a:ea typeface="+mn-ea"/>
              <a:cs typeface="Arial" panose="020B0604020202020204" pitchFamily="34" charset="0"/>
            </a:endParaRPr>
          </a:p>
        </p:txBody>
      </p:sp>
      <p:sp>
        <p:nvSpPr>
          <p:cNvPr id="8" name="Title 7">
            <a:extLst>
              <a:ext uri="{FF2B5EF4-FFF2-40B4-BE49-F238E27FC236}">
                <a16:creationId xmlns:a16="http://schemas.microsoft.com/office/drawing/2014/main" id="{E6D6CD90-A93E-6415-5889-0D5068F8AEFC}"/>
              </a:ext>
            </a:extLst>
          </p:cNvPr>
          <p:cNvSpPr>
            <a:spLocks noGrp="1"/>
          </p:cNvSpPr>
          <p:nvPr>
            <p:ph type="ctrTitle"/>
          </p:nvPr>
        </p:nvSpPr>
        <p:spPr>
          <a:xfrm>
            <a:off x="0" y="5490296"/>
            <a:ext cx="11857947" cy="417871"/>
          </a:xfrm>
        </p:spPr>
        <p:txBody>
          <a:bodyPr/>
          <a:lstStyle/>
          <a:p>
            <a:r>
              <a:rPr lang="en-US" sz="2000" dirty="0">
                <a:latin typeface="Calibri  "/>
              </a:rPr>
              <a:t>Business case for including a pyrometallurgical Slag </a:t>
            </a:r>
            <a:r>
              <a:rPr lang="en-US" sz="2000" dirty="0" err="1">
                <a:latin typeface="Calibri  "/>
              </a:rPr>
              <a:t>Valorisation</a:t>
            </a:r>
            <a:r>
              <a:rPr lang="en-US" sz="2000" dirty="0">
                <a:latin typeface="Calibri  "/>
              </a:rPr>
              <a:t> Furnace (SVF) </a:t>
            </a:r>
            <a:br>
              <a:rPr lang="en-US" sz="2000" dirty="0">
                <a:latin typeface="Calibri  "/>
              </a:rPr>
            </a:br>
            <a:r>
              <a:rPr lang="en-US" sz="2000" dirty="0">
                <a:latin typeface="Calibri  "/>
              </a:rPr>
              <a:t>into a new or existing steelmaking operation</a:t>
            </a:r>
            <a:endParaRPr lang="en-ZA" sz="1800" dirty="0">
              <a:latin typeface="Calibri  "/>
            </a:endParaRPr>
          </a:p>
        </p:txBody>
      </p:sp>
    </p:spTree>
    <p:extLst>
      <p:ext uri="{BB962C8B-B14F-4D97-AF65-F5344CB8AC3E}">
        <p14:creationId xmlns:p14="http://schemas.microsoft.com/office/powerpoint/2010/main" val="9984992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7FB17C-20A9-3BD0-EEF8-F7AE19887523}"/>
            </a:ext>
          </a:extLst>
        </p:cNvPr>
        <p:cNvGrpSpPr/>
        <p:nvPr/>
      </p:nvGrpSpPr>
      <p:grpSpPr>
        <a:xfrm>
          <a:off x="0" y="0"/>
          <a:ext cx="0" cy="0"/>
          <a:chOff x="0" y="0"/>
          <a:chExt cx="0" cy="0"/>
        </a:xfrm>
      </p:grpSpPr>
      <p:sp>
        <p:nvSpPr>
          <p:cNvPr id="6" name="Titel 3">
            <a:extLst>
              <a:ext uri="{FF2B5EF4-FFF2-40B4-BE49-F238E27FC236}">
                <a16:creationId xmlns:a16="http://schemas.microsoft.com/office/drawing/2014/main" id="{7B4EF9CE-826E-1A29-48C7-223F6DA3F3AD}"/>
              </a:ext>
            </a:extLst>
          </p:cNvPr>
          <p:cNvSpPr>
            <a:spLocks noGrp="1"/>
          </p:cNvSpPr>
          <p:nvPr>
            <p:ph type="title"/>
          </p:nvPr>
        </p:nvSpPr>
        <p:spPr>
          <a:xfrm>
            <a:off x="289453" y="377999"/>
            <a:ext cx="11613389" cy="702000"/>
          </a:xfrm>
        </p:spPr>
        <p:txBody>
          <a:bodyPr vert="horz"/>
          <a:lstStyle/>
          <a:p>
            <a:r>
              <a:rPr lang="en-US" dirty="0"/>
              <a:t>SVF: Integrated EAF flowsheet improvement &amp; opportunities </a:t>
            </a:r>
          </a:p>
        </p:txBody>
      </p:sp>
      <p:sp>
        <p:nvSpPr>
          <p:cNvPr id="8" name="TextBox 7">
            <a:extLst>
              <a:ext uri="{FF2B5EF4-FFF2-40B4-BE49-F238E27FC236}">
                <a16:creationId xmlns:a16="http://schemas.microsoft.com/office/drawing/2014/main" id="{CBB9A8E3-0E90-6C28-9D93-BBC95E9E57EF}"/>
              </a:ext>
            </a:extLst>
          </p:cNvPr>
          <p:cNvSpPr txBox="1"/>
          <p:nvPr/>
        </p:nvSpPr>
        <p:spPr>
          <a:xfrm>
            <a:off x="289453" y="1041607"/>
            <a:ext cx="7215929" cy="5987793"/>
          </a:xfrm>
          <a:prstGeom prst="rect">
            <a:avLst/>
          </a:prstGeom>
          <a:noFill/>
        </p:spPr>
        <p:txBody>
          <a:bodyPr wrap="square" rtlCol="0">
            <a:spAutoFit/>
          </a:bodyPr>
          <a:lstStyle/>
          <a:p>
            <a:pPr marL="266220" marR="0" lvl="0" indent="-266220" algn="l" defTabSz="914400" rtl="0" eaLnBrk="1" fontAlgn="base" latinLnBrk="0" hangingPunct="1">
              <a:lnSpc>
                <a:spcPct val="90000"/>
              </a:lnSpc>
              <a:spcBef>
                <a:spcPts val="0"/>
              </a:spcBef>
              <a:spcAft>
                <a:spcPts val="299"/>
              </a:spcAft>
              <a:buClr>
                <a:srgbClr val="2E3135"/>
              </a:buClr>
              <a:buSzPct val="90000"/>
              <a:buFont typeface="Wingdings" panose="05000000000000000000" pitchFamily="2" charset="2"/>
              <a:buChar char="u"/>
              <a:tabLst/>
              <a:defRPr/>
            </a:pPr>
            <a:r>
              <a:rPr kumimoji="0" lang="en-ZA" sz="16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otential end-users: </a:t>
            </a:r>
          </a:p>
          <a:p>
            <a:pPr marL="742950" marR="0" lvl="2" indent="-285750" algn="l" defTabSz="914400" rtl="0" eaLnBrk="1" fontAlgn="base" latinLnBrk="0" hangingPunct="1">
              <a:lnSpc>
                <a:spcPct val="90000"/>
              </a:lnSpc>
              <a:spcBef>
                <a:spcPts val="0"/>
              </a:spcBef>
              <a:spcAft>
                <a:spcPts val="299"/>
              </a:spcAft>
              <a:buClr>
                <a:srgbClr val="2E3135"/>
              </a:buClr>
              <a:buSzPct val="90000"/>
              <a:buFont typeface="Calibri" panose="020F0502020204030204" pitchFamily="34" charset="0"/>
              <a:buChar char="-"/>
              <a:tabLst/>
              <a:defRPr/>
            </a:pPr>
            <a:r>
              <a:rPr kumimoji="0" lang="en-ZA"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tegrated iron &amp; steel facilities.</a:t>
            </a:r>
          </a:p>
          <a:p>
            <a:pPr marL="742950" marR="0" lvl="2" indent="-285750" algn="l" defTabSz="914400" rtl="0" eaLnBrk="1" fontAlgn="base" latinLnBrk="0" hangingPunct="1">
              <a:lnSpc>
                <a:spcPct val="90000"/>
              </a:lnSpc>
              <a:spcBef>
                <a:spcPts val="0"/>
              </a:spcBef>
              <a:spcAft>
                <a:spcPts val="299"/>
              </a:spcAft>
              <a:buClr>
                <a:srgbClr val="2E3135"/>
              </a:buClr>
              <a:buSzPct val="90000"/>
              <a:buFont typeface="Calibri" panose="020F0502020204030204" pitchFamily="34" charset="0"/>
              <a:buChar char="-"/>
              <a:tabLst/>
              <a:defRPr/>
            </a:pPr>
            <a:r>
              <a:rPr kumimoji="0" lang="en-ZA"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Cement producers utilising clinker replacement from iron &amp; steel facilities.</a:t>
            </a:r>
          </a:p>
          <a:p>
            <a:pPr marL="742950" marR="0" lvl="2" indent="-285750" algn="l" defTabSz="914400" rtl="0" eaLnBrk="1" fontAlgn="base" latinLnBrk="0" hangingPunct="1">
              <a:lnSpc>
                <a:spcPct val="90000"/>
              </a:lnSpc>
              <a:spcBef>
                <a:spcPts val="0"/>
              </a:spcBef>
              <a:spcAft>
                <a:spcPts val="299"/>
              </a:spcAft>
              <a:buClr>
                <a:srgbClr val="2E3135"/>
              </a:buClr>
              <a:buSzPct val="90000"/>
              <a:buFont typeface="Calibri" panose="020F0502020204030204" pitchFamily="34" charset="0"/>
              <a:buChar char="-"/>
              <a:tabLst/>
              <a:defRPr/>
            </a:pPr>
            <a:r>
              <a:rPr lang="en-ZA" sz="1600" dirty="0">
                <a:solidFill>
                  <a:srgbClr val="000000"/>
                </a:solidFill>
                <a:latin typeface="Calibri"/>
                <a:ea typeface="+mn-ea"/>
                <a:cs typeface="Arial" panose="020B0604020202020204" pitchFamily="34" charset="0"/>
              </a:rPr>
              <a:t>3</a:t>
            </a:r>
            <a:r>
              <a:rPr lang="en-ZA" sz="1600" baseline="30000" dirty="0">
                <a:solidFill>
                  <a:srgbClr val="000000"/>
                </a:solidFill>
                <a:latin typeface="Calibri"/>
                <a:ea typeface="+mn-ea"/>
                <a:cs typeface="Arial" panose="020B0604020202020204" pitchFamily="34" charset="0"/>
              </a:rPr>
              <a:t>rd</a:t>
            </a:r>
            <a:r>
              <a:rPr lang="en-ZA" sz="1600" dirty="0">
                <a:solidFill>
                  <a:srgbClr val="000000"/>
                </a:solidFill>
                <a:latin typeface="Calibri"/>
                <a:ea typeface="+mn-ea"/>
                <a:cs typeface="Arial" panose="020B0604020202020204" pitchFamily="34" charset="0"/>
              </a:rPr>
              <a:t> party slag conditioning &amp; valorisation entities.</a:t>
            </a:r>
            <a:endParaRPr kumimoji="0" lang="en-ZA"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a:p>
            <a:pPr marL="742950" marR="0" lvl="2" indent="-285750" algn="l" defTabSz="914400" rtl="0" eaLnBrk="1" fontAlgn="base" latinLnBrk="0" hangingPunct="1">
              <a:lnSpc>
                <a:spcPct val="90000"/>
              </a:lnSpc>
              <a:spcBef>
                <a:spcPts val="0"/>
              </a:spcBef>
              <a:spcAft>
                <a:spcPts val="299"/>
              </a:spcAft>
              <a:buClr>
                <a:srgbClr val="2E3135"/>
              </a:buClr>
              <a:buSzPct val="90000"/>
              <a:buFont typeface="Calibri" panose="020F0502020204030204" pitchFamily="34" charset="0"/>
              <a:buChar char="-"/>
              <a:tabLst/>
              <a:defRPr/>
            </a:pPr>
            <a:endParaRPr kumimoji="0" lang="en-ZA"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a:p>
            <a:pPr marL="266220" marR="0" lvl="0" indent="-266220" algn="l" defTabSz="914400" rtl="0" eaLnBrk="1" fontAlgn="base" latinLnBrk="0" hangingPunct="1">
              <a:lnSpc>
                <a:spcPct val="90000"/>
              </a:lnSpc>
              <a:spcBef>
                <a:spcPts val="0"/>
              </a:spcBef>
              <a:spcAft>
                <a:spcPts val="299"/>
              </a:spcAft>
              <a:buClr>
                <a:srgbClr val="2E3135"/>
              </a:buClr>
              <a:buSzPct val="90000"/>
              <a:buFont typeface="Wingdings" panose="05000000000000000000" pitchFamily="2" charset="2"/>
              <a:buChar char="u"/>
              <a:tabLst/>
              <a:defRPr/>
            </a:pPr>
            <a:r>
              <a:rPr kumimoji="0" lang="en-US" sz="16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Core benefits:</a:t>
            </a:r>
          </a:p>
          <a:p>
            <a:pPr marL="742950" marR="0" lvl="2" indent="-285750" algn="l" defTabSz="914400" rtl="0" eaLnBrk="1" fontAlgn="base" latinLnBrk="0" hangingPunct="1">
              <a:lnSpc>
                <a:spcPct val="90000"/>
              </a:lnSpc>
              <a:spcBef>
                <a:spcPts val="0"/>
              </a:spcBef>
              <a:spcAft>
                <a:spcPts val="299"/>
              </a:spcAft>
              <a:buClr>
                <a:srgbClr val="2E3135"/>
              </a:buClr>
              <a:buSzPct val="90000"/>
              <a:buFont typeface="Calibri" panose="020F0502020204030204" pitchFamily="34" charset="0"/>
              <a:buChar char="-"/>
              <a:tabLst/>
              <a:defRPr/>
            </a:pPr>
            <a:r>
              <a:rPr kumimoji="0" lang="en-ZA"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troduce circular economy by recycling slag, reclaiming of iron units, and zero slag stockpiled.</a:t>
            </a:r>
          </a:p>
          <a:p>
            <a:pPr marL="742950" marR="0" lvl="2" indent="-285750" algn="l" defTabSz="914400" rtl="0" eaLnBrk="1" fontAlgn="base" latinLnBrk="0" hangingPunct="1">
              <a:lnSpc>
                <a:spcPct val="90000"/>
              </a:lnSpc>
              <a:spcBef>
                <a:spcPts val="0"/>
              </a:spcBef>
              <a:spcAft>
                <a:spcPts val="299"/>
              </a:spcAft>
              <a:buClr>
                <a:srgbClr val="2E3135"/>
              </a:buClr>
              <a:buSzPct val="90000"/>
              <a:buFont typeface="Calibri" panose="020F0502020204030204" pitchFamily="34" charset="0"/>
              <a:buChar char="-"/>
              <a:tabLst/>
              <a:defRPr/>
            </a:pPr>
            <a:r>
              <a:rPr kumimoji="0" lang="en-ZA"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Decouples slag modification for valorisation purposes from iron/steel production.</a:t>
            </a:r>
          </a:p>
          <a:p>
            <a:pPr marL="742950" marR="0" lvl="2" indent="-285750" algn="l" defTabSz="914400" rtl="0" eaLnBrk="1" fontAlgn="base" latinLnBrk="0" hangingPunct="1">
              <a:lnSpc>
                <a:spcPct val="90000"/>
              </a:lnSpc>
              <a:spcBef>
                <a:spcPts val="0"/>
              </a:spcBef>
              <a:spcAft>
                <a:spcPts val="299"/>
              </a:spcAft>
              <a:buClr>
                <a:srgbClr val="2E3135"/>
              </a:buClr>
              <a:buSzPct val="90000"/>
              <a:buFont typeface="Calibri" panose="020F0502020204030204" pitchFamily="34" charset="0"/>
              <a:buChar char="-"/>
              <a:tabLst/>
              <a:defRPr/>
            </a:pPr>
            <a:r>
              <a:rPr kumimoji="0" lang="en-ZA"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Wide targeted valorisation product range capabilities, i.e. </a:t>
            </a:r>
            <a:r>
              <a:rPr lang="en-US" sz="1600" dirty="0">
                <a:solidFill>
                  <a:srgbClr val="000000"/>
                </a:solidFill>
                <a:latin typeface="Calibri"/>
                <a:cs typeface="Arial" panose="020B0604020202020204" pitchFamily="34" charset="0"/>
              </a:rPr>
              <a:t>Supplementary Cementitious Materials (SCM)</a:t>
            </a:r>
            <a:r>
              <a:rPr kumimoji="0" lang="en-ZA"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lang="en-US" sz="1600" dirty="0">
                <a:latin typeface="Calibri"/>
                <a:cs typeface="Arial" panose="020B0604020202020204" pitchFamily="34" charset="0"/>
              </a:rPr>
              <a:t>Ground Granulated Blast Furnace Slag (GGBFS)</a:t>
            </a:r>
            <a:r>
              <a:rPr kumimoji="0" lang="en-ZA"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lumina cement ,etc.</a:t>
            </a:r>
          </a:p>
          <a:p>
            <a:pPr marL="742950" marR="0" lvl="2" indent="-285750" algn="l" defTabSz="914400" rtl="0" eaLnBrk="1" fontAlgn="base" latinLnBrk="0" hangingPunct="1">
              <a:lnSpc>
                <a:spcPct val="90000"/>
              </a:lnSpc>
              <a:spcBef>
                <a:spcPts val="0"/>
              </a:spcBef>
              <a:spcAft>
                <a:spcPts val="299"/>
              </a:spcAft>
              <a:buClr>
                <a:srgbClr val="2E3135"/>
              </a:buClr>
              <a:buSzPct val="90000"/>
              <a:buFont typeface="Calibri" panose="020F0502020204030204" pitchFamily="34" charset="0"/>
              <a:buChar char="-"/>
              <a:tabLst/>
              <a:defRPr/>
            </a:pPr>
            <a:r>
              <a:rPr kumimoji="0" lang="en-ZA"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Recovering of metallic oxides and free metal droplets as an alloy byproduct.</a:t>
            </a:r>
          </a:p>
          <a:p>
            <a:pPr marL="742950" marR="0" lvl="2" indent="-285750" algn="l" defTabSz="914400" rtl="0" eaLnBrk="1" fontAlgn="base" latinLnBrk="0" hangingPunct="1">
              <a:lnSpc>
                <a:spcPct val="90000"/>
              </a:lnSpc>
              <a:spcBef>
                <a:spcPts val="0"/>
              </a:spcBef>
              <a:spcAft>
                <a:spcPts val="299"/>
              </a:spcAft>
              <a:buClr>
                <a:srgbClr val="2E3135"/>
              </a:buClr>
              <a:buSzPct val="90000"/>
              <a:buFont typeface="Calibri" panose="020F0502020204030204" pitchFamily="34" charset="0"/>
              <a:buChar char="-"/>
              <a:tabLst/>
              <a:defRPr/>
            </a:pPr>
            <a:r>
              <a:rPr kumimoji="0" lang="en-ZA"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rocess versatility by combining rectangular </a:t>
            </a:r>
            <a:r>
              <a:rPr kumimoji="0" lang="en-US"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or DC plasma arc electrical SVF with post furnace slag modification or/in conjunction with granulation (wet/dry) and slag clinkering.</a:t>
            </a:r>
          </a:p>
          <a:p>
            <a:pPr marL="742950" marR="0" lvl="2" indent="-285750" algn="l" defTabSz="914400" rtl="0" eaLnBrk="1" fontAlgn="base" latinLnBrk="0" hangingPunct="1">
              <a:lnSpc>
                <a:spcPct val="90000"/>
              </a:lnSpc>
              <a:spcBef>
                <a:spcPts val="0"/>
              </a:spcBef>
              <a:spcAft>
                <a:spcPts val="299"/>
              </a:spcAft>
              <a:buClr>
                <a:srgbClr val="2E3135"/>
              </a:buClr>
              <a:buSzPct val="90000"/>
              <a:buFont typeface="Calibri" panose="020F050202020403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Capability of receiving a wide range of feed material.</a:t>
            </a:r>
          </a:p>
          <a:p>
            <a:pPr marL="742950" marR="0" lvl="2" indent="-285750" algn="l" defTabSz="914400" rtl="0" eaLnBrk="1" fontAlgn="base" latinLnBrk="0" hangingPunct="1">
              <a:lnSpc>
                <a:spcPct val="90000"/>
              </a:lnSpc>
              <a:spcBef>
                <a:spcPts val="0"/>
              </a:spcBef>
              <a:spcAft>
                <a:spcPts val="299"/>
              </a:spcAft>
              <a:buClr>
                <a:srgbClr val="2E3135"/>
              </a:buClr>
              <a:buSzPct val="90000"/>
              <a:buFont typeface="Calibri" panose="020F050202020403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rocessing capability of a wide range of wastes, </a:t>
            </a:r>
            <a:r>
              <a:rPr lang="en-US" sz="1600" dirty="0">
                <a:solidFill>
                  <a:srgbClr val="000000"/>
                </a:solidFill>
                <a:latin typeface="Calibri"/>
                <a:ea typeface="+mn-ea"/>
                <a:cs typeface="Arial" panose="020B0604020202020204" pitchFamily="34" charset="0"/>
              </a:rPr>
              <a:t>i.e.</a:t>
            </a:r>
            <a:r>
              <a:rPr kumimoji="0" lang="en-US"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fine dusts and mill scale.</a:t>
            </a:r>
          </a:p>
          <a:p>
            <a:pPr marL="742950" marR="0" lvl="2" indent="-285750" algn="l" defTabSz="914400" rtl="0" eaLnBrk="1" fontAlgn="base" latinLnBrk="0" hangingPunct="1">
              <a:lnSpc>
                <a:spcPct val="90000"/>
              </a:lnSpc>
              <a:spcBef>
                <a:spcPts val="0"/>
              </a:spcBef>
              <a:spcAft>
                <a:spcPts val="299"/>
              </a:spcAft>
              <a:buClr>
                <a:srgbClr val="2E3135"/>
              </a:buClr>
              <a:buSzPct val="90000"/>
              <a:buFont typeface="Calibri" panose="020F050202020403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Option to combine a heat recovery system to recover energy.</a:t>
            </a:r>
          </a:p>
          <a:p>
            <a:pPr marL="742950" marR="0" lvl="2" indent="-285750" algn="l" defTabSz="914400" rtl="0" eaLnBrk="1" fontAlgn="base" latinLnBrk="0" hangingPunct="1">
              <a:lnSpc>
                <a:spcPct val="90000"/>
              </a:lnSpc>
              <a:spcBef>
                <a:spcPts val="0"/>
              </a:spcBef>
              <a:spcAft>
                <a:spcPts val="299"/>
              </a:spcAft>
              <a:buClr>
                <a:srgbClr val="2E3135"/>
              </a:buClr>
              <a:buSzPct val="90000"/>
              <a:buFont typeface="Calibri" panose="020F050202020403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ave on slag stockpiling costs and area.</a:t>
            </a:r>
          </a:p>
          <a:p>
            <a:pPr marL="742950" marR="0" lvl="2" indent="-285750" algn="l" defTabSz="914400" rtl="0" eaLnBrk="1" fontAlgn="base" latinLnBrk="0" hangingPunct="1">
              <a:lnSpc>
                <a:spcPct val="90000"/>
              </a:lnSpc>
              <a:spcBef>
                <a:spcPts val="0"/>
              </a:spcBef>
              <a:spcAft>
                <a:spcPts val="299"/>
              </a:spcAft>
              <a:buClr>
                <a:srgbClr val="2E3135"/>
              </a:buClr>
              <a:buSzPct val="90000"/>
              <a:buFont typeface="Calibri" panose="020F050202020403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Decreasing the carbon footprint with possibility of claiming carbon credits (depending on the specific region).</a:t>
            </a:r>
            <a:endParaRPr kumimoji="0" lang="en-US"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5" name="Slide Number Placeholder 4">
            <a:extLst>
              <a:ext uri="{FF2B5EF4-FFF2-40B4-BE49-F238E27FC236}">
                <a16:creationId xmlns:a16="http://schemas.microsoft.com/office/drawing/2014/main" id="{9F180F81-E4AB-A835-E704-1FBB495707F0}"/>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043744-42FE-4892-90BA-7087481EB81E}" type="slidenum">
              <a:rPr kumimoji="0" lang="de-DE" sz="10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de-DE" sz="1000" b="0" i="0" u="none" strike="noStrike" kern="1200" cap="none" spc="0" normalizeH="0" baseline="0" noProof="0" dirty="0">
              <a:ln>
                <a:noFill/>
              </a:ln>
              <a:solidFill>
                <a:srgbClr val="000000"/>
              </a:solidFill>
              <a:effectLst/>
              <a:uLnTx/>
              <a:uFillTx/>
              <a:latin typeface="Calibri"/>
              <a:ea typeface="+mn-ea"/>
              <a:cs typeface="+mn-cs"/>
            </a:endParaRPr>
          </a:p>
        </p:txBody>
      </p:sp>
      <p:sp>
        <p:nvSpPr>
          <p:cNvPr id="3" name="TextBox 2">
            <a:extLst>
              <a:ext uri="{FF2B5EF4-FFF2-40B4-BE49-F238E27FC236}">
                <a16:creationId xmlns:a16="http://schemas.microsoft.com/office/drawing/2014/main" id="{FDA4BD11-CF84-A02F-C7E5-C1CBCEE3CF39}"/>
              </a:ext>
            </a:extLst>
          </p:cNvPr>
          <p:cNvSpPr txBox="1"/>
          <p:nvPr/>
        </p:nvSpPr>
        <p:spPr bwMode="black">
          <a:xfrm>
            <a:off x="6220750" y="6604084"/>
            <a:ext cx="5579269"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000" b="0" i="1" u="none" strike="noStrike" kern="12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mn-cs"/>
              </a:rPr>
              <a:t>Contains Trade Secrets, Confidential, Proprietary, or Privileged Information Exempt from Public Disclosure</a:t>
            </a:r>
            <a:endParaRPr kumimoji="0" lang="en-ZA" sz="1000" b="0" i="1" u="none" strike="noStrike" kern="1200" cap="none" spc="0" normalizeH="0" baseline="0" noProof="0" dirty="0">
              <a:ln>
                <a:noFill/>
              </a:ln>
              <a:solidFill>
                <a:srgbClr val="000000"/>
              </a:solidFill>
              <a:effectLst/>
              <a:uLnTx/>
              <a:uFillTx/>
              <a:latin typeface="Calibri"/>
              <a:ea typeface="+mn-ea"/>
              <a:cs typeface="+mn-cs"/>
            </a:endParaRPr>
          </a:p>
        </p:txBody>
      </p:sp>
      <p:pic>
        <p:nvPicPr>
          <p:cNvPr id="2" name="Picture 1" descr="A picture containing screenshot, graphics, graphic design, font&#10;&#10;Description automatically generated">
            <a:extLst>
              <a:ext uri="{FF2B5EF4-FFF2-40B4-BE49-F238E27FC236}">
                <a16:creationId xmlns:a16="http://schemas.microsoft.com/office/drawing/2014/main" id="{A70BFAA0-7C26-F028-2AD6-9E21484829D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229272" y="5826031"/>
            <a:ext cx="846835" cy="731246"/>
          </a:xfrm>
          <a:prstGeom prst="rect">
            <a:avLst/>
          </a:prstGeom>
        </p:spPr>
      </p:pic>
      <p:pic>
        <p:nvPicPr>
          <p:cNvPr id="4" name="Picture 3" descr="A group of circles with different colors&#10;&#10;AI-generated content may be incorrect.">
            <a:extLst>
              <a:ext uri="{FF2B5EF4-FFF2-40B4-BE49-F238E27FC236}">
                <a16:creationId xmlns:a16="http://schemas.microsoft.com/office/drawing/2014/main" id="{549D3771-C35F-E26F-BFD3-8377AEA0BE2A}"/>
              </a:ext>
            </a:extLst>
          </p:cNvPr>
          <p:cNvPicPr>
            <a:picLocks noChangeAspect="1"/>
          </p:cNvPicPr>
          <p:nvPr/>
        </p:nvPicPr>
        <p:blipFill>
          <a:blip r:embed="rId3"/>
          <a:stretch>
            <a:fillRect/>
          </a:stretch>
        </p:blipFill>
        <p:spPr>
          <a:xfrm>
            <a:off x="9479962" y="6257031"/>
            <a:ext cx="1633038" cy="222970"/>
          </a:xfrm>
          <a:prstGeom prst="rect">
            <a:avLst/>
          </a:prstGeom>
        </p:spPr>
      </p:pic>
      <p:pic>
        <p:nvPicPr>
          <p:cNvPr id="24" name="Picture 23" descr="A group of people in white coats working in a factory&#10;&#10;Description automatically generated">
            <a:extLst>
              <a:ext uri="{FF2B5EF4-FFF2-40B4-BE49-F238E27FC236}">
                <a16:creationId xmlns:a16="http://schemas.microsoft.com/office/drawing/2014/main" id="{9DCFF5C8-045A-5FCE-557E-29D48F3426FB}"/>
              </a:ext>
            </a:extLst>
          </p:cNvPr>
          <p:cNvPicPr>
            <a:picLocks noChangeAspect="1"/>
          </p:cNvPicPr>
          <p:nvPr/>
        </p:nvPicPr>
        <p:blipFill rotWithShape="1">
          <a:blip r:embed="rId4">
            <a:extLst>
              <a:ext uri="{28A0092B-C50C-407E-A947-70E740481C1C}">
                <a14:useLocalDpi xmlns:a14="http://schemas.microsoft.com/office/drawing/2010/main" val="0"/>
              </a:ext>
            </a:extLst>
          </a:blip>
          <a:srcRect t="267" b="27900"/>
          <a:stretch/>
        </p:blipFill>
        <p:spPr>
          <a:xfrm>
            <a:off x="7715823" y="1671899"/>
            <a:ext cx="4407312" cy="4221209"/>
          </a:xfrm>
          <a:prstGeom prst="rect">
            <a:avLst/>
          </a:prstGeom>
          <a:ln>
            <a:noFill/>
          </a:ln>
          <a:effectLst>
            <a:softEdge rad="112500"/>
          </a:effectLst>
        </p:spPr>
      </p:pic>
      <p:pic>
        <p:nvPicPr>
          <p:cNvPr id="9" name="Picture 8">
            <a:extLst>
              <a:ext uri="{FF2B5EF4-FFF2-40B4-BE49-F238E27FC236}">
                <a16:creationId xmlns:a16="http://schemas.microsoft.com/office/drawing/2014/main" id="{39DE2A20-AD54-C18A-6D0D-97C7A35A1A70}"/>
              </a:ext>
            </a:extLst>
          </p:cNvPr>
          <p:cNvPicPr>
            <a:picLocks noChangeAspect="1"/>
          </p:cNvPicPr>
          <p:nvPr/>
        </p:nvPicPr>
        <p:blipFill>
          <a:blip r:embed="rId5"/>
          <a:stretch>
            <a:fillRect/>
          </a:stretch>
        </p:blipFill>
        <p:spPr>
          <a:xfrm>
            <a:off x="10826035" y="82748"/>
            <a:ext cx="1285743" cy="795305"/>
          </a:xfrm>
          <a:prstGeom prst="rect">
            <a:avLst/>
          </a:prstGeom>
        </p:spPr>
      </p:pic>
    </p:spTree>
    <p:extLst>
      <p:ext uri="{BB962C8B-B14F-4D97-AF65-F5344CB8AC3E}">
        <p14:creationId xmlns:p14="http://schemas.microsoft.com/office/powerpoint/2010/main" val="193990783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6BBC2B-4472-0CC8-9324-76AF3A5B0E87}"/>
            </a:ext>
          </a:extLst>
        </p:cNvPr>
        <p:cNvGrpSpPr/>
        <p:nvPr/>
      </p:nvGrpSpPr>
      <p:grpSpPr>
        <a:xfrm>
          <a:off x="0" y="0"/>
          <a:ext cx="0" cy="0"/>
          <a:chOff x="0" y="0"/>
          <a:chExt cx="0" cy="0"/>
        </a:xfrm>
      </p:grpSpPr>
      <p:pic>
        <p:nvPicPr>
          <p:cNvPr id="17" name="Picture 16">
            <a:extLst>
              <a:ext uri="{FF2B5EF4-FFF2-40B4-BE49-F238E27FC236}">
                <a16:creationId xmlns:a16="http://schemas.microsoft.com/office/drawing/2014/main" id="{7B555FB5-39CD-6550-5B4D-0FBFAAA52DBA}"/>
              </a:ext>
            </a:extLst>
          </p:cNvPr>
          <p:cNvPicPr>
            <a:picLocks noChangeAspect="1"/>
          </p:cNvPicPr>
          <p:nvPr/>
        </p:nvPicPr>
        <p:blipFill rotWithShape="1">
          <a:blip r:embed="rId4">
            <a:extLst>
              <a:ext uri="{28A0092B-C50C-407E-A947-70E740481C1C}">
                <a14:useLocalDpi xmlns:a14="http://schemas.microsoft.com/office/drawing/2010/main" val="0"/>
              </a:ext>
            </a:extLst>
          </a:blip>
          <a:srcRect l="2575" t="6590" r="2236" b="5395"/>
          <a:stretch/>
        </p:blipFill>
        <p:spPr>
          <a:xfrm>
            <a:off x="163868" y="3126511"/>
            <a:ext cx="6175966" cy="3251609"/>
          </a:xfrm>
          <a:prstGeom prst="rect">
            <a:avLst/>
          </a:prstGeom>
        </p:spPr>
      </p:pic>
      <p:graphicFrame>
        <p:nvGraphicFramePr>
          <p:cNvPr id="12" name="Objekt 11" hidden="1">
            <a:extLst>
              <a:ext uri="{FF2B5EF4-FFF2-40B4-BE49-F238E27FC236}">
                <a16:creationId xmlns:a16="http://schemas.microsoft.com/office/drawing/2014/main" id="{D9723EF3-85B5-7D8A-6DCC-AA7F734D95A8}"/>
              </a:ext>
            </a:extLst>
          </p:cNvPr>
          <p:cNvGraphicFramePr>
            <a:graphicFrameLocks noChangeAspect="1"/>
          </p:cNvGraphicFramePr>
          <p:nvPr>
            <p:custDataLst>
              <p:tags r:id="rId1"/>
            </p:custDataLst>
          </p:nvPr>
        </p:nvGraphicFramePr>
        <p:xfrm>
          <a:off x="12701" y="1588"/>
          <a:ext cx="1588" cy="1588"/>
        </p:xfrm>
        <a:graphic>
          <a:graphicData uri="http://schemas.openxmlformats.org/presentationml/2006/ole">
            <mc:AlternateContent xmlns:mc="http://schemas.openxmlformats.org/markup-compatibility/2006">
              <mc:Choice xmlns:v="urn:schemas-microsoft-com:vml" Requires="v">
                <p:oleObj name="think-cell Folie" r:id="rId5" imgW="471" imgH="470" progId="TCLayout.ActiveDocument.1">
                  <p:embed/>
                </p:oleObj>
              </mc:Choice>
              <mc:Fallback>
                <p:oleObj name="think-cell Folie" r:id="rId5" imgW="471" imgH="470" progId="TCLayout.ActiveDocument.1">
                  <p:embed/>
                  <p:pic>
                    <p:nvPicPr>
                      <p:cNvPr id="12" name="Objekt 11" hidden="1">
                        <a:extLst>
                          <a:ext uri="{FF2B5EF4-FFF2-40B4-BE49-F238E27FC236}">
                            <a16:creationId xmlns:a16="http://schemas.microsoft.com/office/drawing/2014/main" id="{D9723EF3-85B5-7D8A-6DCC-AA7F734D95A8}"/>
                          </a:ext>
                        </a:extLst>
                      </p:cNvPr>
                      <p:cNvPicPr/>
                      <p:nvPr/>
                    </p:nvPicPr>
                    <p:blipFill>
                      <a:blip r:embed="rId6"/>
                      <a:stretch>
                        <a:fillRect/>
                      </a:stretch>
                    </p:blipFill>
                    <p:spPr>
                      <a:xfrm>
                        <a:off x="12701"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B4EB12F1-BDEC-D273-A1A5-4EBFCE79D703}"/>
              </a:ext>
            </a:extLst>
          </p:cNvPr>
          <p:cNvSpPr>
            <a:spLocks noGrp="1"/>
          </p:cNvSpPr>
          <p:nvPr>
            <p:ph type="title"/>
          </p:nvPr>
        </p:nvSpPr>
        <p:spPr/>
        <p:txBody>
          <a:bodyPr vert="horz"/>
          <a:lstStyle/>
          <a:p>
            <a:r>
              <a:rPr lang="en-US" dirty="0"/>
              <a:t>SVF: Dedicated test work completed</a:t>
            </a:r>
          </a:p>
        </p:txBody>
      </p:sp>
      <p:pic>
        <p:nvPicPr>
          <p:cNvPr id="5" name="Picture 4">
            <a:extLst>
              <a:ext uri="{FF2B5EF4-FFF2-40B4-BE49-F238E27FC236}">
                <a16:creationId xmlns:a16="http://schemas.microsoft.com/office/drawing/2014/main" id="{F322021E-DF2D-1C8A-4323-706494790D1D}"/>
              </a:ext>
            </a:extLst>
          </p:cNvPr>
          <p:cNvPicPr>
            <a:picLocks noChangeAspect="1"/>
          </p:cNvPicPr>
          <p:nvPr/>
        </p:nvPicPr>
        <p:blipFill rotWithShape="1">
          <a:blip r:embed="rId7">
            <a:extLst>
              <a:ext uri="{28A0092B-C50C-407E-A947-70E740481C1C}">
                <a14:useLocalDpi xmlns:a14="http://schemas.microsoft.com/office/drawing/2010/main" val="0"/>
              </a:ext>
            </a:extLst>
          </a:blip>
          <a:srcRect l="6868" r="7842" b="28260"/>
          <a:stretch/>
        </p:blipFill>
        <p:spPr>
          <a:xfrm>
            <a:off x="8585223" y="1926750"/>
            <a:ext cx="3458337" cy="3957691"/>
          </a:xfrm>
          <a:prstGeom prst="rect">
            <a:avLst/>
          </a:prstGeom>
          <a:ln>
            <a:noFill/>
          </a:ln>
          <a:effectLst>
            <a:softEdge rad="112500"/>
          </a:effectLst>
        </p:spPr>
      </p:pic>
      <p:sp>
        <p:nvSpPr>
          <p:cNvPr id="9" name="Slide Number Placeholder 4">
            <a:extLst>
              <a:ext uri="{FF2B5EF4-FFF2-40B4-BE49-F238E27FC236}">
                <a16:creationId xmlns:a16="http://schemas.microsoft.com/office/drawing/2014/main" id="{80BD299D-C18A-9609-B3A1-09CAA3E7A222}"/>
              </a:ext>
            </a:extLst>
          </p:cNvPr>
          <p:cNvSpPr>
            <a:spLocks noGrp="1"/>
          </p:cNvSpPr>
          <p:nvPr>
            <p:ph type="sldNum" sz="quarter" idx="4"/>
          </p:nvPr>
        </p:nvSpPr>
        <p:spPr>
          <a:xfrm>
            <a:off x="11468908" y="6640462"/>
            <a:ext cx="720001" cy="216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043744-42FE-4892-90BA-7087481EB81E}" type="slidenum">
              <a:rPr kumimoji="0" lang="de-DE" sz="10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de-DE" sz="10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0" name="TextBox 9">
            <a:extLst>
              <a:ext uri="{FF2B5EF4-FFF2-40B4-BE49-F238E27FC236}">
                <a16:creationId xmlns:a16="http://schemas.microsoft.com/office/drawing/2014/main" id="{5ACAB10B-BD74-65E3-ED46-F2C9C520F207}"/>
              </a:ext>
            </a:extLst>
          </p:cNvPr>
          <p:cNvSpPr txBox="1"/>
          <p:nvPr/>
        </p:nvSpPr>
        <p:spPr bwMode="black">
          <a:xfrm>
            <a:off x="6220750" y="6604084"/>
            <a:ext cx="5579269"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000" b="0" i="1" u="none" strike="noStrike" kern="12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mn-cs"/>
              </a:rPr>
              <a:t>Contains Trade Secrets, Confidential, Proprietary, or Privileged Information Exempt from Public Disclosure</a:t>
            </a:r>
            <a:endParaRPr kumimoji="0" lang="en-ZA" sz="1000" b="0" i="1" u="none" strike="noStrike" kern="1200" cap="none" spc="0" normalizeH="0" baseline="0" noProof="0" dirty="0">
              <a:ln>
                <a:noFill/>
              </a:ln>
              <a:solidFill>
                <a:srgbClr val="000000"/>
              </a:solidFill>
              <a:effectLst/>
              <a:uLnTx/>
              <a:uFillTx/>
              <a:latin typeface="Calibri"/>
              <a:ea typeface="+mn-ea"/>
              <a:cs typeface="+mn-cs"/>
            </a:endParaRPr>
          </a:p>
        </p:txBody>
      </p:sp>
      <p:pic>
        <p:nvPicPr>
          <p:cNvPr id="13" name="Picture 12" descr="A picture containing screenshot, graphics, graphic design, font&#10;&#10;Description automatically generated">
            <a:extLst>
              <a:ext uri="{FF2B5EF4-FFF2-40B4-BE49-F238E27FC236}">
                <a16:creationId xmlns:a16="http://schemas.microsoft.com/office/drawing/2014/main" id="{2458508C-F876-F21D-5D32-0F3D0439EB50}"/>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229272" y="5826031"/>
            <a:ext cx="846835" cy="731246"/>
          </a:xfrm>
          <a:prstGeom prst="rect">
            <a:avLst/>
          </a:prstGeom>
        </p:spPr>
      </p:pic>
      <p:pic>
        <p:nvPicPr>
          <p:cNvPr id="14" name="Picture 13" descr="A group of circles with different colors&#10;&#10;AI-generated content may be incorrect.">
            <a:extLst>
              <a:ext uri="{FF2B5EF4-FFF2-40B4-BE49-F238E27FC236}">
                <a16:creationId xmlns:a16="http://schemas.microsoft.com/office/drawing/2014/main" id="{1BFAD0F6-EC8C-E31D-192D-BCA8D7A0F893}"/>
              </a:ext>
            </a:extLst>
          </p:cNvPr>
          <p:cNvPicPr>
            <a:picLocks noChangeAspect="1"/>
          </p:cNvPicPr>
          <p:nvPr/>
        </p:nvPicPr>
        <p:blipFill>
          <a:blip r:embed="rId9"/>
          <a:stretch>
            <a:fillRect/>
          </a:stretch>
        </p:blipFill>
        <p:spPr>
          <a:xfrm>
            <a:off x="9479962" y="6257031"/>
            <a:ext cx="1633038" cy="222970"/>
          </a:xfrm>
          <a:prstGeom prst="rect">
            <a:avLst/>
          </a:prstGeom>
        </p:spPr>
      </p:pic>
      <p:grpSp>
        <p:nvGrpSpPr>
          <p:cNvPr id="29" name="Group 28">
            <a:extLst>
              <a:ext uri="{FF2B5EF4-FFF2-40B4-BE49-F238E27FC236}">
                <a16:creationId xmlns:a16="http://schemas.microsoft.com/office/drawing/2014/main" id="{DAF63C01-97B2-8EB2-6519-9263D403A164}"/>
              </a:ext>
            </a:extLst>
          </p:cNvPr>
          <p:cNvGrpSpPr/>
          <p:nvPr/>
        </p:nvGrpSpPr>
        <p:grpSpPr>
          <a:xfrm>
            <a:off x="6564323" y="2780890"/>
            <a:ext cx="2700048" cy="3153189"/>
            <a:chOff x="6694515" y="2822389"/>
            <a:chExt cx="2700048" cy="3153189"/>
          </a:xfrm>
        </p:grpSpPr>
        <p:pic>
          <p:nvPicPr>
            <p:cNvPr id="18" name="Picture 17">
              <a:extLst>
                <a:ext uri="{FF2B5EF4-FFF2-40B4-BE49-F238E27FC236}">
                  <a16:creationId xmlns:a16="http://schemas.microsoft.com/office/drawing/2014/main" id="{BBD0B73B-0848-1E5B-2470-B122A3BDCEDD}"/>
                </a:ext>
              </a:extLst>
            </p:cNvPr>
            <p:cNvPicPr>
              <a:picLocks noChangeAspect="1"/>
            </p:cNvPicPr>
            <p:nvPr/>
          </p:nvPicPr>
          <p:blipFill>
            <a:blip r:embed="rId10"/>
            <a:stretch>
              <a:fillRect/>
            </a:stretch>
          </p:blipFill>
          <p:spPr>
            <a:xfrm>
              <a:off x="6694515" y="2822389"/>
              <a:ext cx="1574743" cy="1468419"/>
            </a:xfrm>
            <a:prstGeom prst="rect">
              <a:avLst/>
            </a:prstGeom>
          </p:spPr>
        </p:pic>
        <p:pic>
          <p:nvPicPr>
            <p:cNvPr id="20" name="Picture 19">
              <a:extLst>
                <a:ext uri="{FF2B5EF4-FFF2-40B4-BE49-F238E27FC236}">
                  <a16:creationId xmlns:a16="http://schemas.microsoft.com/office/drawing/2014/main" id="{ECDCC4D8-65EA-7059-20BB-EDEDEE47E9C9}"/>
                </a:ext>
              </a:extLst>
            </p:cNvPr>
            <p:cNvPicPr/>
            <p:nvPr/>
          </p:nvPicPr>
          <p:blipFill rotWithShape="1">
            <a:blip r:embed="rId11" cstate="print">
              <a:extLst>
                <a:ext uri="{28A0092B-C50C-407E-A947-70E740481C1C}">
                  <a14:useLocalDpi xmlns:a14="http://schemas.microsoft.com/office/drawing/2010/main" val="0"/>
                </a:ext>
              </a:extLst>
            </a:blip>
            <a:srcRect t="25272" r="14647" b="23655"/>
            <a:stretch/>
          </p:blipFill>
          <p:spPr>
            <a:xfrm>
              <a:off x="6694515" y="4494008"/>
              <a:ext cx="1574743" cy="1481570"/>
            </a:xfrm>
            <a:prstGeom prst="rect">
              <a:avLst/>
            </a:prstGeom>
          </p:spPr>
        </p:pic>
        <p:cxnSp>
          <p:nvCxnSpPr>
            <p:cNvPr id="21" name="Straight Arrow Connector 20">
              <a:extLst>
                <a:ext uri="{FF2B5EF4-FFF2-40B4-BE49-F238E27FC236}">
                  <a16:creationId xmlns:a16="http://schemas.microsoft.com/office/drawing/2014/main" id="{5DD1F1D7-F82B-BBDA-961F-CD31B0BAEE9D}"/>
                </a:ext>
              </a:extLst>
            </p:cNvPr>
            <p:cNvCxnSpPr>
              <a:cxnSpLocks/>
            </p:cNvCxnSpPr>
            <p:nvPr/>
          </p:nvCxnSpPr>
          <p:spPr>
            <a:xfrm flipH="1">
              <a:off x="7965440" y="3474536"/>
              <a:ext cx="1429123" cy="0"/>
            </a:xfrm>
            <a:prstGeom prst="straightConnector1">
              <a:avLst/>
            </a:prstGeom>
            <a:noFill/>
            <a:ln w="57150" cap="flat" cmpd="sng" algn="ctr">
              <a:solidFill>
                <a:schemeClr val="accent1"/>
              </a:solidFill>
              <a:prstDash val="solid"/>
              <a:miter lim="800000"/>
              <a:tailEnd type="triangle"/>
            </a:ln>
            <a:effectLst/>
          </p:spPr>
        </p:cxnSp>
        <p:cxnSp>
          <p:nvCxnSpPr>
            <p:cNvPr id="22" name="Straight Arrow Connector 21">
              <a:extLst>
                <a:ext uri="{FF2B5EF4-FFF2-40B4-BE49-F238E27FC236}">
                  <a16:creationId xmlns:a16="http://schemas.microsoft.com/office/drawing/2014/main" id="{C67221BC-B163-7B55-2CA2-D509EA8B4EFA}"/>
                </a:ext>
              </a:extLst>
            </p:cNvPr>
            <p:cNvCxnSpPr>
              <a:cxnSpLocks/>
            </p:cNvCxnSpPr>
            <p:nvPr/>
          </p:nvCxnSpPr>
          <p:spPr>
            <a:xfrm flipH="1">
              <a:off x="8016240" y="4826597"/>
              <a:ext cx="1333498" cy="0"/>
            </a:xfrm>
            <a:prstGeom prst="straightConnector1">
              <a:avLst/>
            </a:prstGeom>
            <a:noFill/>
            <a:ln w="57150" cap="flat" cmpd="sng" algn="ctr">
              <a:solidFill>
                <a:schemeClr val="accent1"/>
              </a:solidFill>
              <a:prstDash val="solid"/>
              <a:miter lim="800000"/>
              <a:tailEnd type="triangle"/>
            </a:ln>
            <a:effectLst/>
          </p:spPr>
        </p:cxnSp>
      </p:grpSp>
      <p:sp>
        <p:nvSpPr>
          <p:cNvPr id="16" name="TextBox 15">
            <a:extLst>
              <a:ext uri="{FF2B5EF4-FFF2-40B4-BE49-F238E27FC236}">
                <a16:creationId xmlns:a16="http://schemas.microsoft.com/office/drawing/2014/main" id="{C31616F0-C916-6CB7-54A7-67B3591A6061}"/>
              </a:ext>
            </a:extLst>
          </p:cNvPr>
          <p:cNvSpPr txBox="1"/>
          <p:nvPr/>
        </p:nvSpPr>
        <p:spPr>
          <a:xfrm>
            <a:off x="289158" y="1061619"/>
            <a:ext cx="8930388" cy="1575816"/>
          </a:xfrm>
          <a:prstGeom prst="rect">
            <a:avLst/>
          </a:prstGeom>
          <a:noFill/>
        </p:spPr>
        <p:txBody>
          <a:bodyPr wrap="square" rtlCol="0">
            <a:spAutoFit/>
          </a:bodyPr>
          <a:lstStyle/>
          <a:p>
            <a:pPr marL="266220" indent="-266220" fontAlgn="base">
              <a:lnSpc>
                <a:spcPct val="90000"/>
              </a:lnSpc>
              <a:spcAft>
                <a:spcPts val="299"/>
              </a:spcAft>
              <a:buClr>
                <a:srgbClr val="2E3135"/>
              </a:buClr>
              <a:buSzPct val="90000"/>
              <a:buFont typeface="Wingdings" panose="05000000000000000000" pitchFamily="2" charset="2"/>
              <a:buChar char="u"/>
              <a:defRPr/>
            </a:pPr>
            <a:r>
              <a:rPr lang="en-ZA" sz="1600" noProof="0" dirty="0">
                <a:latin typeface="Calibri"/>
                <a:cs typeface="Arial" panose="020B0604020202020204" pitchFamily="34" charset="0"/>
              </a:rPr>
              <a:t>GGBFS produced as part of a DRI test campaign utilising Metix’ custom-built Open Bath Furnaces (OBFs) at the </a:t>
            </a:r>
            <a:r>
              <a:rPr lang="en-ZA" sz="1600" noProof="0" dirty="0" err="1">
                <a:latin typeface="Calibri"/>
                <a:cs typeface="Arial" panose="020B0604020202020204" pitchFamily="34" charset="0"/>
              </a:rPr>
              <a:t>Mintek</a:t>
            </a:r>
            <a:r>
              <a:rPr lang="en-ZA" sz="1600" noProof="0" dirty="0">
                <a:latin typeface="Calibri"/>
                <a:cs typeface="Arial" panose="020B0604020202020204" pitchFamily="34" charset="0"/>
              </a:rPr>
              <a:t> test Facility in Johannesburg, South Africa.</a:t>
            </a:r>
          </a:p>
          <a:p>
            <a:pPr marL="266220" indent="-266220" fontAlgn="base">
              <a:lnSpc>
                <a:spcPct val="90000"/>
              </a:lnSpc>
              <a:spcAft>
                <a:spcPts val="299"/>
              </a:spcAft>
              <a:buClr>
                <a:srgbClr val="2E3135"/>
              </a:buClr>
              <a:buSzPct val="90000"/>
              <a:buFont typeface="Wingdings" panose="05000000000000000000" pitchFamily="2" charset="2"/>
              <a:buChar char="u"/>
              <a:defRPr/>
            </a:pPr>
            <a:r>
              <a:rPr lang="en-US" sz="1600" noProof="0" dirty="0">
                <a:latin typeface="Calibri"/>
                <a:cs typeface="Arial" panose="020B0604020202020204" pitchFamily="34" charset="0"/>
              </a:rPr>
              <a:t>Continuous operation over &gt;30-days (smelting ≈400 tons cold NGDRI with &gt;100 taps completed).</a:t>
            </a:r>
          </a:p>
          <a:p>
            <a:pPr marL="266220" indent="-266220" fontAlgn="base">
              <a:lnSpc>
                <a:spcPct val="90000"/>
              </a:lnSpc>
              <a:spcAft>
                <a:spcPts val="299"/>
              </a:spcAft>
              <a:buClr>
                <a:srgbClr val="2E3135"/>
              </a:buClr>
              <a:buSzPct val="90000"/>
              <a:buFont typeface="Wingdings" panose="05000000000000000000" pitchFamily="2" charset="2"/>
              <a:buChar char="u"/>
              <a:defRPr/>
            </a:pPr>
            <a:r>
              <a:rPr lang="en-ZA" sz="1600" noProof="0" dirty="0">
                <a:latin typeface="Calibri"/>
                <a:cs typeface="Arial" panose="020B0604020202020204" pitchFamily="34" charset="0"/>
              </a:rPr>
              <a:t>Wide temperature range and varying compositions tested. </a:t>
            </a:r>
          </a:p>
          <a:p>
            <a:pPr marL="266220" indent="-266220">
              <a:lnSpc>
                <a:spcPct val="90000"/>
              </a:lnSpc>
              <a:spcAft>
                <a:spcPts val="299"/>
              </a:spcAft>
              <a:buClr>
                <a:srgbClr val="2E3135"/>
              </a:buClr>
              <a:buSzPct val="90000"/>
              <a:buFont typeface="Wingdings" panose="05000000000000000000" pitchFamily="2" charset="2"/>
              <a:buChar char="u"/>
              <a:defRPr/>
            </a:pPr>
            <a:r>
              <a:rPr lang="en-GB" sz="1600" dirty="0">
                <a:latin typeface="Calibri"/>
                <a:cs typeface="Arial" panose="020B0604020202020204" pitchFamily="34" charset="0"/>
              </a:rPr>
              <a:t>Adjusting slag properties to enhance metal collection and reduction processes.</a:t>
            </a:r>
          </a:p>
          <a:p>
            <a:pPr marL="266220" indent="-266220" fontAlgn="base">
              <a:lnSpc>
                <a:spcPct val="90000"/>
              </a:lnSpc>
              <a:spcAft>
                <a:spcPts val="299"/>
              </a:spcAft>
              <a:buClr>
                <a:srgbClr val="2E3135"/>
              </a:buClr>
              <a:buSzPct val="90000"/>
              <a:buFont typeface="Wingdings" panose="05000000000000000000" pitchFamily="2" charset="2"/>
              <a:buChar char="u"/>
              <a:defRPr/>
            </a:pPr>
            <a:r>
              <a:rPr lang="en-ZA" sz="1600" noProof="0" dirty="0">
                <a:latin typeface="Calibri"/>
                <a:cs typeface="Arial" panose="020B0604020202020204" pitchFamily="34" charset="0"/>
              </a:rPr>
              <a:t>Slag properties compared and confirmed with Industrial GGBFS.</a:t>
            </a:r>
          </a:p>
        </p:txBody>
      </p:sp>
      <p:pic>
        <p:nvPicPr>
          <p:cNvPr id="2" name="Picture 1">
            <a:extLst>
              <a:ext uri="{FF2B5EF4-FFF2-40B4-BE49-F238E27FC236}">
                <a16:creationId xmlns:a16="http://schemas.microsoft.com/office/drawing/2014/main" id="{F1E1F394-311C-8339-9AD2-6028701AD54F}"/>
              </a:ext>
            </a:extLst>
          </p:cNvPr>
          <p:cNvPicPr>
            <a:picLocks noChangeAspect="1"/>
          </p:cNvPicPr>
          <p:nvPr/>
        </p:nvPicPr>
        <p:blipFill>
          <a:blip r:embed="rId12"/>
          <a:stretch>
            <a:fillRect/>
          </a:stretch>
        </p:blipFill>
        <p:spPr>
          <a:xfrm>
            <a:off x="10826035" y="82748"/>
            <a:ext cx="1285743" cy="795305"/>
          </a:xfrm>
          <a:prstGeom prst="rect">
            <a:avLst/>
          </a:prstGeom>
        </p:spPr>
      </p:pic>
    </p:spTree>
    <p:extLst>
      <p:ext uri="{BB962C8B-B14F-4D97-AF65-F5344CB8AC3E}">
        <p14:creationId xmlns:p14="http://schemas.microsoft.com/office/powerpoint/2010/main" val="12809720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60A44C-5C0F-148C-0BAD-CE22C4F18FED}"/>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9B76FDDA-FDD9-14F0-3977-8B5BAC8F0E45}"/>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043744-42FE-4892-90BA-7087481EB81E}" type="slidenum">
              <a:rPr kumimoji="0" lang="de-DE" sz="10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de-DE" sz="1000" b="0" i="0" u="none" strike="noStrike" kern="1200" cap="none" spc="0" normalizeH="0" baseline="0" noProof="0" dirty="0">
              <a:ln>
                <a:noFill/>
              </a:ln>
              <a:solidFill>
                <a:srgbClr val="000000"/>
              </a:solidFill>
              <a:effectLst/>
              <a:uLnTx/>
              <a:uFillTx/>
              <a:latin typeface="Calibri"/>
              <a:ea typeface="+mn-ea"/>
              <a:cs typeface="+mn-cs"/>
            </a:endParaRPr>
          </a:p>
        </p:txBody>
      </p:sp>
      <p:sp>
        <p:nvSpPr>
          <p:cNvPr id="3" name="TextBox 2">
            <a:extLst>
              <a:ext uri="{FF2B5EF4-FFF2-40B4-BE49-F238E27FC236}">
                <a16:creationId xmlns:a16="http://schemas.microsoft.com/office/drawing/2014/main" id="{01367666-F5C4-F590-371F-3EDAFC6EA282}"/>
              </a:ext>
            </a:extLst>
          </p:cNvPr>
          <p:cNvSpPr txBox="1"/>
          <p:nvPr/>
        </p:nvSpPr>
        <p:spPr bwMode="black">
          <a:xfrm>
            <a:off x="6220750" y="6604084"/>
            <a:ext cx="5579269"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000" b="0" i="1" u="none" strike="noStrike" kern="12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mn-cs"/>
              </a:rPr>
              <a:t>Contains Trade Secrets, Confidential, Proprietary, or Privileged Information Exempt from Public Disclosure</a:t>
            </a:r>
            <a:endParaRPr kumimoji="0" lang="en-ZA" sz="1000" b="0" i="1" u="none" strike="noStrike" kern="1200" cap="none" spc="0" normalizeH="0" baseline="0" noProof="0" dirty="0">
              <a:ln>
                <a:noFill/>
              </a:ln>
              <a:solidFill>
                <a:srgbClr val="000000"/>
              </a:solidFill>
              <a:effectLst/>
              <a:uLnTx/>
              <a:uFillTx/>
              <a:latin typeface="Calibri"/>
              <a:ea typeface="+mn-ea"/>
              <a:cs typeface="+mn-cs"/>
            </a:endParaRPr>
          </a:p>
        </p:txBody>
      </p:sp>
      <p:pic>
        <p:nvPicPr>
          <p:cNvPr id="2" name="Picture 1" descr="A picture containing screenshot, graphics, graphic design, font&#10;&#10;Description automatically generated">
            <a:extLst>
              <a:ext uri="{FF2B5EF4-FFF2-40B4-BE49-F238E27FC236}">
                <a16:creationId xmlns:a16="http://schemas.microsoft.com/office/drawing/2014/main" id="{85792739-6C0F-ED1D-64EF-D199FA96DDF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229272" y="5826031"/>
            <a:ext cx="846835" cy="731246"/>
          </a:xfrm>
          <a:prstGeom prst="rect">
            <a:avLst/>
          </a:prstGeom>
        </p:spPr>
      </p:pic>
      <p:pic>
        <p:nvPicPr>
          <p:cNvPr id="7" name="Picture 6" descr="A group of circles with different colors&#10;&#10;AI-generated content may be incorrect.">
            <a:extLst>
              <a:ext uri="{FF2B5EF4-FFF2-40B4-BE49-F238E27FC236}">
                <a16:creationId xmlns:a16="http://schemas.microsoft.com/office/drawing/2014/main" id="{31B483CB-7454-9E0B-754D-83D2E60BB417}"/>
              </a:ext>
            </a:extLst>
          </p:cNvPr>
          <p:cNvPicPr>
            <a:picLocks noChangeAspect="1"/>
          </p:cNvPicPr>
          <p:nvPr/>
        </p:nvPicPr>
        <p:blipFill>
          <a:blip r:embed="rId3"/>
          <a:stretch>
            <a:fillRect/>
          </a:stretch>
        </p:blipFill>
        <p:spPr>
          <a:xfrm>
            <a:off x="9479962" y="6257031"/>
            <a:ext cx="1633038" cy="222970"/>
          </a:xfrm>
          <a:prstGeom prst="rect">
            <a:avLst/>
          </a:prstGeom>
        </p:spPr>
      </p:pic>
      <p:pic>
        <p:nvPicPr>
          <p:cNvPr id="9" name="Picture 8" descr="A diagram of a factory&#10;&#10;AI-generated content may be incorrect.">
            <a:extLst>
              <a:ext uri="{FF2B5EF4-FFF2-40B4-BE49-F238E27FC236}">
                <a16:creationId xmlns:a16="http://schemas.microsoft.com/office/drawing/2014/main" id="{11D44D38-8AFB-A849-DBFB-CEBF0C53619E}"/>
              </a:ext>
            </a:extLst>
          </p:cNvPr>
          <p:cNvPicPr>
            <a:picLocks noChangeAspect="1"/>
          </p:cNvPicPr>
          <p:nvPr/>
        </p:nvPicPr>
        <p:blipFill>
          <a:blip r:embed="rId4">
            <a:extLst>
              <a:ext uri="{28A0092B-C50C-407E-A947-70E740481C1C}">
                <a14:useLocalDpi xmlns:a14="http://schemas.microsoft.com/office/drawing/2010/main" val="0"/>
              </a:ext>
            </a:extLst>
          </a:blip>
          <a:srcRect l="1522" t="67640" r="72312" b="1424"/>
          <a:stretch/>
        </p:blipFill>
        <p:spPr>
          <a:xfrm>
            <a:off x="582726" y="4197807"/>
            <a:ext cx="2736969" cy="2282194"/>
          </a:xfrm>
          <a:prstGeom prst="rect">
            <a:avLst/>
          </a:prstGeom>
        </p:spPr>
      </p:pic>
      <p:sp>
        <p:nvSpPr>
          <p:cNvPr id="17" name="Titel 3">
            <a:extLst>
              <a:ext uri="{FF2B5EF4-FFF2-40B4-BE49-F238E27FC236}">
                <a16:creationId xmlns:a16="http://schemas.microsoft.com/office/drawing/2014/main" id="{D1E401B4-0706-C755-05EB-A037E73BA77D}"/>
              </a:ext>
            </a:extLst>
          </p:cNvPr>
          <p:cNvSpPr>
            <a:spLocks noGrp="1"/>
          </p:cNvSpPr>
          <p:nvPr>
            <p:ph type="title"/>
          </p:nvPr>
        </p:nvSpPr>
        <p:spPr>
          <a:xfrm>
            <a:off x="289453" y="377999"/>
            <a:ext cx="11613389" cy="702000"/>
          </a:xfrm>
        </p:spPr>
        <p:txBody>
          <a:bodyPr vert="horz"/>
          <a:lstStyle/>
          <a:p>
            <a:r>
              <a:rPr lang="en-ZA" noProof="0" dirty="0"/>
              <a:t>SVF: </a:t>
            </a:r>
            <a:r>
              <a:rPr lang="en-GB" dirty="0"/>
              <a:t>Integrated EAF flowsheet improvement &amp; opportunities</a:t>
            </a:r>
            <a:endParaRPr lang="en-US" dirty="0"/>
          </a:p>
        </p:txBody>
      </p:sp>
      <p:pic>
        <p:nvPicPr>
          <p:cNvPr id="18" name="Picture 17">
            <a:extLst>
              <a:ext uri="{FF2B5EF4-FFF2-40B4-BE49-F238E27FC236}">
                <a16:creationId xmlns:a16="http://schemas.microsoft.com/office/drawing/2014/main" id="{3B693F3A-217C-09B9-0F43-67AABB0F651E}"/>
              </a:ext>
            </a:extLst>
          </p:cNvPr>
          <p:cNvPicPr>
            <a:picLocks noChangeAspect="1"/>
          </p:cNvPicPr>
          <p:nvPr/>
        </p:nvPicPr>
        <p:blipFill>
          <a:blip r:embed="rId5"/>
          <a:stretch>
            <a:fillRect/>
          </a:stretch>
        </p:blipFill>
        <p:spPr>
          <a:xfrm>
            <a:off x="10826035" y="82748"/>
            <a:ext cx="1285743" cy="795305"/>
          </a:xfrm>
          <a:prstGeom prst="rect">
            <a:avLst/>
          </a:prstGeom>
        </p:spPr>
      </p:pic>
      <p:grpSp>
        <p:nvGrpSpPr>
          <p:cNvPr id="4" name="Group 3">
            <a:extLst>
              <a:ext uri="{FF2B5EF4-FFF2-40B4-BE49-F238E27FC236}">
                <a16:creationId xmlns:a16="http://schemas.microsoft.com/office/drawing/2014/main" id="{09C2BEB4-CCB3-8933-A01D-CD27EBFB3D48}"/>
              </a:ext>
            </a:extLst>
          </p:cNvPr>
          <p:cNvGrpSpPr/>
          <p:nvPr/>
        </p:nvGrpSpPr>
        <p:grpSpPr>
          <a:xfrm>
            <a:off x="2365615" y="542013"/>
            <a:ext cx="9434404" cy="5988580"/>
            <a:chOff x="2641702" y="434710"/>
            <a:chExt cx="9434404" cy="5988580"/>
          </a:xfrm>
        </p:grpSpPr>
        <p:pic>
          <p:nvPicPr>
            <p:cNvPr id="8" name="Picture 7">
              <a:extLst>
                <a:ext uri="{FF2B5EF4-FFF2-40B4-BE49-F238E27FC236}">
                  <a16:creationId xmlns:a16="http://schemas.microsoft.com/office/drawing/2014/main" id="{17A758F6-4ACF-F336-8364-CC2C3C87A1FF}"/>
                </a:ext>
              </a:extLst>
            </p:cNvPr>
            <p:cNvPicPr>
              <a:picLocks noChangeAspect="1"/>
            </p:cNvPicPr>
            <p:nvPr/>
          </p:nvPicPr>
          <p:blipFill>
            <a:blip r:embed="rId6"/>
            <a:srcRect l="365" r="4720" b="2703"/>
            <a:stretch/>
          </p:blipFill>
          <p:spPr>
            <a:xfrm flipH="1">
              <a:off x="3791743" y="838411"/>
              <a:ext cx="8284363" cy="5220960"/>
            </a:xfrm>
            <a:prstGeom prst="rect">
              <a:avLst/>
            </a:prstGeom>
            <a:effectLst>
              <a:softEdge rad="139700"/>
            </a:effectLst>
          </p:spPr>
        </p:pic>
        <p:sp>
          <p:nvSpPr>
            <p:cNvPr id="20" name="TextBox 19">
              <a:extLst>
                <a:ext uri="{FF2B5EF4-FFF2-40B4-BE49-F238E27FC236}">
                  <a16:creationId xmlns:a16="http://schemas.microsoft.com/office/drawing/2014/main" id="{AD363988-19E8-45AD-FCED-574181835CD9}"/>
                </a:ext>
              </a:extLst>
            </p:cNvPr>
            <p:cNvSpPr txBox="1"/>
            <p:nvPr/>
          </p:nvSpPr>
          <p:spPr bwMode="black">
            <a:xfrm>
              <a:off x="6670129" y="5992403"/>
              <a:ext cx="2288768" cy="430887"/>
            </a:xfrm>
            <a:prstGeom prst="rect">
              <a:avLst/>
            </a:prstGeom>
          </p:spPr>
          <p:txBody>
            <a:bodyPr vert="horz" wrap="square" lIns="0" tIns="0" rIns="0" bIns="0" rtlCol="0">
              <a:spAutoFit/>
            </a:bodyPr>
            <a:lstStyle/>
            <a:p>
              <a:pPr algn="ctr"/>
              <a:r>
                <a:rPr lang="en-ZA" sz="1400" b="1" dirty="0">
                  <a:solidFill>
                    <a:srgbClr val="0070C0"/>
                  </a:solidFill>
                  <a:latin typeface="+mj-lt"/>
                </a:rPr>
                <a:t>HOT FEED </a:t>
              </a:r>
            </a:p>
            <a:p>
              <a:pPr algn="ctr"/>
              <a:r>
                <a:rPr lang="en-ZA" sz="1400" b="1" dirty="0">
                  <a:solidFill>
                    <a:srgbClr val="0070C0"/>
                  </a:solidFill>
                  <a:latin typeface="+mj-lt"/>
                </a:rPr>
                <a:t>(</a:t>
              </a:r>
              <a:r>
                <a:rPr lang="en-ZA" sz="1400" b="1" dirty="0" err="1">
                  <a:solidFill>
                    <a:srgbClr val="0070C0"/>
                  </a:solidFill>
                  <a:latin typeface="+mj-lt"/>
                </a:rPr>
                <a:t>ie</a:t>
              </a:r>
              <a:r>
                <a:rPr lang="en-ZA" sz="1400" b="1" dirty="0">
                  <a:solidFill>
                    <a:srgbClr val="0070C0"/>
                  </a:solidFill>
                  <a:latin typeface="+mj-lt"/>
                </a:rPr>
                <a:t>; molten EAF slag)</a:t>
              </a:r>
            </a:p>
          </p:txBody>
        </p:sp>
        <p:sp>
          <p:nvSpPr>
            <p:cNvPr id="23" name="TextBox 22">
              <a:extLst>
                <a:ext uri="{FF2B5EF4-FFF2-40B4-BE49-F238E27FC236}">
                  <a16:creationId xmlns:a16="http://schemas.microsoft.com/office/drawing/2014/main" id="{B10A7527-13BA-5DF0-E707-457836E16716}"/>
                </a:ext>
              </a:extLst>
            </p:cNvPr>
            <p:cNvSpPr txBox="1"/>
            <p:nvPr/>
          </p:nvSpPr>
          <p:spPr bwMode="black">
            <a:xfrm>
              <a:off x="3445866" y="2215291"/>
              <a:ext cx="1291507" cy="430887"/>
            </a:xfrm>
            <a:prstGeom prst="rect">
              <a:avLst/>
            </a:prstGeom>
          </p:spPr>
          <p:txBody>
            <a:bodyPr vert="horz" wrap="none" lIns="0" tIns="0" rIns="0" bIns="0" rtlCol="0">
              <a:spAutoFit/>
            </a:bodyPr>
            <a:lstStyle/>
            <a:p>
              <a:pPr algn="ctr"/>
              <a:r>
                <a:rPr lang="en-ZA" sz="1400" b="1" dirty="0">
                  <a:solidFill>
                    <a:srgbClr val="0070C0"/>
                  </a:solidFill>
                  <a:latin typeface="+mj-lt"/>
                </a:rPr>
                <a:t>COLD FEED </a:t>
              </a:r>
            </a:p>
            <a:p>
              <a:pPr algn="ctr"/>
              <a:r>
                <a:rPr lang="en-ZA" sz="1400" b="1" dirty="0">
                  <a:solidFill>
                    <a:srgbClr val="0070C0"/>
                  </a:solidFill>
                  <a:latin typeface="+mj-lt"/>
                </a:rPr>
                <a:t>(</a:t>
              </a:r>
              <a:r>
                <a:rPr lang="en-ZA" sz="1400" b="1" dirty="0" err="1">
                  <a:solidFill>
                    <a:srgbClr val="0070C0"/>
                  </a:solidFill>
                  <a:latin typeface="+mj-lt"/>
                </a:rPr>
                <a:t>ie</a:t>
              </a:r>
              <a:r>
                <a:rPr lang="en-ZA" sz="1400" b="1" dirty="0">
                  <a:solidFill>
                    <a:srgbClr val="0070C0"/>
                  </a:solidFill>
                  <a:latin typeface="+mj-lt"/>
                </a:rPr>
                <a:t>; historic slags)</a:t>
              </a:r>
            </a:p>
          </p:txBody>
        </p:sp>
        <p:sp>
          <p:nvSpPr>
            <p:cNvPr id="25" name="TextBox 24">
              <a:extLst>
                <a:ext uri="{FF2B5EF4-FFF2-40B4-BE49-F238E27FC236}">
                  <a16:creationId xmlns:a16="http://schemas.microsoft.com/office/drawing/2014/main" id="{E6EF463A-4A95-260A-4820-193D49AF8B19}"/>
                </a:ext>
              </a:extLst>
            </p:cNvPr>
            <p:cNvSpPr txBox="1"/>
            <p:nvPr/>
          </p:nvSpPr>
          <p:spPr bwMode="black">
            <a:xfrm>
              <a:off x="2641702" y="3390846"/>
              <a:ext cx="1980350" cy="430887"/>
            </a:xfrm>
            <a:prstGeom prst="rect">
              <a:avLst/>
            </a:prstGeom>
          </p:spPr>
          <p:txBody>
            <a:bodyPr vert="horz" wrap="none" lIns="0" tIns="0" rIns="0" bIns="0" rtlCol="0">
              <a:spAutoFit/>
            </a:bodyPr>
            <a:lstStyle/>
            <a:p>
              <a:pPr algn="ctr"/>
              <a:r>
                <a:rPr lang="en-ZA" sz="1400" b="1" dirty="0">
                  <a:solidFill>
                    <a:srgbClr val="0070C0"/>
                  </a:solidFill>
                  <a:latin typeface="+mj-lt"/>
                </a:rPr>
                <a:t>FINE FEED </a:t>
              </a:r>
            </a:p>
            <a:p>
              <a:pPr algn="ctr"/>
              <a:r>
                <a:rPr lang="en-ZA" sz="1400" b="1" dirty="0">
                  <a:solidFill>
                    <a:srgbClr val="0070C0"/>
                  </a:solidFill>
                  <a:latin typeface="+mj-lt"/>
                </a:rPr>
                <a:t>(</a:t>
              </a:r>
              <a:r>
                <a:rPr lang="en-ZA" sz="1400" b="1" dirty="0" err="1">
                  <a:solidFill>
                    <a:srgbClr val="0070C0"/>
                  </a:solidFill>
                  <a:latin typeface="+mj-lt"/>
                </a:rPr>
                <a:t>ie</a:t>
              </a:r>
              <a:r>
                <a:rPr lang="en-ZA" sz="1400" b="1" dirty="0">
                  <a:solidFill>
                    <a:srgbClr val="0070C0"/>
                  </a:solidFill>
                  <a:latin typeface="+mj-lt"/>
                </a:rPr>
                <a:t>; manufacturing wastes)</a:t>
              </a:r>
            </a:p>
          </p:txBody>
        </p:sp>
        <p:sp>
          <p:nvSpPr>
            <p:cNvPr id="31" name="TextBox 30">
              <a:extLst>
                <a:ext uri="{FF2B5EF4-FFF2-40B4-BE49-F238E27FC236}">
                  <a16:creationId xmlns:a16="http://schemas.microsoft.com/office/drawing/2014/main" id="{A36AF4A9-6992-D78B-A08E-24F66968CEF8}"/>
                </a:ext>
              </a:extLst>
            </p:cNvPr>
            <p:cNvSpPr txBox="1"/>
            <p:nvPr/>
          </p:nvSpPr>
          <p:spPr bwMode="black">
            <a:xfrm>
              <a:off x="4893361" y="911653"/>
              <a:ext cx="1776768" cy="430887"/>
            </a:xfrm>
            <a:prstGeom prst="rect">
              <a:avLst/>
            </a:prstGeom>
          </p:spPr>
          <p:txBody>
            <a:bodyPr vert="horz" wrap="square" lIns="0" tIns="0" rIns="0" bIns="0" rtlCol="0">
              <a:spAutoFit/>
            </a:bodyPr>
            <a:lstStyle/>
            <a:p>
              <a:pPr algn="ctr"/>
              <a:r>
                <a:rPr lang="en-ZA" sz="1400" b="1" dirty="0">
                  <a:solidFill>
                    <a:srgbClr val="0070C0"/>
                  </a:solidFill>
                  <a:latin typeface="+mj-lt"/>
                </a:rPr>
                <a:t>REDUCTANTS </a:t>
              </a:r>
            </a:p>
            <a:p>
              <a:pPr algn="ctr"/>
              <a:r>
                <a:rPr lang="en-ZA" sz="1400" b="1" dirty="0">
                  <a:solidFill>
                    <a:srgbClr val="0070C0"/>
                  </a:solidFill>
                  <a:latin typeface="+mj-lt"/>
                </a:rPr>
                <a:t>&amp; FLUXES </a:t>
              </a:r>
            </a:p>
          </p:txBody>
        </p:sp>
        <p:cxnSp>
          <p:nvCxnSpPr>
            <p:cNvPr id="10" name="Straight Arrow Connector 9">
              <a:extLst>
                <a:ext uri="{FF2B5EF4-FFF2-40B4-BE49-F238E27FC236}">
                  <a16:creationId xmlns:a16="http://schemas.microsoft.com/office/drawing/2014/main" id="{F168B1B6-116C-4800-29BB-D911635B2671}"/>
                </a:ext>
              </a:extLst>
            </p:cNvPr>
            <p:cNvCxnSpPr>
              <a:cxnSpLocks/>
            </p:cNvCxnSpPr>
            <p:nvPr/>
          </p:nvCxnSpPr>
          <p:spPr>
            <a:xfrm>
              <a:off x="4622052" y="2319271"/>
              <a:ext cx="510292" cy="375819"/>
            </a:xfrm>
            <a:prstGeom prst="straightConnector1">
              <a:avLst/>
            </a:prstGeom>
            <a:ln w="28575">
              <a:tailEnd type="triangle"/>
            </a:ln>
            <a:effectLst>
              <a:glow rad="63500">
                <a:schemeClr val="accent6">
                  <a:satMod val="175000"/>
                  <a:alpha val="40000"/>
                </a:schemeClr>
              </a:glow>
            </a:effectLst>
          </p:spPr>
          <p:style>
            <a:lnRef idx="1">
              <a:schemeClr val="accent2"/>
            </a:lnRef>
            <a:fillRef idx="0">
              <a:schemeClr val="accent2"/>
            </a:fillRef>
            <a:effectRef idx="0">
              <a:schemeClr val="accent2"/>
            </a:effectRef>
            <a:fontRef idx="minor">
              <a:schemeClr val="tx1"/>
            </a:fontRef>
          </p:style>
        </p:cxnSp>
        <p:cxnSp>
          <p:nvCxnSpPr>
            <p:cNvPr id="11" name="Straight Arrow Connector 10">
              <a:extLst>
                <a:ext uri="{FF2B5EF4-FFF2-40B4-BE49-F238E27FC236}">
                  <a16:creationId xmlns:a16="http://schemas.microsoft.com/office/drawing/2014/main" id="{BF26FAC2-B17A-D37B-9EDC-DDEA4A83628A}"/>
                </a:ext>
              </a:extLst>
            </p:cNvPr>
            <p:cNvCxnSpPr/>
            <p:nvPr/>
          </p:nvCxnSpPr>
          <p:spPr>
            <a:xfrm>
              <a:off x="6242807" y="1177822"/>
              <a:ext cx="510292" cy="375819"/>
            </a:xfrm>
            <a:prstGeom prst="straightConnector1">
              <a:avLst/>
            </a:prstGeom>
            <a:ln w="28575">
              <a:tailEnd type="triangle"/>
            </a:ln>
            <a:effectLst>
              <a:glow rad="63500">
                <a:schemeClr val="accent6">
                  <a:satMod val="175000"/>
                  <a:alpha val="40000"/>
                </a:schemeClr>
              </a:glow>
            </a:effectLst>
          </p:spPr>
          <p:style>
            <a:lnRef idx="1">
              <a:schemeClr val="accent2"/>
            </a:lnRef>
            <a:fillRef idx="0">
              <a:schemeClr val="accent2"/>
            </a:fillRef>
            <a:effectRef idx="0">
              <a:schemeClr val="accent2"/>
            </a:effectRef>
            <a:fontRef idx="minor">
              <a:schemeClr val="tx1"/>
            </a:fontRef>
          </p:style>
        </p:cxnSp>
        <p:cxnSp>
          <p:nvCxnSpPr>
            <p:cNvPr id="12" name="Straight Arrow Connector 11">
              <a:extLst>
                <a:ext uri="{FF2B5EF4-FFF2-40B4-BE49-F238E27FC236}">
                  <a16:creationId xmlns:a16="http://schemas.microsoft.com/office/drawing/2014/main" id="{A9B1EA3E-5AFF-7880-4354-F28237AE2BE8}"/>
                </a:ext>
              </a:extLst>
            </p:cNvPr>
            <p:cNvCxnSpPr>
              <a:cxnSpLocks/>
            </p:cNvCxnSpPr>
            <p:nvPr/>
          </p:nvCxnSpPr>
          <p:spPr>
            <a:xfrm>
              <a:off x="4367808" y="3529119"/>
              <a:ext cx="2130145" cy="0"/>
            </a:xfrm>
            <a:prstGeom prst="straightConnector1">
              <a:avLst/>
            </a:prstGeom>
            <a:ln w="28575">
              <a:tailEnd type="triangle"/>
            </a:ln>
            <a:effectLst>
              <a:glow rad="63500">
                <a:schemeClr val="accent6">
                  <a:satMod val="175000"/>
                  <a:alpha val="40000"/>
                </a:schemeClr>
              </a:glow>
            </a:effectLst>
          </p:spPr>
          <p:style>
            <a:lnRef idx="1">
              <a:schemeClr val="accent2"/>
            </a:lnRef>
            <a:fillRef idx="0">
              <a:schemeClr val="accent2"/>
            </a:fillRef>
            <a:effectRef idx="0">
              <a:schemeClr val="accent2"/>
            </a:effectRef>
            <a:fontRef idx="minor">
              <a:schemeClr val="tx1"/>
            </a:fontRef>
          </p:style>
        </p:cxnSp>
        <p:cxnSp>
          <p:nvCxnSpPr>
            <p:cNvPr id="14" name="Straight Arrow Connector 13">
              <a:extLst>
                <a:ext uri="{FF2B5EF4-FFF2-40B4-BE49-F238E27FC236}">
                  <a16:creationId xmlns:a16="http://schemas.microsoft.com/office/drawing/2014/main" id="{33A50E4E-F869-67AF-8354-0F521FCE9F2A}"/>
                </a:ext>
              </a:extLst>
            </p:cNvPr>
            <p:cNvCxnSpPr>
              <a:cxnSpLocks/>
            </p:cNvCxnSpPr>
            <p:nvPr/>
          </p:nvCxnSpPr>
          <p:spPr>
            <a:xfrm flipH="1" flipV="1">
              <a:off x="7536160" y="5271456"/>
              <a:ext cx="230657" cy="677824"/>
            </a:xfrm>
            <a:prstGeom prst="straightConnector1">
              <a:avLst/>
            </a:prstGeom>
            <a:ln w="28575">
              <a:tailEnd type="triangle"/>
            </a:ln>
            <a:effectLst>
              <a:glow rad="63500">
                <a:schemeClr val="accent6">
                  <a:satMod val="175000"/>
                  <a:alpha val="40000"/>
                </a:schemeClr>
              </a:glow>
            </a:effectLst>
          </p:spPr>
          <p:style>
            <a:lnRef idx="1">
              <a:schemeClr val="accent2"/>
            </a:lnRef>
            <a:fillRef idx="0">
              <a:schemeClr val="accent2"/>
            </a:fillRef>
            <a:effectRef idx="0">
              <a:schemeClr val="accent2"/>
            </a:effectRef>
            <a:fontRef idx="minor">
              <a:schemeClr val="tx1"/>
            </a:fontRef>
          </p:style>
        </p:cxnSp>
        <p:cxnSp>
          <p:nvCxnSpPr>
            <p:cNvPr id="19" name="Straight Arrow Connector 18">
              <a:extLst>
                <a:ext uri="{FF2B5EF4-FFF2-40B4-BE49-F238E27FC236}">
                  <a16:creationId xmlns:a16="http://schemas.microsoft.com/office/drawing/2014/main" id="{B10E8F0F-2B90-B31F-83C8-0C8B6DB24BFB}"/>
                </a:ext>
              </a:extLst>
            </p:cNvPr>
            <p:cNvCxnSpPr>
              <a:cxnSpLocks/>
            </p:cNvCxnSpPr>
            <p:nvPr/>
          </p:nvCxnSpPr>
          <p:spPr>
            <a:xfrm>
              <a:off x="9552384" y="5157192"/>
              <a:ext cx="462133" cy="375819"/>
            </a:xfrm>
            <a:prstGeom prst="straightConnector1">
              <a:avLst/>
            </a:prstGeom>
            <a:ln w="28575">
              <a:solidFill>
                <a:schemeClr val="accent1"/>
              </a:solidFill>
              <a:tailEnd type="triangle"/>
            </a:ln>
            <a:effectLst>
              <a:glow rad="63500">
                <a:schemeClr val="accent6">
                  <a:satMod val="175000"/>
                  <a:alpha val="40000"/>
                </a:schemeClr>
              </a:glow>
            </a:effectLst>
          </p:spPr>
          <p:style>
            <a:lnRef idx="1">
              <a:schemeClr val="accent2"/>
            </a:lnRef>
            <a:fillRef idx="0">
              <a:schemeClr val="accent2"/>
            </a:fillRef>
            <a:effectRef idx="0">
              <a:schemeClr val="accent2"/>
            </a:effectRef>
            <a:fontRef idx="minor">
              <a:schemeClr val="tx1"/>
            </a:fontRef>
          </p:style>
        </p:cxnSp>
        <p:sp>
          <p:nvSpPr>
            <p:cNvPr id="29" name="TextBox 28">
              <a:extLst>
                <a:ext uri="{FF2B5EF4-FFF2-40B4-BE49-F238E27FC236}">
                  <a16:creationId xmlns:a16="http://schemas.microsoft.com/office/drawing/2014/main" id="{ACD80A1F-B2CF-5EB1-AAC9-0EEFBB05CC1E}"/>
                </a:ext>
              </a:extLst>
            </p:cNvPr>
            <p:cNvSpPr txBox="1"/>
            <p:nvPr/>
          </p:nvSpPr>
          <p:spPr bwMode="black">
            <a:xfrm>
              <a:off x="8940503" y="5548659"/>
              <a:ext cx="2288768" cy="430887"/>
            </a:xfrm>
            <a:prstGeom prst="rect">
              <a:avLst/>
            </a:prstGeom>
          </p:spPr>
          <p:txBody>
            <a:bodyPr vert="horz" wrap="square" lIns="0" tIns="0" rIns="0" bIns="0" rtlCol="0">
              <a:spAutoFit/>
            </a:bodyPr>
            <a:lstStyle/>
            <a:p>
              <a:pPr algn="ctr"/>
              <a:r>
                <a:rPr lang="en-ZA" sz="1400" b="1" dirty="0">
                  <a:solidFill>
                    <a:srgbClr val="FF0000"/>
                  </a:solidFill>
                  <a:latin typeface="+mj-lt"/>
                </a:rPr>
                <a:t>Recovery of </a:t>
              </a:r>
            </a:p>
            <a:p>
              <a:pPr algn="ctr"/>
              <a:r>
                <a:rPr lang="en-ZA" sz="1400" b="1" dirty="0">
                  <a:solidFill>
                    <a:srgbClr val="FF0000"/>
                  </a:solidFill>
                  <a:latin typeface="+mj-lt"/>
                </a:rPr>
                <a:t>Fe-units</a:t>
              </a:r>
            </a:p>
          </p:txBody>
        </p:sp>
        <p:cxnSp>
          <p:nvCxnSpPr>
            <p:cNvPr id="34" name="Straight Arrow Connector 33">
              <a:extLst>
                <a:ext uri="{FF2B5EF4-FFF2-40B4-BE49-F238E27FC236}">
                  <a16:creationId xmlns:a16="http://schemas.microsoft.com/office/drawing/2014/main" id="{129FA569-9831-B8FA-3F90-99313FC49A3B}"/>
                </a:ext>
              </a:extLst>
            </p:cNvPr>
            <p:cNvCxnSpPr>
              <a:cxnSpLocks/>
            </p:cNvCxnSpPr>
            <p:nvPr/>
          </p:nvCxnSpPr>
          <p:spPr>
            <a:xfrm flipV="1">
              <a:off x="9793186" y="2587757"/>
              <a:ext cx="442661" cy="229430"/>
            </a:xfrm>
            <a:prstGeom prst="straightConnector1">
              <a:avLst/>
            </a:prstGeom>
            <a:ln w="28575">
              <a:solidFill>
                <a:schemeClr val="accent1"/>
              </a:solidFill>
              <a:tailEnd type="triangle"/>
            </a:ln>
            <a:effectLst>
              <a:glow rad="63500">
                <a:schemeClr val="accent6">
                  <a:satMod val="175000"/>
                  <a:alpha val="40000"/>
                </a:schemeClr>
              </a:glow>
            </a:effectLst>
          </p:spPr>
          <p:style>
            <a:lnRef idx="1">
              <a:schemeClr val="accent2"/>
            </a:lnRef>
            <a:fillRef idx="0">
              <a:schemeClr val="accent2"/>
            </a:fillRef>
            <a:effectRef idx="0">
              <a:schemeClr val="accent2"/>
            </a:effectRef>
            <a:fontRef idx="minor">
              <a:schemeClr val="tx1"/>
            </a:fontRef>
          </p:style>
        </p:cxnSp>
        <p:sp>
          <p:nvSpPr>
            <p:cNvPr id="35" name="TextBox 34">
              <a:extLst>
                <a:ext uri="{FF2B5EF4-FFF2-40B4-BE49-F238E27FC236}">
                  <a16:creationId xmlns:a16="http://schemas.microsoft.com/office/drawing/2014/main" id="{7AF16F54-A673-377E-E2F9-5EDC9EC2E185}"/>
                </a:ext>
              </a:extLst>
            </p:cNvPr>
            <p:cNvSpPr txBox="1"/>
            <p:nvPr/>
          </p:nvSpPr>
          <p:spPr bwMode="black">
            <a:xfrm>
              <a:off x="9423856" y="2348880"/>
              <a:ext cx="2288768" cy="430887"/>
            </a:xfrm>
            <a:prstGeom prst="rect">
              <a:avLst/>
            </a:prstGeom>
          </p:spPr>
          <p:txBody>
            <a:bodyPr vert="horz" wrap="square" lIns="0" tIns="0" rIns="0" bIns="0" rtlCol="0">
              <a:spAutoFit/>
            </a:bodyPr>
            <a:lstStyle/>
            <a:p>
              <a:pPr algn="ctr"/>
              <a:r>
                <a:rPr lang="en-ZA" sz="1400" b="1" dirty="0">
                  <a:solidFill>
                    <a:srgbClr val="FF0000"/>
                  </a:solidFill>
                  <a:latin typeface="+mj-lt"/>
                </a:rPr>
                <a:t>Valorised </a:t>
              </a:r>
            </a:p>
            <a:p>
              <a:pPr algn="ctr"/>
              <a:r>
                <a:rPr lang="en-ZA" sz="1400" b="1" dirty="0">
                  <a:solidFill>
                    <a:srgbClr val="FF0000"/>
                  </a:solidFill>
                  <a:latin typeface="+mj-lt"/>
                </a:rPr>
                <a:t> SCM slag</a:t>
              </a:r>
            </a:p>
          </p:txBody>
        </p:sp>
        <p:cxnSp>
          <p:nvCxnSpPr>
            <p:cNvPr id="37" name="Straight Arrow Connector 36">
              <a:extLst>
                <a:ext uri="{FF2B5EF4-FFF2-40B4-BE49-F238E27FC236}">
                  <a16:creationId xmlns:a16="http://schemas.microsoft.com/office/drawing/2014/main" id="{7BFF4F89-F34B-C140-CEF7-24420A8D2F55}"/>
                </a:ext>
              </a:extLst>
            </p:cNvPr>
            <p:cNvCxnSpPr>
              <a:cxnSpLocks/>
            </p:cNvCxnSpPr>
            <p:nvPr/>
          </p:nvCxnSpPr>
          <p:spPr>
            <a:xfrm flipV="1">
              <a:off x="9408368" y="898518"/>
              <a:ext cx="0" cy="605443"/>
            </a:xfrm>
            <a:prstGeom prst="straightConnector1">
              <a:avLst/>
            </a:prstGeom>
            <a:ln w="28575">
              <a:solidFill>
                <a:schemeClr val="accent1"/>
              </a:solidFill>
              <a:tailEnd type="triangle"/>
            </a:ln>
            <a:effectLst>
              <a:glow rad="63500">
                <a:schemeClr val="accent6">
                  <a:satMod val="175000"/>
                  <a:alpha val="40000"/>
                </a:schemeClr>
              </a:glow>
            </a:effectLst>
          </p:spPr>
          <p:style>
            <a:lnRef idx="1">
              <a:schemeClr val="accent2"/>
            </a:lnRef>
            <a:fillRef idx="0">
              <a:schemeClr val="accent2"/>
            </a:fillRef>
            <a:effectRef idx="0">
              <a:schemeClr val="accent2"/>
            </a:effectRef>
            <a:fontRef idx="minor">
              <a:schemeClr val="tx1"/>
            </a:fontRef>
          </p:style>
        </p:cxnSp>
        <p:sp>
          <p:nvSpPr>
            <p:cNvPr id="38" name="TextBox 37">
              <a:extLst>
                <a:ext uri="{FF2B5EF4-FFF2-40B4-BE49-F238E27FC236}">
                  <a16:creationId xmlns:a16="http://schemas.microsoft.com/office/drawing/2014/main" id="{7A0D4C2D-2F0F-1CC0-7A31-6113C232E174}"/>
                </a:ext>
              </a:extLst>
            </p:cNvPr>
            <p:cNvSpPr txBox="1"/>
            <p:nvPr/>
          </p:nvSpPr>
          <p:spPr bwMode="black">
            <a:xfrm>
              <a:off x="8263984" y="434710"/>
              <a:ext cx="2288768" cy="430887"/>
            </a:xfrm>
            <a:prstGeom prst="rect">
              <a:avLst/>
            </a:prstGeom>
          </p:spPr>
          <p:txBody>
            <a:bodyPr vert="horz" wrap="square" lIns="0" tIns="0" rIns="0" bIns="0" rtlCol="0">
              <a:spAutoFit/>
            </a:bodyPr>
            <a:lstStyle/>
            <a:p>
              <a:pPr algn="ctr"/>
              <a:r>
                <a:rPr lang="en-ZA" sz="1400" b="1" dirty="0">
                  <a:solidFill>
                    <a:srgbClr val="FF0000"/>
                  </a:solidFill>
                  <a:latin typeface="+mj-lt"/>
                </a:rPr>
                <a:t>Off-gas energy </a:t>
              </a:r>
            </a:p>
            <a:p>
              <a:pPr algn="ctr"/>
              <a:r>
                <a:rPr lang="en-ZA" sz="1400" b="1" dirty="0">
                  <a:solidFill>
                    <a:srgbClr val="FF0000"/>
                  </a:solidFill>
                  <a:latin typeface="+mj-lt"/>
                </a:rPr>
                <a:t>recovery</a:t>
              </a:r>
            </a:p>
          </p:txBody>
        </p:sp>
      </p:grpSp>
    </p:spTree>
    <p:extLst>
      <p:ext uri="{BB962C8B-B14F-4D97-AF65-F5344CB8AC3E}">
        <p14:creationId xmlns:p14="http://schemas.microsoft.com/office/powerpoint/2010/main" val="422422454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8DA0A6-03B2-E714-EEC4-B2886279A0A6}"/>
            </a:ext>
          </a:extLst>
        </p:cNvPr>
        <p:cNvGrpSpPr/>
        <p:nvPr/>
      </p:nvGrpSpPr>
      <p:grpSpPr>
        <a:xfrm>
          <a:off x="0" y="0"/>
          <a:ext cx="0" cy="0"/>
          <a:chOff x="0" y="0"/>
          <a:chExt cx="0" cy="0"/>
        </a:xfrm>
      </p:grpSpPr>
      <p:grpSp>
        <p:nvGrpSpPr>
          <p:cNvPr id="31" name="Group 30">
            <a:extLst>
              <a:ext uri="{FF2B5EF4-FFF2-40B4-BE49-F238E27FC236}">
                <a16:creationId xmlns:a16="http://schemas.microsoft.com/office/drawing/2014/main" id="{7753A132-48EA-5146-1716-DEED8702DE20}"/>
              </a:ext>
            </a:extLst>
          </p:cNvPr>
          <p:cNvGrpSpPr/>
          <p:nvPr/>
        </p:nvGrpSpPr>
        <p:grpSpPr>
          <a:xfrm>
            <a:off x="8116241" y="1053376"/>
            <a:ext cx="4215700" cy="4496190"/>
            <a:chOff x="8238746" y="1224120"/>
            <a:chExt cx="4215700" cy="4496190"/>
          </a:xfrm>
        </p:grpSpPr>
        <p:grpSp>
          <p:nvGrpSpPr>
            <p:cNvPr id="34" name="Group 33">
              <a:extLst>
                <a:ext uri="{FF2B5EF4-FFF2-40B4-BE49-F238E27FC236}">
                  <a16:creationId xmlns:a16="http://schemas.microsoft.com/office/drawing/2014/main" id="{56197169-166A-41AA-F173-7CC9542065D6}"/>
                </a:ext>
              </a:extLst>
            </p:cNvPr>
            <p:cNvGrpSpPr/>
            <p:nvPr/>
          </p:nvGrpSpPr>
          <p:grpSpPr>
            <a:xfrm>
              <a:off x="8238746" y="1224120"/>
              <a:ext cx="4215700" cy="4496190"/>
              <a:chOff x="8020082" y="1391075"/>
              <a:chExt cx="4215700" cy="4496190"/>
            </a:xfrm>
          </p:grpSpPr>
          <p:pic>
            <p:nvPicPr>
              <p:cNvPr id="38" name="Picture 37">
                <a:extLst>
                  <a:ext uri="{FF2B5EF4-FFF2-40B4-BE49-F238E27FC236}">
                    <a16:creationId xmlns:a16="http://schemas.microsoft.com/office/drawing/2014/main" id="{01D97CBD-F092-9B8F-8DDB-157B59F7213F}"/>
                  </a:ext>
                </a:extLst>
              </p:cNvPr>
              <p:cNvPicPr>
                <a:picLocks noChangeAspect="1"/>
              </p:cNvPicPr>
              <p:nvPr/>
            </p:nvPicPr>
            <p:blipFill>
              <a:blip r:embed="rId2"/>
              <a:srcRect r="50834"/>
              <a:stretch/>
            </p:blipFill>
            <p:spPr>
              <a:xfrm>
                <a:off x="8074003" y="2037242"/>
                <a:ext cx="2007180" cy="1526558"/>
              </a:xfrm>
              <a:prstGeom prst="rect">
                <a:avLst/>
              </a:prstGeom>
            </p:spPr>
          </p:pic>
          <p:pic>
            <p:nvPicPr>
              <p:cNvPr id="39" name="Picture 38" descr="A group of blue and red pipes&#10;&#10;Description automatically generated">
                <a:extLst>
                  <a:ext uri="{FF2B5EF4-FFF2-40B4-BE49-F238E27FC236}">
                    <a16:creationId xmlns:a16="http://schemas.microsoft.com/office/drawing/2014/main" id="{60E4589B-3345-0E53-754C-37BC1E69BA4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1376" y="4152682"/>
                <a:ext cx="2026810" cy="1497522"/>
              </a:xfrm>
              <a:prstGeom prst="rect">
                <a:avLst/>
              </a:prstGeom>
            </p:spPr>
          </p:pic>
          <p:cxnSp>
            <p:nvCxnSpPr>
              <p:cNvPr id="40" name="Connector: Elbow 39">
                <a:extLst>
                  <a:ext uri="{FF2B5EF4-FFF2-40B4-BE49-F238E27FC236}">
                    <a16:creationId xmlns:a16="http://schemas.microsoft.com/office/drawing/2014/main" id="{F008005E-C4B1-EFCD-444F-417602F4FCA8}"/>
                  </a:ext>
                </a:extLst>
              </p:cNvPr>
              <p:cNvCxnSpPr>
                <a:cxnSpLocks/>
                <a:endCxn id="39" idx="1"/>
              </p:cNvCxnSpPr>
              <p:nvPr/>
            </p:nvCxnSpPr>
            <p:spPr>
              <a:xfrm rot="5400000">
                <a:off x="7953049" y="3571056"/>
                <a:ext cx="1758714" cy="902060"/>
              </a:xfrm>
              <a:prstGeom prst="bentConnector4">
                <a:avLst>
                  <a:gd name="adj1" fmla="val 37855"/>
                  <a:gd name="adj2" fmla="val 12806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0048F6E3-C80E-8EBE-8B09-C309D4E868D4}"/>
                  </a:ext>
                </a:extLst>
              </p:cNvPr>
              <p:cNvCxnSpPr>
                <a:cxnSpLocks/>
              </p:cNvCxnSpPr>
              <p:nvPr/>
            </p:nvCxnSpPr>
            <p:spPr>
              <a:xfrm>
                <a:off x="9647107" y="2887234"/>
                <a:ext cx="94225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2" name="Straight Arrow Connector 41">
                <a:extLst>
                  <a:ext uri="{FF2B5EF4-FFF2-40B4-BE49-F238E27FC236}">
                    <a16:creationId xmlns:a16="http://schemas.microsoft.com/office/drawing/2014/main" id="{C26FE3BF-F402-CFA1-A2BE-3E689A994F7E}"/>
                  </a:ext>
                </a:extLst>
              </p:cNvPr>
              <p:cNvCxnSpPr>
                <a:cxnSpLocks/>
              </p:cNvCxnSpPr>
              <p:nvPr/>
            </p:nvCxnSpPr>
            <p:spPr>
              <a:xfrm>
                <a:off x="9950806" y="5485232"/>
                <a:ext cx="75025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3" name="Connector: Elbow 42">
                <a:extLst>
                  <a:ext uri="{FF2B5EF4-FFF2-40B4-BE49-F238E27FC236}">
                    <a16:creationId xmlns:a16="http://schemas.microsoft.com/office/drawing/2014/main" id="{9370DBBD-DD8F-BC28-4EC1-445E27824115}"/>
                  </a:ext>
                </a:extLst>
              </p:cNvPr>
              <p:cNvCxnSpPr>
                <a:cxnSpLocks/>
              </p:cNvCxnSpPr>
              <p:nvPr/>
            </p:nvCxnSpPr>
            <p:spPr>
              <a:xfrm rot="16200000" flipV="1">
                <a:off x="9033051" y="3646547"/>
                <a:ext cx="1992317" cy="957239"/>
              </a:xfrm>
              <a:prstGeom prst="bentConnector3">
                <a:avLst>
                  <a:gd name="adj1" fmla="val 66140"/>
                </a:avLst>
              </a:prstGeom>
              <a:ln>
                <a:tailEnd type="triangle"/>
              </a:ln>
            </p:spPr>
            <p:style>
              <a:lnRef idx="1">
                <a:schemeClr val="dk1"/>
              </a:lnRef>
              <a:fillRef idx="0">
                <a:schemeClr val="dk1"/>
              </a:fillRef>
              <a:effectRef idx="0">
                <a:schemeClr val="dk1"/>
              </a:effectRef>
              <a:fontRef idx="minor">
                <a:schemeClr val="tx1"/>
              </a:fontRef>
            </p:style>
          </p:cxnSp>
          <p:sp>
            <p:nvSpPr>
              <p:cNvPr id="44" name="TextBox 43">
                <a:extLst>
                  <a:ext uri="{FF2B5EF4-FFF2-40B4-BE49-F238E27FC236}">
                    <a16:creationId xmlns:a16="http://schemas.microsoft.com/office/drawing/2014/main" id="{CB192BC2-50E6-90AD-7267-4DECF03FF31D}"/>
                  </a:ext>
                </a:extLst>
              </p:cNvPr>
              <p:cNvSpPr txBox="1"/>
              <p:nvPr/>
            </p:nvSpPr>
            <p:spPr>
              <a:xfrm>
                <a:off x="10524492" y="2728450"/>
                <a:ext cx="156513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Calibri"/>
                    <a:ea typeface="+mn-ea"/>
                    <a:cs typeface="+mn-cs"/>
                  </a:rPr>
                  <a:t>Crude steel</a:t>
                </a:r>
                <a:endParaRPr kumimoji="0" lang="en-ZA" sz="1200" b="0" i="1" u="none" strike="noStrike" kern="1200" cap="none" spc="0" normalizeH="0" baseline="0" noProof="0" dirty="0">
                  <a:ln>
                    <a:noFill/>
                  </a:ln>
                  <a:solidFill>
                    <a:srgbClr val="000000"/>
                  </a:solidFill>
                  <a:effectLst/>
                  <a:uLnTx/>
                  <a:uFillTx/>
                  <a:latin typeface="Calibri"/>
                  <a:ea typeface="+mn-ea"/>
                  <a:cs typeface="+mn-cs"/>
                </a:endParaRPr>
              </a:p>
            </p:txBody>
          </p:sp>
          <p:sp>
            <p:nvSpPr>
              <p:cNvPr id="45" name="TextBox 44">
                <a:extLst>
                  <a:ext uri="{FF2B5EF4-FFF2-40B4-BE49-F238E27FC236}">
                    <a16:creationId xmlns:a16="http://schemas.microsoft.com/office/drawing/2014/main" id="{4F1067F2-DD2E-1A45-5D84-D308571749E8}"/>
                  </a:ext>
                </a:extLst>
              </p:cNvPr>
              <p:cNvSpPr txBox="1"/>
              <p:nvPr/>
            </p:nvSpPr>
            <p:spPr>
              <a:xfrm>
                <a:off x="9588607" y="3523912"/>
                <a:ext cx="93588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Calibri"/>
                    <a:ea typeface="+mn-ea"/>
                    <a:cs typeface="+mn-cs"/>
                  </a:rPr>
                  <a:t>Fe recovery</a:t>
                </a:r>
                <a:endParaRPr kumimoji="0" lang="en-ZA" sz="1200" b="0" i="1" u="none" strike="noStrike" kern="1200" cap="none" spc="0" normalizeH="0" baseline="0" noProof="0" dirty="0">
                  <a:ln>
                    <a:noFill/>
                  </a:ln>
                  <a:solidFill>
                    <a:srgbClr val="000000"/>
                  </a:solidFill>
                  <a:effectLst/>
                  <a:uLnTx/>
                  <a:uFillTx/>
                  <a:latin typeface="Calibri"/>
                  <a:ea typeface="+mn-ea"/>
                  <a:cs typeface="+mn-cs"/>
                </a:endParaRPr>
              </a:p>
            </p:txBody>
          </p:sp>
          <p:sp>
            <p:nvSpPr>
              <p:cNvPr id="46" name="TextBox 45">
                <a:extLst>
                  <a:ext uri="{FF2B5EF4-FFF2-40B4-BE49-F238E27FC236}">
                    <a16:creationId xmlns:a16="http://schemas.microsoft.com/office/drawing/2014/main" id="{126F9E1C-5616-E746-740C-14D370F9D313}"/>
                  </a:ext>
                </a:extLst>
              </p:cNvPr>
              <p:cNvSpPr txBox="1"/>
              <p:nvPr/>
            </p:nvSpPr>
            <p:spPr>
              <a:xfrm>
                <a:off x="8990948" y="1391075"/>
                <a:ext cx="213120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sng" strike="noStrike" kern="1200" cap="none" spc="0" normalizeH="0" baseline="0" noProof="0" dirty="0">
                    <a:ln>
                      <a:noFill/>
                    </a:ln>
                    <a:solidFill>
                      <a:srgbClr val="000000"/>
                    </a:solidFill>
                    <a:effectLst/>
                    <a:uLnTx/>
                    <a:uFillTx/>
                    <a:latin typeface="Calibri"/>
                    <a:ea typeface="+mn-ea"/>
                    <a:cs typeface="+mn-cs"/>
                  </a:rPr>
                  <a:t>DRP &gt; EAF </a:t>
                </a:r>
                <a:r>
                  <a:rPr kumimoji="0" lang="en-US" sz="1800" b="1" i="1" u="sng" strike="noStrike" kern="1200" cap="none" spc="0" normalizeH="0" baseline="0" noProof="0" dirty="0">
                    <a:ln>
                      <a:noFill/>
                    </a:ln>
                    <a:solidFill>
                      <a:srgbClr val="0070C0"/>
                    </a:solidFill>
                    <a:effectLst/>
                    <a:uLnTx/>
                    <a:uFillTx/>
                    <a:latin typeface="Calibri"/>
                    <a:ea typeface="+mn-ea"/>
                    <a:cs typeface="+mn-cs"/>
                  </a:rPr>
                  <a:t>+ SVF</a:t>
                </a:r>
                <a:endParaRPr kumimoji="0" lang="en-ZA" sz="1800" b="1" i="1" u="sng" strike="noStrike" kern="1200" cap="none" spc="0" normalizeH="0" baseline="0" noProof="0" dirty="0">
                  <a:ln>
                    <a:noFill/>
                  </a:ln>
                  <a:solidFill>
                    <a:srgbClr val="0070C0"/>
                  </a:solidFill>
                  <a:effectLst/>
                  <a:uLnTx/>
                  <a:uFillTx/>
                  <a:latin typeface="Calibri"/>
                  <a:ea typeface="+mn-ea"/>
                  <a:cs typeface="+mn-cs"/>
                </a:endParaRPr>
              </a:p>
            </p:txBody>
          </p:sp>
          <p:sp>
            <p:nvSpPr>
              <p:cNvPr id="47" name="TextBox 46">
                <a:extLst>
                  <a:ext uri="{FF2B5EF4-FFF2-40B4-BE49-F238E27FC236}">
                    <a16:creationId xmlns:a16="http://schemas.microsoft.com/office/drawing/2014/main" id="{8DE4D150-7F52-A4F3-E498-8B75869955B9}"/>
                  </a:ext>
                </a:extLst>
              </p:cNvPr>
              <p:cNvSpPr txBox="1"/>
              <p:nvPr/>
            </p:nvSpPr>
            <p:spPr>
              <a:xfrm>
                <a:off x="8373645" y="3789222"/>
                <a:ext cx="76691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Calibri"/>
                    <a:ea typeface="+mn-ea"/>
                    <a:cs typeface="+mn-cs"/>
                  </a:rPr>
                  <a:t>EAF slag</a:t>
                </a:r>
                <a:endParaRPr kumimoji="0" lang="en-ZA" sz="1200" b="0" i="1" u="none" strike="noStrike" kern="1200" cap="none" spc="0" normalizeH="0" baseline="0" noProof="0" dirty="0">
                  <a:ln>
                    <a:noFill/>
                  </a:ln>
                  <a:solidFill>
                    <a:srgbClr val="000000"/>
                  </a:solidFill>
                  <a:effectLst/>
                  <a:uLnTx/>
                  <a:uFillTx/>
                  <a:latin typeface="Calibri"/>
                  <a:ea typeface="+mn-ea"/>
                  <a:cs typeface="+mn-cs"/>
                </a:endParaRPr>
              </a:p>
            </p:txBody>
          </p:sp>
          <p:cxnSp>
            <p:nvCxnSpPr>
              <p:cNvPr id="48" name="Straight Arrow Connector 47">
                <a:extLst>
                  <a:ext uri="{FF2B5EF4-FFF2-40B4-BE49-F238E27FC236}">
                    <a16:creationId xmlns:a16="http://schemas.microsoft.com/office/drawing/2014/main" id="{1F899C7A-A98A-174D-3BA2-207A706266FF}"/>
                  </a:ext>
                </a:extLst>
              </p:cNvPr>
              <p:cNvCxnSpPr>
                <a:cxnSpLocks/>
              </p:cNvCxnSpPr>
              <p:nvPr/>
            </p:nvCxnSpPr>
            <p:spPr>
              <a:xfrm>
                <a:off x="8338669" y="1760407"/>
                <a:ext cx="0" cy="35302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9" name="Straight Arrow Connector 48">
                <a:extLst>
                  <a:ext uri="{FF2B5EF4-FFF2-40B4-BE49-F238E27FC236}">
                    <a16:creationId xmlns:a16="http://schemas.microsoft.com/office/drawing/2014/main" id="{742E8CEE-AA80-B84C-A6CC-C207D22DC6B2}"/>
                  </a:ext>
                </a:extLst>
              </p:cNvPr>
              <p:cNvCxnSpPr>
                <a:cxnSpLocks/>
              </p:cNvCxnSpPr>
              <p:nvPr/>
            </p:nvCxnSpPr>
            <p:spPr>
              <a:xfrm>
                <a:off x="10553484" y="4167341"/>
                <a:ext cx="549944" cy="0"/>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9E2DC199-DF54-85E7-F3FB-2D2850FB83A6}"/>
                  </a:ext>
                </a:extLst>
              </p:cNvPr>
              <p:cNvCxnSpPr/>
              <p:nvPr/>
            </p:nvCxnSpPr>
            <p:spPr>
              <a:xfrm flipH="1">
                <a:off x="10118236" y="5121325"/>
                <a:ext cx="389593" cy="0"/>
              </a:xfrm>
              <a:prstGeom prst="line">
                <a:avLst/>
              </a:prstGeom>
            </p:spPr>
            <p:style>
              <a:lnRef idx="1">
                <a:schemeClr val="dk1"/>
              </a:lnRef>
              <a:fillRef idx="0">
                <a:schemeClr val="dk1"/>
              </a:fillRef>
              <a:effectRef idx="0">
                <a:schemeClr val="dk1"/>
              </a:effectRef>
              <a:fontRef idx="minor">
                <a:schemeClr val="tx1"/>
              </a:fontRef>
            </p:style>
          </p:cxnSp>
          <p:sp>
            <p:nvSpPr>
              <p:cNvPr id="51" name="TextBox 50">
                <a:extLst>
                  <a:ext uri="{FF2B5EF4-FFF2-40B4-BE49-F238E27FC236}">
                    <a16:creationId xmlns:a16="http://schemas.microsoft.com/office/drawing/2014/main" id="{0A7A1883-78E0-14DF-1779-C54B24DEADDA}"/>
                  </a:ext>
                </a:extLst>
              </p:cNvPr>
              <p:cNvSpPr txBox="1"/>
              <p:nvPr/>
            </p:nvSpPr>
            <p:spPr>
              <a:xfrm>
                <a:off x="8020082" y="1498359"/>
                <a:ext cx="63717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Calibri"/>
                    <a:ea typeface="+mn-ea"/>
                    <a:cs typeface="+mn-cs"/>
                  </a:rPr>
                  <a:t>Fe ore</a:t>
                </a:r>
                <a:endParaRPr kumimoji="0" lang="en-ZA" sz="1200" b="0" i="1" u="none" strike="noStrike" kern="1200" cap="none" spc="0" normalizeH="0" baseline="0" noProof="0" dirty="0">
                  <a:ln>
                    <a:noFill/>
                  </a:ln>
                  <a:solidFill>
                    <a:srgbClr val="000000"/>
                  </a:solidFill>
                  <a:effectLst/>
                  <a:uLnTx/>
                  <a:uFillTx/>
                  <a:latin typeface="Calibri"/>
                  <a:ea typeface="+mn-ea"/>
                  <a:cs typeface="+mn-cs"/>
                </a:endParaRPr>
              </a:p>
            </p:txBody>
          </p:sp>
          <p:grpSp>
            <p:nvGrpSpPr>
              <p:cNvPr id="52" name="Group 51">
                <a:extLst>
                  <a:ext uri="{FF2B5EF4-FFF2-40B4-BE49-F238E27FC236}">
                    <a16:creationId xmlns:a16="http://schemas.microsoft.com/office/drawing/2014/main" id="{A83310C1-0D99-1926-8A12-02DDF5AA2F09}"/>
                  </a:ext>
                </a:extLst>
              </p:cNvPr>
              <p:cNvGrpSpPr/>
              <p:nvPr/>
            </p:nvGrpSpPr>
            <p:grpSpPr>
              <a:xfrm>
                <a:off x="10707595" y="4920189"/>
                <a:ext cx="1076582" cy="967076"/>
                <a:chOff x="3997144" y="4100831"/>
                <a:chExt cx="894630" cy="843535"/>
              </a:xfrm>
            </p:grpSpPr>
            <p:pic>
              <p:nvPicPr>
                <p:cNvPr id="55" name="Picture 54">
                  <a:extLst>
                    <a:ext uri="{FF2B5EF4-FFF2-40B4-BE49-F238E27FC236}">
                      <a16:creationId xmlns:a16="http://schemas.microsoft.com/office/drawing/2014/main" id="{505482AE-45CB-F4C4-7D83-8D6FE1DA1468}"/>
                    </a:ext>
                  </a:extLst>
                </p:cNvPr>
                <p:cNvPicPr>
                  <a:picLocks noChangeAspect="1"/>
                </p:cNvPicPr>
                <p:nvPr/>
              </p:nvPicPr>
              <p:blipFill rotWithShape="1">
                <a:blip r:embed="rId4"/>
                <a:srcRect l="11632" t="36368" r="31047" b="10595"/>
                <a:stretch/>
              </p:blipFill>
              <p:spPr>
                <a:xfrm>
                  <a:off x="3997144" y="4100831"/>
                  <a:ext cx="718688" cy="718687"/>
                </a:xfrm>
                <a:prstGeom prst="ellipse">
                  <a:avLst/>
                </a:prstGeom>
                <a:gradFill flip="none" rotWithShape="1">
                  <a:gsLst>
                    <a:gs pos="0">
                      <a:srgbClr val="FFFFFF">
                        <a:alpha val="80000"/>
                      </a:srgbClr>
                    </a:gs>
                    <a:gs pos="100000">
                      <a:srgbClr val="B2B2B2"/>
                    </a:gs>
                  </a:gsLst>
                  <a:lin ang="8100000" scaled="1"/>
                  <a:tileRect/>
                </a:gradFill>
                <a:ln w="19050">
                  <a:noFill/>
                </a:ln>
                <a:effectLst>
                  <a:outerShdw blurRad="38100" dist="38100" dir="2700000" algn="tl" rotWithShape="0">
                    <a:prstClr val="black">
                      <a:alpha val="43000"/>
                    </a:prstClr>
                  </a:outerShdw>
                </a:effectLst>
              </p:spPr>
            </p:pic>
            <p:pic>
              <p:nvPicPr>
                <p:cNvPr id="56" name="Picture 4" descr="Borsa Di Denaro, Rapina In Banca, Mano, Monete, Simbolo">
                  <a:extLst>
                    <a:ext uri="{FF2B5EF4-FFF2-40B4-BE49-F238E27FC236}">
                      <a16:creationId xmlns:a16="http://schemas.microsoft.com/office/drawing/2014/main" id="{E9C5F52F-55AD-4AB5-BD54-8C37B5F88AEA}"/>
                    </a:ext>
                  </a:extLst>
                </p:cNvPr>
                <p:cNvPicPr>
                  <a:picLocks noChangeAspect="1" noChangeArrowheads="1"/>
                </p:cNvPicPr>
                <p:nvPr/>
              </p:nvPicPr>
              <p:blipFill>
                <a:blip r:embed="rId5" cstate="print">
                  <a:duotone>
                    <a:srgbClr val="2E3135">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438044" y="4414891"/>
                  <a:ext cx="453730" cy="529475"/>
                </a:xfrm>
                <a:prstGeom prst="rect">
                  <a:avLst/>
                </a:prstGeom>
                <a:noFill/>
                <a:extLst>
                  <a:ext uri="{909E8E84-426E-40DD-AFC4-6F175D3DCCD1}">
                    <a14:hiddenFill xmlns:a14="http://schemas.microsoft.com/office/drawing/2010/main">
                      <a:solidFill>
                        <a:srgbClr val="FFFFFF"/>
                      </a:solidFill>
                    </a14:hiddenFill>
                  </a:ext>
                </a:extLst>
              </p:spPr>
            </p:pic>
          </p:grpSp>
          <p:sp>
            <p:nvSpPr>
              <p:cNvPr id="53" name="TextBox 52">
                <a:extLst>
                  <a:ext uri="{FF2B5EF4-FFF2-40B4-BE49-F238E27FC236}">
                    <a16:creationId xmlns:a16="http://schemas.microsoft.com/office/drawing/2014/main" id="{75BAE349-2D79-8084-02BF-A9685A370C93}"/>
                  </a:ext>
                </a:extLst>
              </p:cNvPr>
              <p:cNvSpPr txBox="1"/>
              <p:nvPr/>
            </p:nvSpPr>
            <p:spPr>
              <a:xfrm>
                <a:off x="10670650" y="5340235"/>
                <a:ext cx="1565132" cy="31756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SCM</a:t>
                </a:r>
                <a:endParaRPr kumimoji="0" lang="en-ZA" sz="1200" b="1" i="0" u="none" strike="noStrike" kern="1200" cap="none" spc="0" normalizeH="0" baseline="0" noProof="0" dirty="0">
                  <a:ln>
                    <a:noFill/>
                  </a:ln>
                  <a:solidFill>
                    <a:srgbClr val="000000"/>
                  </a:solidFill>
                  <a:effectLst/>
                  <a:uLnTx/>
                  <a:uFillTx/>
                  <a:latin typeface="Calibri"/>
                  <a:ea typeface="+mn-ea"/>
                  <a:cs typeface="+mn-cs"/>
                </a:endParaRPr>
              </a:p>
            </p:txBody>
          </p:sp>
          <p:sp>
            <p:nvSpPr>
              <p:cNvPr id="54" name="TextBox 53">
                <a:extLst>
                  <a:ext uri="{FF2B5EF4-FFF2-40B4-BE49-F238E27FC236}">
                    <a16:creationId xmlns:a16="http://schemas.microsoft.com/office/drawing/2014/main" id="{DDE03973-DA29-8505-0C96-3587E90F09C4}"/>
                  </a:ext>
                </a:extLst>
              </p:cNvPr>
              <p:cNvSpPr txBox="1"/>
              <p:nvPr/>
            </p:nvSpPr>
            <p:spPr>
              <a:xfrm>
                <a:off x="10487439" y="3950541"/>
                <a:ext cx="95723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Calibri"/>
                    <a:ea typeface="+mn-ea"/>
                    <a:cs typeface="+mn-cs"/>
                  </a:rPr>
                  <a:t>Oth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dirty="0">
                    <a:solidFill>
                      <a:srgbClr val="000000"/>
                    </a:solidFill>
                    <a:latin typeface="Calibri"/>
                    <a:ea typeface="+mn-ea"/>
                  </a:rPr>
                  <a:t>(</a:t>
                </a:r>
                <a:r>
                  <a:rPr lang="en-US" sz="1200" i="1" dirty="0" err="1">
                    <a:solidFill>
                      <a:srgbClr val="000000"/>
                    </a:solidFill>
                    <a:latin typeface="Calibri"/>
                    <a:ea typeface="+mn-ea"/>
                  </a:rPr>
                  <a:t>ie</a:t>
                </a:r>
                <a:r>
                  <a:rPr lang="en-US" sz="1200" i="1" dirty="0">
                    <a:solidFill>
                      <a:srgbClr val="000000"/>
                    </a:solidFill>
                    <a:latin typeface="Calibri"/>
                    <a:ea typeface="+mn-ea"/>
                  </a:rPr>
                  <a:t>; pig iron)</a:t>
                </a:r>
                <a:endParaRPr kumimoji="0" lang="en-ZA" sz="1200" b="0" i="1" u="none" strike="noStrike" kern="1200" cap="none" spc="0" normalizeH="0" baseline="0" noProof="0" dirty="0">
                  <a:ln>
                    <a:noFill/>
                  </a:ln>
                  <a:solidFill>
                    <a:srgbClr val="000000"/>
                  </a:solidFill>
                  <a:effectLst/>
                  <a:uLnTx/>
                  <a:uFillTx/>
                  <a:latin typeface="Calibri"/>
                  <a:ea typeface="+mn-ea"/>
                  <a:cs typeface="+mn-cs"/>
                </a:endParaRPr>
              </a:p>
            </p:txBody>
          </p:sp>
        </p:grpSp>
        <p:cxnSp>
          <p:nvCxnSpPr>
            <p:cNvPr id="36" name="Straight Arrow Connector 35">
              <a:extLst>
                <a:ext uri="{FF2B5EF4-FFF2-40B4-BE49-F238E27FC236}">
                  <a16:creationId xmlns:a16="http://schemas.microsoft.com/office/drawing/2014/main" id="{052A94C6-E885-4F15-EA29-1B9B979219BD}"/>
                </a:ext>
              </a:extLst>
            </p:cNvPr>
            <p:cNvCxnSpPr>
              <a:cxnSpLocks/>
            </p:cNvCxnSpPr>
            <p:nvPr/>
          </p:nvCxnSpPr>
          <p:spPr>
            <a:xfrm flipV="1">
              <a:off x="10166411" y="3985727"/>
              <a:ext cx="0" cy="54126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7" name="TextBox 36">
              <a:extLst>
                <a:ext uri="{FF2B5EF4-FFF2-40B4-BE49-F238E27FC236}">
                  <a16:creationId xmlns:a16="http://schemas.microsoft.com/office/drawing/2014/main" id="{A2E1E535-59FF-F636-B0DD-9BCBF81BEB4A}"/>
                </a:ext>
              </a:extLst>
            </p:cNvPr>
            <p:cNvSpPr txBox="1"/>
            <p:nvPr/>
          </p:nvSpPr>
          <p:spPr>
            <a:xfrm>
              <a:off x="9566432" y="3766864"/>
              <a:ext cx="120607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Calibri"/>
                  <a:ea typeface="+mn-ea"/>
                  <a:cs typeface="+mn-cs"/>
                </a:rPr>
                <a:t>Energy recovery</a:t>
              </a:r>
              <a:endParaRPr kumimoji="0" lang="en-ZA" sz="1200" b="0" i="1" u="none" strike="noStrike" kern="1200" cap="none" spc="0" normalizeH="0" baseline="0" noProof="0" dirty="0">
                <a:ln>
                  <a:noFill/>
                </a:ln>
                <a:solidFill>
                  <a:srgbClr val="000000"/>
                </a:solidFill>
                <a:effectLst/>
                <a:uLnTx/>
                <a:uFillTx/>
                <a:latin typeface="Calibri"/>
                <a:ea typeface="+mn-ea"/>
                <a:cs typeface="+mn-cs"/>
              </a:endParaRPr>
            </a:p>
          </p:txBody>
        </p:sp>
      </p:grpSp>
      <p:sp>
        <p:nvSpPr>
          <p:cNvPr id="4" name="Rectangle 3">
            <a:extLst>
              <a:ext uri="{FF2B5EF4-FFF2-40B4-BE49-F238E27FC236}">
                <a16:creationId xmlns:a16="http://schemas.microsoft.com/office/drawing/2014/main" id="{FD67C653-0A2E-389A-091F-15DA2BCC13E5}"/>
              </a:ext>
            </a:extLst>
          </p:cNvPr>
          <p:cNvSpPr/>
          <p:nvPr/>
        </p:nvSpPr>
        <p:spPr>
          <a:xfrm>
            <a:off x="7422400" y="649407"/>
            <a:ext cx="4230290" cy="484997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0" name="Titel 3">
            <a:extLst>
              <a:ext uri="{FF2B5EF4-FFF2-40B4-BE49-F238E27FC236}">
                <a16:creationId xmlns:a16="http://schemas.microsoft.com/office/drawing/2014/main" id="{7BCBC15D-628C-9067-4EF7-45DCA7E93B15}"/>
              </a:ext>
            </a:extLst>
          </p:cNvPr>
          <p:cNvSpPr>
            <a:spLocks noGrp="1"/>
          </p:cNvSpPr>
          <p:nvPr>
            <p:ph type="title"/>
          </p:nvPr>
        </p:nvSpPr>
        <p:spPr>
          <a:xfrm>
            <a:off x="289453" y="377999"/>
            <a:ext cx="11613389" cy="702000"/>
          </a:xfrm>
        </p:spPr>
        <p:txBody>
          <a:bodyPr vert="horz"/>
          <a:lstStyle/>
          <a:p>
            <a:r>
              <a:rPr lang="en-GB" dirty="0"/>
              <a:t>SVF: Integrated EAF flowsheet improvement &amp; opportunities </a:t>
            </a:r>
            <a:br>
              <a:rPr lang="en-GB" dirty="0"/>
            </a:br>
            <a:r>
              <a:rPr lang="en-GB" sz="2000" b="0" dirty="0"/>
              <a:t>(based on several case studies) </a:t>
            </a:r>
            <a:endParaRPr lang="en-US" b="0" dirty="0"/>
          </a:p>
        </p:txBody>
      </p:sp>
      <p:sp>
        <p:nvSpPr>
          <p:cNvPr id="5" name="Slide Number Placeholder 4">
            <a:extLst>
              <a:ext uri="{FF2B5EF4-FFF2-40B4-BE49-F238E27FC236}">
                <a16:creationId xmlns:a16="http://schemas.microsoft.com/office/drawing/2014/main" id="{A7A6B54C-79D4-57F3-1B52-89757C4770D3}"/>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043744-42FE-4892-90BA-7087481EB81E}" type="slidenum">
              <a:rPr kumimoji="0" lang="de-DE" sz="10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de-DE" sz="1000" b="0" i="0" u="none" strike="noStrike" kern="1200" cap="none" spc="0" normalizeH="0" baseline="0" noProof="0" dirty="0">
              <a:ln>
                <a:noFill/>
              </a:ln>
              <a:solidFill>
                <a:srgbClr val="000000"/>
              </a:solidFill>
              <a:effectLst/>
              <a:uLnTx/>
              <a:uFillTx/>
              <a:latin typeface="Calibri"/>
              <a:ea typeface="+mn-ea"/>
              <a:cs typeface="+mn-cs"/>
            </a:endParaRPr>
          </a:p>
        </p:txBody>
      </p:sp>
      <p:sp>
        <p:nvSpPr>
          <p:cNvPr id="3" name="TextBox 2">
            <a:extLst>
              <a:ext uri="{FF2B5EF4-FFF2-40B4-BE49-F238E27FC236}">
                <a16:creationId xmlns:a16="http://schemas.microsoft.com/office/drawing/2014/main" id="{327B6647-77E1-1E58-31A9-A4E654C82B70}"/>
              </a:ext>
            </a:extLst>
          </p:cNvPr>
          <p:cNvSpPr txBox="1"/>
          <p:nvPr/>
        </p:nvSpPr>
        <p:spPr bwMode="black">
          <a:xfrm>
            <a:off x="6220750" y="6604084"/>
            <a:ext cx="5579269"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000" b="0" i="1" u="none" strike="noStrike" kern="12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mn-cs"/>
              </a:rPr>
              <a:t>Contains Trade Secrets, Confidential, Proprietary, or Privileged Information Exempt from Public Disclosure</a:t>
            </a:r>
            <a:endParaRPr kumimoji="0" lang="en-ZA" sz="1000" b="0" i="1" u="none" strike="noStrike" kern="1200" cap="none" spc="0" normalizeH="0" baseline="0" noProof="0" dirty="0">
              <a:ln>
                <a:noFill/>
              </a:ln>
              <a:solidFill>
                <a:srgbClr val="000000"/>
              </a:solidFill>
              <a:effectLst/>
              <a:uLnTx/>
              <a:uFillTx/>
              <a:latin typeface="Calibri"/>
              <a:ea typeface="+mn-ea"/>
              <a:cs typeface="+mn-cs"/>
            </a:endParaRPr>
          </a:p>
        </p:txBody>
      </p:sp>
      <p:grpSp>
        <p:nvGrpSpPr>
          <p:cNvPr id="8" name="Group 7">
            <a:extLst>
              <a:ext uri="{FF2B5EF4-FFF2-40B4-BE49-F238E27FC236}">
                <a16:creationId xmlns:a16="http://schemas.microsoft.com/office/drawing/2014/main" id="{325F0C7D-8B3D-DA46-7674-5189A166ED90}"/>
              </a:ext>
            </a:extLst>
          </p:cNvPr>
          <p:cNvGrpSpPr/>
          <p:nvPr/>
        </p:nvGrpSpPr>
        <p:grpSpPr>
          <a:xfrm>
            <a:off x="197283" y="3140968"/>
            <a:ext cx="7940713" cy="3848213"/>
            <a:chOff x="197489" y="2691028"/>
            <a:chExt cx="7940713" cy="3848213"/>
          </a:xfrm>
        </p:grpSpPr>
        <p:pic>
          <p:nvPicPr>
            <p:cNvPr id="17" name="Picture 16" descr="A group of blue and red pipes&#10;&#10;Description automatically generated">
              <a:extLst>
                <a:ext uri="{FF2B5EF4-FFF2-40B4-BE49-F238E27FC236}">
                  <a16:creationId xmlns:a16="http://schemas.microsoft.com/office/drawing/2014/main" id="{22B74ACF-13F7-3516-FCFA-BF901FFEE5E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25231" y="4064874"/>
              <a:ext cx="1510583" cy="1116104"/>
            </a:xfrm>
            <a:prstGeom prst="rect">
              <a:avLst/>
            </a:prstGeom>
          </p:spPr>
        </p:pic>
        <p:graphicFrame>
          <p:nvGraphicFramePr>
            <p:cNvPr id="18" name="Chart 17">
              <a:extLst>
                <a:ext uri="{FF2B5EF4-FFF2-40B4-BE49-F238E27FC236}">
                  <a16:creationId xmlns:a16="http://schemas.microsoft.com/office/drawing/2014/main" id="{62B9FDDE-118F-9693-40E2-D98EC0EC1F09}"/>
                </a:ext>
              </a:extLst>
            </p:cNvPr>
            <p:cNvGraphicFramePr>
              <a:graphicFrameLocks/>
            </p:cNvGraphicFramePr>
            <p:nvPr>
              <p:extLst>
                <p:ext uri="{D42A27DB-BD31-4B8C-83A1-F6EECF244321}">
                  <p14:modId xmlns:p14="http://schemas.microsoft.com/office/powerpoint/2010/main" val="550106604"/>
                </p:ext>
              </p:extLst>
            </p:nvPr>
          </p:nvGraphicFramePr>
          <p:xfrm>
            <a:off x="197489" y="2691028"/>
            <a:ext cx="7940713" cy="3848213"/>
          </p:xfrm>
          <a:graphic>
            <a:graphicData uri="http://schemas.openxmlformats.org/drawingml/2006/chart">
              <c:chart xmlns:c="http://schemas.openxmlformats.org/drawingml/2006/chart" xmlns:r="http://schemas.openxmlformats.org/officeDocument/2006/relationships" r:id="rId6"/>
            </a:graphicData>
          </a:graphic>
        </p:graphicFrame>
      </p:grpSp>
      <p:sp>
        <p:nvSpPr>
          <p:cNvPr id="73" name="TextBox 72">
            <a:extLst>
              <a:ext uri="{FF2B5EF4-FFF2-40B4-BE49-F238E27FC236}">
                <a16:creationId xmlns:a16="http://schemas.microsoft.com/office/drawing/2014/main" id="{7212D7E4-C43D-8F24-AE5F-C27554E237B4}"/>
              </a:ext>
            </a:extLst>
          </p:cNvPr>
          <p:cNvSpPr txBox="1"/>
          <p:nvPr/>
        </p:nvSpPr>
        <p:spPr>
          <a:xfrm>
            <a:off x="283166" y="1228754"/>
            <a:ext cx="6712276" cy="2095958"/>
          </a:xfrm>
          <a:prstGeom prst="rect">
            <a:avLst/>
          </a:prstGeom>
          <a:noFill/>
        </p:spPr>
        <p:txBody>
          <a:bodyPr wrap="square" rtlCol="0">
            <a:spAutoFit/>
          </a:bodyPr>
          <a:lstStyle/>
          <a:p>
            <a:pPr marL="0" marR="0" lvl="0" indent="0" algn="l" defTabSz="914400" rtl="0" eaLnBrk="1" fontAlgn="base" latinLnBrk="0" hangingPunct="1">
              <a:lnSpc>
                <a:spcPct val="90000"/>
              </a:lnSpc>
              <a:spcBef>
                <a:spcPts val="0"/>
              </a:spcBef>
              <a:spcAft>
                <a:spcPts val="299"/>
              </a:spcAft>
              <a:buClr>
                <a:srgbClr val="2E3135"/>
              </a:buClr>
              <a:buSzPct val="90000"/>
              <a:buFontTx/>
              <a:buNone/>
              <a:tabLst/>
              <a:defRPr/>
            </a:pPr>
            <a:r>
              <a:rPr kumimoji="0" lang="en-US" sz="1600" b="1" i="0" u="sng" strike="noStrike" kern="1200" cap="none" spc="0" normalizeH="0" baseline="0" noProof="0" dirty="0">
                <a:ln>
                  <a:noFill/>
                </a:ln>
                <a:solidFill>
                  <a:srgbClr val="000000"/>
                </a:solidFill>
                <a:effectLst/>
                <a:uLnTx/>
                <a:uFillTx/>
                <a:latin typeface="Calibri"/>
                <a:ea typeface="+mn-ea"/>
                <a:cs typeface="Arial" panose="020B0604020202020204" pitchFamily="34" charset="0"/>
              </a:rPr>
              <a:t>DRP &gt; EAF </a:t>
            </a:r>
            <a:r>
              <a:rPr kumimoji="0" lang="en-US" sz="1600" b="1" i="0" u="sng" strike="noStrike" kern="1200" cap="none" spc="0" normalizeH="0" baseline="0" noProof="0" dirty="0">
                <a:ln>
                  <a:noFill/>
                </a:ln>
                <a:solidFill>
                  <a:srgbClr val="0070C0"/>
                </a:solidFill>
                <a:effectLst/>
                <a:uLnTx/>
                <a:uFillTx/>
                <a:latin typeface="Calibri"/>
                <a:ea typeface="+mn-ea"/>
                <a:cs typeface="Arial" panose="020B0604020202020204" pitchFamily="34" charset="0"/>
              </a:rPr>
              <a:t>(+SVF)</a:t>
            </a:r>
            <a:r>
              <a:rPr kumimoji="0" lang="en-US" sz="1600" b="1" i="0" u="sng" strike="noStrike" kern="1200" cap="none" spc="0" normalizeH="0" baseline="0" noProof="0" dirty="0">
                <a:ln>
                  <a:noFill/>
                </a:ln>
                <a:solidFill>
                  <a:srgbClr val="000000"/>
                </a:solidFill>
                <a:effectLst/>
                <a:uLnTx/>
                <a:uFillTx/>
                <a:latin typeface="Calibri"/>
                <a:ea typeface="+mn-ea"/>
                <a:cs typeface="Arial" panose="020B0604020202020204" pitchFamily="34" charset="0"/>
              </a:rPr>
              <a:t>:</a:t>
            </a:r>
          </a:p>
          <a:p>
            <a:pPr marL="266220" marR="0" lvl="0" indent="-266220" algn="l" defTabSz="914400" rtl="0" eaLnBrk="1" fontAlgn="base" latinLnBrk="0" hangingPunct="1">
              <a:lnSpc>
                <a:spcPct val="90000"/>
              </a:lnSpc>
              <a:spcBef>
                <a:spcPts val="0"/>
              </a:spcBef>
              <a:spcAft>
                <a:spcPts val="299"/>
              </a:spcAft>
              <a:buClr>
                <a:srgbClr val="2E3135"/>
              </a:buClr>
              <a:buSzPct val="90000"/>
              <a:buFont typeface="Wingdings" panose="05000000000000000000" pitchFamily="2" charset="2"/>
              <a:buChar char="u"/>
              <a:tabLst/>
              <a:defRPr/>
            </a:pPr>
            <a:r>
              <a:rPr kumimoji="0" lang="en-US"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1600" b="1" i="0" u="none" strike="noStrike" kern="1200" cap="none" spc="0" normalizeH="0" baseline="0" noProof="0" dirty="0">
                <a:ln>
                  <a:noFill/>
                </a:ln>
                <a:solidFill>
                  <a:srgbClr val="0070C0"/>
                </a:solidFill>
                <a:effectLst/>
                <a:uLnTx/>
                <a:uFillTx/>
                <a:latin typeface="Calibri"/>
                <a:ea typeface="+mn-ea"/>
                <a:cs typeface="Arial" panose="020B0604020202020204" pitchFamily="34" charset="0"/>
              </a:rPr>
              <a:t>Introduction of a Slag Valorization Furnace (SVF)</a:t>
            </a:r>
          </a:p>
          <a:p>
            <a:pPr marL="266220" marR="0" lvl="0" indent="-266220" algn="l" defTabSz="914400" rtl="0" eaLnBrk="1" fontAlgn="base" latinLnBrk="0" hangingPunct="1">
              <a:lnSpc>
                <a:spcPct val="90000"/>
              </a:lnSpc>
              <a:spcBef>
                <a:spcPts val="0"/>
              </a:spcBef>
              <a:spcAft>
                <a:spcPts val="299"/>
              </a:spcAft>
              <a:buClr>
                <a:srgbClr val="2E3135"/>
              </a:buClr>
              <a:buSzPct val="90000"/>
              <a:buFont typeface="Wingdings" panose="05000000000000000000" pitchFamily="2" charset="2"/>
              <a:buChar char="u"/>
              <a:tabLst/>
              <a:defRPr/>
            </a:pPr>
            <a:r>
              <a:rPr kumimoji="0" lang="en-US"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Recovery of Fe-units from discard EAF slag = </a:t>
            </a:r>
            <a:r>
              <a:rPr kumimoji="0" lang="en-US" sz="1600" b="1" i="0" u="none" strike="noStrike" kern="1200" cap="none" spc="0" normalizeH="0" baseline="0" noProof="0" dirty="0">
                <a:ln>
                  <a:noFill/>
                </a:ln>
                <a:solidFill>
                  <a:srgbClr val="0070C0"/>
                </a:solidFill>
                <a:effectLst/>
                <a:uLnTx/>
                <a:uFillTx/>
                <a:latin typeface="Calibri"/>
                <a:ea typeface="+mn-ea"/>
                <a:cs typeface="Arial" panose="020B0604020202020204" pitchFamily="34" charset="0"/>
              </a:rPr>
              <a:t>Improved ROI!</a:t>
            </a:r>
          </a:p>
          <a:p>
            <a:pPr marL="266220" marR="0" lvl="0" indent="-266220" algn="l" defTabSz="914400" rtl="0" eaLnBrk="1" fontAlgn="base" latinLnBrk="0" hangingPunct="1">
              <a:lnSpc>
                <a:spcPct val="90000"/>
              </a:lnSpc>
              <a:spcBef>
                <a:spcPts val="0"/>
              </a:spcBef>
              <a:spcAft>
                <a:spcPts val="299"/>
              </a:spcAft>
              <a:buClr>
                <a:srgbClr val="2E3135"/>
              </a:buClr>
              <a:buSzPct val="90000"/>
              <a:buFont typeface="Wingdings" panose="05000000000000000000" pitchFamily="2" charset="2"/>
              <a:buChar char="u"/>
              <a:tabLst/>
              <a:defRPr/>
            </a:pPr>
            <a:r>
              <a:rPr kumimoji="0" lang="en-US"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djust discard EAF slag composition to a saleable Supplementary Cementitious Materials (SCM) type = </a:t>
            </a:r>
            <a:r>
              <a:rPr kumimoji="0" lang="en-US" sz="1600" b="1" i="0" u="none" strike="noStrike" kern="1200" cap="none" spc="0" normalizeH="0" baseline="0" noProof="0" dirty="0">
                <a:ln>
                  <a:noFill/>
                </a:ln>
                <a:solidFill>
                  <a:srgbClr val="0070C0"/>
                </a:solidFill>
                <a:effectLst/>
                <a:uLnTx/>
                <a:uFillTx/>
                <a:latin typeface="Calibri"/>
                <a:ea typeface="+mn-ea"/>
                <a:cs typeface="Arial" panose="020B0604020202020204" pitchFamily="34" charset="0"/>
              </a:rPr>
              <a:t>Improved ROI!</a:t>
            </a:r>
          </a:p>
          <a:p>
            <a:pPr marL="266220" indent="-266220" eaLnBrk="1" hangingPunct="1">
              <a:lnSpc>
                <a:spcPct val="90000"/>
              </a:lnSpc>
              <a:spcBef>
                <a:spcPts val="0"/>
              </a:spcBef>
              <a:spcAft>
                <a:spcPts val="299"/>
              </a:spcAft>
              <a:buClr>
                <a:srgbClr val="2E3135"/>
              </a:buClr>
              <a:buSzPct val="90000"/>
              <a:buFont typeface="Wingdings" panose="05000000000000000000" pitchFamily="2" charset="2"/>
              <a:buChar char="u"/>
              <a:defRPr/>
            </a:pPr>
            <a:r>
              <a:rPr kumimoji="0" lang="en-US"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Off-gas thermal energy post combustion = </a:t>
            </a:r>
            <a:r>
              <a:rPr kumimoji="0" lang="en-US" sz="1600" b="1" i="0" u="none" strike="noStrike" kern="1200" cap="none" spc="0" normalizeH="0" baseline="0" noProof="0" dirty="0">
                <a:ln>
                  <a:noFill/>
                </a:ln>
                <a:solidFill>
                  <a:srgbClr val="0070C0"/>
                </a:solidFill>
                <a:effectLst/>
                <a:uLnTx/>
                <a:uFillTx/>
                <a:latin typeface="Calibri"/>
                <a:ea typeface="+mn-ea"/>
                <a:cs typeface="Arial" panose="020B0604020202020204" pitchFamily="34" charset="0"/>
              </a:rPr>
              <a:t>Improved ROI!</a:t>
            </a:r>
          </a:p>
          <a:p>
            <a:pPr marL="266220" marR="0" lvl="0" indent="-266220" algn="l" defTabSz="914400" rtl="0" eaLnBrk="1" fontAlgn="base" latinLnBrk="0" hangingPunct="1">
              <a:lnSpc>
                <a:spcPct val="90000"/>
              </a:lnSpc>
              <a:spcBef>
                <a:spcPts val="0"/>
              </a:spcBef>
              <a:spcAft>
                <a:spcPts val="299"/>
              </a:spcAft>
              <a:buClr>
                <a:srgbClr val="2E3135"/>
              </a:buClr>
              <a:buSzPct val="90000"/>
              <a:buFont typeface="Wingdings" panose="05000000000000000000" pitchFamily="2" charset="2"/>
              <a:buChar char="u"/>
              <a:tabLst/>
              <a:defRPr/>
            </a:pPr>
            <a:r>
              <a:rPr lang="en-US" sz="1600" dirty="0">
                <a:solidFill>
                  <a:srgbClr val="000000"/>
                </a:solidFill>
                <a:latin typeface="Calibri"/>
                <a:ea typeface="+mn-ea"/>
                <a:cs typeface="Arial" panose="020B0604020202020204" pitchFamily="34" charset="0"/>
              </a:rPr>
              <a:t>No slag crushing and metal recovery operations required = </a:t>
            </a:r>
            <a:r>
              <a:rPr kumimoji="0" lang="en-US" sz="1600" b="1" i="0" u="none" strike="noStrike" kern="1200" cap="none" spc="0" normalizeH="0" baseline="0" noProof="0" dirty="0">
                <a:ln>
                  <a:noFill/>
                </a:ln>
                <a:solidFill>
                  <a:srgbClr val="0070C0"/>
                </a:solidFill>
                <a:effectLst/>
                <a:uLnTx/>
                <a:uFillTx/>
                <a:latin typeface="Calibri"/>
                <a:ea typeface="+mn-ea"/>
                <a:cs typeface="Arial" panose="020B0604020202020204" pitchFamily="34" charset="0"/>
              </a:rPr>
              <a:t>Reduced OPEX! </a:t>
            </a:r>
          </a:p>
          <a:p>
            <a:pPr marL="266220" indent="-266220" eaLnBrk="1" hangingPunct="1">
              <a:lnSpc>
                <a:spcPct val="90000"/>
              </a:lnSpc>
              <a:spcBef>
                <a:spcPts val="0"/>
              </a:spcBef>
              <a:spcAft>
                <a:spcPts val="299"/>
              </a:spcAft>
              <a:buClr>
                <a:srgbClr val="2E3135"/>
              </a:buClr>
              <a:buSzPct val="90000"/>
              <a:buFont typeface="Wingdings" panose="05000000000000000000" pitchFamily="2" charset="2"/>
              <a:buChar char="u"/>
              <a:defRPr/>
            </a:pPr>
            <a:r>
              <a:rPr kumimoji="0" lang="en-US"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Zero slag stockpile costs = </a:t>
            </a:r>
            <a:r>
              <a:rPr kumimoji="0" lang="en-US" sz="1600" b="1" i="0" u="none" strike="noStrike" kern="1200" cap="none" spc="0" normalizeH="0" baseline="0" noProof="0" dirty="0">
                <a:ln>
                  <a:noFill/>
                </a:ln>
                <a:solidFill>
                  <a:srgbClr val="0070C0"/>
                </a:solidFill>
                <a:effectLst/>
                <a:uLnTx/>
                <a:uFillTx/>
                <a:latin typeface="Calibri"/>
                <a:ea typeface="+mn-ea"/>
                <a:cs typeface="Arial" panose="020B0604020202020204" pitchFamily="34" charset="0"/>
              </a:rPr>
              <a:t>Reduced OPEX!</a:t>
            </a:r>
            <a:endParaRPr kumimoji="0" lang="en-US"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pic>
        <p:nvPicPr>
          <p:cNvPr id="2" name="Picture 1" descr="A picture containing screenshot, graphics, graphic design, font&#10;&#10;Description automatically generated">
            <a:extLst>
              <a:ext uri="{FF2B5EF4-FFF2-40B4-BE49-F238E27FC236}">
                <a16:creationId xmlns:a16="http://schemas.microsoft.com/office/drawing/2014/main" id="{4F149409-4409-7305-61A2-B223D536CEF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229272" y="5826031"/>
            <a:ext cx="846835" cy="731246"/>
          </a:xfrm>
          <a:prstGeom prst="rect">
            <a:avLst/>
          </a:prstGeom>
        </p:spPr>
      </p:pic>
      <p:pic>
        <p:nvPicPr>
          <p:cNvPr id="6" name="Picture 5" descr="A group of circles with different colors&#10;&#10;AI-generated content may be incorrect.">
            <a:extLst>
              <a:ext uri="{FF2B5EF4-FFF2-40B4-BE49-F238E27FC236}">
                <a16:creationId xmlns:a16="http://schemas.microsoft.com/office/drawing/2014/main" id="{9DF935BF-BD47-3E6A-70EC-5293791E29DC}"/>
              </a:ext>
            </a:extLst>
          </p:cNvPr>
          <p:cNvPicPr>
            <a:picLocks noChangeAspect="1"/>
          </p:cNvPicPr>
          <p:nvPr/>
        </p:nvPicPr>
        <p:blipFill>
          <a:blip r:embed="rId8"/>
          <a:stretch>
            <a:fillRect/>
          </a:stretch>
        </p:blipFill>
        <p:spPr>
          <a:xfrm>
            <a:off x="9479962" y="6257031"/>
            <a:ext cx="1633038" cy="222970"/>
          </a:xfrm>
          <a:prstGeom prst="rect">
            <a:avLst/>
          </a:prstGeom>
        </p:spPr>
      </p:pic>
      <p:pic>
        <p:nvPicPr>
          <p:cNvPr id="9" name="Picture 8">
            <a:extLst>
              <a:ext uri="{FF2B5EF4-FFF2-40B4-BE49-F238E27FC236}">
                <a16:creationId xmlns:a16="http://schemas.microsoft.com/office/drawing/2014/main" id="{A7385115-CEC0-73F9-AD07-C7158D7DAB63}"/>
              </a:ext>
            </a:extLst>
          </p:cNvPr>
          <p:cNvPicPr>
            <a:picLocks noChangeAspect="1"/>
          </p:cNvPicPr>
          <p:nvPr/>
        </p:nvPicPr>
        <p:blipFill>
          <a:blip r:embed="rId9"/>
          <a:stretch>
            <a:fillRect/>
          </a:stretch>
        </p:blipFill>
        <p:spPr>
          <a:xfrm>
            <a:off x="10826035" y="82748"/>
            <a:ext cx="1285743" cy="795305"/>
          </a:xfrm>
          <a:prstGeom prst="rect">
            <a:avLst/>
          </a:prstGeom>
        </p:spPr>
      </p:pic>
    </p:spTree>
    <p:extLst>
      <p:ext uri="{BB962C8B-B14F-4D97-AF65-F5344CB8AC3E}">
        <p14:creationId xmlns:p14="http://schemas.microsoft.com/office/powerpoint/2010/main" val="321594187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5F9082-B247-21DE-BFE3-6538EDE92FFB}"/>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EE9CDD0-37D4-EEDE-6F13-5108EA69FC5D}"/>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043744-42FE-4892-90BA-7087481EB81E}" type="slidenum">
              <a:rPr kumimoji="0" lang="de-DE" sz="10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de-DE" sz="1000" b="0" i="0" u="none" strike="noStrike" kern="1200" cap="none" spc="0" normalizeH="0" baseline="0" noProof="0" dirty="0">
              <a:ln>
                <a:noFill/>
              </a:ln>
              <a:solidFill>
                <a:srgbClr val="000000"/>
              </a:solidFill>
              <a:effectLst/>
              <a:uLnTx/>
              <a:uFillTx/>
              <a:latin typeface="Calibri"/>
              <a:ea typeface="+mn-ea"/>
              <a:cs typeface="+mn-cs"/>
            </a:endParaRPr>
          </a:p>
        </p:txBody>
      </p:sp>
      <p:sp>
        <p:nvSpPr>
          <p:cNvPr id="3" name="TextBox 2">
            <a:extLst>
              <a:ext uri="{FF2B5EF4-FFF2-40B4-BE49-F238E27FC236}">
                <a16:creationId xmlns:a16="http://schemas.microsoft.com/office/drawing/2014/main" id="{5CC85FC1-D4A7-EC15-1801-074408981564}"/>
              </a:ext>
            </a:extLst>
          </p:cNvPr>
          <p:cNvSpPr txBox="1"/>
          <p:nvPr/>
        </p:nvSpPr>
        <p:spPr bwMode="black">
          <a:xfrm>
            <a:off x="6220750" y="6604084"/>
            <a:ext cx="5579269"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000" b="0" i="1" u="none" strike="noStrike" kern="12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mn-cs"/>
              </a:rPr>
              <a:t>Contains Trade Secrets, Confidential, Proprietary, or Privileged Information Exempt from Public Disclosure</a:t>
            </a:r>
            <a:endParaRPr kumimoji="0" lang="en-ZA" sz="1000" b="0" i="1" u="none" strike="noStrike" kern="1200" cap="none" spc="0" normalizeH="0" baseline="0" noProof="0" dirty="0">
              <a:ln>
                <a:noFill/>
              </a:ln>
              <a:solidFill>
                <a:srgbClr val="000000"/>
              </a:solidFill>
              <a:effectLst/>
              <a:uLnTx/>
              <a:uFillTx/>
              <a:latin typeface="Calibri"/>
              <a:ea typeface="+mn-ea"/>
              <a:cs typeface="+mn-cs"/>
            </a:endParaRPr>
          </a:p>
        </p:txBody>
      </p:sp>
      <p:sp>
        <p:nvSpPr>
          <p:cNvPr id="72" name="TextBox 71">
            <a:extLst>
              <a:ext uri="{FF2B5EF4-FFF2-40B4-BE49-F238E27FC236}">
                <a16:creationId xmlns:a16="http://schemas.microsoft.com/office/drawing/2014/main" id="{3041AA41-8BA4-7F7B-36AB-2E7718CC7AC0}"/>
              </a:ext>
            </a:extLst>
          </p:cNvPr>
          <p:cNvSpPr txBox="1"/>
          <p:nvPr/>
        </p:nvSpPr>
        <p:spPr>
          <a:xfrm>
            <a:off x="6439844" y="4156198"/>
            <a:ext cx="5579270" cy="1900007"/>
          </a:xfrm>
          <a:prstGeom prst="rect">
            <a:avLst/>
          </a:prstGeom>
          <a:noFill/>
        </p:spPr>
        <p:txBody>
          <a:bodyPr wrap="square" rtlCol="0">
            <a:spAutoFit/>
          </a:bodyPr>
          <a:lstStyle/>
          <a:p>
            <a:pPr marL="266220" marR="0" lvl="0" indent="-266220" algn="l" defTabSz="914400" rtl="0" eaLnBrk="1" fontAlgn="base" latinLnBrk="0" hangingPunct="1">
              <a:lnSpc>
                <a:spcPct val="90000"/>
              </a:lnSpc>
              <a:spcBef>
                <a:spcPts val="500"/>
              </a:spcBef>
              <a:spcAft>
                <a:spcPts val="500"/>
              </a:spcAft>
              <a:buClr>
                <a:srgbClr val="2E3135"/>
              </a:buClr>
              <a:buSzPct val="90000"/>
              <a:buFont typeface="Wingdings" panose="05000000000000000000" pitchFamily="2" charset="2"/>
              <a:buChar char="u"/>
              <a:tabLst/>
              <a:defRPr/>
            </a:pPr>
            <a:r>
              <a:rPr kumimoji="0" lang="en-US" sz="1600" b="1" i="0" u="none" strike="noStrike" kern="1200" cap="none" spc="0" normalizeH="0" baseline="0" noProof="0" dirty="0">
                <a:ln>
                  <a:noFill/>
                </a:ln>
                <a:solidFill>
                  <a:srgbClr val="0070C0"/>
                </a:solidFill>
                <a:effectLst/>
                <a:uLnTx/>
                <a:uFillTx/>
                <a:latin typeface="Calibri"/>
                <a:ea typeface="+mn-ea"/>
                <a:cs typeface="Arial" panose="020B0604020202020204" pitchFamily="34" charset="0"/>
              </a:rPr>
              <a:t>Client specific scenario will impact furnace technology selection and hence will be tailored to suit!</a:t>
            </a:r>
          </a:p>
          <a:p>
            <a:pPr marL="742950" lvl="2" indent="-285750" eaLnBrk="1" hangingPunct="1">
              <a:lnSpc>
                <a:spcPct val="90000"/>
              </a:lnSpc>
              <a:spcBef>
                <a:spcPts val="500"/>
              </a:spcBef>
              <a:spcAft>
                <a:spcPts val="500"/>
              </a:spcAft>
              <a:buClr>
                <a:srgbClr val="2E3135"/>
              </a:buClr>
              <a:buSzPct val="90000"/>
              <a:buFont typeface="Calibri" panose="020F0502020204030204" pitchFamily="34" charset="0"/>
              <a:buChar char="-"/>
              <a:defRPr/>
            </a:pPr>
            <a:r>
              <a:rPr lang="en-US" sz="1600" dirty="0">
                <a:solidFill>
                  <a:srgbClr val="000000"/>
                </a:solidFill>
                <a:latin typeface="Calibri"/>
                <a:ea typeface="+mn-ea"/>
                <a:cs typeface="Arial" panose="020B0604020202020204" pitchFamily="34" charset="0"/>
              </a:rPr>
              <a:t>Based on SMS &amp; Metix </a:t>
            </a:r>
            <a:r>
              <a:rPr lang="en-US" sz="1600" b="1" dirty="0">
                <a:solidFill>
                  <a:srgbClr val="000000"/>
                </a:solidFill>
                <a:latin typeface="Calibri"/>
                <a:ea typeface="+mn-ea"/>
                <a:cs typeface="Arial" panose="020B0604020202020204" pitchFamily="34" charset="0"/>
              </a:rPr>
              <a:t>rectangular furnace </a:t>
            </a:r>
            <a:r>
              <a:rPr lang="en-US" sz="1600" dirty="0">
                <a:solidFill>
                  <a:srgbClr val="000000"/>
                </a:solidFill>
                <a:latin typeface="Calibri"/>
                <a:ea typeface="+mn-ea"/>
                <a:cs typeface="Arial" panose="020B0604020202020204" pitchFamily="34" charset="0"/>
              </a:rPr>
              <a:t>references: Mostly non-ferrous matte settling-, and slag cleaning furnaces (MSEF &amp; SCF)</a:t>
            </a:r>
          </a:p>
          <a:p>
            <a:pPr marL="742950" lvl="2" indent="-285750" eaLnBrk="1" hangingPunct="1">
              <a:lnSpc>
                <a:spcPct val="90000"/>
              </a:lnSpc>
              <a:spcBef>
                <a:spcPts val="500"/>
              </a:spcBef>
              <a:spcAft>
                <a:spcPts val="500"/>
              </a:spcAft>
              <a:buClr>
                <a:srgbClr val="2E3135"/>
              </a:buClr>
              <a:buSzPct val="90000"/>
              <a:buFont typeface="Calibri" panose="020F0502020204030204" pitchFamily="34" charset="0"/>
              <a:buChar char="-"/>
              <a:defRPr/>
            </a:pPr>
            <a:r>
              <a:rPr lang="en-US" sz="1600" dirty="0">
                <a:solidFill>
                  <a:srgbClr val="000000"/>
                </a:solidFill>
                <a:latin typeface="Calibri"/>
                <a:ea typeface="+mn-ea"/>
                <a:cs typeface="Arial" panose="020B0604020202020204" pitchFamily="34" charset="0"/>
              </a:rPr>
              <a:t>Based on SMS &amp; Metix </a:t>
            </a:r>
            <a:r>
              <a:rPr lang="en-US" sz="1600" b="1" dirty="0">
                <a:solidFill>
                  <a:srgbClr val="000000"/>
                </a:solidFill>
                <a:latin typeface="Calibri"/>
                <a:ea typeface="+mn-ea"/>
                <a:cs typeface="Arial" panose="020B0604020202020204" pitchFamily="34" charset="0"/>
              </a:rPr>
              <a:t>circular furnace </a:t>
            </a:r>
            <a:r>
              <a:rPr lang="en-US" sz="1600" dirty="0">
                <a:solidFill>
                  <a:srgbClr val="000000"/>
                </a:solidFill>
                <a:latin typeface="Calibri"/>
                <a:ea typeface="+mn-ea"/>
                <a:cs typeface="Arial" panose="020B0604020202020204" pitchFamily="34" charset="0"/>
              </a:rPr>
              <a:t>references: Mostly ferroalloy and ilmenite furnaces</a:t>
            </a:r>
          </a:p>
        </p:txBody>
      </p:sp>
      <p:sp>
        <p:nvSpPr>
          <p:cNvPr id="11" name="Titel 3">
            <a:extLst>
              <a:ext uri="{FF2B5EF4-FFF2-40B4-BE49-F238E27FC236}">
                <a16:creationId xmlns:a16="http://schemas.microsoft.com/office/drawing/2014/main" id="{7F1F345B-DB26-82C7-CF82-81F594F8F12B}"/>
              </a:ext>
            </a:extLst>
          </p:cNvPr>
          <p:cNvSpPr>
            <a:spLocks noGrp="1"/>
          </p:cNvSpPr>
          <p:nvPr>
            <p:ph type="title"/>
          </p:nvPr>
        </p:nvSpPr>
        <p:spPr>
          <a:xfrm>
            <a:off x="289453" y="377999"/>
            <a:ext cx="11613389" cy="702000"/>
          </a:xfrm>
        </p:spPr>
        <p:txBody>
          <a:bodyPr vert="horz"/>
          <a:lstStyle/>
          <a:p>
            <a:r>
              <a:rPr lang="en-US" dirty="0"/>
              <a:t>SVF: </a:t>
            </a:r>
            <a:r>
              <a:rPr lang="en-ZA" dirty="0"/>
              <a:t>Tailoring a bespoke solution</a:t>
            </a:r>
            <a:endParaRPr lang="en-US" dirty="0"/>
          </a:p>
        </p:txBody>
      </p:sp>
      <p:pic>
        <p:nvPicPr>
          <p:cNvPr id="2" name="Picture 1" descr="A picture containing screenshot, graphics, graphic design, font&#10;&#10;Description automatically generated">
            <a:extLst>
              <a:ext uri="{FF2B5EF4-FFF2-40B4-BE49-F238E27FC236}">
                <a16:creationId xmlns:a16="http://schemas.microsoft.com/office/drawing/2014/main" id="{402663A1-312A-AA19-AF7C-4975EA21C2B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229272" y="5826031"/>
            <a:ext cx="846835" cy="731246"/>
          </a:xfrm>
          <a:prstGeom prst="rect">
            <a:avLst/>
          </a:prstGeom>
        </p:spPr>
      </p:pic>
      <p:pic>
        <p:nvPicPr>
          <p:cNvPr id="4" name="Picture 3" descr="A group of circles with different colors&#10;&#10;AI-generated content may be incorrect.">
            <a:extLst>
              <a:ext uri="{FF2B5EF4-FFF2-40B4-BE49-F238E27FC236}">
                <a16:creationId xmlns:a16="http://schemas.microsoft.com/office/drawing/2014/main" id="{30D49C7B-0156-5C14-A612-FA55EB31B60C}"/>
              </a:ext>
            </a:extLst>
          </p:cNvPr>
          <p:cNvPicPr>
            <a:picLocks noChangeAspect="1"/>
          </p:cNvPicPr>
          <p:nvPr/>
        </p:nvPicPr>
        <p:blipFill>
          <a:blip r:embed="rId3"/>
          <a:stretch>
            <a:fillRect/>
          </a:stretch>
        </p:blipFill>
        <p:spPr>
          <a:xfrm>
            <a:off x="9479962" y="6257031"/>
            <a:ext cx="1633038" cy="222970"/>
          </a:xfrm>
          <a:prstGeom prst="rect">
            <a:avLst/>
          </a:prstGeom>
        </p:spPr>
      </p:pic>
      <p:pic>
        <p:nvPicPr>
          <p:cNvPr id="36" name="Picture 35">
            <a:extLst>
              <a:ext uri="{FF2B5EF4-FFF2-40B4-BE49-F238E27FC236}">
                <a16:creationId xmlns:a16="http://schemas.microsoft.com/office/drawing/2014/main" id="{F8B78023-EBB2-6776-9176-286275F620FD}"/>
              </a:ext>
            </a:extLst>
          </p:cNvPr>
          <p:cNvPicPr>
            <a:picLocks noChangeAspect="1"/>
          </p:cNvPicPr>
          <p:nvPr/>
        </p:nvPicPr>
        <p:blipFill>
          <a:blip r:embed="rId4"/>
          <a:stretch>
            <a:fillRect/>
          </a:stretch>
        </p:blipFill>
        <p:spPr>
          <a:xfrm>
            <a:off x="-384720" y="1590787"/>
            <a:ext cx="7099218" cy="4181417"/>
          </a:xfrm>
          <a:prstGeom prst="rect">
            <a:avLst/>
          </a:prstGeom>
        </p:spPr>
      </p:pic>
      <p:pic>
        <p:nvPicPr>
          <p:cNvPr id="6" name="Picture 5" descr="A large industrial building with many pipes&#10;&#10;AI-generated content may be incorrect.">
            <a:extLst>
              <a:ext uri="{FF2B5EF4-FFF2-40B4-BE49-F238E27FC236}">
                <a16:creationId xmlns:a16="http://schemas.microsoft.com/office/drawing/2014/main" id="{74D00457-5126-B0A2-D63F-72DDCA90D4CA}"/>
              </a:ext>
            </a:extLst>
          </p:cNvPr>
          <p:cNvPicPr>
            <a:picLocks noChangeAspect="1"/>
          </p:cNvPicPr>
          <p:nvPr/>
        </p:nvPicPr>
        <p:blipFill>
          <a:blip r:embed="rId5"/>
          <a:stretch>
            <a:fillRect/>
          </a:stretch>
        </p:blipFill>
        <p:spPr>
          <a:xfrm>
            <a:off x="6404057" y="908620"/>
            <a:ext cx="5552880" cy="3123495"/>
          </a:xfrm>
          <a:prstGeom prst="rect">
            <a:avLst/>
          </a:prstGeom>
          <a:ln>
            <a:noFill/>
          </a:ln>
          <a:effectLst>
            <a:softEdge rad="112500"/>
          </a:effectLst>
        </p:spPr>
      </p:pic>
      <p:pic>
        <p:nvPicPr>
          <p:cNvPr id="9" name="Picture 8">
            <a:extLst>
              <a:ext uri="{FF2B5EF4-FFF2-40B4-BE49-F238E27FC236}">
                <a16:creationId xmlns:a16="http://schemas.microsoft.com/office/drawing/2014/main" id="{33178877-B791-09FE-B651-2B6A707776B5}"/>
              </a:ext>
            </a:extLst>
          </p:cNvPr>
          <p:cNvPicPr>
            <a:picLocks noChangeAspect="1"/>
          </p:cNvPicPr>
          <p:nvPr/>
        </p:nvPicPr>
        <p:blipFill>
          <a:blip r:embed="rId6"/>
          <a:stretch>
            <a:fillRect/>
          </a:stretch>
        </p:blipFill>
        <p:spPr>
          <a:xfrm>
            <a:off x="10826035" y="82748"/>
            <a:ext cx="1285743" cy="795305"/>
          </a:xfrm>
          <a:prstGeom prst="rect">
            <a:avLst/>
          </a:prstGeom>
        </p:spPr>
      </p:pic>
    </p:spTree>
    <p:extLst>
      <p:ext uri="{BB962C8B-B14F-4D97-AF65-F5344CB8AC3E}">
        <p14:creationId xmlns:p14="http://schemas.microsoft.com/office/powerpoint/2010/main" val="2995070732"/>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0032FF-0591-BDD6-2461-434FF40C3B93}"/>
            </a:ext>
          </a:extLst>
        </p:cNvPr>
        <p:cNvGrpSpPr/>
        <p:nvPr/>
      </p:nvGrpSpPr>
      <p:grpSpPr>
        <a:xfrm>
          <a:off x="0" y="0"/>
          <a:ext cx="0" cy="0"/>
          <a:chOff x="0" y="0"/>
          <a:chExt cx="0" cy="0"/>
        </a:xfrm>
      </p:grpSpPr>
      <p:pic>
        <p:nvPicPr>
          <p:cNvPr id="8" name="Picture 7">
            <a:extLst>
              <a:ext uri="{FF2B5EF4-FFF2-40B4-BE49-F238E27FC236}">
                <a16:creationId xmlns:a16="http://schemas.microsoft.com/office/drawing/2014/main" id="{90C81A78-21CC-7276-3FD4-CFC424C5B7A0}"/>
              </a:ext>
            </a:extLst>
          </p:cNvPr>
          <p:cNvPicPr>
            <a:picLocks noChangeAspect="1"/>
          </p:cNvPicPr>
          <p:nvPr/>
        </p:nvPicPr>
        <p:blipFill rotWithShape="1">
          <a:blip r:embed="rId2"/>
          <a:srcRect l="2517"/>
          <a:stretch/>
        </p:blipFill>
        <p:spPr>
          <a:xfrm>
            <a:off x="6096000" y="15228"/>
            <a:ext cx="5485198" cy="6412482"/>
          </a:xfrm>
          <a:prstGeom prst="rect">
            <a:avLst/>
          </a:prstGeom>
        </p:spPr>
      </p:pic>
      <p:pic>
        <p:nvPicPr>
          <p:cNvPr id="9" name="Picture 8">
            <a:extLst>
              <a:ext uri="{FF2B5EF4-FFF2-40B4-BE49-F238E27FC236}">
                <a16:creationId xmlns:a16="http://schemas.microsoft.com/office/drawing/2014/main" id="{E11C8148-B451-A894-12D0-82B4B8C8394C}"/>
              </a:ext>
            </a:extLst>
          </p:cNvPr>
          <p:cNvPicPr>
            <a:picLocks noChangeAspect="1"/>
          </p:cNvPicPr>
          <p:nvPr/>
        </p:nvPicPr>
        <p:blipFill>
          <a:blip r:embed="rId3"/>
          <a:srcRect l="2551"/>
          <a:stretch/>
        </p:blipFill>
        <p:spPr>
          <a:xfrm>
            <a:off x="9747960" y="810550"/>
            <a:ext cx="2444040" cy="2315778"/>
          </a:xfrm>
          <a:prstGeom prst="rect">
            <a:avLst/>
          </a:prstGeom>
        </p:spPr>
      </p:pic>
      <p:pic>
        <p:nvPicPr>
          <p:cNvPr id="25" name="Picture 24">
            <a:extLst>
              <a:ext uri="{FF2B5EF4-FFF2-40B4-BE49-F238E27FC236}">
                <a16:creationId xmlns:a16="http://schemas.microsoft.com/office/drawing/2014/main" id="{F28C9721-A2BF-6EEB-435E-26312FA3A871}"/>
              </a:ext>
            </a:extLst>
          </p:cNvPr>
          <p:cNvPicPr>
            <a:picLocks noChangeAspect="1"/>
          </p:cNvPicPr>
          <p:nvPr/>
        </p:nvPicPr>
        <p:blipFill>
          <a:blip r:embed="rId4"/>
          <a:stretch>
            <a:fillRect/>
          </a:stretch>
        </p:blipFill>
        <p:spPr>
          <a:xfrm>
            <a:off x="10826035" y="82748"/>
            <a:ext cx="1285743" cy="795305"/>
          </a:xfrm>
          <a:prstGeom prst="rect">
            <a:avLst/>
          </a:prstGeom>
        </p:spPr>
      </p:pic>
      <p:sp>
        <p:nvSpPr>
          <p:cNvPr id="4" name="Rectangle 3">
            <a:extLst>
              <a:ext uri="{FF2B5EF4-FFF2-40B4-BE49-F238E27FC236}">
                <a16:creationId xmlns:a16="http://schemas.microsoft.com/office/drawing/2014/main" id="{663C87CC-3BE6-545B-8ADC-B54C662AC7E0}"/>
              </a:ext>
            </a:extLst>
          </p:cNvPr>
          <p:cNvSpPr/>
          <p:nvPr/>
        </p:nvSpPr>
        <p:spPr>
          <a:xfrm>
            <a:off x="7422400" y="649407"/>
            <a:ext cx="4230290" cy="484997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0" name="Titel 3">
            <a:extLst>
              <a:ext uri="{FF2B5EF4-FFF2-40B4-BE49-F238E27FC236}">
                <a16:creationId xmlns:a16="http://schemas.microsoft.com/office/drawing/2014/main" id="{532DB758-235C-32F1-258F-A7FE0B200F6F}"/>
              </a:ext>
            </a:extLst>
          </p:cNvPr>
          <p:cNvSpPr>
            <a:spLocks noGrp="1"/>
          </p:cNvSpPr>
          <p:nvPr>
            <p:ph type="title"/>
          </p:nvPr>
        </p:nvSpPr>
        <p:spPr>
          <a:xfrm>
            <a:off x="289453" y="377999"/>
            <a:ext cx="11613389" cy="702000"/>
          </a:xfrm>
        </p:spPr>
        <p:txBody>
          <a:bodyPr vert="horz"/>
          <a:lstStyle/>
          <a:p>
            <a:r>
              <a:rPr lang="en-US" dirty="0"/>
              <a:t>SVF: Conclusion</a:t>
            </a:r>
          </a:p>
        </p:txBody>
      </p:sp>
      <p:sp>
        <p:nvSpPr>
          <p:cNvPr id="5" name="Slide Number Placeholder 4">
            <a:extLst>
              <a:ext uri="{FF2B5EF4-FFF2-40B4-BE49-F238E27FC236}">
                <a16:creationId xmlns:a16="http://schemas.microsoft.com/office/drawing/2014/main" id="{799140F3-51FF-4BFA-3740-9ED0C8F499D7}"/>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043744-42FE-4892-90BA-7087481EB81E}" type="slidenum">
              <a:rPr kumimoji="0" lang="de-DE" sz="10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de-DE" sz="1000" b="0" i="0" u="none" strike="noStrike" kern="1200" cap="none" spc="0" normalizeH="0" baseline="0" noProof="0" dirty="0">
              <a:ln>
                <a:noFill/>
              </a:ln>
              <a:solidFill>
                <a:srgbClr val="000000"/>
              </a:solidFill>
              <a:effectLst/>
              <a:uLnTx/>
              <a:uFillTx/>
              <a:latin typeface="Calibri"/>
              <a:ea typeface="+mn-ea"/>
              <a:cs typeface="+mn-cs"/>
            </a:endParaRPr>
          </a:p>
        </p:txBody>
      </p:sp>
      <p:sp>
        <p:nvSpPr>
          <p:cNvPr id="3" name="TextBox 2">
            <a:extLst>
              <a:ext uri="{FF2B5EF4-FFF2-40B4-BE49-F238E27FC236}">
                <a16:creationId xmlns:a16="http://schemas.microsoft.com/office/drawing/2014/main" id="{B828C905-209C-79A0-A6FA-A3D489018C41}"/>
              </a:ext>
            </a:extLst>
          </p:cNvPr>
          <p:cNvSpPr txBox="1"/>
          <p:nvPr/>
        </p:nvSpPr>
        <p:spPr bwMode="black">
          <a:xfrm>
            <a:off x="6220750" y="6604084"/>
            <a:ext cx="5579269"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000" b="0" i="1" u="none" strike="noStrike" kern="12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mn-cs"/>
              </a:rPr>
              <a:t>Contains Trade Secrets, Confidential, Proprietary, or Privileged Information Exempt from Public Disclosure</a:t>
            </a:r>
            <a:endParaRPr kumimoji="0" lang="en-ZA" sz="1000" b="0" i="1" u="none" strike="noStrike" kern="1200" cap="none" spc="0" normalizeH="0" baseline="0" noProof="0" dirty="0">
              <a:ln>
                <a:noFill/>
              </a:ln>
              <a:solidFill>
                <a:srgbClr val="000000"/>
              </a:solidFill>
              <a:effectLst/>
              <a:uLnTx/>
              <a:uFillTx/>
              <a:latin typeface="Calibri"/>
              <a:ea typeface="+mn-ea"/>
              <a:cs typeface="+mn-cs"/>
            </a:endParaRPr>
          </a:p>
        </p:txBody>
      </p:sp>
      <p:pic>
        <p:nvPicPr>
          <p:cNvPr id="10" name="Picture 9" descr="A picture containing screenshot, graphics, graphic design, font&#10;&#10;Description automatically generated">
            <a:extLst>
              <a:ext uri="{FF2B5EF4-FFF2-40B4-BE49-F238E27FC236}">
                <a16:creationId xmlns:a16="http://schemas.microsoft.com/office/drawing/2014/main" id="{24AFB82D-EC83-D670-3CBE-FE420AAF82A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29272" y="5826031"/>
            <a:ext cx="846835" cy="731246"/>
          </a:xfrm>
          <a:prstGeom prst="rect">
            <a:avLst/>
          </a:prstGeom>
        </p:spPr>
      </p:pic>
      <p:sp>
        <p:nvSpPr>
          <p:cNvPr id="26" name="TextBox 25">
            <a:extLst>
              <a:ext uri="{FF2B5EF4-FFF2-40B4-BE49-F238E27FC236}">
                <a16:creationId xmlns:a16="http://schemas.microsoft.com/office/drawing/2014/main" id="{E6BE24C5-FE58-D69A-81A0-02DE7CE64B0D}"/>
              </a:ext>
            </a:extLst>
          </p:cNvPr>
          <p:cNvSpPr txBox="1"/>
          <p:nvPr/>
        </p:nvSpPr>
        <p:spPr>
          <a:xfrm>
            <a:off x="554854" y="872415"/>
            <a:ext cx="6478656" cy="5893921"/>
          </a:xfrm>
          <a:prstGeom prst="rect">
            <a:avLst/>
          </a:prstGeom>
          <a:noFill/>
        </p:spPr>
        <p:txBody>
          <a:bodyPr wrap="square" rtlCol="0">
            <a:spAutoFit/>
          </a:bodyPr>
          <a:lstStyle/>
          <a:p>
            <a:pPr marL="266220" marR="0" lvl="0" indent="-266220" algn="l" defTabSz="914400" rtl="0" eaLnBrk="1" fontAlgn="base" latinLnBrk="0" hangingPunct="1">
              <a:lnSpc>
                <a:spcPct val="90000"/>
              </a:lnSpc>
              <a:spcBef>
                <a:spcPts val="0"/>
              </a:spcBef>
              <a:spcAft>
                <a:spcPts val="299"/>
              </a:spcAft>
              <a:buClr>
                <a:srgbClr val="2E3135"/>
              </a:buClr>
              <a:buSzPct val="90000"/>
              <a:buFont typeface="Wingdings" panose="05000000000000000000" pitchFamily="2" charset="2"/>
              <a:buChar char="u"/>
              <a:tabLst/>
              <a:defRPr/>
            </a:pPr>
            <a:r>
              <a:rPr kumimoji="0" lang="en-ZA" sz="2000" b="1" i="0" u="none" strike="noStrike" kern="1200" cap="none" spc="0" normalizeH="0" baseline="0" noProof="0" dirty="0">
                <a:ln>
                  <a:noFill/>
                </a:ln>
                <a:solidFill>
                  <a:srgbClr val="0070C0"/>
                </a:solidFill>
                <a:effectLst/>
                <a:uLnTx/>
                <a:uFillTx/>
                <a:latin typeface="Calibri"/>
                <a:ea typeface="+mn-ea"/>
                <a:cs typeface="Arial" panose="020B0604020202020204" pitchFamily="34" charset="0"/>
              </a:rPr>
              <a:t>Turning a “waste” into a “product”!</a:t>
            </a:r>
          </a:p>
          <a:p>
            <a:pPr marL="266220" marR="0" lvl="0" indent="-266220" algn="l" defTabSz="914400" rtl="0" eaLnBrk="1" fontAlgn="base" latinLnBrk="0" hangingPunct="1">
              <a:lnSpc>
                <a:spcPct val="90000"/>
              </a:lnSpc>
              <a:spcBef>
                <a:spcPts val="0"/>
              </a:spcBef>
              <a:spcAft>
                <a:spcPts val="299"/>
              </a:spcAft>
              <a:buClr>
                <a:srgbClr val="2E3135"/>
              </a:buClr>
              <a:buSzPct val="90000"/>
              <a:buFont typeface="Wingdings" panose="05000000000000000000" pitchFamily="2" charset="2"/>
              <a:buChar char="u"/>
              <a:tabLst/>
              <a:defRPr/>
            </a:pPr>
            <a:endParaRPr lang="en-ZA" sz="2000" b="1" dirty="0">
              <a:solidFill>
                <a:srgbClr val="0070C0"/>
              </a:solidFill>
              <a:latin typeface="Calibri"/>
              <a:ea typeface="+mn-ea"/>
              <a:cs typeface="Arial" panose="020B0604020202020204" pitchFamily="34" charset="0"/>
            </a:endParaRPr>
          </a:p>
          <a:p>
            <a:pPr marL="266220" marR="0" lvl="0" indent="-266220" algn="l" defTabSz="914400" rtl="0" eaLnBrk="1" fontAlgn="base" latinLnBrk="0" hangingPunct="1">
              <a:lnSpc>
                <a:spcPct val="90000"/>
              </a:lnSpc>
              <a:spcBef>
                <a:spcPts val="0"/>
              </a:spcBef>
              <a:spcAft>
                <a:spcPts val="299"/>
              </a:spcAft>
              <a:buClr>
                <a:srgbClr val="2E3135"/>
              </a:buClr>
              <a:buSzPct val="90000"/>
              <a:buFont typeface="Wingdings" panose="05000000000000000000" pitchFamily="2" charset="2"/>
              <a:buChar char="u"/>
              <a:tabLst/>
              <a:defRPr/>
            </a:pPr>
            <a:r>
              <a:rPr kumimoji="0" lang="en-ZA" sz="2000" b="1" i="0" u="none" strike="noStrike" kern="1200" cap="none" spc="0" normalizeH="0" baseline="0" noProof="0" dirty="0">
                <a:ln>
                  <a:noFill/>
                </a:ln>
                <a:solidFill>
                  <a:srgbClr val="0070C0"/>
                </a:solidFill>
                <a:effectLst/>
                <a:uLnTx/>
                <a:uFillTx/>
                <a:latin typeface="Calibri"/>
                <a:ea typeface="+mn-ea"/>
                <a:cs typeface="Arial" panose="020B0604020202020204" pitchFamily="34" charset="0"/>
              </a:rPr>
              <a:t>Improving the EAF steelmaking process efficiency!</a:t>
            </a:r>
          </a:p>
          <a:p>
            <a:pPr marL="266220" marR="0" lvl="0" indent="-266220" algn="l" defTabSz="914400" rtl="0" eaLnBrk="1" fontAlgn="base" latinLnBrk="0" hangingPunct="1">
              <a:lnSpc>
                <a:spcPct val="90000"/>
              </a:lnSpc>
              <a:spcBef>
                <a:spcPts val="0"/>
              </a:spcBef>
              <a:spcAft>
                <a:spcPts val="299"/>
              </a:spcAft>
              <a:buClr>
                <a:srgbClr val="2E3135"/>
              </a:buClr>
              <a:buSzPct val="90000"/>
              <a:buFont typeface="Wingdings" panose="05000000000000000000" pitchFamily="2" charset="2"/>
              <a:buChar char="u"/>
              <a:tabLst/>
              <a:defRPr/>
            </a:pPr>
            <a:endParaRPr kumimoji="0" lang="en-ZA" sz="2000" b="1" i="0" u="none" strike="noStrike" kern="1200" cap="none" spc="0" normalizeH="0" baseline="0" noProof="0" dirty="0">
              <a:ln>
                <a:noFill/>
              </a:ln>
              <a:solidFill>
                <a:srgbClr val="0070C0"/>
              </a:solidFill>
              <a:effectLst/>
              <a:uLnTx/>
              <a:uFillTx/>
              <a:latin typeface="Calibri"/>
              <a:ea typeface="+mn-ea"/>
              <a:cs typeface="Arial" panose="020B0604020202020204" pitchFamily="34" charset="0"/>
            </a:endParaRPr>
          </a:p>
          <a:p>
            <a:pPr marL="266220" marR="0" lvl="0" indent="-266220" algn="l" defTabSz="914400" rtl="0" eaLnBrk="1" fontAlgn="base" latinLnBrk="0" hangingPunct="1">
              <a:lnSpc>
                <a:spcPct val="90000"/>
              </a:lnSpc>
              <a:spcBef>
                <a:spcPts val="0"/>
              </a:spcBef>
              <a:spcAft>
                <a:spcPts val="299"/>
              </a:spcAft>
              <a:buClr>
                <a:srgbClr val="2E3135"/>
              </a:buClr>
              <a:buSzPct val="90000"/>
              <a:buFont typeface="Wingdings" panose="05000000000000000000" pitchFamily="2" charset="2"/>
              <a:buChar char="u"/>
              <a:tabLst/>
              <a:defRPr/>
            </a:pPr>
            <a:r>
              <a:rPr kumimoji="0" lang="en-ZA" sz="2000" b="1" i="0" u="none" strike="noStrike" kern="1200" cap="none" spc="0" normalizeH="0" baseline="0" noProof="0" dirty="0">
                <a:ln>
                  <a:noFill/>
                </a:ln>
                <a:solidFill>
                  <a:srgbClr val="0070C0"/>
                </a:solidFill>
                <a:effectLst/>
                <a:uLnTx/>
                <a:uFillTx/>
                <a:latin typeface="Calibri"/>
                <a:ea typeface="+mn-ea"/>
                <a:cs typeface="Arial" panose="020B0604020202020204" pitchFamily="34" charset="0"/>
              </a:rPr>
              <a:t>Strong potential for SVF application to produce SCM slag!</a:t>
            </a:r>
          </a:p>
          <a:p>
            <a:pPr marL="266220" marR="0" lvl="0" indent="-266220" algn="l" defTabSz="914400" rtl="0" eaLnBrk="1" fontAlgn="base" latinLnBrk="0" hangingPunct="1">
              <a:lnSpc>
                <a:spcPct val="90000"/>
              </a:lnSpc>
              <a:spcBef>
                <a:spcPts val="0"/>
              </a:spcBef>
              <a:spcAft>
                <a:spcPts val="299"/>
              </a:spcAft>
              <a:buClr>
                <a:srgbClr val="2E3135"/>
              </a:buClr>
              <a:buSzPct val="90000"/>
              <a:buFont typeface="Wingdings" panose="05000000000000000000" pitchFamily="2" charset="2"/>
              <a:buChar char="u"/>
              <a:tabLst/>
              <a:defRPr/>
            </a:pPr>
            <a:endParaRPr kumimoji="0" lang="en-ZA" sz="2000" b="1" i="0" u="none" strike="noStrike" kern="1200" cap="none" spc="0" normalizeH="0" baseline="0" noProof="0" dirty="0">
              <a:ln>
                <a:noFill/>
              </a:ln>
              <a:solidFill>
                <a:srgbClr val="0070C0"/>
              </a:solidFill>
              <a:effectLst/>
              <a:uLnTx/>
              <a:uFillTx/>
              <a:latin typeface="Calibri"/>
              <a:ea typeface="+mn-ea"/>
              <a:cs typeface="Arial" panose="020B0604020202020204" pitchFamily="34" charset="0"/>
            </a:endParaRPr>
          </a:p>
          <a:p>
            <a:pPr marL="266220" marR="0" lvl="0" indent="-266220" algn="l" defTabSz="914400" rtl="0" eaLnBrk="1" fontAlgn="base" latinLnBrk="0" hangingPunct="1">
              <a:lnSpc>
                <a:spcPct val="90000"/>
              </a:lnSpc>
              <a:spcBef>
                <a:spcPts val="0"/>
              </a:spcBef>
              <a:spcAft>
                <a:spcPts val="299"/>
              </a:spcAft>
              <a:buClr>
                <a:srgbClr val="2E3135"/>
              </a:buClr>
              <a:buSzPct val="90000"/>
              <a:buFont typeface="Wingdings" panose="05000000000000000000" pitchFamily="2" charset="2"/>
              <a:buChar char="u"/>
              <a:tabLst/>
              <a:defRPr/>
            </a:pPr>
            <a:r>
              <a:rPr lang="en-ZA" sz="2000" b="1" dirty="0">
                <a:solidFill>
                  <a:srgbClr val="0070C0"/>
                </a:solidFill>
                <a:latin typeface="Calibri"/>
                <a:ea typeface="+mn-ea"/>
                <a:cs typeface="Arial" panose="020B0604020202020204" pitchFamily="34" charset="0"/>
              </a:rPr>
              <a:t>Lucrative project payback (~3-years on average)!</a:t>
            </a:r>
          </a:p>
          <a:p>
            <a:pPr marL="266220" marR="0" lvl="0" indent="-266220" algn="l" defTabSz="914400" rtl="0" eaLnBrk="1" fontAlgn="base" latinLnBrk="0" hangingPunct="1">
              <a:lnSpc>
                <a:spcPct val="90000"/>
              </a:lnSpc>
              <a:spcBef>
                <a:spcPts val="0"/>
              </a:spcBef>
              <a:spcAft>
                <a:spcPts val="299"/>
              </a:spcAft>
              <a:buClr>
                <a:srgbClr val="2E3135"/>
              </a:buClr>
              <a:buSzPct val="90000"/>
              <a:buFont typeface="Wingdings" panose="05000000000000000000" pitchFamily="2" charset="2"/>
              <a:buChar char="u"/>
              <a:tabLst/>
              <a:defRPr/>
            </a:pPr>
            <a:endParaRPr lang="en-ZA" sz="2000" b="1" dirty="0">
              <a:solidFill>
                <a:srgbClr val="0070C0"/>
              </a:solidFill>
              <a:latin typeface="Calibri"/>
              <a:ea typeface="+mn-ea"/>
              <a:cs typeface="Arial" panose="020B0604020202020204" pitchFamily="34" charset="0"/>
            </a:endParaRPr>
          </a:p>
          <a:p>
            <a:pPr marL="266220" marR="0" lvl="0" indent="-266220" algn="l" defTabSz="914400" rtl="0" eaLnBrk="1" fontAlgn="base" latinLnBrk="0" hangingPunct="1">
              <a:lnSpc>
                <a:spcPct val="90000"/>
              </a:lnSpc>
              <a:spcBef>
                <a:spcPts val="0"/>
              </a:spcBef>
              <a:spcAft>
                <a:spcPts val="299"/>
              </a:spcAft>
              <a:buClr>
                <a:srgbClr val="2E3135"/>
              </a:buClr>
              <a:buSzPct val="90000"/>
              <a:buFont typeface="Wingdings" panose="05000000000000000000" pitchFamily="2" charset="2"/>
              <a:buChar char="u"/>
              <a:tabLst/>
              <a:defRPr/>
            </a:pPr>
            <a:r>
              <a:rPr lang="en-US" sz="2000" b="1" dirty="0">
                <a:solidFill>
                  <a:srgbClr val="0070C0"/>
                </a:solidFill>
                <a:latin typeface="Calibri"/>
                <a:ea typeface="+mn-ea"/>
                <a:cs typeface="Arial" panose="020B0604020202020204" pitchFamily="34" charset="0"/>
              </a:rPr>
              <a:t>SVF efficiency increase proportionally to higher throughput (</a:t>
            </a:r>
            <a:r>
              <a:rPr lang="en-US" sz="2000" b="1" dirty="0" err="1">
                <a:solidFill>
                  <a:srgbClr val="0070C0"/>
                </a:solidFill>
                <a:latin typeface="Calibri"/>
                <a:ea typeface="+mn-ea"/>
                <a:cs typeface="Arial" panose="020B0604020202020204" pitchFamily="34" charset="0"/>
              </a:rPr>
              <a:t>ie</a:t>
            </a:r>
            <a:r>
              <a:rPr lang="en-US" sz="2000" b="1" dirty="0">
                <a:solidFill>
                  <a:srgbClr val="0070C0"/>
                </a:solidFill>
                <a:latin typeface="Calibri"/>
                <a:ea typeface="+mn-ea"/>
                <a:cs typeface="Arial" panose="020B0604020202020204" pitchFamily="34" charset="0"/>
              </a:rPr>
              <a:t>; operating MW)!</a:t>
            </a:r>
          </a:p>
          <a:p>
            <a:pPr marL="266220" marR="0" lvl="0" indent="-266220" algn="l" defTabSz="914400" rtl="0" eaLnBrk="1" fontAlgn="base" latinLnBrk="0" hangingPunct="1">
              <a:lnSpc>
                <a:spcPct val="90000"/>
              </a:lnSpc>
              <a:spcBef>
                <a:spcPts val="0"/>
              </a:spcBef>
              <a:spcAft>
                <a:spcPts val="299"/>
              </a:spcAft>
              <a:buClr>
                <a:srgbClr val="2E3135"/>
              </a:buClr>
              <a:buSzPct val="90000"/>
              <a:buFont typeface="Wingdings" panose="05000000000000000000" pitchFamily="2" charset="2"/>
              <a:buChar char="u"/>
              <a:tabLst/>
              <a:defRPr/>
            </a:pPr>
            <a:endParaRPr lang="en-US" sz="2000" b="1" dirty="0">
              <a:solidFill>
                <a:srgbClr val="0070C0"/>
              </a:solidFill>
              <a:latin typeface="Calibri"/>
              <a:ea typeface="+mn-ea"/>
              <a:cs typeface="Arial" panose="020B0604020202020204" pitchFamily="34" charset="0"/>
            </a:endParaRPr>
          </a:p>
          <a:p>
            <a:pPr marL="266220" marR="0" lvl="0" indent="-266220" algn="l" defTabSz="914400" rtl="0" eaLnBrk="1" fontAlgn="base" latinLnBrk="0" hangingPunct="1">
              <a:lnSpc>
                <a:spcPct val="90000"/>
              </a:lnSpc>
              <a:spcBef>
                <a:spcPts val="0"/>
              </a:spcBef>
              <a:spcAft>
                <a:spcPts val="299"/>
              </a:spcAft>
              <a:buClr>
                <a:srgbClr val="2E3135"/>
              </a:buClr>
              <a:buSzPct val="90000"/>
              <a:buFont typeface="Wingdings" panose="05000000000000000000" pitchFamily="2" charset="2"/>
              <a:buChar char="u"/>
              <a:tabLst/>
              <a:defRPr/>
            </a:pPr>
            <a:r>
              <a:rPr lang="en-US" sz="2000" b="1" dirty="0">
                <a:solidFill>
                  <a:srgbClr val="0070C0"/>
                </a:solidFill>
                <a:latin typeface="Calibri"/>
                <a:ea typeface="+mn-ea"/>
                <a:cs typeface="Arial" panose="020B0604020202020204" pitchFamily="34" charset="0"/>
              </a:rPr>
              <a:t>Tailored solution and integration to existing facilities!</a:t>
            </a:r>
          </a:p>
          <a:p>
            <a:pPr marL="266220" marR="0" lvl="0" indent="-266220" algn="l" defTabSz="914400" rtl="0" eaLnBrk="1" fontAlgn="base" latinLnBrk="0" hangingPunct="1">
              <a:lnSpc>
                <a:spcPct val="90000"/>
              </a:lnSpc>
              <a:spcBef>
                <a:spcPts val="0"/>
              </a:spcBef>
              <a:spcAft>
                <a:spcPts val="299"/>
              </a:spcAft>
              <a:buClr>
                <a:srgbClr val="2E3135"/>
              </a:buClr>
              <a:buSzPct val="90000"/>
              <a:buFont typeface="Wingdings" panose="05000000000000000000" pitchFamily="2" charset="2"/>
              <a:buChar char="u"/>
              <a:tabLst/>
              <a:defRPr/>
            </a:pPr>
            <a:endParaRPr lang="en-ZA" sz="2000" b="1" dirty="0">
              <a:solidFill>
                <a:srgbClr val="0070C0"/>
              </a:solidFill>
              <a:latin typeface="Calibri"/>
              <a:ea typeface="+mn-ea"/>
              <a:cs typeface="Arial" panose="020B0604020202020204" pitchFamily="34" charset="0"/>
            </a:endParaRPr>
          </a:p>
          <a:p>
            <a:pPr marL="266220" marR="0" lvl="0" indent="-266220" algn="l" defTabSz="914400" rtl="0" eaLnBrk="1" fontAlgn="base" latinLnBrk="0" hangingPunct="1">
              <a:lnSpc>
                <a:spcPct val="90000"/>
              </a:lnSpc>
              <a:spcBef>
                <a:spcPts val="0"/>
              </a:spcBef>
              <a:spcAft>
                <a:spcPts val="299"/>
              </a:spcAft>
              <a:buClr>
                <a:srgbClr val="2E3135"/>
              </a:buClr>
              <a:buSzPct val="90000"/>
              <a:buFont typeface="Wingdings" panose="05000000000000000000" pitchFamily="2" charset="2"/>
              <a:buChar char="u"/>
              <a:tabLst/>
              <a:defRPr/>
            </a:pPr>
            <a:r>
              <a:rPr lang="en-ZA" sz="2000" b="1" dirty="0">
                <a:solidFill>
                  <a:srgbClr val="0070C0"/>
                </a:solidFill>
                <a:latin typeface="Calibri"/>
                <a:ea typeface="+mn-ea"/>
                <a:cs typeface="Arial" panose="020B0604020202020204" pitchFamily="34" charset="0"/>
              </a:rPr>
              <a:t>Derisking done through extensive investigation, modelling, and physical test campaigns!</a:t>
            </a:r>
          </a:p>
          <a:p>
            <a:pPr marL="266220" marR="0" lvl="0" indent="-266220" algn="l" defTabSz="914400" rtl="0" eaLnBrk="1" fontAlgn="base" latinLnBrk="0" hangingPunct="1">
              <a:lnSpc>
                <a:spcPct val="90000"/>
              </a:lnSpc>
              <a:spcBef>
                <a:spcPts val="0"/>
              </a:spcBef>
              <a:spcAft>
                <a:spcPts val="299"/>
              </a:spcAft>
              <a:buClr>
                <a:srgbClr val="2E3135"/>
              </a:buClr>
              <a:buSzPct val="90000"/>
              <a:buFont typeface="Wingdings" panose="05000000000000000000" pitchFamily="2" charset="2"/>
              <a:buChar char="u"/>
              <a:tabLst/>
              <a:defRPr/>
            </a:pPr>
            <a:endParaRPr kumimoji="0" lang="en-ZA" sz="2000" b="1" i="0" u="none" strike="noStrike" kern="1200" cap="none" spc="0" normalizeH="0" baseline="0" noProof="0" dirty="0">
              <a:ln>
                <a:noFill/>
              </a:ln>
              <a:solidFill>
                <a:srgbClr val="0070C0"/>
              </a:solidFill>
              <a:effectLst/>
              <a:uLnTx/>
              <a:uFillTx/>
              <a:latin typeface="Calibri"/>
              <a:ea typeface="+mn-ea"/>
              <a:cs typeface="Arial" panose="020B0604020202020204" pitchFamily="34" charset="0"/>
            </a:endParaRPr>
          </a:p>
          <a:p>
            <a:pPr marL="266220" marR="0" lvl="0" indent="-266220" algn="l" defTabSz="914400" rtl="0" eaLnBrk="1" fontAlgn="base" latinLnBrk="0" hangingPunct="1">
              <a:lnSpc>
                <a:spcPct val="90000"/>
              </a:lnSpc>
              <a:spcBef>
                <a:spcPts val="0"/>
              </a:spcBef>
              <a:spcAft>
                <a:spcPts val="299"/>
              </a:spcAft>
              <a:buClr>
                <a:srgbClr val="2E3135"/>
              </a:buClr>
              <a:buSzPct val="90000"/>
              <a:buFont typeface="Wingdings" panose="05000000000000000000" pitchFamily="2" charset="2"/>
              <a:buChar char="u"/>
              <a:tabLst/>
              <a:defRPr/>
            </a:pPr>
            <a:r>
              <a:rPr kumimoji="0" lang="en-ZA" sz="2000" b="1" i="0" u="none" strike="noStrike" kern="1200" cap="none" spc="0" normalizeH="0" baseline="0" noProof="0" dirty="0">
                <a:ln>
                  <a:noFill/>
                </a:ln>
                <a:solidFill>
                  <a:srgbClr val="0070C0"/>
                </a:solidFill>
                <a:effectLst/>
                <a:uLnTx/>
                <a:uFillTx/>
                <a:latin typeface="Calibri"/>
                <a:ea typeface="+mn-ea"/>
                <a:cs typeface="Arial" panose="020B0604020202020204" pitchFamily="34" charset="0"/>
              </a:rPr>
              <a:t>Furnace fundamental design industrialised utilising proven and robust equipment from other industries and commodity application!</a:t>
            </a:r>
          </a:p>
        </p:txBody>
      </p:sp>
      <p:pic>
        <p:nvPicPr>
          <p:cNvPr id="6" name="Picture 5" descr="A group of circles with different colors&#10;&#10;AI-generated content may be incorrect.">
            <a:extLst>
              <a:ext uri="{FF2B5EF4-FFF2-40B4-BE49-F238E27FC236}">
                <a16:creationId xmlns:a16="http://schemas.microsoft.com/office/drawing/2014/main" id="{4920E340-E852-99CE-2B1B-4C6A7C395DEB}"/>
              </a:ext>
            </a:extLst>
          </p:cNvPr>
          <p:cNvPicPr>
            <a:picLocks noChangeAspect="1"/>
          </p:cNvPicPr>
          <p:nvPr/>
        </p:nvPicPr>
        <p:blipFill>
          <a:blip r:embed="rId6"/>
          <a:stretch>
            <a:fillRect/>
          </a:stretch>
        </p:blipFill>
        <p:spPr>
          <a:xfrm>
            <a:off x="9479962" y="6257031"/>
            <a:ext cx="1633038" cy="222970"/>
          </a:xfrm>
          <a:prstGeom prst="rect">
            <a:avLst/>
          </a:prstGeom>
        </p:spPr>
      </p:pic>
    </p:spTree>
    <p:extLst>
      <p:ext uri="{BB962C8B-B14F-4D97-AF65-F5344CB8AC3E}">
        <p14:creationId xmlns:p14="http://schemas.microsoft.com/office/powerpoint/2010/main" val="36681545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06169595-E2E4-4A9D-B6F2-5CC8DF61415D}"/>
              </a:ext>
            </a:extLst>
          </p:cNvPr>
          <p:cNvPicPr>
            <a:picLocks noGrp="1" noChangeAspect="1"/>
          </p:cNvPicPr>
          <p:nvPr>
            <p:ph idx="1"/>
          </p:nvPr>
        </p:nvPicPr>
        <p:blipFill>
          <a:blip r:embed="rId2">
            <a:extLst>
              <a:ext uri="{28A0092B-C50C-407E-A947-70E740481C1C}">
                <a14:useLocalDpi xmlns:a14="http://schemas.microsoft.com/office/drawing/2010/main" val="0"/>
              </a:ext>
            </a:extLst>
          </a:blip>
          <a:srcRect l="16" r="16"/>
          <a:stretch/>
        </p:blipFill>
        <p:spPr>
          <a:xfrm>
            <a:off x="0" y="0"/>
            <a:ext cx="10086392" cy="6857990"/>
          </a:xfrm>
          <a:custGeom>
            <a:avLst/>
            <a:gdLst/>
            <a:ahLst/>
            <a:cxnLst/>
            <a:rect l="l" t="t" r="r" b="b"/>
            <a:pathLst>
              <a:path w="12009304" h="6858000">
                <a:moveTo>
                  <a:pt x="8239723" y="5083103"/>
                </a:moveTo>
                <a:cubicBezTo>
                  <a:pt x="8239723" y="5083103"/>
                  <a:pt x="8239723" y="5083103"/>
                  <a:pt x="9505105" y="5083103"/>
                </a:cubicBezTo>
                <a:cubicBezTo>
                  <a:pt x="9525601" y="5083103"/>
                  <a:pt x="9545588" y="5085825"/>
                  <a:pt x="9564676" y="5091016"/>
                </a:cubicBezTo>
                <a:lnTo>
                  <a:pt x="9605648" y="5108194"/>
                </a:lnTo>
                <a:lnTo>
                  <a:pt x="9580608" y="5151499"/>
                </a:lnTo>
                <a:cubicBezTo>
                  <a:pt x="9354208" y="5543062"/>
                  <a:pt x="9064418" y="6044264"/>
                  <a:pt x="8693486" y="6685800"/>
                </a:cubicBezTo>
                <a:cubicBezTo>
                  <a:pt x="8665958" y="6733339"/>
                  <a:pt x="8632925" y="6776306"/>
                  <a:pt x="8595419" y="6814017"/>
                </a:cubicBezTo>
                <a:lnTo>
                  <a:pt x="8545620" y="6858000"/>
                </a:lnTo>
                <a:lnTo>
                  <a:pt x="7612173" y="6858000"/>
                </a:lnTo>
                <a:lnTo>
                  <a:pt x="7591825" y="6822959"/>
                </a:lnTo>
                <a:cubicBezTo>
                  <a:pt x="7538315" y="6730809"/>
                  <a:pt x="7478495" y="6627794"/>
                  <a:pt x="7411622" y="6512633"/>
                </a:cubicBezTo>
                <a:cubicBezTo>
                  <a:pt x="7370628" y="6444560"/>
                  <a:pt x="7370628" y="6357427"/>
                  <a:pt x="7411622" y="6289354"/>
                </a:cubicBezTo>
                <a:cubicBezTo>
                  <a:pt x="7411622" y="6289354"/>
                  <a:pt x="7411622" y="6289354"/>
                  <a:pt x="8045680" y="5197465"/>
                </a:cubicBezTo>
                <a:cubicBezTo>
                  <a:pt x="8083943" y="5126669"/>
                  <a:pt x="8160465" y="5083103"/>
                  <a:pt x="8239723" y="5083103"/>
                </a:cubicBezTo>
                <a:close/>
                <a:moveTo>
                  <a:pt x="10622296" y="1326563"/>
                </a:moveTo>
                <a:cubicBezTo>
                  <a:pt x="10622296" y="1326563"/>
                  <a:pt x="10622296" y="1326563"/>
                  <a:pt x="11448522" y="1326563"/>
                </a:cubicBezTo>
                <a:cubicBezTo>
                  <a:pt x="11502058" y="1326563"/>
                  <a:pt x="11550238" y="1355009"/>
                  <a:pt x="11577006" y="1401233"/>
                </a:cubicBezTo>
                <a:cubicBezTo>
                  <a:pt x="11577006" y="1401233"/>
                  <a:pt x="11577006" y="1401233"/>
                  <a:pt x="11989228" y="2114179"/>
                </a:cubicBezTo>
                <a:cubicBezTo>
                  <a:pt x="12015996" y="2158629"/>
                  <a:pt x="12015996" y="2215522"/>
                  <a:pt x="11989228" y="2259969"/>
                </a:cubicBezTo>
                <a:cubicBezTo>
                  <a:pt x="11989228" y="2259969"/>
                  <a:pt x="11989228" y="2259969"/>
                  <a:pt x="11577006" y="2972914"/>
                </a:cubicBezTo>
                <a:cubicBezTo>
                  <a:pt x="11550238" y="3019141"/>
                  <a:pt x="11502058" y="3047587"/>
                  <a:pt x="11448522" y="3047587"/>
                </a:cubicBezTo>
                <a:cubicBezTo>
                  <a:pt x="11448522" y="3047587"/>
                  <a:pt x="11448522" y="3047587"/>
                  <a:pt x="10622296" y="3047587"/>
                </a:cubicBezTo>
                <a:cubicBezTo>
                  <a:pt x="10570544" y="3047587"/>
                  <a:pt x="10520578" y="3019141"/>
                  <a:pt x="10495594" y="2972914"/>
                </a:cubicBezTo>
                <a:cubicBezTo>
                  <a:pt x="10495594" y="2972914"/>
                  <a:pt x="10495594" y="2972914"/>
                  <a:pt x="10081589" y="2259969"/>
                </a:cubicBezTo>
                <a:cubicBezTo>
                  <a:pt x="10054821" y="2215522"/>
                  <a:pt x="10054821" y="2158629"/>
                  <a:pt x="10081589" y="2114179"/>
                </a:cubicBezTo>
                <a:cubicBezTo>
                  <a:pt x="10081589" y="2114179"/>
                  <a:pt x="10081589" y="2114179"/>
                  <a:pt x="10495594" y="1401233"/>
                </a:cubicBezTo>
                <a:cubicBezTo>
                  <a:pt x="10520578" y="1355009"/>
                  <a:pt x="10570544" y="1326563"/>
                  <a:pt x="10622296" y="1326563"/>
                </a:cubicBezTo>
                <a:close/>
                <a:moveTo>
                  <a:pt x="0" y="0"/>
                </a:moveTo>
                <a:lnTo>
                  <a:pt x="4457990" y="0"/>
                </a:lnTo>
                <a:lnTo>
                  <a:pt x="5902610" y="0"/>
                </a:lnTo>
                <a:lnTo>
                  <a:pt x="8476869" y="0"/>
                </a:lnTo>
                <a:lnTo>
                  <a:pt x="8535933" y="39849"/>
                </a:lnTo>
                <a:cubicBezTo>
                  <a:pt x="8598516" y="88273"/>
                  <a:pt x="8652195" y="149296"/>
                  <a:pt x="8693486" y="220603"/>
                </a:cubicBezTo>
                <a:cubicBezTo>
                  <a:pt x="8693486" y="220603"/>
                  <a:pt x="8693486" y="220603"/>
                  <a:pt x="10389180" y="3153347"/>
                </a:cubicBezTo>
                <a:cubicBezTo>
                  <a:pt x="10499291" y="3336185"/>
                  <a:pt x="10499291" y="3570221"/>
                  <a:pt x="10389180" y="3753061"/>
                </a:cubicBezTo>
                <a:cubicBezTo>
                  <a:pt x="10389180" y="3753061"/>
                  <a:pt x="10389180" y="3753061"/>
                  <a:pt x="9759557" y="4842009"/>
                </a:cubicBezTo>
                <a:lnTo>
                  <a:pt x="9706493" y="4933778"/>
                </a:lnTo>
                <a:lnTo>
                  <a:pt x="9708360" y="4934561"/>
                </a:lnTo>
                <a:cubicBezTo>
                  <a:pt x="9746510" y="4956830"/>
                  <a:pt x="9778880" y="4989078"/>
                  <a:pt x="9802002" y="5029008"/>
                </a:cubicBezTo>
                <a:cubicBezTo>
                  <a:pt x="9802002" y="5029008"/>
                  <a:pt x="9802002" y="5029008"/>
                  <a:pt x="10514131" y="6260653"/>
                </a:cubicBezTo>
                <a:cubicBezTo>
                  <a:pt x="10560376" y="6337439"/>
                  <a:pt x="10560376" y="6435725"/>
                  <a:pt x="10514131" y="6512512"/>
                </a:cubicBezTo>
                <a:cubicBezTo>
                  <a:pt x="10514131" y="6512512"/>
                  <a:pt x="10514131" y="6512512"/>
                  <a:pt x="10340271" y="6813206"/>
                </a:cubicBezTo>
                <a:lnTo>
                  <a:pt x="10314372" y="6858000"/>
                </a:lnTo>
                <a:lnTo>
                  <a:pt x="10119136" y="6858000"/>
                </a:lnTo>
                <a:lnTo>
                  <a:pt x="10122008" y="6853033"/>
                </a:lnTo>
                <a:cubicBezTo>
                  <a:pt x="10327158" y="6498223"/>
                  <a:pt x="10327158" y="6498223"/>
                  <a:pt x="10327158" y="6498223"/>
                </a:cubicBezTo>
                <a:cubicBezTo>
                  <a:pt x="10368154" y="6430148"/>
                  <a:pt x="10368154" y="6343015"/>
                  <a:pt x="10327158" y="6274942"/>
                </a:cubicBezTo>
                <a:cubicBezTo>
                  <a:pt x="9695832" y="5183053"/>
                  <a:pt x="9695832" y="5183053"/>
                  <a:pt x="9695832" y="5183053"/>
                </a:cubicBezTo>
                <a:cubicBezTo>
                  <a:pt x="9675334" y="5147654"/>
                  <a:pt x="9646640" y="5119063"/>
                  <a:pt x="9612819" y="5099323"/>
                </a:cubicBezTo>
                <a:lnTo>
                  <a:pt x="9603213" y="5095298"/>
                </a:lnTo>
                <a:lnTo>
                  <a:pt x="9654707" y="5006238"/>
                </a:lnTo>
                <a:lnTo>
                  <a:pt x="9693004" y="4940002"/>
                </a:lnTo>
                <a:lnTo>
                  <a:pt x="9653283" y="4923348"/>
                </a:lnTo>
                <a:cubicBezTo>
                  <a:pt x="9631750" y="4917491"/>
                  <a:pt x="9609208" y="4914420"/>
                  <a:pt x="9586087" y="4914420"/>
                </a:cubicBezTo>
                <a:cubicBezTo>
                  <a:pt x="8158743" y="4914420"/>
                  <a:pt x="8158743" y="4914420"/>
                  <a:pt x="8158743" y="4914420"/>
                </a:cubicBezTo>
                <a:cubicBezTo>
                  <a:pt x="8069341" y="4914420"/>
                  <a:pt x="7983024" y="4963563"/>
                  <a:pt x="7939863" y="5043420"/>
                </a:cubicBezTo>
                <a:cubicBezTo>
                  <a:pt x="7224650" y="6275065"/>
                  <a:pt x="7224650" y="6275065"/>
                  <a:pt x="7224650" y="6275065"/>
                </a:cubicBezTo>
                <a:cubicBezTo>
                  <a:pt x="7178407" y="6351849"/>
                  <a:pt x="7178407" y="6450135"/>
                  <a:pt x="7224650" y="6526922"/>
                </a:cubicBezTo>
                <a:cubicBezTo>
                  <a:pt x="7269350" y="6603900"/>
                  <a:pt x="7311257" y="6676067"/>
                  <a:pt x="7350544" y="6743723"/>
                </a:cubicBezTo>
                <a:lnTo>
                  <a:pt x="7416905" y="6858000"/>
                </a:lnTo>
                <a:lnTo>
                  <a:pt x="5902610" y="6858000"/>
                </a:lnTo>
                <a:lnTo>
                  <a:pt x="4389358" y="6858000"/>
                </a:lnTo>
                <a:lnTo>
                  <a:pt x="0" y="6858000"/>
                </a:lnTo>
                <a:close/>
              </a:path>
            </a:pathLst>
          </a:custGeom>
        </p:spPr>
      </p:pic>
      <p:sp>
        <p:nvSpPr>
          <p:cNvPr id="5" name="Rectangle 4">
            <a:extLst>
              <a:ext uri="{FF2B5EF4-FFF2-40B4-BE49-F238E27FC236}">
                <a16:creationId xmlns:a16="http://schemas.microsoft.com/office/drawing/2014/main" id="{491C2CCB-DB62-4E92-B81E-EC60A2C3C109}"/>
              </a:ext>
            </a:extLst>
          </p:cNvPr>
          <p:cNvSpPr/>
          <p:nvPr/>
        </p:nvSpPr>
        <p:spPr>
          <a:xfrm>
            <a:off x="96467" y="161197"/>
            <a:ext cx="2995983" cy="1646605"/>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800" b="1" i="1" u="none" strike="noStrike" kern="0" cap="none" spc="0" normalizeH="0" baseline="0" noProof="0" dirty="0">
                <a:ln>
                  <a:noFill/>
                </a:ln>
                <a:solidFill>
                  <a:srgbClr val="FFFFFF"/>
                </a:solidFill>
                <a:effectLst/>
                <a:uLnTx/>
                <a:uFillTx/>
                <a:latin typeface="Calibri"/>
                <a:ea typeface="+mn-ea"/>
                <a:cs typeface="+mn-cs"/>
              </a:rPr>
              <a:t>METIX (PTY) LIMITED</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300" b="1" i="1" u="none" strike="noStrike" kern="0" cap="none" spc="0" normalizeH="0" baseline="0" noProof="0" dirty="0">
              <a:ln>
                <a:noFill/>
              </a:ln>
              <a:solidFill>
                <a:srgbClr val="FFFFFF"/>
              </a:solidFill>
              <a:effectLst/>
              <a:highlight>
                <a:srgbClr val="FFFF00"/>
              </a:highlight>
              <a:uLnTx/>
              <a:uFillTx/>
              <a:latin typeface="Calibri"/>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0" i="1" u="none" strike="noStrike" kern="0" cap="none" spc="0" normalizeH="0" baseline="0" noProof="0" dirty="0">
                <a:ln>
                  <a:noFill/>
                </a:ln>
                <a:solidFill>
                  <a:srgbClr val="FFFFFF"/>
                </a:solidFill>
                <a:effectLst/>
                <a:uLnTx/>
                <a:uFillTx/>
                <a:latin typeface="Calibri"/>
                <a:ea typeface="+mn-ea"/>
                <a:cs typeface="+mn-cs"/>
              </a:rPr>
              <a:t>Zak van der Westhuizen</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0" i="1" u="none" strike="noStrike" kern="0" cap="none" spc="0" normalizeH="0" baseline="0" noProof="0" dirty="0">
                <a:ln>
                  <a:noFill/>
                </a:ln>
                <a:solidFill>
                  <a:srgbClr val="FFFFFF"/>
                </a:solidFill>
                <a:effectLst/>
                <a:uLnTx/>
                <a:uFillTx/>
                <a:latin typeface="Calibri"/>
                <a:ea typeface="+mn-ea"/>
                <a:cs typeface="+mn-cs"/>
              </a:rPr>
              <a:t>Sales Manager – Metix (SMS group)</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00" b="0" i="1" u="none" strike="noStrike" kern="0" cap="none" spc="0" normalizeH="0" baseline="0" noProof="0" dirty="0">
              <a:ln>
                <a:noFill/>
              </a:ln>
              <a:solidFill>
                <a:srgbClr val="FFFFFF"/>
              </a:solidFill>
              <a:effectLst/>
              <a:uLnTx/>
              <a:uFillTx/>
              <a:latin typeface="Calibri"/>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0" i="1" u="none" strike="noStrike" kern="0" cap="none" spc="0" normalizeH="0" baseline="0" noProof="0" dirty="0">
                <a:ln>
                  <a:noFill/>
                </a:ln>
                <a:solidFill>
                  <a:srgbClr val="FFFFFF"/>
                </a:solidFill>
                <a:effectLst/>
                <a:uLnTx/>
                <a:uFillTx/>
                <a:latin typeface="Calibri"/>
                <a:ea typeface="+mn-ea"/>
                <a:cs typeface="+mn-cs"/>
              </a:rPr>
              <a:t>Mobile: +27-72-180-2719| Office: +27-11-676-2300</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0" i="1" u="none" strike="noStrike" kern="0" cap="none" spc="0" normalizeH="0" baseline="0" noProof="0" dirty="0">
                <a:ln>
                  <a:noFill/>
                </a:ln>
                <a:solidFill>
                  <a:srgbClr val="FFFFFF"/>
                </a:solidFill>
                <a:effectLst/>
                <a:uLnTx/>
                <a:uFillTx/>
                <a:latin typeface="Calibri"/>
                <a:ea typeface="+mn-ea"/>
                <a:cs typeface="+mn-cs"/>
              </a:rPr>
              <a:t>Email: </a:t>
            </a:r>
            <a:r>
              <a:rPr kumimoji="0" lang="en-ZA" sz="1000" b="0" i="1" u="none" strike="noStrike" kern="0" cap="none" spc="0" normalizeH="0" baseline="0" noProof="0" dirty="0">
                <a:ln>
                  <a:noFill/>
                </a:ln>
                <a:solidFill>
                  <a:srgbClr val="00B0F0"/>
                </a:solidFill>
                <a:effectLst/>
                <a:uLnTx/>
                <a:uFillTx/>
                <a:latin typeface="Calibri"/>
                <a:ea typeface="+mn-ea"/>
                <a:cs typeface="+mn-cs"/>
                <a:hlinkClick r:id="rId3">
                  <a:extLst>
                    <a:ext uri="{A12FA001-AC4F-418D-AE19-62706E023703}">
                      <ahyp:hlinkClr xmlns:ahyp="http://schemas.microsoft.com/office/drawing/2018/hyperlinkcolor" val="tx"/>
                    </a:ext>
                  </a:extLst>
                </a:hlinkClick>
              </a:rPr>
              <a:t>zak@metix.co.za </a:t>
            </a:r>
            <a:r>
              <a:rPr kumimoji="0" lang="en-US" sz="1000" b="0" i="1" u="none" strike="noStrike" kern="0" cap="none" spc="0" normalizeH="0" baseline="0" noProof="0" dirty="0">
                <a:ln>
                  <a:noFill/>
                </a:ln>
                <a:solidFill>
                  <a:srgbClr val="FFFFFF"/>
                </a:solidFill>
                <a:effectLst/>
                <a:uLnTx/>
                <a:uFillTx/>
                <a:latin typeface="Calibri"/>
                <a:ea typeface="+mn-ea"/>
                <a:cs typeface="+mn-cs"/>
              </a:rPr>
              <a:t>| Website: </a:t>
            </a:r>
            <a:r>
              <a:rPr kumimoji="0" lang="en-US" sz="1000" b="0" i="1" u="none" strike="noStrike" kern="0" cap="none" spc="0" normalizeH="0" baseline="0" noProof="0" dirty="0">
                <a:ln>
                  <a:noFill/>
                </a:ln>
                <a:solidFill>
                  <a:srgbClr val="00B0F0"/>
                </a:solidFill>
                <a:effectLst/>
                <a:uLnTx/>
                <a:uFillTx/>
                <a:latin typeface="Calibri"/>
                <a:ea typeface="+mn-ea"/>
                <a:cs typeface="+mn-cs"/>
                <a:hlinkClick r:id="rId4">
                  <a:extLst>
                    <a:ext uri="{A12FA001-AC4F-418D-AE19-62706E023703}">
                      <ahyp:hlinkClr xmlns:ahyp="http://schemas.microsoft.com/office/drawing/2018/hyperlinkcolor" val="tx"/>
                    </a:ext>
                  </a:extLst>
                </a:hlinkClick>
              </a:rPr>
              <a:t>www.metix.co.za </a:t>
            </a:r>
            <a:endParaRPr kumimoji="0" lang="en-US" sz="1000" b="0" i="1" u="none" strike="noStrike" kern="0" cap="none" spc="0" normalizeH="0" baseline="0" noProof="0" dirty="0">
              <a:ln>
                <a:noFill/>
              </a:ln>
              <a:solidFill>
                <a:srgbClr val="00B0F0"/>
              </a:solidFill>
              <a:effectLst/>
              <a:uLnTx/>
              <a:uFillTx/>
              <a:latin typeface="Calibri"/>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0" i="1" u="none" strike="noStrike" kern="0" cap="none" spc="0" normalizeH="0" baseline="0" noProof="0" dirty="0">
                <a:ln>
                  <a:noFill/>
                </a:ln>
                <a:solidFill>
                  <a:srgbClr val="FFFFFF"/>
                </a:solidFill>
                <a:effectLst/>
                <a:uLnTx/>
                <a:uFillTx/>
                <a:latin typeface="Calibri"/>
                <a:ea typeface="+mn-ea"/>
                <a:cs typeface="+mn-cs"/>
              </a:rPr>
              <a:t>204 Rivonia Road, Morningside, 2196</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0" i="1" u="none" strike="noStrike" kern="0" cap="none" spc="0" normalizeH="0" baseline="0" noProof="0" dirty="0" err="1">
                <a:ln>
                  <a:noFill/>
                </a:ln>
                <a:solidFill>
                  <a:srgbClr val="FFFFFF"/>
                </a:solidFill>
                <a:effectLst/>
                <a:uLnTx/>
                <a:uFillTx/>
                <a:latin typeface="Calibri"/>
                <a:ea typeface="+mn-ea"/>
                <a:cs typeface="+mn-cs"/>
              </a:rPr>
              <a:t>Sandton</a:t>
            </a:r>
            <a:r>
              <a:rPr kumimoji="0" lang="en-US" sz="1000" b="0" i="1" u="none" strike="noStrike" kern="0" cap="none" spc="0" normalizeH="0" baseline="0" noProof="0" dirty="0">
                <a:ln>
                  <a:noFill/>
                </a:ln>
                <a:solidFill>
                  <a:srgbClr val="FFFFFF"/>
                </a:solidFill>
                <a:effectLst/>
                <a:uLnTx/>
                <a:uFillTx/>
                <a:latin typeface="Calibri"/>
                <a:ea typeface="+mn-ea"/>
                <a:cs typeface="+mn-cs"/>
              </a:rPr>
              <a:t>, Gauteng, South Africa</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0" i="1" u="none" strike="noStrike" kern="0" cap="none" spc="0" normalizeH="0" baseline="0" noProof="0" dirty="0">
                <a:ln>
                  <a:noFill/>
                </a:ln>
                <a:solidFill>
                  <a:srgbClr val="FFFFFF"/>
                </a:solidFill>
                <a:effectLst/>
                <a:uLnTx/>
                <a:uFillTx/>
                <a:latin typeface="Calibri"/>
                <a:ea typeface="+mn-ea"/>
                <a:cs typeface="+mn-cs"/>
              </a:rPr>
              <a:t>P.O. Box 3293, </a:t>
            </a:r>
            <a:r>
              <a:rPr kumimoji="0" lang="en-US" sz="1000" b="0" i="1" u="none" strike="noStrike" kern="0" cap="none" spc="0" normalizeH="0" baseline="0" noProof="0" dirty="0" err="1">
                <a:ln>
                  <a:noFill/>
                </a:ln>
                <a:solidFill>
                  <a:srgbClr val="FFFFFF"/>
                </a:solidFill>
                <a:effectLst/>
                <a:uLnTx/>
                <a:uFillTx/>
                <a:latin typeface="Calibri"/>
                <a:ea typeface="+mn-ea"/>
                <a:cs typeface="+mn-cs"/>
              </a:rPr>
              <a:t>Cramerview</a:t>
            </a:r>
            <a:r>
              <a:rPr kumimoji="0" lang="en-US" sz="1000" b="0" i="1" u="none" strike="noStrike" kern="0" cap="none" spc="0" normalizeH="0" baseline="0" noProof="0" dirty="0">
                <a:ln>
                  <a:noFill/>
                </a:ln>
                <a:solidFill>
                  <a:srgbClr val="FFFFFF"/>
                </a:solidFill>
                <a:effectLst/>
                <a:uLnTx/>
                <a:uFillTx/>
                <a:latin typeface="Calibri"/>
                <a:ea typeface="+mn-ea"/>
                <a:cs typeface="+mn-cs"/>
              </a:rPr>
              <a:t>, 2060, South Africa</a:t>
            </a:r>
          </a:p>
        </p:txBody>
      </p:sp>
      <p:pic>
        <p:nvPicPr>
          <p:cNvPr id="7" name="Picture 6" descr="A close up of a logo&#10;&#10;Description automatically generated">
            <a:extLst>
              <a:ext uri="{FF2B5EF4-FFF2-40B4-BE49-F238E27FC236}">
                <a16:creationId xmlns:a16="http://schemas.microsoft.com/office/drawing/2014/main" id="{939D6E43-6334-483B-820C-59BD550D2F6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456640" y="3172827"/>
            <a:ext cx="3259503" cy="2814595"/>
          </a:xfrm>
          <a:prstGeom prst="rect">
            <a:avLst/>
          </a:prstGeom>
        </p:spPr>
      </p:pic>
      <p:sp>
        <p:nvSpPr>
          <p:cNvPr id="2" name="TextBox 1">
            <a:extLst>
              <a:ext uri="{FF2B5EF4-FFF2-40B4-BE49-F238E27FC236}">
                <a16:creationId xmlns:a16="http://schemas.microsoft.com/office/drawing/2014/main" id="{05064A40-785D-E741-1184-3DDADCD1C751}"/>
              </a:ext>
            </a:extLst>
          </p:cNvPr>
          <p:cNvSpPr txBox="1"/>
          <p:nvPr/>
        </p:nvSpPr>
        <p:spPr bwMode="black">
          <a:xfrm>
            <a:off x="0" y="6569845"/>
            <a:ext cx="5579269"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000" b="0" i="1" u="none" strike="noStrike" kern="1200" cap="none" spc="0" normalizeH="0" baseline="0" noProof="0" dirty="0">
                <a:ln>
                  <a:noFill/>
                </a:ln>
                <a:solidFill>
                  <a:srgbClr val="FFFFFF"/>
                </a:solidFill>
                <a:effectLst/>
                <a:uLnTx/>
                <a:uFillTx/>
                <a:latin typeface="Calibri" panose="020F0502020204030204" pitchFamily="34" charset="0"/>
                <a:ea typeface="Aptos" panose="020B0004020202020204" pitchFamily="34" charset="0"/>
                <a:cs typeface="+mn-cs"/>
              </a:rPr>
              <a:t>Contains Trade Secrets, Confidential, Proprietary, or Privileged Information Exempt from Public Disclosure</a:t>
            </a:r>
            <a:endParaRPr kumimoji="0" lang="en-ZA" sz="1000" b="0" i="1" u="none" strike="noStrike" kern="1200" cap="none" spc="0" normalizeH="0" baseline="0" noProof="0" dirty="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19558125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372BC5-0DF5-325A-5786-D5D35370422B}"/>
            </a:ext>
          </a:extLst>
        </p:cNvPr>
        <p:cNvGrpSpPr/>
        <p:nvPr/>
      </p:nvGrpSpPr>
      <p:grpSpPr>
        <a:xfrm>
          <a:off x="0" y="0"/>
          <a:ext cx="0" cy="0"/>
          <a:chOff x="0" y="0"/>
          <a:chExt cx="0" cy="0"/>
        </a:xfrm>
      </p:grpSpPr>
      <p:pic>
        <p:nvPicPr>
          <p:cNvPr id="11" name="Picture 2" descr="M:\vzm_Alle\Intern\03 Logo archive\03 Process route icons\Portfolio SMS group 2015\Prozesskette_2015_02.jpg">
            <a:extLst>
              <a:ext uri="{FF2B5EF4-FFF2-40B4-BE49-F238E27FC236}">
                <a16:creationId xmlns:a16="http://schemas.microsoft.com/office/drawing/2014/main" id="{DAFDC037-E67B-B7C7-2CA2-3D1665C4ED11}"/>
              </a:ext>
            </a:extLst>
          </p:cNvPr>
          <p:cNvPicPr>
            <a:picLocks noChangeAspect="1" noChangeArrowheads="1"/>
          </p:cNvPicPr>
          <p:nvPr/>
        </p:nvPicPr>
        <p:blipFill rotWithShape="1">
          <a:blip r:embed="rId2" cstate="print">
            <a:alphaModFix amt="50000"/>
            <a:extLst>
              <a:ext uri="{28A0092B-C50C-407E-A947-70E740481C1C}">
                <a14:useLocalDpi xmlns:a14="http://schemas.microsoft.com/office/drawing/2010/main" val="0"/>
              </a:ext>
            </a:extLst>
          </a:blip>
          <a:srcRect t="10446" r="-168" b="9917"/>
          <a:stretch/>
        </p:blipFill>
        <p:spPr bwMode="auto">
          <a:xfrm>
            <a:off x="-1" y="0"/>
            <a:ext cx="12281648" cy="6903830"/>
          </a:xfrm>
          <a:prstGeom prst="rect">
            <a:avLst/>
          </a:prstGeom>
          <a:noFill/>
          <a:extLst>
            <a:ext uri="{909E8E84-426E-40DD-AFC4-6F175D3DCCD1}">
              <a14:hiddenFill xmlns:a14="http://schemas.microsoft.com/office/drawing/2010/main">
                <a:solidFill>
                  <a:srgbClr val="FFFFFF"/>
                </a:solidFill>
              </a14:hiddenFill>
            </a:ext>
          </a:extLst>
        </p:spPr>
      </p:pic>
      <p:sp>
        <p:nvSpPr>
          <p:cNvPr id="5" name="Slide Number Placeholder 4">
            <a:extLst>
              <a:ext uri="{FF2B5EF4-FFF2-40B4-BE49-F238E27FC236}">
                <a16:creationId xmlns:a16="http://schemas.microsoft.com/office/drawing/2014/main" id="{0884254D-2BC7-B9FD-80CA-4442CFDD1349}"/>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043744-42FE-4892-90BA-7087481EB81E}" type="slidenum">
              <a:rPr kumimoji="0" lang="de-DE" sz="10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de-DE" sz="1000" b="0" i="0" u="none" strike="noStrike" kern="1200" cap="none" spc="0" normalizeH="0" baseline="0" noProof="0" dirty="0">
              <a:ln>
                <a:noFill/>
              </a:ln>
              <a:solidFill>
                <a:srgbClr val="000000"/>
              </a:solidFill>
              <a:effectLst/>
              <a:uLnTx/>
              <a:uFillTx/>
              <a:latin typeface="Calibri"/>
              <a:ea typeface="+mn-ea"/>
              <a:cs typeface="+mn-cs"/>
            </a:endParaRPr>
          </a:p>
        </p:txBody>
      </p:sp>
      <p:sp>
        <p:nvSpPr>
          <p:cNvPr id="3" name="TextBox 2">
            <a:extLst>
              <a:ext uri="{FF2B5EF4-FFF2-40B4-BE49-F238E27FC236}">
                <a16:creationId xmlns:a16="http://schemas.microsoft.com/office/drawing/2014/main" id="{F0812FB8-E174-F7C6-A191-38B19BF1F459}"/>
              </a:ext>
            </a:extLst>
          </p:cNvPr>
          <p:cNvSpPr txBox="1"/>
          <p:nvPr/>
        </p:nvSpPr>
        <p:spPr bwMode="black">
          <a:xfrm>
            <a:off x="6220750" y="6604084"/>
            <a:ext cx="5579269"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000" b="0" i="1" u="none" strike="noStrike" kern="12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mn-cs"/>
              </a:rPr>
              <a:t>Contains Trade Secrets, Confidential, Proprietary, or Privileged Information Exempt from Public Disclosure</a:t>
            </a:r>
            <a:endParaRPr kumimoji="0" lang="en-ZA" sz="1000" b="0" i="1" u="none" strike="noStrike" kern="1200" cap="none" spc="0" normalizeH="0" baseline="0" noProof="0" dirty="0">
              <a:ln>
                <a:noFill/>
              </a:ln>
              <a:solidFill>
                <a:srgbClr val="000000"/>
              </a:solidFill>
              <a:effectLst/>
              <a:uLnTx/>
              <a:uFillTx/>
              <a:latin typeface="Calibri"/>
              <a:ea typeface="+mn-ea"/>
              <a:cs typeface="+mn-cs"/>
            </a:endParaRPr>
          </a:p>
        </p:txBody>
      </p:sp>
      <p:sp>
        <p:nvSpPr>
          <p:cNvPr id="7" name="Titel 1">
            <a:extLst>
              <a:ext uri="{FF2B5EF4-FFF2-40B4-BE49-F238E27FC236}">
                <a16:creationId xmlns:a16="http://schemas.microsoft.com/office/drawing/2014/main" id="{130E7AD7-4B20-7CDF-6121-56D70AA30417}"/>
              </a:ext>
            </a:extLst>
          </p:cNvPr>
          <p:cNvSpPr>
            <a:spLocks noGrp="1"/>
          </p:cNvSpPr>
          <p:nvPr>
            <p:ph type="title"/>
          </p:nvPr>
        </p:nvSpPr>
        <p:spPr>
          <a:xfrm>
            <a:off x="300039" y="383561"/>
            <a:ext cx="11592219" cy="700720"/>
          </a:xfrm>
        </p:spPr>
        <p:txBody>
          <a:bodyPr/>
          <a:lstStyle/>
          <a:p>
            <a:r>
              <a:rPr lang="en-GB" dirty="0">
                <a:latin typeface="Calibri" panose="020F0502020204030204"/>
              </a:rPr>
              <a:t>SMS group: </a:t>
            </a:r>
            <a:r>
              <a:rPr lang="en-GB" dirty="0">
                <a:solidFill>
                  <a:srgbClr val="0070C0"/>
                </a:solidFill>
                <a:latin typeface="Calibri" panose="020F0502020204030204"/>
              </a:rPr>
              <a:t>Your </a:t>
            </a:r>
            <a:r>
              <a:rPr lang="en-US" sz="2400" dirty="0">
                <a:solidFill>
                  <a:srgbClr val="0070C0"/>
                </a:solidFill>
              </a:rPr>
              <a:t>full liner </a:t>
            </a:r>
            <a:r>
              <a:rPr lang="en-GB" dirty="0">
                <a:solidFill>
                  <a:srgbClr val="0070C0"/>
                </a:solidFill>
                <a:latin typeface="Calibri" panose="020F0502020204030204"/>
              </a:rPr>
              <a:t>project partner for all reduction furnace applications</a:t>
            </a:r>
            <a:endParaRPr lang="en-GB" dirty="0">
              <a:solidFill>
                <a:srgbClr val="0070C0"/>
              </a:solidFill>
            </a:endParaRPr>
          </a:p>
        </p:txBody>
      </p:sp>
      <p:grpSp>
        <p:nvGrpSpPr>
          <p:cNvPr id="20" name="Group 19">
            <a:extLst>
              <a:ext uri="{FF2B5EF4-FFF2-40B4-BE49-F238E27FC236}">
                <a16:creationId xmlns:a16="http://schemas.microsoft.com/office/drawing/2014/main" id="{939468DE-B691-B840-9C08-45A8282A2EBD}"/>
              </a:ext>
            </a:extLst>
          </p:cNvPr>
          <p:cNvGrpSpPr/>
          <p:nvPr/>
        </p:nvGrpSpPr>
        <p:grpSpPr>
          <a:xfrm>
            <a:off x="2441523" y="1568771"/>
            <a:ext cx="7308953" cy="3562649"/>
            <a:chOff x="1387080" y="1516300"/>
            <a:chExt cx="7308953" cy="3562649"/>
          </a:xfrm>
        </p:grpSpPr>
        <p:grpSp>
          <p:nvGrpSpPr>
            <p:cNvPr id="24" name="Group 23">
              <a:extLst>
                <a:ext uri="{FF2B5EF4-FFF2-40B4-BE49-F238E27FC236}">
                  <a16:creationId xmlns:a16="http://schemas.microsoft.com/office/drawing/2014/main" id="{F2281B75-03A1-6BA7-8C2B-E5C1A58321C3}"/>
                </a:ext>
              </a:extLst>
            </p:cNvPr>
            <p:cNvGrpSpPr/>
            <p:nvPr/>
          </p:nvGrpSpPr>
          <p:grpSpPr>
            <a:xfrm>
              <a:off x="1387080" y="1516300"/>
              <a:ext cx="7308953" cy="3303743"/>
              <a:chOff x="2988277" y="1528233"/>
              <a:chExt cx="7308953" cy="3303743"/>
            </a:xfrm>
          </p:grpSpPr>
          <p:cxnSp>
            <p:nvCxnSpPr>
              <p:cNvPr id="26" name="Connector: Elbow 25">
                <a:extLst>
                  <a:ext uri="{FF2B5EF4-FFF2-40B4-BE49-F238E27FC236}">
                    <a16:creationId xmlns:a16="http://schemas.microsoft.com/office/drawing/2014/main" id="{CF3B05EC-93D8-046C-4560-2D865108421E}"/>
                  </a:ext>
                </a:extLst>
              </p:cNvPr>
              <p:cNvCxnSpPr>
                <a:cxnSpLocks/>
              </p:cNvCxnSpPr>
              <p:nvPr/>
            </p:nvCxnSpPr>
            <p:spPr>
              <a:xfrm rot="5400000">
                <a:off x="4705594" y="1361014"/>
                <a:ext cx="1010980" cy="2402542"/>
              </a:xfrm>
              <a:prstGeom prst="bentConnector3">
                <a:avLst/>
              </a:prstGeom>
              <a:ln w="19050"/>
            </p:spPr>
            <p:style>
              <a:lnRef idx="1">
                <a:schemeClr val="dk1"/>
              </a:lnRef>
              <a:fillRef idx="0">
                <a:schemeClr val="dk1"/>
              </a:fillRef>
              <a:effectRef idx="0">
                <a:schemeClr val="dk1"/>
              </a:effectRef>
              <a:fontRef idx="minor">
                <a:schemeClr val="tx1"/>
              </a:fontRef>
            </p:style>
          </p:cxnSp>
          <p:cxnSp>
            <p:nvCxnSpPr>
              <p:cNvPr id="27" name="Connector: Elbow 26">
                <a:extLst>
                  <a:ext uri="{FF2B5EF4-FFF2-40B4-BE49-F238E27FC236}">
                    <a16:creationId xmlns:a16="http://schemas.microsoft.com/office/drawing/2014/main" id="{03EBFFF9-12DE-8133-C550-5C186DD4C124}"/>
                  </a:ext>
                </a:extLst>
              </p:cNvPr>
              <p:cNvCxnSpPr>
                <a:cxnSpLocks/>
              </p:cNvCxnSpPr>
              <p:nvPr/>
            </p:nvCxnSpPr>
            <p:spPr>
              <a:xfrm rot="16200000" flipH="1">
                <a:off x="6961797" y="1507353"/>
                <a:ext cx="1010980" cy="2109864"/>
              </a:xfrm>
              <a:prstGeom prst="bentConnector3">
                <a:avLst/>
              </a:prstGeom>
              <a:ln w="19050"/>
            </p:spPr>
            <p:style>
              <a:lnRef idx="1">
                <a:schemeClr val="dk1"/>
              </a:lnRef>
              <a:fillRef idx="0">
                <a:schemeClr val="dk1"/>
              </a:fillRef>
              <a:effectRef idx="0">
                <a:schemeClr val="dk1"/>
              </a:effectRef>
              <a:fontRef idx="minor">
                <a:schemeClr val="tx1"/>
              </a:fontRef>
            </p:style>
          </p:cxnSp>
          <p:pic>
            <p:nvPicPr>
              <p:cNvPr id="28" name="Picture 27" descr="A group of circles with different colors&#10;&#10;Description automatically generated">
                <a:extLst>
                  <a:ext uri="{FF2B5EF4-FFF2-40B4-BE49-F238E27FC236}">
                    <a16:creationId xmlns:a16="http://schemas.microsoft.com/office/drawing/2014/main" id="{A7883BF7-AF3F-905A-59AD-407E354D44E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79470" y="1528233"/>
                <a:ext cx="3915269" cy="500579"/>
              </a:xfrm>
              <a:prstGeom prst="rect">
                <a:avLst/>
              </a:prstGeom>
            </p:spPr>
          </p:pic>
          <p:pic>
            <p:nvPicPr>
              <p:cNvPr id="29" name="Picture 28" descr="A logo with a red line and black text&#10;&#10;Description automatically generated">
                <a:extLst>
                  <a:ext uri="{FF2B5EF4-FFF2-40B4-BE49-F238E27FC236}">
                    <a16:creationId xmlns:a16="http://schemas.microsoft.com/office/drawing/2014/main" id="{97461CAD-F6A0-6A3A-6182-9BBA513987E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88277" y="3067775"/>
                <a:ext cx="2043071" cy="1764201"/>
              </a:xfrm>
              <a:prstGeom prst="rect">
                <a:avLst/>
              </a:prstGeom>
            </p:spPr>
          </p:pic>
          <p:pic>
            <p:nvPicPr>
              <p:cNvPr id="30" name="Picture 29" descr="A red line on a black background&#10;&#10;Description automatically generated">
                <a:extLst>
                  <a:ext uri="{FF2B5EF4-FFF2-40B4-BE49-F238E27FC236}">
                    <a16:creationId xmlns:a16="http://schemas.microsoft.com/office/drawing/2014/main" id="{32E3F0DC-9096-CADD-6C26-2FBDD8BFECE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47207" y="3134240"/>
                <a:ext cx="3550023" cy="747743"/>
              </a:xfrm>
              <a:prstGeom prst="rect">
                <a:avLst/>
              </a:prstGeom>
            </p:spPr>
          </p:pic>
          <p:cxnSp>
            <p:nvCxnSpPr>
              <p:cNvPr id="31" name="Straight Connector 30">
                <a:extLst>
                  <a:ext uri="{FF2B5EF4-FFF2-40B4-BE49-F238E27FC236}">
                    <a16:creationId xmlns:a16="http://schemas.microsoft.com/office/drawing/2014/main" id="{D6D093D2-76EF-D619-A979-4ECA878E4537}"/>
                  </a:ext>
                </a:extLst>
              </p:cNvPr>
              <p:cNvCxnSpPr>
                <a:cxnSpLocks/>
                <a:stCxn id="30" idx="2"/>
              </p:cNvCxnSpPr>
              <p:nvPr/>
            </p:nvCxnSpPr>
            <p:spPr>
              <a:xfrm flipH="1">
                <a:off x="8522218" y="3881983"/>
                <a:ext cx="1" cy="568525"/>
              </a:xfrm>
              <a:prstGeom prst="line">
                <a:avLst/>
              </a:prstGeom>
              <a:ln w="19050"/>
            </p:spPr>
            <p:style>
              <a:lnRef idx="1">
                <a:schemeClr val="dk1"/>
              </a:lnRef>
              <a:fillRef idx="0">
                <a:schemeClr val="dk1"/>
              </a:fillRef>
              <a:effectRef idx="0">
                <a:schemeClr val="dk1"/>
              </a:effectRef>
              <a:fontRef idx="minor">
                <a:schemeClr val="tx1"/>
              </a:fontRef>
            </p:style>
          </p:cxnSp>
        </p:grpSp>
        <p:pic>
          <p:nvPicPr>
            <p:cNvPr id="22" name="Graphic 21">
              <a:extLst>
                <a:ext uri="{FF2B5EF4-FFF2-40B4-BE49-F238E27FC236}">
                  <a16:creationId xmlns:a16="http://schemas.microsoft.com/office/drawing/2014/main" id="{1941B0F1-250A-B514-4A17-47CC3F7B4D4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16096" y="4421724"/>
              <a:ext cx="2609850" cy="657225"/>
            </a:xfrm>
            <a:prstGeom prst="rect">
              <a:avLst/>
            </a:prstGeom>
          </p:spPr>
        </p:pic>
      </p:grpSp>
      <p:pic>
        <p:nvPicPr>
          <p:cNvPr id="2" name="Picture 1" descr="A picture containing screenshot, graphics, graphic design, font&#10;&#10;Description automatically generated">
            <a:extLst>
              <a:ext uri="{FF2B5EF4-FFF2-40B4-BE49-F238E27FC236}">
                <a16:creationId xmlns:a16="http://schemas.microsoft.com/office/drawing/2014/main" id="{6BFB54B5-F6B2-6526-2868-60D244BAFF4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229272" y="5826031"/>
            <a:ext cx="846835" cy="731246"/>
          </a:xfrm>
          <a:prstGeom prst="rect">
            <a:avLst/>
          </a:prstGeom>
        </p:spPr>
      </p:pic>
      <p:pic>
        <p:nvPicPr>
          <p:cNvPr id="4" name="Picture 3" descr="A group of circles with different colors&#10;&#10;AI-generated content may be incorrect.">
            <a:extLst>
              <a:ext uri="{FF2B5EF4-FFF2-40B4-BE49-F238E27FC236}">
                <a16:creationId xmlns:a16="http://schemas.microsoft.com/office/drawing/2014/main" id="{A584CFF8-3635-3E10-11D2-8EA9685EDFD4}"/>
              </a:ext>
            </a:extLst>
          </p:cNvPr>
          <p:cNvPicPr>
            <a:picLocks noChangeAspect="1"/>
          </p:cNvPicPr>
          <p:nvPr/>
        </p:nvPicPr>
        <p:blipFill>
          <a:blip r:embed="rId3"/>
          <a:stretch>
            <a:fillRect/>
          </a:stretch>
        </p:blipFill>
        <p:spPr>
          <a:xfrm>
            <a:off x="9479962" y="6257031"/>
            <a:ext cx="1633038" cy="222970"/>
          </a:xfrm>
          <a:prstGeom prst="rect">
            <a:avLst/>
          </a:prstGeom>
        </p:spPr>
      </p:pic>
    </p:spTree>
    <p:extLst>
      <p:ext uri="{BB962C8B-B14F-4D97-AF65-F5344CB8AC3E}">
        <p14:creationId xmlns:p14="http://schemas.microsoft.com/office/powerpoint/2010/main" val="2852622189"/>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93E80D-D841-9074-E69B-E2C84622F476}"/>
            </a:ext>
          </a:extLst>
        </p:cNvPr>
        <p:cNvGrpSpPr/>
        <p:nvPr/>
      </p:nvGrpSpPr>
      <p:grpSpPr>
        <a:xfrm>
          <a:off x="0" y="0"/>
          <a:ext cx="0" cy="0"/>
          <a:chOff x="0" y="0"/>
          <a:chExt cx="0" cy="0"/>
        </a:xfrm>
      </p:grpSpPr>
      <p:pic>
        <p:nvPicPr>
          <p:cNvPr id="8" name="Picture 2" descr="M:\vzm_Alle\Intern\03 Logo archive\03 Process route icons\Portfolio SMS group 2015\Prozesskette_2015_02.jpg">
            <a:extLst>
              <a:ext uri="{FF2B5EF4-FFF2-40B4-BE49-F238E27FC236}">
                <a16:creationId xmlns:a16="http://schemas.microsoft.com/office/drawing/2014/main" id="{D47E6A25-4A98-6287-1F1D-607F3C4BEEAA}"/>
              </a:ext>
            </a:extLst>
          </p:cNvPr>
          <p:cNvPicPr>
            <a:picLocks noChangeAspect="1" noChangeArrowheads="1"/>
          </p:cNvPicPr>
          <p:nvPr/>
        </p:nvPicPr>
        <p:blipFill rotWithShape="1">
          <a:blip r:embed="rId2" cstate="print">
            <a:alphaModFix amt="20000"/>
            <a:extLst>
              <a:ext uri="{28A0092B-C50C-407E-A947-70E740481C1C}">
                <a14:useLocalDpi xmlns:a14="http://schemas.microsoft.com/office/drawing/2010/main" val="0"/>
              </a:ext>
            </a:extLst>
          </a:blip>
          <a:srcRect t="10446" r="-168" b="9917"/>
          <a:stretch/>
        </p:blipFill>
        <p:spPr bwMode="auto">
          <a:xfrm>
            <a:off x="-1" y="0"/>
            <a:ext cx="12281648" cy="6903830"/>
          </a:xfrm>
          <a:prstGeom prst="rect">
            <a:avLst/>
          </a:prstGeom>
          <a:noFill/>
          <a:extLst>
            <a:ext uri="{909E8E84-426E-40DD-AFC4-6F175D3DCCD1}">
              <a14:hiddenFill xmlns:a14="http://schemas.microsoft.com/office/drawing/2010/main">
                <a:solidFill>
                  <a:srgbClr val="FFFFFF"/>
                </a:solidFill>
              </a14:hiddenFill>
            </a:ext>
          </a:extLst>
        </p:spPr>
      </p:pic>
      <p:grpSp>
        <p:nvGrpSpPr>
          <p:cNvPr id="34" name="Group 33">
            <a:extLst>
              <a:ext uri="{FF2B5EF4-FFF2-40B4-BE49-F238E27FC236}">
                <a16:creationId xmlns:a16="http://schemas.microsoft.com/office/drawing/2014/main" id="{F33AAF42-275F-57D3-12C8-04778641240C}"/>
              </a:ext>
            </a:extLst>
          </p:cNvPr>
          <p:cNvGrpSpPr/>
          <p:nvPr/>
        </p:nvGrpSpPr>
        <p:grpSpPr>
          <a:xfrm>
            <a:off x="161365" y="1579679"/>
            <a:ext cx="4722686" cy="4197038"/>
            <a:chOff x="170329" y="1330481"/>
            <a:chExt cx="4482354" cy="4197038"/>
          </a:xfrm>
        </p:grpSpPr>
        <p:sp>
          <p:nvSpPr>
            <p:cNvPr id="24" name="Textplatzhalter 4">
              <a:extLst>
                <a:ext uri="{FF2B5EF4-FFF2-40B4-BE49-F238E27FC236}">
                  <a16:creationId xmlns:a16="http://schemas.microsoft.com/office/drawing/2014/main" id="{A7F114E2-3BB6-5A1D-F4D2-A4E4C913B348}"/>
                </a:ext>
              </a:extLst>
            </p:cNvPr>
            <p:cNvSpPr txBox="1">
              <a:spLocks/>
            </p:cNvSpPr>
            <p:nvPr/>
          </p:nvSpPr>
          <p:spPr>
            <a:xfrm>
              <a:off x="170329" y="1330481"/>
              <a:ext cx="4482354" cy="1592808"/>
            </a:xfrm>
            <a:prstGeom prst="rect">
              <a:avLst/>
            </a:prstGeom>
            <a:noFill/>
          </p:spPr>
          <p:txBody>
            <a:bodyPr vert="horz" wrap="square" lIns="0" tIns="0" rIns="0" bIns="0" rtlCol="0">
              <a:spAutoFit/>
            </a:bodyPr>
            <a:lstStyle>
              <a:lvl1pPr marL="0" indent="0" algn="l" defTabSz="914400" rtl="0" eaLnBrk="1" latinLnBrk="0" hangingPunct="1">
                <a:spcBef>
                  <a:spcPts val="0"/>
                </a:spcBef>
                <a:spcAft>
                  <a:spcPts val="600"/>
                </a:spcAft>
                <a:buClr>
                  <a:schemeClr val="accent5"/>
                </a:buClr>
                <a:buFont typeface="Wingdings" panose="05000000000000000000" pitchFamily="2" charset="2"/>
                <a:buNone/>
                <a:defRPr sz="1600" b="0" kern="1200">
                  <a:solidFill>
                    <a:schemeClr val="tx1"/>
                  </a:solidFill>
                  <a:latin typeface="+mn-lt"/>
                  <a:ea typeface="+mn-ea"/>
                  <a:cs typeface="Arial" panose="020B0604020202020204" pitchFamily="34" charset="0"/>
                </a:defRPr>
              </a:lvl1pPr>
              <a:lvl2pPr marL="0" indent="0" algn="l" defTabSz="914400" rtl="0" eaLnBrk="1" latinLnBrk="0" hangingPunct="1">
                <a:spcBef>
                  <a:spcPts val="0"/>
                </a:spcBef>
                <a:spcAft>
                  <a:spcPts val="600"/>
                </a:spcAft>
                <a:buClr>
                  <a:schemeClr val="accent5"/>
                </a:buClr>
                <a:buSzPct val="150000"/>
                <a:buFont typeface="Calibri" panose="020F0502020204030204" pitchFamily="34" charset="0"/>
                <a:buNone/>
                <a:defRPr sz="1600" b="1" kern="1200">
                  <a:solidFill>
                    <a:schemeClr val="tx1"/>
                  </a:solidFill>
                  <a:latin typeface="+mn-lt"/>
                  <a:ea typeface="+mn-ea"/>
                  <a:cs typeface="Arial" panose="020B0604020202020204" pitchFamily="34" charset="0"/>
                </a:defRPr>
              </a:lvl2pPr>
              <a:lvl3pPr marL="269875" indent="-273050" algn="l" defTabSz="914400" rtl="0" eaLnBrk="1" latinLnBrk="0" hangingPunct="1">
                <a:spcBef>
                  <a:spcPts val="0"/>
                </a:spcBef>
                <a:spcAft>
                  <a:spcPts val="600"/>
                </a:spcAft>
                <a:buClr>
                  <a:schemeClr val="accent5"/>
                </a:buClr>
                <a:buSzPct val="150000"/>
                <a:buFont typeface="Calibri" panose="020F0502020204030204" pitchFamily="34" charset="0"/>
                <a:buChar char="›"/>
                <a:defRPr sz="1600" kern="1200">
                  <a:solidFill>
                    <a:schemeClr val="tx1"/>
                  </a:solidFill>
                  <a:latin typeface="+mn-lt"/>
                  <a:ea typeface="+mn-ea"/>
                  <a:cs typeface="Arial" panose="020B0604020202020204" pitchFamily="34" charset="0"/>
                </a:defRPr>
              </a:lvl3pPr>
              <a:lvl4pPr marL="269875" indent="-273050" algn="l" defTabSz="914400" rtl="0" eaLnBrk="1" latinLnBrk="0" hangingPunct="1">
                <a:spcBef>
                  <a:spcPts val="0"/>
                </a:spcBef>
                <a:spcAft>
                  <a:spcPts val="600"/>
                </a:spcAft>
                <a:buClr>
                  <a:schemeClr val="accent5"/>
                </a:buClr>
                <a:buSzPct val="100000"/>
                <a:buFont typeface="Calibri" panose="020F0502020204030204" pitchFamily="34" charset="0"/>
                <a:buChar char="→"/>
                <a:defRPr sz="1600" kern="1200">
                  <a:solidFill>
                    <a:schemeClr val="tx1"/>
                  </a:solidFill>
                  <a:latin typeface="+mn-lt"/>
                  <a:ea typeface="+mn-ea"/>
                  <a:cs typeface="Arial" panose="020B0604020202020204" pitchFamily="34" charset="0"/>
                </a:defRPr>
              </a:lvl4pPr>
              <a:lvl5pPr marL="541338" indent="-274638" algn="l" defTabSz="914400" rtl="0" eaLnBrk="1" latinLnBrk="0" hangingPunct="1">
                <a:spcBef>
                  <a:spcPts val="0"/>
                </a:spcBef>
                <a:spcAft>
                  <a:spcPts val="600"/>
                </a:spcAft>
                <a:buClr>
                  <a:schemeClr val="accent5"/>
                </a:buClr>
                <a:buSzPct val="150000"/>
                <a:buFont typeface="Calibri" panose="020F0502020204030204" pitchFamily="34" charset="0"/>
                <a:buChar char="›"/>
                <a:defRPr sz="1600" kern="1200">
                  <a:solidFill>
                    <a:schemeClr val="tx1"/>
                  </a:solidFill>
                  <a:latin typeface="+mn-lt"/>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1" indent="0" algn="l" defTabSz="914400" rtl="0" eaLnBrk="1" fontAlgn="base" latinLnBrk="0" hangingPunct="1">
                <a:lnSpc>
                  <a:spcPct val="110000"/>
                </a:lnSpc>
                <a:spcBef>
                  <a:spcPts val="0"/>
                </a:spcBef>
                <a:spcAft>
                  <a:spcPts val="300"/>
                </a:spcAft>
                <a:buClr>
                  <a:srgbClr val="2E3135"/>
                </a:buClr>
                <a:buSzPct val="90000"/>
                <a:buFont typeface="Calibri" panose="020F0502020204030204" pitchFamily="34" charset="0"/>
                <a:buNone/>
                <a:tabLst/>
                <a:defRPr/>
              </a:pPr>
              <a:r>
                <a:rPr kumimoji="0" lang="en-GB" sz="1100" b="1" i="0" u="sng" strike="noStrike" kern="1200" cap="none" spc="0" normalizeH="0" baseline="0" noProof="0" dirty="0">
                  <a:ln>
                    <a:noFill/>
                  </a:ln>
                  <a:solidFill>
                    <a:srgbClr val="000000"/>
                  </a:solidFill>
                  <a:effectLst/>
                  <a:uLnTx/>
                  <a:uFillTx/>
                  <a:latin typeface="Calibri"/>
                  <a:ea typeface="+mn-ea"/>
                  <a:cs typeface="Arial" panose="020B0604020202020204" pitchFamily="34" charset="0"/>
                </a:rPr>
                <a:t>SMS GROUP - LEADING PARTNER IN THE WORLD OF METALS:</a:t>
              </a:r>
            </a:p>
            <a:p>
              <a:pPr marL="0" marR="0" lvl="1" indent="0" algn="just" defTabSz="914400" rtl="0" eaLnBrk="1" fontAlgn="base" latinLnBrk="0" hangingPunct="1">
                <a:lnSpc>
                  <a:spcPct val="110000"/>
                </a:lnSpc>
                <a:spcBef>
                  <a:spcPts val="0"/>
                </a:spcBef>
                <a:spcAft>
                  <a:spcPts val="300"/>
                </a:spcAft>
                <a:buClr>
                  <a:srgbClr val="2E3135"/>
                </a:buClr>
                <a:buSzPct val="90000"/>
                <a:buFont typeface="Calibri" panose="020F0502020204030204" pitchFamily="34" charset="0"/>
                <a:buNone/>
                <a:tabLst/>
                <a:defRPr/>
              </a:pPr>
              <a:r>
                <a:rPr kumimoji="0" lang="en-GB" sz="10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MS group is renowned worldwide for its forward-thinking technologies and outstanding services in the metals industry. We apply our </a:t>
              </a:r>
              <a:r>
                <a:rPr kumimoji="0" lang="en-GB" sz="10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150 years of experience </a:t>
              </a:r>
              <a:r>
                <a:rPr kumimoji="0" lang="en-GB" sz="10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nd digital know-how to continuously innovate products and processes inside and outside our industry. As a partner for the most demanding projects, SMS group accompanies its customers throughout the entire lifecycle of their plants, thus enabling profitable and resource-saving value chains. </a:t>
              </a:r>
              <a:r>
                <a:rPr kumimoji="0" lang="en-GB" sz="10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Our mission is to turn metals green and to advance climate-neutral and sustainable metals production!</a:t>
              </a:r>
            </a:p>
            <a:p>
              <a:pPr marL="0" marR="0" lvl="1" indent="0" algn="just" defTabSz="914400" rtl="0" eaLnBrk="1" fontAlgn="base" latinLnBrk="0" hangingPunct="1">
                <a:lnSpc>
                  <a:spcPct val="110000"/>
                </a:lnSpc>
                <a:spcBef>
                  <a:spcPts val="0"/>
                </a:spcBef>
                <a:spcAft>
                  <a:spcPts val="300"/>
                </a:spcAft>
                <a:buClr>
                  <a:srgbClr val="2E3135"/>
                </a:buClr>
                <a:buSzPct val="90000"/>
                <a:buFont typeface="Calibri" panose="020F0502020204030204" pitchFamily="34" charset="0"/>
                <a:buNone/>
                <a:tabLst/>
                <a:defRPr/>
              </a:pPr>
              <a:r>
                <a:rPr kumimoji="0" lang="en-GB" sz="900" b="0" i="0" u="none" strike="noStrike" kern="1200" cap="none" spc="0" normalizeH="0" baseline="0" noProof="0" dirty="0">
                  <a:ln>
                    <a:noFill/>
                  </a:ln>
                  <a:solidFill>
                    <a:srgbClr val="0078BF">
                      <a:lumMod val="60000"/>
                      <a:lumOff val="40000"/>
                    </a:srgbClr>
                  </a:solidFill>
                  <a:effectLst/>
                  <a:uLnTx/>
                  <a:uFillTx/>
                  <a:latin typeface="Calibri"/>
                  <a:ea typeface="+mn-ea"/>
                  <a:cs typeface="Arial" panose="020B0604020202020204" pitchFamily="34" charset="0"/>
                  <a:hlinkClick r:id="rId3">
                    <a:extLst>
                      <a:ext uri="{A12FA001-AC4F-418D-AE19-62706E023703}">
                        <ahyp:hlinkClr xmlns:ahyp="http://schemas.microsoft.com/office/drawing/2018/hyperlinkcolor" val="tx"/>
                      </a:ext>
                    </a:extLst>
                  </a:hlinkClick>
                </a:rPr>
                <a:t>https://www.sms-group.com</a:t>
              </a:r>
              <a:r>
                <a:rPr kumimoji="0" lang="en-GB" sz="900" b="0" i="0" u="none" strike="noStrike" kern="1200" cap="none" spc="0" normalizeH="0" baseline="0" noProof="0" dirty="0">
                  <a:ln>
                    <a:noFill/>
                  </a:ln>
                  <a:solidFill>
                    <a:srgbClr val="0078BF">
                      <a:lumMod val="60000"/>
                      <a:lumOff val="40000"/>
                    </a:srgbClr>
                  </a:solidFill>
                  <a:effectLst/>
                  <a:uLnTx/>
                  <a:uFillTx/>
                  <a:latin typeface="Calibri"/>
                  <a:ea typeface="+mn-ea"/>
                  <a:cs typeface="Arial" panose="020B0604020202020204" pitchFamily="34" charset="0"/>
                </a:rPr>
                <a:t> </a:t>
              </a:r>
            </a:p>
          </p:txBody>
        </p:sp>
        <p:sp>
          <p:nvSpPr>
            <p:cNvPr id="33" name="Textplatzhalter 4">
              <a:extLst>
                <a:ext uri="{FF2B5EF4-FFF2-40B4-BE49-F238E27FC236}">
                  <a16:creationId xmlns:a16="http://schemas.microsoft.com/office/drawing/2014/main" id="{534A9485-E325-CE16-4FA3-50718DD506A4}"/>
                </a:ext>
              </a:extLst>
            </p:cNvPr>
            <p:cNvSpPr txBox="1">
              <a:spLocks/>
            </p:cNvSpPr>
            <p:nvPr/>
          </p:nvSpPr>
          <p:spPr>
            <a:xfrm>
              <a:off x="170329" y="3088325"/>
              <a:ext cx="4482353" cy="2439194"/>
            </a:xfrm>
            <a:prstGeom prst="rect">
              <a:avLst/>
            </a:prstGeom>
            <a:noFill/>
          </p:spPr>
          <p:txBody>
            <a:bodyPr vert="horz" wrap="square" lIns="0" tIns="0" rIns="0" bIns="0" rtlCol="0">
              <a:spAutoFit/>
            </a:bodyPr>
            <a:lstStyle>
              <a:lvl1pPr marL="0" indent="0" algn="l" defTabSz="914400" rtl="0" eaLnBrk="1" latinLnBrk="0" hangingPunct="1">
                <a:spcBef>
                  <a:spcPts val="0"/>
                </a:spcBef>
                <a:spcAft>
                  <a:spcPts val="600"/>
                </a:spcAft>
                <a:buClr>
                  <a:schemeClr val="accent5"/>
                </a:buClr>
                <a:buFont typeface="Wingdings" panose="05000000000000000000" pitchFamily="2" charset="2"/>
                <a:buNone/>
                <a:defRPr sz="1600" b="0" kern="1200">
                  <a:solidFill>
                    <a:schemeClr val="tx1"/>
                  </a:solidFill>
                  <a:latin typeface="+mn-lt"/>
                  <a:ea typeface="+mn-ea"/>
                  <a:cs typeface="Arial" panose="020B0604020202020204" pitchFamily="34" charset="0"/>
                </a:defRPr>
              </a:lvl1pPr>
              <a:lvl2pPr marL="0" indent="0" algn="l" defTabSz="914400" rtl="0" eaLnBrk="1" latinLnBrk="0" hangingPunct="1">
                <a:spcBef>
                  <a:spcPts val="0"/>
                </a:spcBef>
                <a:spcAft>
                  <a:spcPts val="600"/>
                </a:spcAft>
                <a:buClr>
                  <a:schemeClr val="accent5"/>
                </a:buClr>
                <a:buSzPct val="150000"/>
                <a:buFont typeface="Calibri" panose="020F0502020204030204" pitchFamily="34" charset="0"/>
                <a:buNone/>
                <a:defRPr sz="1600" b="1" kern="1200">
                  <a:solidFill>
                    <a:schemeClr val="tx1"/>
                  </a:solidFill>
                  <a:latin typeface="+mn-lt"/>
                  <a:ea typeface="+mn-ea"/>
                  <a:cs typeface="Arial" panose="020B0604020202020204" pitchFamily="34" charset="0"/>
                </a:defRPr>
              </a:lvl2pPr>
              <a:lvl3pPr marL="269875" indent="-273050" algn="l" defTabSz="914400" rtl="0" eaLnBrk="1" latinLnBrk="0" hangingPunct="1">
                <a:spcBef>
                  <a:spcPts val="0"/>
                </a:spcBef>
                <a:spcAft>
                  <a:spcPts val="600"/>
                </a:spcAft>
                <a:buClr>
                  <a:schemeClr val="accent5"/>
                </a:buClr>
                <a:buSzPct val="150000"/>
                <a:buFont typeface="Calibri" panose="020F0502020204030204" pitchFamily="34" charset="0"/>
                <a:buChar char="›"/>
                <a:defRPr sz="1600" kern="1200">
                  <a:solidFill>
                    <a:schemeClr val="tx1"/>
                  </a:solidFill>
                  <a:latin typeface="+mn-lt"/>
                  <a:ea typeface="+mn-ea"/>
                  <a:cs typeface="Arial" panose="020B0604020202020204" pitchFamily="34" charset="0"/>
                </a:defRPr>
              </a:lvl3pPr>
              <a:lvl4pPr marL="269875" indent="-273050" algn="l" defTabSz="914400" rtl="0" eaLnBrk="1" latinLnBrk="0" hangingPunct="1">
                <a:spcBef>
                  <a:spcPts val="0"/>
                </a:spcBef>
                <a:spcAft>
                  <a:spcPts val="600"/>
                </a:spcAft>
                <a:buClr>
                  <a:schemeClr val="accent5"/>
                </a:buClr>
                <a:buSzPct val="100000"/>
                <a:buFont typeface="Calibri" panose="020F0502020204030204" pitchFamily="34" charset="0"/>
                <a:buChar char="→"/>
                <a:defRPr sz="1600" kern="1200">
                  <a:solidFill>
                    <a:schemeClr val="tx1"/>
                  </a:solidFill>
                  <a:latin typeface="+mn-lt"/>
                  <a:ea typeface="+mn-ea"/>
                  <a:cs typeface="Arial" panose="020B0604020202020204" pitchFamily="34" charset="0"/>
                </a:defRPr>
              </a:lvl4pPr>
              <a:lvl5pPr marL="541338" indent="-274638" algn="l" defTabSz="914400" rtl="0" eaLnBrk="1" latinLnBrk="0" hangingPunct="1">
                <a:spcBef>
                  <a:spcPts val="0"/>
                </a:spcBef>
                <a:spcAft>
                  <a:spcPts val="600"/>
                </a:spcAft>
                <a:buClr>
                  <a:schemeClr val="accent5"/>
                </a:buClr>
                <a:buSzPct val="150000"/>
                <a:buFont typeface="Calibri" panose="020F0502020204030204" pitchFamily="34" charset="0"/>
                <a:buChar char="›"/>
                <a:defRPr sz="1600" kern="1200">
                  <a:solidFill>
                    <a:schemeClr val="tx1"/>
                  </a:solidFill>
                  <a:latin typeface="+mn-lt"/>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1" indent="0" algn="l" defTabSz="914400" rtl="0" eaLnBrk="1" fontAlgn="base" latinLnBrk="0" hangingPunct="1">
                <a:lnSpc>
                  <a:spcPct val="110000"/>
                </a:lnSpc>
                <a:spcBef>
                  <a:spcPts val="0"/>
                </a:spcBef>
                <a:spcAft>
                  <a:spcPts val="300"/>
                </a:spcAft>
                <a:buClr>
                  <a:srgbClr val="2E3135"/>
                </a:buClr>
                <a:buSzPct val="90000"/>
                <a:buFont typeface="Calibri" panose="020F0502020204030204" pitchFamily="34" charset="0"/>
                <a:buNone/>
                <a:tabLst/>
                <a:defRPr/>
              </a:pPr>
              <a:r>
                <a:rPr kumimoji="0" lang="en-GB" sz="1100" b="1" i="0" u="sng" strike="noStrike" kern="1200" cap="none" spc="0" normalizeH="0" baseline="0" noProof="0" dirty="0">
                  <a:ln>
                    <a:noFill/>
                  </a:ln>
                  <a:solidFill>
                    <a:srgbClr val="000000"/>
                  </a:solidFill>
                  <a:effectLst/>
                  <a:uLnTx/>
                  <a:uFillTx/>
                  <a:latin typeface="Calibri"/>
                  <a:ea typeface="+mn-ea"/>
                  <a:cs typeface="Arial" panose="020B0604020202020204" pitchFamily="34" charset="0"/>
                </a:rPr>
                <a:t>METIX - LEADING PARTNER IN THE PYROMETALLURGY INDUSTRY:</a:t>
              </a:r>
            </a:p>
            <a:p>
              <a:pPr marL="0" marR="0" lvl="1" indent="0" algn="just" defTabSz="914400" rtl="0" eaLnBrk="1" fontAlgn="base" latinLnBrk="0" hangingPunct="1">
                <a:lnSpc>
                  <a:spcPct val="110000"/>
                </a:lnSpc>
                <a:spcBef>
                  <a:spcPts val="0"/>
                </a:spcBef>
                <a:spcAft>
                  <a:spcPts val="300"/>
                </a:spcAft>
                <a:buClr>
                  <a:srgbClr val="2E3135"/>
                </a:buClr>
                <a:buSzPct val="90000"/>
                <a:buFont typeface="Calibri" panose="020F0502020204030204" pitchFamily="34" charset="0"/>
                <a:buNone/>
                <a:tabLst/>
                <a:defRPr/>
              </a:pPr>
              <a:r>
                <a:rPr kumimoji="0" lang="en-GB" sz="10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Metix, part of SMS group, is a market leader for providing </a:t>
              </a:r>
              <a:r>
                <a:rPr kumimoji="0" lang="en-GB" sz="10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rocess plants solutions and engineering services to the pyrometallurgical industry </a:t>
              </a:r>
              <a:r>
                <a:rPr kumimoji="0" lang="en-GB" sz="10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panning both the ferrous, non-ferrous, waste recycling, slag conditioning, and green iron &amp; steel sectors. Metix’ team of passionate and skilled engineers developed specialized and patented OEM equipment and refined its turnkey abilities for various smelter applications. Metix combines in-depth design and operational experience with the know-how of </a:t>
              </a:r>
              <a:r>
                <a:rPr kumimoji="0" lang="en-GB" sz="10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gt;750 SMS group smelter projects worldwide </a:t>
              </a:r>
              <a:r>
                <a:rPr kumimoji="0" lang="en-GB" sz="10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hrough its heritage brands. These tools are continuously stress tested against the market and best practices (Building Information Modelling “BIM”, Design for Construction “D4C”, and Best in Class Technology) for improving both product and customer service. </a:t>
              </a:r>
              <a:r>
                <a:rPr kumimoji="0" lang="en-GB" sz="10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Civil-, Structural-, Process-, Mechanical-, Electrical-, Instrumentation and Control Engineering form part of Metix’ core competence supported by a full-time BIM design office!</a:t>
              </a:r>
            </a:p>
            <a:p>
              <a:pPr marL="0" marR="0" lvl="1" indent="0" algn="just" defTabSz="914400" rtl="0" eaLnBrk="1" fontAlgn="base" latinLnBrk="0" hangingPunct="1">
                <a:lnSpc>
                  <a:spcPct val="110000"/>
                </a:lnSpc>
                <a:spcBef>
                  <a:spcPts val="0"/>
                </a:spcBef>
                <a:spcAft>
                  <a:spcPts val="300"/>
                </a:spcAft>
                <a:buClr>
                  <a:srgbClr val="2E3135"/>
                </a:buClr>
                <a:buSzPct val="90000"/>
                <a:buFont typeface="Calibri" panose="020F0502020204030204" pitchFamily="34" charset="0"/>
                <a:buNone/>
                <a:tabLst/>
                <a:defRPr/>
              </a:pPr>
              <a:r>
                <a:rPr kumimoji="0" lang="en-GB" sz="900" b="0" i="0" u="none" strike="noStrike" kern="1200" cap="none" spc="0" normalizeH="0" baseline="0" noProof="0" dirty="0">
                  <a:ln>
                    <a:noFill/>
                  </a:ln>
                  <a:solidFill>
                    <a:srgbClr val="0078BF">
                      <a:lumMod val="60000"/>
                      <a:lumOff val="40000"/>
                    </a:srgbClr>
                  </a:solidFill>
                  <a:effectLst/>
                  <a:uLnTx/>
                  <a:uFillTx/>
                  <a:latin typeface="Calibri"/>
                  <a:ea typeface="+mn-ea"/>
                  <a:cs typeface="Arial" panose="020B0604020202020204" pitchFamily="34" charset="0"/>
                  <a:hlinkClick r:id="rId4">
                    <a:extLst>
                      <a:ext uri="{A12FA001-AC4F-418D-AE19-62706E023703}">
                        <ahyp:hlinkClr xmlns:ahyp="http://schemas.microsoft.com/office/drawing/2018/hyperlinkcolor" val="tx"/>
                      </a:ext>
                    </a:extLst>
                  </a:hlinkClick>
                </a:rPr>
                <a:t>https://www.metix.co.za</a:t>
              </a:r>
              <a:r>
                <a:rPr kumimoji="0" lang="en-GB" sz="900" b="0" i="0" u="none" strike="noStrike" kern="1200" cap="none" spc="0" normalizeH="0" baseline="0" noProof="0" dirty="0">
                  <a:ln>
                    <a:noFill/>
                  </a:ln>
                  <a:solidFill>
                    <a:srgbClr val="0078BF">
                      <a:lumMod val="60000"/>
                      <a:lumOff val="40000"/>
                    </a:srgbClr>
                  </a:solidFill>
                  <a:effectLst/>
                  <a:uLnTx/>
                  <a:uFillTx/>
                  <a:latin typeface="Calibri"/>
                  <a:ea typeface="+mn-ea"/>
                  <a:cs typeface="Arial" panose="020B0604020202020204" pitchFamily="34" charset="0"/>
                </a:rPr>
                <a:t> </a:t>
              </a:r>
            </a:p>
          </p:txBody>
        </p:sp>
      </p:grpSp>
      <p:grpSp>
        <p:nvGrpSpPr>
          <p:cNvPr id="40" name="Group 39">
            <a:extLst>
              <a:ext uri="{FF2B5EF4-FFF2-40B4-BE49-F238E27FC236}">
                <a16:creationId xmlns:a16="http://schemas.microsoft.com/office/drawing/2014/main" id="{6EA2B706-1CFF-E587-639D-8333BB9A2B9E}"/>
              </a:ext>
            </a:extLst>
          </p:cNvPr>
          <p:cNvGrpSpPr/>
          <p:nvPr/>
        </p:nvGrpSpPr>
        <p:grpSpPr>
          <a:xfrm>
            <a:off x="7200377" y="1218353"/>
            <a:ext cx="4830258" cy="4354830"/>
            <a:chOff x="7539321" y="1102620"/>
            <a:chExt cx="4589926" cy="4354830"/>
          </a:xfrm>
        </p:grpSpPr>
        <p:sp>
          <p:nvSpPr>
            <p:cNvPr id="41" name="Textplatzhalter 4">
              <a:extLst>
                <a:ext uri="{FF2B5EF4-FFF2-40B4-BE49-F238E27FC236}">
                  <a16:creationId xmlns:a16="http://schemas.microsoft.com/office/drawing/2014/main" id="{4611DEE2-F412-A70F-368F-FA4F4F3C9BE1}"/>
                </a:ext>
              </a:extLst>
            </p:cNvPr>
            <p:cNvSpPr txBox="1">
              <a:spLocks/>
            </p:cNvSpPr>
            <p:nvPr/>
          </p:nvSpPr>
          <p:spPr>
            <a:xfrm>
              <a:off x="7539321" y="1102620"/>
              <a:ext cx="4589926" cy="2100640"/>
            </a:xfrm>
            <a:prstGeom prst="rect">
              <a:avLst/>
            </a:prstGeom>
            <a:noFill/>
          </p:spPr>
          <p:txBody>
            <a:bodyPr vert="horz" wrap="square" lIns="0" tIns="0" rIns="0" bIns="0" rtlCol="0">
              <a:spAutoFit/>
            </a:bodyPr>
            <a:lstStyle>
              <a:lvl1pPr marL="0" indent="0" algn="l" defTabSz="914400" rtl="0" eaLnBrk="1" latinLnBrk="0" hangingPunct="1">
                <a:spcBef>
                  <a:spcPts val="0"/>
                </a:spcBef>
                <a:spcAft>
                  <a:spcPts val="600"/>
                </a:spcAft>
                <a:buClr>
                  <a:schemeClr val="accent5"/>
                </a:buClr>
                <a:buFont typeface="Wingdings" panose="05000000000000000000" pitchFamily="2" charset="2"/>
                <a:buNone/>
                <a:defRPr sz="1600" b="0" kern="1200">
                  <a:solidFill>
                    <a:schemeClr val="tx1"/>
                  </a:solidFill>
                  <a:latin typeface="+mn-lt"/>
                  <a:ea typeface="+mn-ea"/>
                  <a:cs typeface="Arial" panose="020B0604020202020204" pitchFamily="34" charset="0"/>
                </a:defRPr>
              </a:lvl1pPr>
              <a:lvl2pPr marL="0" indent="0" algn="l" defTabSz="914400" rtl="0" eaLnBrk="1" latinLnBrk="0" hangingPunct="1">
                <a:spcBef>
                  <a:spcPts val="0"/>
                </a:spcBef>
                <a:spcAft>
                  <a:spcPts val="600"/>
                </a:spcAft>
                <a:buClr>
                  <a:schemeClr val="accent5"/>
                </a:buClr>
                <a:buSzPct val="150000"/>
                <a:buFont typeface="Calibri" panose="020F0502020204030204" pitchFamily="34" charset="0"/>
                <a:buNone/>
                <a:defRPr sz="1600" b="1" kern="1200">
                  <a:solidFill>
                    <a:schemeClr val="tx1"/>
                  </a:solidFill>
                  <a:latin typeface="+mn-lt"/>
                  <a:ea typeface="+mn-ea"/>
                  <a:cs typeface="Arial" panose="020B0604020202020204" pitchFamily="34" charset="0"/>
                </a:defRPr>
              </a:lvl2pPr>
              <a:lvl3pPr marL="269875" indent="-273050" algn="l" defTabSz="914400" rtl="0" eaLnBrk="1" latinLnBrk="0" hangingPunct="1">
                <a:spcBef>
                  <a:spcPts val="0"/>
                </a:spcBef>
                <a:spcAft>
                  <a:spcPts val="600"/>
                </a:spcAft>
                <a:buClr>
                  <a:schemeClr val="accent5"/>
                </a:buClr>
                <a:buSzPct val="150000"/>
                <a:buFont typeface="Calibri" panose="020F0502020204030204" pitchFamily="34" charset="0"/>
                <a:buChar char="›"/>
                <a:defRPr sz="1600" kern="1200">
                  <a:solidFill>
                    <a:schemeClr val="tx1"/>
                  </a:solidFill>
                  <a:latin typeface="+mn-lt"/>
                  <a:ea typeface="+mn-ea"/>
                  <a:cs typeface="Arial" panose="020B0604020202020204" pitchFamily="34" charset="0"/>
                </a:defRPr>
              </a:lvl3pPr>
              <a:lvl4pPr marL="269875" indent="-273050" algn="l" defTabSz="914400" rtl="0" eaLnBrk="1" latinLnBrk="0" hangingPunct="1">
                <a:spcBef>
                  <a:spcPts val="0"/>
                </a:spcBef>
                <a:spcAft>
                  <a:spcPts val="600"/>
                </a:spcAft>
                <a:buClr>
                  <a:schemeClr val="accent5"/>
                </a:buClr>
                <a:buSzPct val="100000"/>
                <a:buFont typeface="Calibri" panose="020F0502020204030204" pitchFamily="34" charset="0"/>
                <a:buChar char="→"/>
                <a:defRPr sz="1600" kern="1200">
                  <a:solidFill>
                    <a:schemeClr val="tx1"/>
                  </a:solidFill>
                  <a:latin typeface="+mn-lt"/>
                  <a:ea typeface="+mn-ea"/>
                  <a:cs typeface="Arial" panose="020B0604020202020204" pitchFamily="34" charset="0"/>
                </a:defRPr>
              </a:lvl4pPr>
              <a:lvl5pPr marL="541338" indent="-274638" algn="l" defTabSz="914400" rtl="0" eaLnBrk="1" latinLnBrk="0" hangingPunct="1">
                <a:spcBef>
                  <a:spcPts val="0"/>
                </a:spcBef>
                <a:spcAft>
                  <a:spcPts val="600"/>
                </a:spcAft>
                <a:buClr>
                  <a:schemeClr val="accent5"/>
                </a:buClr>
                <a:buSzPct val="150000"/>
                <a:buFont typeface="Calibri" panose="020F0502020204030204" pitchFamily="34" charset="0"/>
                <a:buChar char="›"/>
                <a:defRPr sz="1600" kern="1200">
                  <a:solidFill>
                    <a:schemeClr val="tx1"/>
                  </a:solidFill>
                  <a:latin typeface="+mn-lt"/>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1" indent="0" algn="l" defTabSz="914400" rtl="0" eaLnBrk="1" fontAlgn="base" latinLnBrk="0" hangingPunct="1">
                <a:lnSpc>
                  <a:spcPct val="110000"/>
                </a:lnSpc>
                <a:spcBef>
                  <a:spcPts val="0"/>
                </a:spcBef>
                <a:spcAft>
                  <a:spcPts val="300"/>
                </a:spcAft>
                <a:buClr>
                  <a:srgbClr val="2E3135"/>
                </a:buClr>
                <a:buSzPct val="90000"/>
                <a:buFont typeface="Calibri" panose="020F0502020204030204" pitchFamily="34" charset="0"/>
                <a:buNone/>
                <a:tabLst/>
                <a:defRPr/>
              </a:pPr>
              <a:r>
                <a:rPr kumimoji="0" lang="en-GB" sz="1100" b="1" i="0" u="sng" strike="noStrike" kern="1200" cap="none" spc="0" normalizeH="0" baseline="0" noProof="0" dirty="0">
                  <a:ln>
                    <a:noFill/>
                  </a:ln>
                  <a:solidFill>
                    <a:srgbClr val="000000"/>
                  </a:solidFill>
                  <a:effectLst/>
                  <a:uLnTx/>
                  <a:uFillTx/>
                  <a:latin typeface="Calibri"/>
                  <a:ea typeface="+mn-ea"/>
                  <a:cs typeface="Arial" panose="020B0604020202020204" pitchFamily="34" charset="0"/>
                </a:rPr>
                <a:t>PAUL WURTH - LEADING PARTNER IN THE IRON &amp; STEEL INDUSTRY:</a:t>
              </a:r>
            </a:p>
            <a:p>
              <a:pPr marL="0" marR="0" lvl="1" indent="0" algn="just" defTabSz="914400" rtl="0" eaLnBrk="1" fontAlgn="base" latinLnBrk="0" hangingPunct="1">
                <a:lnSpc>
                  <a:spcPct val="110000"/>
                </a:lnSpc>
                <a:spcBef>
                  <a:spcPts val="0"/>
                </a:spcBef>
                <a:spcAft>
                  <a:spcPts val="300"/>
                </a:spcAft>
                <a:buClr>
                  <a:srgbClr val="2E3135"/>
                </a:buClr>
                <a:buSzPct val="90000"/>
                <a:buFont typeface="Calibri" panose="020F0502020204030204" pitchFamily="34" charset="0"/>
                <a:buNone/>
                <a:tabLst/>
                <a:defRPr/>
              </a:pPr>
              <a:r>
                <a:rPr kumimoji="0" lang="en-GB" sz="10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hanks to many generations of passionate and committed people and to a continuous urge for innovation, Paul Wurth, part of SMS group, made ground-breaking contributions to the advancement of these industries and can claim today to be a leading partner in the world of metals. Hot metal and pig iron produced by blast furnaces accounts for ≈60% of all steel products which the world’s population consumes. </a:t>
              </a:r>
              <a:r>
                <a:rPr kumimoji="0" lang="en-GB" sz="10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lmost every medium to large-size blast furnace operating in the world today incorporates Paul Wurth technology. Many smaller-size blast furnaces benefit from these technologies, too! </a:t>
              </a:r>
              <a:r>
                <a:rPr kumimoji="0" lang="en-GB" sz="10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aul Wurth has developed the </a:t>
              </a:r>
              <a:r>
                <a:rPr kumimoji="0" lang="en-GB" sz="10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BA® slag granulation process, with &gt;300 references</a:t>
              </a:r>
              <a:r>
                <a:rPr kumimoji="0" lang="en-GB" sz="10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it is the most popular and effective route of processing BF slag in the world today. The INBA system with steam condensation is officially recognised as a </a:t>
              </a:r>
              <a:r>
                <a:rPr kumimoji="0" lang="en-GB" sz="10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Best Available Technology (BAT)</a:t>
              </a:r>
              <a:r>
                <a:rPr kumimoji="0" lang="en-GB" sz="10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t>
              </a:r>
            </a:p>
            <a:p>
              <a:pPr marL="0" marR="0" lvl="1" indent="0" algn="just" defTabSz="914400" rtl="0" eaLnBrk="1" fontAlgn="base" latinLnBrk="0" hangingPunct="1">
                <a:lnSpc>
                  <a:spcPct val="110000"/>
                </a:lnSpc>
                <a:spcBef>
                  <a:spcPts val="0"/>
                </a:spcBef>
                <a:spcAft>
                  <a:spcPts val="300"/>
                </a:spcAft>
                <a:buClr>
                  <a:srgbClr val="2E3135"/>
                </a:buClr>
                <a:buSzPct val="90000"/>
                <a:buFont typeface="Calibri" panose="020F0502020204030204" pitchFamily="34" charset="0"/>
                <a:buNone/>
                <a:tabLst/>
                <a:defRPr/>
              </a:pPr>
              <a:r>
                <a:rPr kumimoji="0" lang="en-GB" sz="900" b="0" i="0" u="none" strike="noStrike" kern="1200" cap="none" spc="0" normalizeH="0" baseline="0" noProof="0" dirty="0">
                  <a:ln>
                    <a:noFill/>
                  </a:ln>
                  <a:solidFill>
                    <a:srgbClr val="0078BF">
                      <a:lumMod val="60000"/>
                      <a:lumOff val="40000"/>
                    </a:srgbClr>
                  </a:solidFill>
                  <a:effectLst/>
                  <a:uLnTx/>
                  <a:uFillTx/>
                  <a:latin typeface="Calibri"/>
                  <a:ea typeface="+mn-ea"/>
                  <a:cs typeface="Arial" panose="020B0604020202020204" pitchFamily="34" charset="0"/>
                  <a:hlinkClick r:id="rId5">
                    <a:extLst>
                      <a:ext uri="{A12FA001-AC4F-418D-AE19-62706E023703}">
                        <ahyp:hlinkClr xmlns:ahyp="http://schemas.microsoft.com/office/drawing/2018/hyperlinkcolor" val="tx"/>
                      </a:ext>
                    </a:extLst>
                  </a:hlinkClick>
                </a:rPr>
                <a:t>https://www.paulwurth.com</a:t>
              </a:r>
              <a:r>
                <a:rPr kumimoji="0" lang="en-GB" sz="900" b="0" i="0" u="none" strike="noStrike" kern="1200" cap="none" spc="0" normalizeH="0" baseline="0" noProof="0" dirty="0">
                  <a:ln>
                    <a:noFill/>
                  </a:ln>
                  <a:solidFill>
                    <a:srgbClr val="0078BF">
                      <a:lumMod val="60000"/>
                      <a:lumOff val="40000"/>
                    </a:srgbClr>
                  </a:solidFill>
                  <a:effectLst/>
                  <a:uLnTx/>
                  <a:uFillTx/>
                  <a:latin typeface="Calibri"/>
                  <a:ea typeface="+mn-ea"/>
                  <a:cs typeface="Arial" panose="020B0604020202020204" pitchFamily="34" charset="0"/>
                </a:rPr>
                <a:t> </a:t>
              </a:r>
            </a:p>
          </p:txBody>
        </p:sp>
        <p:sp>
          <p:nvSpPr>
            <p:cNvPr id="42" name="Textplatzhalter 4">
              <a:extLst>
                <a:ext uri="{FF2B5EF4-FFF2-40B4-BE49-F238E27FC236}">
                  <a16:creationId xmlns:a16="http://schemas.microsoft.com/office/drawing/2014/main" id="{988E52CA-FF36-2753-1B23-9CBEB578887A}"/>
                </a:ext>
              </a:extLst>
            </p:cNvPr>
            <p:cNvSpPr txBox="1">
              <a:spLocks/>
            </p:cNvSpPr>
            <p:nvPr/>
          </p:nvSpPr>
          <p:spPr>
            <a:xfrm>
              <a:off x="7539321" y="3526087"/>
              <a:ext cx="4589926" cy="1931363"/>
            </a:xfrm>
            <a:prstGeom prst="rect">
              <a:avLst/>
            </a:prstGeom>
            <a:noFill/>
          </p:spPr>
          <p:txBody>
            <a:bodyPr vert="horz" wrap="square" lIns="0" tIns="0" rIns="0" bIns="0" rtlCol="0">
              <a:spAutoFit/>
            </a:bodyPr>
            <a:lstStyle>
              <a:lvl1pPr marL="0" indent="0" algn="l" defTabSz="914400" rtl="0" eaLnBrk="1" latinLnBrk="0" hangingPunct="1">
                <a:spcBef>
                  <a:spcPts val="0"/>
                </a:spcBef>
                <a:spcAft>
                  <a:spcPts val="600"/>
                </a:spcAft>
                <a:buClr>
                  <a:schemeClr val="accent5"/>
                </a:buClr>
                <a:buFont typeface="Wingdings" panose="05000000000000000000" pitchFamily="2" charset="2"/>
                <a:buNone/>
                <a:defRPr sz="1600" b="0" kern="1200">
                  <a:solidFill>
                    <a:schemeClr val="tx1"/>
                  </a:solidFill>
                  <a:latin typeface="+mn-lt"/>
                  <a:ea typeface="+mn-ea"/>
                  <a:cs typeface="Arial" panose="020B0604020202020204" pitchFamily="34" charset="0"/>
                </a:defRPr>
              </a:lvl1pPr>
              <a:lvl2pPr marL="0" indent="0" algn="l" defTabSz="914400" rtl="0" eaLnBrk="1" latinLnBrk="0" hangingPunct="1">
                <a:spcBef>
                  <a:spcPts val="0"/>
                </a:spcBef>
                <a:spcAft>
                  <a:spcPts val="600"/>
                </a:spcAft>
                <a:buClr>
                  <a:schemeClr val="accent5"/>
                </a:buClr>
                <a:buSzPct val="150000"/>
                <a:buFont typeface="Calibri" panose="020F0502020204030204" pitchFamily="34" charset="0"/>
                <a:buNone/>
                <a:defRPr sz="1600" b="1" kern="1200">
                  <a:solidFill>
                    <a:schemeClr val="tx1"/>
                  </a:solidFill>
                  <a:latin typeface="+mn-lt"/>
                  <a:ea typeface="+mn-ea"/>
                  <a:cs typeface="Arial" panose="020B0604020202020204" pitchFamily="34" charset="0"/>
                </a:defRPr>
              </a:lvl2pPr>
              <a:lvl3pPr marL="269875" indent="-273050" algn="l" defTabSz="914400" rtl="0" eaLnBrk="1" latinLnBrk="0" hangingPunct="1">
                <a:spcBef>
                  <a:spcPts val="0"/>
                </a:spcBef>
                <a:spcAft>
                  <a:spcPts val="600"/>
                </a:spcAft>
                <a:buClr>
                  <a:schemeClr val="accent5"/>
                </a:buClr>
                <a:buSzPct val="150000"/>
                <a:buFont typeface="Calibri" panose="020F0502020204030204" pitchFamily="34" charset="0"/>
                <a:buChar char="›"/>
                <a:defRPr sz="1600" kern="1200">
                  <a:solidFill>
                    <a:schemeClr val="tx1"/>
                  </a:solidFill>
                  <a:latin typeface="+mn-lt"/>
                  <a:ea typeface="+mn-ea"/>
                  <a:cs typeface="Arial" panose="020B0604020202020204" pitchFamily="34" charset="0"/>
                </a:defRPr>
              </a:lvl3pPr>
              <a:lvl4pPr marL="269875" indent="-273050" algn="l" defTabSz="914400" rtl="0" eaLnBrk="1" latinLnBrk="0" hangingPunct="1">
                <a:spcBef>
                  <a:spcPts val="0"/>
                </a:spcBef>
                <a:spcAft>
                  <a:spcPts val="600"/>
                </a:spcAft>
                <a:buClr>
                  <a:schemeClr val="accent5"/>
                </a:buClr>
                <a:buSzPct val="100000"/>
                <a:buFont typeface="Calibri" panose="020F0502020204030204" pitchFamily="34" charset="0"/>
                <a:buChar char="→"/>
                <a:defRPr sz="1600" kern="1200">
                  <a:solidFill>
                    <a:schemeClr val="tx1"/>
                  </a:solidFill>
                  <a:latin typeface="+mn-lt"/>
                  <a:ea typeface="+mn-ea"/>
                  <a:cs typeface="Arial" panose="020B0604020202020204" pitchFamily="34" charset="0"/>
                </a:defRPr>
              </a:lvl4pPr>
              <a:lvl5pPr marL="541338" indent="-274638" algn="l" defTabSz="914400" rtl="0" eaLnBrk="1" latinLnBrk="0" hangingPunct="1">
                <a:spcBef>
                  <a:spcPts val="0"/>
                </a:spcBef>
                <a:spcAft>
                  <a:spcPts val="600"/>
                </a:spcAft>
                <a:buClr>
                  <a:schemeClr val="accent5"/>
                </a:buClr>
                <a:buSzPct val="150000"/>
                <a:buFont typeface="Calibri" panose="020F0502020204030204" pitchFamily="34" charset="0"/>
                <a:buChar char="›"/>
                <a:defRPr sz="1600" kern="1200">
                  <a:solidFill>
                    <a:schemeClr val="tx1"/>
                  </a:solidFill>
                  <a:latin typeface="+mn-lt"/>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1" indent="0" algn="l" defTabSz="914400" rtl="0" eaLnBrk="1" fontAlgn="base" latinLnBrk="0" hangingPunct="1">
                <a:lnSpc>
                  <a:spcPct val="110000"/>
                </a:lnSpc>
                <a:spcBef>
                  <a:spcPts val="0"/>
                </a:spcBef>
                <a:spcAft>
                  <a:spcPts val="300"/>
                </a:spcAft>
                <a:buClr>
                  <a:srgbClr val="2E3135"/>
                </a:buClr>
                <a:buSzPct val="90000"/>
                <a:buFont typeface="Calibri" panose="020F0502020204030204" pitchFamily="34" charset="0"/>
                <a:buNone/>
                <a:tabLst/>
                <a:defRPr/>
              </a:pPr>
              <a:r>
                <a:rPr kumimoji="0" lang="en-GB" sz="1100" b="1" i="0" u="sng" strike="noStrike" kern="1200" cap="none" spc="0" normalizeH="0" baseline="0" noProof="0" dirty="0">
                  <a:ln>
                    <a:noFill/>
                  </a:ln>
                  <a:solidFill>
                    <a:srgbClr val="000000"/>
                  </a:solidFill>
                  <a:effectLst/>
                  <a:uLnTx/>
                  <a:uFillTx/>
                  <a:latin typeface="Calibri"/>
                  <a:ea typeface="+mn-ea"/>
                  <a:cs typeface="Arial" panose="020B0604020202020204" pitchFamily="34" charset="0"/>
                </a:rPr>
                <a:t>TMT - LEADING PARTNER FOR ALL TAPPING &amp; MEASUREMENT TECHNOLOGIES:</a:t>
              </a:r>
            </a:p>
            <a:p>
              <a:pPr marL="0" marR="0" lvl="1" indent="0" algn="just" defTabSz="914400" rtl="0" eaLnBrk="1" fontAlgn="base" latinLnBrk="0" hangingPunct="1">
                <a:lnSpc>
                  <a:spcPct val="110000"/>
                </a:lnSpc>
                <a:spcBef>
                  <a:spcPts val="0"/>
                </a:spcBef>
                <a:spcAft>
                  <a:spcPts val="300"/>
                </a:spcAft>
                <a:buClr>
                  <a:srgbClr val="2E3135"/>
                </a:buClr>
                <a:buSzPct val="90000"/>
                <a:buFont typeface="Calibri" panose="020F0502020204030204" pitchFamily="34" charset="0"/>
                <a:buNone/>
                <a:tabLst/>
                <a:defRPr/>
              </a:pPr>
              <a:r>
                <a:rPr kumimoji="0" lang="en-GB" sz="10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MT, part of SMS group, is the leading solution provider of tapping and measurement solutions for blast furnaces, ferroalloys-, and non-ferrous smelters. While a wide range of </a:t>
              </a:r>
              <a:r>
                <a:rPr kumimoji="0" lang="en-GB" sz="10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casthouse</a:t>
              </a:r>
              <a:r>
                <a:rPr kumimoji="0" lang="en-GB" sz="10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machines ensures that the </a:t>
              </a:r>
              <a:r>
                <a:rPr kumimoji="0" lang="en-GB" sz="10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furnaces can be tapped in a reliable and safe manner</a:t>
              </a:r>
              <a:r>
                <a:rPr kumimoji="0" lang="en-GB" sz="10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multiple different probes deliver measurement data to make the reduction and smelting process more transparent and cost efficient. Today, TMT dedicates 100% of its efforts to provide its customers the most appropriate solutions for their individual situation. Personnel safety, process safety and reduction of production costs are taken into consideration in the same way as the environmental impact of the smelting process. TMT is proud to have </a:t>
              </a:r>
              <a:r>
                <a:rPr kumimoji="0" lang="en-GB" sz="10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upplied &gt;2,400 tapping machines worldwide!</a:t>
              </a:r>
              <a:endParaRPr kumimoji="0" lang="en-GB" sz="10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a:p>
              <a:pPr marL="0" marR="0" lvl="1" indent="0" algn="just" defTabSz="914400" rtl="0" eaLnBrk="1" fontAlgn="base" latinLnBrk="0" hangingPunct="1">
                <a:lnSpc>
                  <a:spcPct val="110000"/>
                </a:lnSpc>
                <a:spcBef>
                  <a:spcPts val="0"/>
                </a:spcBef>
                <a:spcAft>
                  <a:spcPts val="300"/>
                </a:spcAft>
                <a:buClr>
                  <a:srgbClr val="2E3135"/>
                </a:buClr>
                <a:buSzPct val="90000"/>
                <a:buFont typeface="Calibri" panose="020F0502020204030204" pitchFamily="34" charset="0"/>
                <a:buNone/>
                <a:tabLst/>
                <a:defRPr/>
              </a:pPr>
              <a:r>
                <a:rPr kumimoji="0" lang="en-GB" sz="900" b="0" i="0" u="none" strike="noStrike" kern="1200" cap="none" spc="0" normalizeH="0" baseline="0" noProof="0" dirty="0">
                  <a:ln>
                    <a:noFill/>
                  </a:ln>
                  <a:solidFill>
                    <a:srgbClr val="0078BF">
                      <a:lumMod val="60000"/>
                      <a:lumOff val="40000"/>
                    </a:srgbClr>
                  </a:solidFill>
                  <a:effectLst/>
                  <a:uLnTx/>
                  <a:uFillTx/>
                  <a:latin typeface="Calibri"/>
                  <a:ea typeface="+mn-ea"/>
                  <a:cs typeface="Arial" panose="020B0604020202020204" pitchFamily="34" charset="0"/>
                  <a:hlinkClick r:id="rId6">
                    <a:extLst>
                      <a:ext uri="{A12FA001-AC4F-418D-AE19-62706E023703}">
                        <ahyp:hlinkClr xmlns:ahyp="http://schemas.microsoft.com/office/drawing/2018/hyperlinkcolor" val="tx"/>
                      </a:ext>
                    </a:extLst>
                  </a:hlinkClick>
                </a:rPr>
                <a:t>https://tmt.com</a:t>
              </a:r>
              <a:r>
                <a:rPr kumimoji="0" lang="en-GB" sz="900" b="0" i="0" u="none" strike="noStrike" kern="1200" cap="none" spc="0" normalizeH="0" baseline="0" noProof="0" dirty="0">
                  <a:ln>
                    <a:noFill/>
                  </a:ln>
                  <a:solidFill>
                    <a:srgbClr val="0078BF">
                      <a:lumMod val="60000"/>
                      <a:lumOff val="40000"/>
                    </a:srgbClr>
                  </a:solidFill>
                  <a:effectLst/>
                  <a:uLnTx/>
                  <a:uFillTx/>
                  <a:latin typeface="Calibri"/>
                  <a:ea typeface="+mn-ea"/>
                  <a:cs typeface="Arial" panose="020B0604020202020204" pitchFamily="34" charset="0"/>
                </a:rPr>
                <a:t> </a:t>
              </a:r>
            </a:p>
          </p:txBody>
        </p:sp>
      </p:grpSp>
      <p:grpSp>
        <p:nvGrpSpPr>
          <p:cNvPr id="43" name="Group 42">
            <a:extLst>
              <a:ext uri="{FF2B5EF4-FFF2-40B4-BE49-F238E27FC236}">
                <a16:creationId xmlns:a16="http://schemas.microsoft.com/office/drawing/2014/main" id="{ECC5998E-2A97-4663-E75A-F9D2211CF709}"/>
              </a:ext>
            </a:extLst>
          </p:cNvPr>
          <p:cNvGrpSpPr>
            <a:grpSpLocks noChangeAspect="1"/>
          </p:cNvGrpSpPr>
          <p:nvPr/>
        </p:nvGrpSpPr>
        <p:grpSpPr>
          <a:xfrm>
            <a:off x="4470483" y="2588772"/>
            <a:ext cx="2711209" cy="1479753"/>
            <a:chOff x="4162409" y="1801117"/>
            <a:chExt cx="3362699" cy="1835330"/>
          </a:xfrm>
        </p:grpSpPr>
        <p:pic>
          <p:nvPicPr>
            <p:cNvPr id="44" name="Picture 43">
              <a:extLst>
                <a:ext uri="{FF2B5EF4-FFF2-40B4-BE49-F238E27FC236}">
                  <a16:creationId xmlns:a16="http://schemas.microsoft.com/office/drawing/2014/main" id="{94F3D19E-6E36-A662-1572-B15055BE38D6}"/>
                </a:ext>
              </a:extLst>
            </p:cNvPr>
            <p:cNvPicPr>
              <a:picLocks noChangeAspect="1"/>
            </p:cNvPicPr>
            <p:nvPr/>
          </p:nvPicPr>
          <p:blipFill>
            <a:blip r:embed="rId7">
              <a:extLst>
                <a:ext uri="{28A0092B-C50C-407E-A947-70E740481C1C}">
                  <a14:useLocalDpi xmlns:a14="http://schemas.microsoft.com/office/drawing/2010/main" val="0"/>
                </a:ext>
              </a:extLst>
            </a:blip>
            <a:srcRect r="68"/>
            <a:stretch/>
          </p:blipFill>
          <p:spPr>
            <a:xfrm rot="19375444">
              <a:off x="5825696" y="2418057"/>
              <a:ext cx="1667489" cy="430848"/>
            </a:xfrm>
            <a:prstGeom prst="rect">
              <a:avLst/>
            </a:prstGeom>
          </p:spPr>
        </p:pic>
        <p:pic>
          <p:nvPicPr>
            <p:cNvPr id="45" name="Picture 44" descr="A logo with a red line and black text&#10;&#10;Description automatically generated">
              <a:extLst>
                <a:ext uri="{FF2B5EF4-FFF2-40B4-BE49-F238E27FC236}">
                  <a16:creationId xmlns:a16="http://schemas.microsoft.com/office/drawing/2014/main" id="{43A911A4-071F-03A8-EA6D-B0A36ABBAE1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19411284">
              <a:off x="4724713" y="2714543"/>
              <a:ext cx="1067631" cy="921904"/>
            </a:xfrm>
            <a:prstGeom prst="rect">
              <a:avLst/>
            </a:prstGeom>
          </p:spPr>
        </p:pic>
        <p:pic>
          <p:nvPicPr>
            <p:cNvPr id="46" name="Picture 45" descr="A red line on a black background&#10;&#10;Description automatically generated">
              <a:extLst>
                <a:ext uri="{FF2B5EF4-FFF2-40B4-BE49-F238E27FC236}">
                  <a16:creationId xmlns:a16="http://schemas.microsoft.com/office/drawing/2014/main" id="{16C7F521-C532-0719-FD86-D35D787D133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19420189">
              <a:off x="5529029" y="1938988"/>
              <a:ext cx="1996079" cy="420435"/>
            </a:xfrm>
            <a:prstGeom prst="rect">
              <a:avLst/>
            </a:prstGeom>
          </p:spPr>
        </p:pic>
        <p:pic>
          <p:nvPicPr>
            <p:cNvPr id="47" name="Picture 46" descr="A group of circles with different colors&#10;&#10;Description automatically generated">
              <a:extLst>
                <a:ext uri="{FF2B5EF4-FFF2-40B4-BE49-F238E27FC236}">
                  <a16:creationId xmlns:a16="http://schemas.microsoft.com/office/drawing/2014/main" id="{5B733D37-BE50-BC3E-0FDF-5CE099926F7C}"/>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rot="19448624">
              <a:off x="4162409" y="1801117"/>
              <a:ext cx="3088297" cy="394848"/>
            </a:xfrm>
            <a:prstGeom prst="rect">
              <a:avLst/>
            </a:prstGeom>
          </p:spPr>
        </p:pic>
      </p:grpSp>
      <p:sp>
        <p:nvSpPr>
          <p:cNvPr id="11" name="Titel 1">
            <a:extLst>
              <a:ext uri="{FF2B5EF4-FFF2-40B4-BE49-F238E27FC236}">
                <a16:creationId xmlns:a16="http://schemas.microsoft.com/office/drawing/2014/main" id="{A8D1D96B-40D3-9C6C-168B-671F664FAB3E}"/>
              </a:ext>
            </a:extLst>
          </p:cNvPr>
          <p:cNvSpPr>
            <a:spLocks noGrp="1"/>
          </p:cNvSpPr>
          <p:nvPr>
            <p:ph type="title"/>
          </p:nvPr>
        </p:nvSpPr>
        <p:spPr>
          <a:xfrm>
            <a:off x="300039" y="383561"/>
            <a:ext cx="11592219" cy="700720"/>
          </a:xfrm>
        </p:spPr>
        <p:txBody>
          <a:bodyPr/>
          <a:lstStyle/>
          <a:p>
            <a:r>
              <a:rPr lang="en-GB" dirty="0">
                <a:solidFill>
                  <a:srgbClr val="0070C0"/>
                </a:solidFill>
                <a:latin typeface="Calibri" panose="020F0502020204030204"/>
              </a:rPr>
              <a:t>Your </a:t>
            </a:r>
            <a:r>
              <a:rPr lang="en-US" sz="2400" dirty="0">
                <a:solidFill>
                  <a:srgbClr val="0070C0"/>
                </a:solidFill>
              </a:rPr>
              <a:t>full liner </a:t>
            </a:r>
            <a:r>
              <a:rPr lang="en-GB" dirty="0">
                <a:solidFill>
                  <a:srgbClr val="0070C0"/>
                </a:solidFill>
                <a:latin typeface="Calibri" panose="020F0502020204030204"/>
              </a:rPr>
              <a:t>project partner for all reduction furnace applications </a:t>
            </a:r>
            <a:r>
              <a:rPr lang="en-GB" dirty="0">
                <a:solidFill>
                  <a:srgbClr val="0070C0"/>
                </a:solidFill>
              </a:rPr>
              <a:t>within SMS group</a:t>
            </a:r>
          </a:p>
        </p:txBody>
      </p:sp>
      <p:sp>
        <p:nvSpPr>
          <p:cNvPr id="7" name="Slide Number Placeholder 4">
            <a:extLst>
              <a:ext uri="{FF2B5EF4-FFF2-40B4-BE49-F238E27FC236}">
                <a16:creationId xmlns:a16="http://schemas.microsoft.com/office/drawing/2014/main" id="{3A128AA8-30B2-104A-D37B-9A5693778A19}"/>
              </a:ext>
            </a:extLst>
          </p:cNvPr>
          <p:cNvSpPr>
            <a:spLocks noGrp="1"/>
          </p:cNvSpPr>
          <p:nvPr>
            <p:ph type="sldNum" sz="quarter" idx="4"/>
          </p:nvPr>
        </p:nvSpPr>
        <p:spPr>
          <a:xfrm>
            <a:off x="11468908" y="6640462"/>
            <a:ext cx="720001" cy="216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043744-42FE-4892-90BA-7087481EB81E}" type="slidenum">
              <a:rPr kumimoji="0" lang="de-DE" sz="10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de-DE" sz="1000" b="0" i="0" u="none" strike="noStrike" kern="1200" cap="none" spc="0" normalizeH="0" baseline="0" noProof="0" dirty="0">
              <a:ln>
                <a:noFill/>
              </a:ln>
              <a:solidFill>
                <a:srgbClr val="000000"/>
              </a:solidFill>
              <a:effectLst/>
              <a:uLnTx/>
              <a:uFillTx/>
              <a:latin typeface="Calibri"/>
              <a:ea typeface="+mn-ea"/>
              <a:cs typeface="+mn-cs"/>
            </a:endParaRPr>
          </a:p>
        </p:txBody>
      </p:sp>
      <p:sp>
        <p:nvSpPr>
          <p:cNvPr id="9" name="TextBox 8">
            <a:extLst>
              <a:ext uri="{FF2B5EF4-FFF2-40B4-BE49-F238E27FC236}">
                <a16:creationId xmlns:a16="http://schemas.microsoft.com/office/drawing/2014/main" id="{B26A1C43-B45F-9626-0350-BD7C1E1273D9}"/>
              </a:ext>
            </a:extLst>
          </p:cNvPr>
          <p:cNvSpPr txBox="1"/>
          <p:nvPr/>
        </p:nvSpPr>
        <p:spPr bwMode="black">
          <a:xfrm>
            <a:off x="6220750" y="6604084"/>
            <a:ext cx="5579269"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000" b="0" i="1" u="none" strike="noStrike" kern="12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mn-cs"/>
              </a:rPr>
              <a:t>Contains Trade Secrets, Confidential, Proprietary, or Privileged Information Exempt from Public Disclosure</a:t>
            </a:r>
            <a:endParaRPr kumimoji="0" lang="en-ZA" sz="1000" b="0" i="1" u="none" strike="noStrike" kern="1200" cap="none" spc="0" normalizeH="0" baseline="0" noProof="0" dirty="0">
              <a:ln>
                <a:noFill/>
              </a:ln>
              <a:solidFill>
                <a:srgbClr val="000000"/>
              </a:solidFill>
              <a:effectLst/>
              <a:uLnTx/>
              <a:uFillTx/>
              <a:latin typeface="Calibri"/>
              <a:ea typeface="+mn-ea"/>
              <a:cs typeface="+mn-cs"/>
            </a:endParaRPr>
          </a:p>
        </p:txBody>
      </p:sp>
      <p:pic>
        <p:nvPicPr>
          <p:cNvPr id="10" name="Picture 9" descr="A picture containing screenshot, graphics, graphic design, font&#10;&#10;Description automatically generated">
            <a:extLst>
              <a:ext uri="{FF2B5EF4-FFF2-40B4-BE49-F238E27FC236}">
                <a16:creationId xmlns:a16="http://schemas.microsoft.com/office/drawing/2014/main" id="{562600DC-FB7D-5C3F-12AC-2947E62DC288}"/>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1229272" y="5826031"/>
            <a:ext cx="846835" cy="731246"/>
          </a:xfrm>
          <a:prstGeom prst="rect">
            <a:avLst/>
          </a:prstGeom>
        </p:spPr>
      </p:pic>
      <p:pic>
        <p:nvPicPr>
          <p:cNvPr id="12" name="Picture 11" descr="A group of circles with different colors&#10;&#10;AI-generated content may be incorrect.">
            <a:extLst>
              <a:ext uri="{FF2B5EF4-FFF2-40B4-BE49-F238E27FC236}">
                <a16:creationId xmlns:a16="http://schemas.microsoft.com/office/drawing/2014/main" id="{1004C277-B883-F753-2C4D-59E05BB54E23}"/>
              </a:ext>
            </a:extLst>
          </p:cNvPr>
          <p:cNvPicPr>
            <a:picLocks noChangeAspect="1"/>
          </p:cNvPicPr>
          <p:nvPr/>
        </p:nvPicPr>
        <p:blipFill>
          <a:blip r:embed="rId10"/>
          <a:stretch>
            <a:fillRect/>
          </a:stretch>
        </p:blipFill>
        <p:spPr>
          <a:xfrm>
            <a:off x="9479962" y="6257031"/>
            <a:ext cx="1633038" cy="222970"/>
          </a:xfrm>
          <a:prstGeom prst="rect">
            <a:avLst/>
          </a:prstGeom>
        </p:spPr>
      </p:pic>
    </p:spTree>
    <p:extLst>
      <p:ext uri="{BB962C8B-B14F-4D97-AF65-F5344CB8AC3E}">
        <p14:creationId xmlns:p14="http://schemas.microsoft.com/office/powerpoint/2010/main" val="3792039548"/>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10" presetClass="entr" presetSubtype="0" fill="hold" nodeType="withEffect">
                                  <p:stCondLst>
                                    <p:cond delay="0"/>
                                  </p:stCondLst>
                                  <p:childTnLst>
                                    <p:set>
                                      <p:cBhvr>
                                        <p:cTn id="9" dur="1" fill="hold">
                                          <p:stCondLst>
                                            <p:cond delay="0"/>
                                          </p:stCondLst>
                                        </p:cTn>
                                        <p:tgtEl>
                                          <p:spTgt spid="43"/>
                                        </p:tgtEl>
                                        <p:attrNameLst>
                                          <p:attrName>style.visibility</p:attrName>
                                        </p:attrNameLst>
                                      </p:cBhvr>
                                      <p:to>
                                        <p:strVal val="visible"/>
                                      </p:to>
                                    </p:set>
                                    <p:animEffect transition="in" filter="fade">
                                      <p:cBhvr>
                                        <p:cTn id="10" dur="500"/>
                                        <p:tgtEl>
                                          <p:spTgt spid="43"/>
                                        </p:tgtEl>
                                      </p:cBhvr>
                                    </p:animEffect>
                                  </p:childTnLst>
                                </p:cTn>
                              </p:par>
                              <p:par>
                                <p:cTn id="11" presetID="10" presetClass="entr" presetSubtype="0" fill="hold" nodeType="withEffect">
                                  <p:stCondLst>
                                    <p:cond delay="0"/>
                                  </p:stCondLst>
                                  <p:childTnLst>
                                    <p:set>
                                      <p:cBhvr>
                                        <p:cTn id="12" dur="1" fill="hold">
                                          <p:stCondLst>
                                            <p:cond delay="0"/>
                                          </p:stCondLst>
                                        </p:cTn>
                                        <p:tgtEl>
                                          <p:spTgt spid="40"/>
                                        </p:tgtEl>
                                        <p:attrNameLst>
                                          <p:attrName>style.visibility</p:attrName>
                                        </p:attrNameLst>
                                      </p:cBhvr>
                                      <p:to>
                                        <p:strVal val="visible"/>
                                      </p:to>
                                    </p:set>
                                    <p:animEffect transition="in" filter="fade">
                                      <p:cBhvr>
                                        <p:cTn id="1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775D65-ACF7-B6E6-28AE-0BC2F0036FEB}"/>
            </a:ext>
          </a:extLst>
        </p:cNvPr>
        <p:cNvGrpSpPr/>
        <p:nvPr/>
      </p:nvGrpSpPr>
      <p:grpSpPr>
        <a:xfrm>
          <a:off x="0" y="0"/>
          <a:ext cx="0" cy="0"/>
          <a:chOff x="0" y="0"/>
          <a:chExt cx="0" cy="0"/>
        </a:xfrm>
      </p:grpSpPr>
      <p:grpSp>
        <p:nvGrpSpPr>
          <p:cNvPr id="8" name="Group 7">
            <a:extLst>
              <a:ext uri="{FF2B5EF4-FFF2-40B4-BE49-F238E27FC236}">
                <a16:creationId xmlns:a16="http://schemas.microsoft.com/office/drawing/2014/main" id="{632B0343-4495-3E61-03ED-E38109E655D4}"/>
              </a:ext>
            </a:extLst>
          </p:cNvPr>
          <p:cNvGrpSpPr>
            <a:grpSpLocks noChangeAspect="1"/>
          </p:cNvGrpSpPr>
          <p:nvPr/>
        </p:nvGrpSpPr>
        <p:grpSpPr>
          <a:xfrm>
            <a:off x="3780297" y="5058777"/>
            <a:ext cx="2174449" cy="1754599"/>
            <a:chOff x="3770104" y="4797152"/>
            <a:chExt cx="2331084" cy="1880990"/>
          </a:xfrm>
        </p:grpSpPr>
        <p:pic>
          <p:nvPicPr>
            <p:cNvPr id="296" name="Picture 295" descr="A machine on the white cover&#10;&#10;Description automatically generated with low confidence">
              <a:extLst>
                <a:ext uri="{FF2B5EF4-FFF2-40B4-BE49-F238E27FC236}">
                  <a16:creationId xmlns:a16="http://schemas.microsoft.com/office/drawing/2014/main" id="{8DFFDF0A-D5AC-46F3-9449-288D6782BEC2}"/>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6354" t="11414" r="23645"/>
            <a:stretch/>
          </p:blipFill>
          <p:spPr>
            <a:xfrm>
              <a:off x="3841552" y="4797152"/>
              <a:ext cx="2038424" cy="1880990"/>
            </a:xfrm>
            <a:prstGeom prst="rect">
              <a:avLst/>
            </a:prstGeom>
          </p:spPr>
        </p:pic>
        <p:sp>
          <p:nvSpPr>
            <p:cNvPr id="298" name="Text Box 4">
              <a:extLst>
                <a:ext uri="{FF2B5EF4-FFF2-40B4-BE49-F238E27FC236}">
                  <a16:creationId xmlns:a16="http://schemas.microsoft.com/office/drawing/2014/main" id="{3A00E2FA-8691-FC8C-94F1-117C6A132297}"/>
                </a:ext>
              </a:extLst>
            </p:cNvPr>
            <p:cNvSpPr txBox="1">
              <a:spLocks noChangeArrowheads="1"/>
            </p:cNvSpPr>
            <p:nvPr/>
          </p:nvSpPr>
          <p:spPr bwMode="auto">
            <a:xfrm>
              <a:off x="3770104" y="6091737"/>
              <a:ext cx="2331084" cy="263957"/>
            </a:xfrm>
            <a:prstGeom prst="rect">
              <a:avLst/>
            </a:prstGeom>
            <a:solidFill>
              <a:schemeClr val="accent5">
                <a:alpha val="50000"/>
              </a:schemeClr>
            </a:solidFill>
            <a:ln>
              <a:noFill/>
            </a:ln>
            <a:effectLst>
              <a:softEdge rad="63500"/>
            </a:effectLst>
          </p:spPr>
          <p:style>
            <a:lnRef idx="0">
              <a:scrgbClr r="0" g="0" b="0"/>
            </a:lnRef>
            <a:fillRef idx="0">
              <a:scrgbClr r="0" g="0" b="0"/>
            </a:fillRef>
            <a:effectRef idx="0">
              <a:scrgbClr r="0" g="0" b="0"/>
            </a:effectRef>
            <a:fontRef idx="minor">
              <a:schemeClr val="lt1"/>
            </a:fontRef>
          </p:style>
          <p:txBody>
            <a:bodyPr wrap="square">
              <a:spAutoFit/>
            </a:bodyPr>
            <a:lstStyle>
              <a:lvl1pPr marL="292100" indent="-292100" algn="ctr" defTabSz="762000" eaLnBrk="0" hangingPunct="0">
                <a:spcBef>
                  <a:spcPct val="50000"/>
                </a:spcBef>
                <a:defRPr sz="1600">
                  <a:solidFill>
                    <a:schemeClr val="tx1"/>
                  </a:solidFill>
                  <a:latin typeface="Arial" charset="0"/>
                </a:defRPr>
              </a:lvl1pPr>
              <a:lvl2pPr marL="742950" indent="-285750" algn="ctr" defTabSz="762000" eaLnBrk="0" hangingPunct="0">
                <a:spcBef>
                  <a:spcPct val="50000"/>
                </a:spcBef>
                <a:defRPr sz="1600">
                  <a:solidFill>
                    <a:schemeClr val="tx1"/>
                  </a:solidFill>
                  <a:latin typeface="Arial" charset="0"/>
                </a:defRPr>
              </a:lvl2pPr>
              <a:lvl3pPr marL="1143000" indent="-228600" algn="ctr" defTabSz="762000" eaLnBrk="0" hangingPunct="0">
                <a:spcBef>
                  <a:spcPct val="50000"/>
                </a:spcBef>
                <a:defRPr sz="1600">
                  <a:solidFill>
                    <a:schemeClr val="tx1"/>
                  </a:solidFill>
                  <a:latin typeface="Arial" charset="0"/>
                </a:defRPr>
              </a:lvl3pPr>
              <a:lvl4pPr marL="1600200" indent="-228600" algn="ctr" defTabSz="762000" eaLnBrk="0" hangingPunct="0">
                <a:spcBef>
                  <a:spcPct val="50000"/>
                </a:spcBef>
                <a:defRPr sz="1600">
                  <a:solidFill>
                    <a:schemeClr val="tx1"/>
                  </a:solidFill>
                  <a:latin typeface="Arial" charset="0"/>
                </a:defRPr>
              </a:lvl4pPr>
              <a:lvl5pPr marL="2057400" indent="-228600" algn="ctr" defTabSz="762000" eaLnBrk="0" hangingPunct="0">
                <a:spcBef>
                  <a:spcPct val="50000"/>
                </a:spcBef>
                <a:defRPr sz="1600">
                  <a:solidFill>
                    <a:schemeClr val="tx1"/>
                  </a:solidFill>
                  <a:latin typeface="Arial" charset="0"/>
                </a:defRPr>
              </a:lvl5pPr>
              <a:lvl6pPr marL="2514600" indent="-228600" algn="ctr" defTabSz="762000" eaLnBrk="0" fontAlgn="base" hangingPunct="0">
                <a:spcBef>
                  <a:spcPct val="50000"/>
                </a:spcBef>
                <a:spcAft>
                  <a:spcPct val="0"/>
                </a:spcAft>
                <a:defRPr sz="1600">
                  <a:solidFill>
                    <a:schemeClr val="tx1"/>
                  </a:solidFill>
                  <a:latin typeface="Arial" charset="0"/>
                </a:defRPr>
              </a:lvl6pPr>
              <a:lvl7pPr marL="2971800" indent="-228600" algn="ctr" defTabSz="762000" eaLnBrk="0" fontAlgn="base" hangingPunct="0">
                <a:spcBef>
                  <a:spcPct val="50000"/>
                </a:spcBef>
                <a:spcAft>
                  <a:spcPct val="0"/>
                </a:spcAft>
                <a:defRPr sz="1600">
                  <a:solidFill>
                    <a:schemeClr val="tx1"/>
                  </a:solidFill>
                  <a:latin typeface="Arial" charset="0"/>
                </a:defRPr>
              </a:lvl7pPr>
              <a:lvl8pPr marL="3429000" indent="-228600" algn="ctr" defTabSz="762000" eaLnBrk="0" fontAlgn="base" hangingPunct="0">
                <a:spcBef>
                  <a:spcPct val="50000"/>
                </a:spcBef>
                <a:spcAft>
                  <a:spcPct val="0"/>
                </a:spcAft>
                <a:defRPr sz="1600">
                  <a:solidFill>
                    <a:schemeClr val="tx1"/>
                  </a:solidFill>
                  <a:latin typeface="Arial" charset="0"/>
                </a:defRPr>
              </a:lvl8pPr>
              <a:lvl9pPr marL="3886200" indent="-228600" algn="ctr" defTabSz="762000" eaLnBrk="0" fontAlgn="base" hangingPunct="0">
                <a:spcBef>
                  <a:spcPct val="50000"/>
                </a:spcBef>
                <a:spcAft>
                  <a:spcPct val="0"/>
                </a:spcAft>
                <a:defRPr sz="1600">
                  <a:solidFill>
                    <a:schemeClr val="tx1"/>
                  </a:solidFill>
                  <a:latin typeface="Arial" charset="0"/>
                </a:defRPr>
              </a:lvl9pPr>
            </a:lstStyle>
            <a:p>
              <a:pPr marL="292100" marR="0" lvl="0" indent="-292100" algn="ctr" defTabSz="762000" rtl="0" eaLnBrk="0" fontAlgn="auto" latinLnBrk="0" hangingPunct="0">
                <a:lnSpc>
                  <a:spcPct val="100000"/>
                </a:lnSpc>
                <a:spcBef>
                  <a:spcPct val="0"/>
                </a:spcBef>
                <a:spcAft>
                  <a:spcPts val="0"/>
                </a:spcAft>
                <a:buClrTx/>
                <a:buSzTx/>
                <a:buFontTx/>
                <a:buNone/>
                <a:tabLst/>
                <a:defRPr/>
              </a:pPr>
              <a:r>
                <a:rPr kumimoji="0" lang="de-DE" sz="1000" b="1" i="0" u="none" strike="noStrike" kern="0" cap="none" spc="0" normalizeH="0" baseline="0" noProof="0" dirty="0">
                  <a:ln>
                    <a:noFill/>
                  </a:ln>
                  <a:solidFill>
                    <a:srgbClr val="FFFFFF"/>
                  </a:solidFill>
                  <a:effectLst/>
                  <a:uLnTx/>
                  <a:uFillTx/>
                  <a:latin typeface="Arial" charset="0"/>
                  <a:ea typeface="+mn-ea"/>
                  <a:cs typeface="+mn-cs"/>
                </a:rPr>
                <a:t>Bespoke &amp; tailored pilot plants </a:t>
              </a:r>
            </a:p>
          </p:txBody>
        </p:sp>
      </p:grpSp>
      <p:sp>
        <p:nvSpPr>
          <p:cNvPr id="13" name="Titel 3"/>
          <p:cNvSpPr>
            <a:spLocks noGrp="1"/>
          </p:cNvSpPr>
          <p:nvPr>
            <p:ph type="title"/>
          </p:nvPr>
        </p:nvSpPr>
        <p:spPr>
          <a:xfrm>
            <a:off x="289453" y="377999"/>
            <a:ext cx="11613389" cy="702000"/>
          </a:xfrm>
        </p:spPr>
        <p:txBody>
          <a:bodyPr vert="horz"/>
          <a:lstStyle/>
          <a:p>
            <a:r>
              <a:rPr lang="de-DE" dirty="0"/>
              <a:t>Metix‘ </a:t>
            </a:r>
            <a:r>
              <a:rPr lang="en-ZA" noProof="0" dirty="0"/>
              <a:t>core competence </a:t>
            </a:r>
            <a:r>
              <a:rPr lang="de-DE" dirty="0"/>
              <a:t>&amp; </a:t>
            </a:r>
            <a:r>
              <a:rPr lang="en-ZA" dirty="0"/>
              <a:t>capabilities</a:t>
            </a:r>
          </a:p>
        </p:txBody>
      </p:sp>
      <p:grpSp>
        <p:nvGrpSpPr>
          <p:cNvPr id="14" name="Group 13">
            <a:extLst>
              <a:ext uri="{FF2B5EF4-FFF2-40B4-BE49-F238E27FC236}">
                <a16:creationId xmlns:a16="http://schemas.microsoft.com/office/drawing/2014/main" id="{6D41F4FF-985F-4FC5-8B03-C8E29D70F17B}"/>
              </a:ext>
            </a:extLst>
          </p:cNvPr>
          <p:cNvGrpSpPr/>
          <p:nvPr/>
        </p:nvGrpSpPr>
        <p:grpSpPr>
          <a:xfrm>
            <a:off x="526921" y="908720"/>
            <a:ext cx="4323631" cy="2112113"/>
            <a:chOff x="526921" y="908720"/>
            <a:chExt cx="4323631" cy="2112113"/>
          </a:xfrm>
        </p:grpSpPr>
        <p:grpSp>
          <p:nvGrpSpPr>
            <p:cNvPr id="15" name="Group 209">
              <a:extLst>
                <a:ext uri="{FF2B5EF4-FFF2-40B4-BE49-F238E27FC236}">
                  <a16:creationId xmlns:a16="http://schemas.microsoft.com/office/drawing/2014/main" id="{C21BD43A-F554-C3B9-3B45-BF9A9602BB74}"/>
                </a:ext>
              </a:extLst>
            </p:cNvPr>
            <p:cNvGrpSpPr/>
            <p:nvPr/>
          </p:nvGrpSpPr>
          <p:grpSpPr>
            <a:xfrm>
              <a:off x="2613696" y="1399873"/>
              <a:ext cx="185342" cy="162173"/>
              <a:chOff x="3947213" y="2177608"/>
              <a:chExt cx="291202" cy="254801"/>
            </a:xfrm>
            <a:solidFill>
              <a:schemeClr val="accent2">
                <a:lumMod val="50000"/>
              </a:schemeClr>
            </a:solidFill>
          </p:grpSpPr>
          <p:grpSp>
            <p:nvGrpSpPr>
              <p:cNvPr id="230" name="Group 205">
                <a:extLst>
                  <a:ext uri="{FF2B5EF4-FFF2-40B4-BE49-F238E27FC236}">
                    <a16:creationId xmlns:a16="http://schemas.microsoft.com/office/drawing/2014/main" id="{1D766A17-91F8-B31C-72CB-45752E00A2F2}"/>
                  </a:ext>
                </a:extLst>
              </p:cNvPr>
              <p:cNvGrpSpPr/>
              <p:nvPr/>
            </p:nvGrpSpPr>
            <p:grpSpPr>
              <a:xfrm>
                <a:off x="3947213" y="2177608"/>
                <a:ext cx="291202" cy="254801"/>
                <a:chOff x="3947213" y="2177608"/>
                <a:chExt cx="291202" cy="254801"/>
              </a:xfrm>
              <a:grpFill/>
            </p:grpSpPr>
            <p:grpSp>
              <p:nvGrpSpPr>
                <p:cNvPr id="233" name="Group 194">
                  <a:extLst>
                    <a:ext uri="{FF2B5EF4-FFF2-40B4-BE49-F238E27FC236}">
                      <a16:creationId xmlns:a16="http://schemas.microsoft.com/office/drawing/2014/main" id="{08E1E62F-F95E-A44B-C9C0-44D5B5905E74}"/>
                    </a:ext>
                  </a:extLst>
                </p:cNvPr>
                <p:cNvGrpSpPr/>
                <p:nvPr/>
              </p:nvGrpSpPr>
              <p:grpSpPr>
                <a:xfrm>
                  <a:off x="3947213" y="2177608"/>
                  <a:ext cx="291202" cy="254801"/>
                  <a:chOff x="3947213" y="2177608"/>
                  <a:chExt cx="291202" cy="254801"/>
                </a:xfrm>
                <a:grpFill/>
              </p:grpSpPr>
              <p:sp>
                <p:nvSpPr>
                  <p:cNvPr id="235" name="Italy">
                    <a:extLst>
                      <a:ext uri="{FF2B5EF4-FFF2-40B4-BE49-F238E27FC236}">
                        <a16:creationId xmlns:a16="http://schemas.microsoft.com/office/drawing/2014/main" id="{40E2C78A-7C7A-0E78-3D7D-3321FDA6DA5D}"/>
                      </a:ext>
                    </a:extLst>
                  </p:cNvPr>
                  <p:cNvSpPr>
                    <a:spLocks/>
                  </p:cNvSpPr>
                  <p:nvPr/>
                </p:nvSpPr>
                <p:spPr bwMode="auto">
                  <a:xfrm>
                    <a:off x="3947213" y="2177608"/>
                    <a:ext cx="237815" cy="254801"/>
                  </a:xfrm>
                  <a:custGeom>
                    <a:avLst/>
                    <a:gdLst>
                      <a:gd name="connsiteX0" fmla="*/ 177404 w 233363"/>
                      <a:gd name="connsiteY0" fmla="*/ 211931 h 250031"/>
                      <a:gd name="connsiteX1" fmla="*/ 170507 w 233363"/>
                      <a:gd name="connsiteY1" fmla="*/ 223137 h 250031"/>
                      <a:gd name="connsiteX2" fmla="*/ 168208 w 233363"/>
                      <a:gd name="connsiteY2" fmla="*/ 234343 h 250031"/>
                      <a:gd name="connsiteX3" fmla="*/ 170507 w 233363"/>
                      <a:gd name="connsiteY3" fmla="*/ 243307 h 250031"/>
                      <a:gd name="connsiteX4" fmla="*/ 168208 w 233363"/>
                      <a:gd name="connsiteY4" fmla="*/ 250031 h 250031"/>
                      <a:gd name="connsiteX5" fmla="*/ 159011 w 233363"/>
                      <a:gd name="connsiteY5" fmla="*/ 250031 h 250031"/>
                      <a:gd name="connsiteX6" fmla="*/ 149814 w 233363"/>
                      <a:gd name="connsiteY6" fmla="*/ 241066 h 250031"/>
                      <a:gd name="connsiteX7" fmla="*/ 136019 w 233363"/>
                      <a:gd name="connsiteY7" fmla="*/ 236584 h 250031"/>
                      <a:gd name="connsiteX8" fmla="*/ 122225 w 233363"/>
                      <a:gd name="connsiteY8" fmla="*/ 229860 h 250031"/>
                      <a:gd name="connsiteX9" fmla="*/ 115327 w 233363"/>
                      <a:gd name="connsiteY9" fmla="*/ 227619 h 250031"/>
                      <a:gd name="connsiteX10" fmla="*/ 119925 w 233363"/>
                      <a:gd name="connsiteY10" fmla="*/ 216413 h 250031"/>
                      <a:gd name="connsiteX11" fmla="*/ 126823 w 233363"/>
                      <a:gd name="connsiteY11" fmla="*/ 216413 h 250031"/>
                      <a:gd name="connsiteX12" fmla="*/ 142917 w 233363"/>
                      <a:gd name="connsiteY12" fmla="*/ 218654 h 250031"/>
                      <a:gd name="connsiteX13" fmla="*/ 154413 w 233363"/>
                      <a:gd name="connsiteY13" fmla="*/ 218654 h 250031"/>
                      <a:gd name="connsiteX14" fmla="*/ 163609 w 233363"/>
                      <a:gd name="connsiteY14" fmla="*/ 214172 h 250031"/>
                      <a:gd name="connsiteX15" fmla="*/ 170507 w 233363"/>
                      <a:gd name="connsiteY15" fmla="*/ 214172 h 250031"/>
                      <a:gd name="connsiteX16" fmla="*/ 177404 w 233363"/>
                      <a:gd name="connsiteY16" fmla="*/ 211931 h 250031"/>
                      <a:gd name="connsiteX17" fmla="*/ 51537 w 233363"/>
                      <a:gd name="connsiteY17" fmla="*/ 141547 h 250031"/>
                      <a:gd name="connsiteX18" fmla="*/ 56129 w 233363"/>
                      <a:gd name="connsiteY18" fmla="*/ 143791 h 250031"/>
                      <a:gd name="connsiteX19" fmla="*/ 56129 w 233363"/>
                      <a:gd name="connsiteY19" fmla="*/ 146035 h 250031"/>
                      <a:gd name="connsiteX20" fmla="*/ 56129 w 233363"/>
                      <a:gd name="connsiteY20" fmla="*/ 148278 h 250031"/>
                      <a:gd name="connsiteX21" fmla="*/ 60722 w 233363"/>
                      <a:gd name="connsiteY21" fmla="*/ 159498 h 250031"/>
                      <a:gd name="connsiteX22" fmla="*/ 58426 w 233363"/>
                      <a:gd name="connsiteY22" fmla="*/ 166230 h 250031"/>
                      <a:gd name="connsiteX23" fmla="*/ 58426 w 233363"/>
                      <a:gd name="connsiteY23" fmla="*/ 181937 h 250031"/>
                      <a:gd name="connsiteX24" fmla="*/ 56129 w 233363"/>
                      <a:gd name="connsiteY24" fmla="*/ 190912 h 250031"/>
                      <a:gd name="connsiteX25" fmla="*/ 46945 w 233363"/>
                      <a:gd name="connsiteY25" fmla="*/ 188668 h 250031"/>
                      <a:gd name="connsiteX26" fmla="*/ 40056 w 233363"/>
                      <a:gd name="connsiteY26" fmla="*/ 197644 h 250031"/>
                      <a:gd name="connsiteX27" fmla="*/ 35464 w 233363"/>
                      <a:gd name="connsiteY27" fmla="*/ 193156 h 250031"/>
                      <a:gd name="connsiteX28" fmla="*/ 33167 w 233363"/>
                      <a:gd name="connsiteY28" fmla="*/ 195400 h 250031"/>
                      <a:gd name="connsiteX29" fmla="*/ 30871 w 233363"/>
                      <a:gd name="connsiteY29" fmla="*/ 193156 h 250031"/>
                      <a:gd name="connsiteX30" fmla="*/ 33167 w 233363"/>
                      <a:gd name="connsiteY30" fmla="*/ 186425 h 250031"/>
                      <a:gd name="connsiteX31" fmla="*/ 33167 w 233363"/>
                      <a:gd name="connsiteY31" fmla="*/ 175205 h 250031"/>
                      <a:gd name="connsiteX32" fmla="*/ 35464 w 233363"/>
                      <a:gd name="connsiteY32" fmla="*/ 177449 h 250031"/>
                      <a:gd name="connsiteX33" fmla="*/ 35464 w 233363"/>
                      <a:gd name="connsiteY33" fmla="*/ 172961 h 250031"/>
                      <a:gd name="connsiteX34" fmla="*/ 33167 w 233363"/>
                      <a:gd name="connsiteY34" fmla="*/ 170717 h 250031"/>
                      <a:gd name="connsiteX35" fmla="*/ 35464 w 233363"/>
                      <a:gd name="connsiteY35" fmla="*/ 166230 h 250031"/>
                      <a:gd name="connsiteX36" fmla="*/ 33167 w 233363"/>
                      <a:gd name="connsiteY36" fmla="*/ 159498 h 250031"/>
                      <a:gd name="connsiteX37" fmla="*/ 28575 w 233363"/>
                      <a:gd name="connsiteY37" fmla="*/ 157254 h 250031"/>
                      <a:gd name="connsiteX38" fmla="*/ 28575 w 233363"/>
                      <a:gd name="connsiteY38" fmla="*/ 148278 h 250031"/>
                      <a:gd name="connsiteX39" fmla="*/ 44648 w 233363"/>
                      <a:gd name="connsiteY39" fmla="*/ 143791 h 250031"/>
                      <a:gd name="connsiteX40" fmla="*/ 51537 w 233363"/>
                      <a:gd name="connsiteY40" fmla="*/ 141547 h 250031"/>
                      <a:gd name="connsiteX41" fmla="*/ 72629 w 233363"/>
                      <a:gd name="connsiteY41" fmla="*/ 100013 h 250031"/>
                      <a:gd name="connsiteX42" fmla="*/ 72629 w 233363"/>
                      <a:gd name="connsiteY42" fmla="*/ 104776 h 250031"/>
                      <a:gd name="connsiteX43" fmla="*/ 67866 w 233363"/>
                      <a:gd name="connsiteY43" fmla="*/ 102394 h 250031"/>
                      <a:gd name="connsiteX44" fmla="*/ 72629 w 233363"/>
                      <a:gd name="connsiteY44" fmla="*/ 100013 h 250031"/>
                      <a:gd name="connsiteX45" fmla="*/ 101955 w 233363"/>
                      <a:gd name="connsiteY45" fmla="*/ 0 h 250031"/>
                      <a:gd name="connsiteX46" fmla="*/ 106486 w 233363"/>
                      <a:gd name="connsiteY46" fmla="*/ 0 h 250031"/>
                      <a:gd name="connsiteX47" fmla="*/ 115549 w 233363"/>
                      <a:gd name="connsiteY47" fmla="*/ 11359 h 250031"/>
                      <a:gd name="connsiteX48" fmla="*/ 124611 w 233363"/>
                      <a:gd name="connsiteY48" fmla="*/ 11359 h 250031"/>
                      <a:gd name="connsiteX49" fmla="*/ 135939 w 233363"/>
                      <a:gd name="connsiteY49" fmla="*/ 13631 h 250031"/>
                      <a:gd name="connsiteX50" fmla="*/ 129143 w 233363"/>
                      <a:gd name="connsiteY50" fmla="*/ 18175 h 250031"/>
                      <a:gd name="connsiteX51" fmla="*/ 135939 w 233363"/>
                      <a:gd name="connsiteY51" fmla="*/ 20447 h 250031"/>
                      <a:gd name="connsiteX52" fmla="*/ 133674 w 233363"/>
                      <a:gd name="connsiteY52" fmla="*/ 27263 h 250031"/>
                      <a:gd name="connsiteX53" fmla="*/ 138205 w 233363"/>
                      <a:gd name="connsiteY53" fmla="*/ 31807 h 250031"/>
                      <a:gd name="connsiteX54" fmla="*/ 135939 w 233363"/>
                      <a:gd name="connsiteY54" fmla="*/ 36350 h 250031"/>
                      <a:gd name="connsiteX55" fmla="*/ 129143 w 233363"/>
                      <a:gd name="connsiteY55" fmla="*/ 34079 h 250031"/>
                      <a:gd name="connsiteX56" fmla="*/ 122346 w 233363"/>
                      <a:gd name="connsiteY56" fmla="*/ 34079 h 250031"/>
                      <a:gd name="connsiteX57" fmla="*/ 117814 w 233363"/>
                      <a:gd name="connsiteY57" fmla="*/ 36350 h 250031"/>
                      <a:gd name="connsiteX58" fmla="*/ 113283 w 233363"/>
                      <a:gd name="connsiteY58" fmla="*/ 36350 h 250031"/>
                      <a:gd name="connsiteX59" fmla="*/ 108752 w 233363"/>
                      <a:gd name="connsiteY59" fmla="*/ 38622 h 250031"/>
                      <a:gd name="connsiteX60" fmla="*/ 106486 w 233363"/>
                      <a:gd name="connsiteY60" fmla="*/ 43166 h 250031"/>
                      <a:gd name="connsiteX61" fmla="*/ 111017 w 233363"/>
                      <a:gd name="connsiteY61" fmla="*/ 47710 h 250031"/>
                      <a:gd name="connsiteX62" fmla="*/ 108752 w 233363"/>
                      <a:gd name="connsiteY62" fmla="*/ 54526 h 250031"/>
                      <a:gd name="connsiteX63" fmla="*/ 124611 w 233363"/>
                      <a:gd name="connsiteY63" fmla="*/ 77245 h 250031"/>
                      <a:gd name="connsiteX64" fmla="*/ 135939 w 233363"/>
                      <a:gd name="connsiteY64" fmla="*/ 86332 h 250031"/>
                      <a:gd name="connsiteX65" fmla="*/ 142736 w 233363"/>
                      <a:gd name="connsiteY65" fmla="*/ 102236 h 250031"/>
                      <a:gd name="connsiteX66" fmla="*/ 163128 w 233363"/>
                      <a:gd name="connsiteY66" fmla="*/ 120411 h 250031"/>
                      <a:gd name="connsiteX67" fmla="*/ 176722 w 233363"/>
                      <a:gd name="connsiteY67" fmla="*/ 122683 h 250031"/>
                      <a:gd name="connsiteX68" fmla="*/ 185784 w 233363"/>
                      <a:gd name="connsiteY68" fmla="*/ 127227 h 250031"/>
                      <a:gd name="connsiteX69" fmla="*/ 181253 w 233363"/>
                      <a:gd name="connsiteY69" fmla="*/ 134043 h 250031"/>
                      <a:gd name="connsiteX70" fmla="*/ 194847 w 233363"/>
                      <a:gd name="connsiteY70" fmla="*/ 140858 h 250031"/>
                      <a:gd name="connsiteX71" fmla="*/ 210707 w 233363"/>
                      <a:gd name="connsiteY71" fmla="*/ 147674 h 250031"/>
                      <a:gd name="connsiteX72" fmla="*/ 226566 w 233363"/>
                      <a:gd name="connsiteY72" fmla="*/ 156762 h 250031"/>
                      <a:gd name="connsiteX73" fmla="*/ 233363 w 233363"/>
                      <a:gd name="connsiteY73" fmla="*/ 168121 h 250031"/>
                      <a:gd name="connsiteX74" fmla="*/ 231097 w 233363"/>
                      <a:gd name="connsiteY74" fmla="*/ 174937 h 250031"/>
                      <a:gd name="connsiteX75" fmla="*/ 224300 w 233363"/>
                      <a:gd name="connsiteY75" fmla="*/ 170393 h 250031"/>
                      <a:gd name="connsiteX76" fmla="*/ 215238 w 233363"/>
                      <a:gd name="connsiteY76" fmla="*/ 163577 h 250031"/>
                      <a:gd name="connsiteX77" fmla="*/ 208441 w 233363"/>
                      <a:gd name="connsiteY77" fmla="*/ 159034 h 250031"/>
                      <a:gd name="connsiteX78" fmla="*/ 199378 w 233363"/>
                      <a:gd name="connsiteY78" fmla="*/ 163577 h 250031"/>
                      <a:gd name="connsiteX79" fmla="*/ 194847 w 233363"/>
                      <a:gd name="connsiteY79" fmla="*/ 174937 h 250031"/>
                      <a:gd name="connsiteX80" fmla="*/ 201644 w 233363"/>
                      <a:gd name="connsiteY80" fmla="*/ 181753 h 250031"/>
                      <a:gd name="connsiteX81" fmla="*/ 208441 w 233363"/>
                      <a:gd name="connsiteY81" fmla="*/ 190840 h 250031"/>
                      <a:gd name="connsiteX82" fmla="*/ 194847 w 233363"/>
                      <a:gd name="connsiteY82" fmla="*/ 204472 h 250031"/>
                      <a:gd name="connsiteX83" fmla="*/ 192581 w 233363"/>
                      <a:gd name="connsiteY83" fmla="*/ 211287 h 250031"/>
                      <a:gd name="connsiteX84" fmla="*/ 183519 w 233363"/>
                      <a:gd name="connsiteY84" fmla="*/ 220375 h 250031"/>
                      <a:gd name="connsiteX85" fmla="*/ 176722 w 233363"/>
                      <a:gd name="connsiteY85" fmla="*/ 218103 h 250031"/>
                      <a:gd name="connsiteX86" fmla="*/ 183519 w 233363"/>
                      <a:gd name="connsiteY86" fmla="*/ 206744 h 250031"/>
                      <a:gd name="connsiteX87" fmla="*/ 183519 w 233363"/>
                      <a:gd name="connsiteY87" fmla="*/ 202200 h 250031"/>
                      <a:gd name="connsiteX88" fmla="*/ 188050 w 233363"/>
                      <a:gd name="connsiteY88" fmla="*/ 199928 h 250031"/>
                      <a:gd name="connsiteX89" fmla="*/ 185784 w 233363"/>
                      <a:gd name="connsiteY89" fmla="*/ 190840 h 250031"/>
                      <a:gd name="connsiteX90" fmla="*/ 183519 w 233363"/>
                      <a:gd name="connsiteY90" fmla="*/ 181753 h 250031"/>
                      <a:gd name="connsiteX91" fmla="*/ 176722 w 233363"/>
                      <a:gd name="connsiteY91" fmla="*/ 170393 h 250031"/>
                      <a:gd name="connsiteX92" fmla="*/ 172190 w 233363"/>
                      <a:gd name="connsiteY92" fmla="*/ 170393 h 250031"/>
                      <a:gd name="connsiteX93" fmla="*/ 167659 w 233363"/>
                      <a:gd name="connsiteY93" fmla="*/ 168121 h 250031"/>
                      <a:gd name="connsiteX94" fmla="*/ 163128 w 233363"/>
                      <a:gd name="connsiteY94" fmla="*/ 163577 h 250031"/>
                      <a:gd name="connsiteX95" fmla="*/ 163128 w 233363"/>
                      <a:gd name="connsiteY95" fmla="*/ 159034 h 250031"/>
                      <a:gd name="connsiteX96" fmla="*/ 151799 w 233363"/>
                      <a:gd name="connsiteY96" fmla="*/ 156762 h 250031"/>
                      <a:gd name="connsiteX97" fmla="*/ 147268 w 233363"/>
                      <a:gd name="connsiteY97" fmla="*/ 149946 h 250031"/>
                      <a:gd name="connsiteX98" fmla="*/ 140471 w 233363"/>
                      <a:gd name="connsiteY98" fmla="*/ 143130 h 250031"/>
                      <a:gd name="connsiteX99" fmla="*/ 135939 w 233363"/>
                      <a:gd name="connsiteY99" fmla="*/ 140858 h 250031"/>
                      <a:gd name="connsiteX100" fmla="*/ 133674 w 233363"/>
                      <a:gd name="connsiteY100" fmla="*/ 140858 h 250031"/>
                      <a:gd name="connsiteX101" fmla="*/ 126877 w 233363"/>
                      <a:gd name="connsiteY101" fmla="*/ 138586 h 250031"/>
                      <a:gd name="connsiteX102" fmla="*/ 122346 w 233363"/>
                      <a:gd name="connsiteY102" fmla="*/ 138586 h 250031"/>
                      <a:gd name="connsiteX103" fmla="*/ 113283 w 233363"/>
                      <a:gd name="connsiteY103" fmla="*/ 131771 h 250031"/>
                      <a:gd name="connsiteX104" fmla="*/ 104220 w 233363"/>
                      <a:gd name="connsiteY104" fmla="*/ 122683 h 250031"/>
                      <a:gd name="connsiteX105" fmla="*/ 99689 w 233363"/>
                      <a:gd name="connsiteY105" fmla="*/ 118139 h 250031"/>
                      <a:gd name="connsiteX106" fmla="*/ 88361 w 233363"/>
                      <a:gd name="connsiteY106" fmla="*/ 113595 h 250031"/>
                      <a:gd name="connsiteX107" fmla="*/ 77032 w 233363"/>
                      <a:gd name="connsiteY107" fmla="*/ 99964 h 250031"/>
                      <a:gd name="connsiteX108" fmla="*/ 70235 w 233363"/>
                      <a:gd name="connsiteY108" fmla="*/ 81789 h 250031"/>
                      <a:gd name="connsiteX109" fmla="*/ 56641 w 233363"/>
                      <a:gd name="connsiteY109" fmla="*/ 68157 h 250031"/>
                      <a:gd name="connsiteX110" fmla="*/ 33985 w 233363"/>
                      <a:gd name="connsiteY110" fmla="*/ 68157 h 250031"/>
                      <a:gd name="connsiteX111" fmla="*/ 27188 w 233363"/>
                      <a:gd name="connsiteY111" fmla="*/ 77245 h 250031"/>
                      <a:gd name="connsiteX112" fmla="*/ 15859 w 233363"/>
                      <a:gd name="connsiteY112" fmla="*/ 77245 h 250031"/>
                      <a:gd name="connsiteX113" fmla="*/ 15859 w 233363"/>
                      <a:gd name="connsiteY113" fmla="*/ 70429 h 250031"/>
                      <a:gd name="connsiteX114" fmla="*/ 6797 w 233363"/>
                      <a:gd name="connsiteY114" fmla="*/ 59070 h 250031"/>
                      <a:gd name="connsiteX115" fmla="*/ 4531 w 233363"/>
                      <a:gd name="connsiteY115" fmla="*/ 54526 h 250031"/>
                      <a:gd name="connsiteX116" fmla="*/ 0 w 233363"/>
                      <a:gd name="connsiteY116" fmla="*/ 47710 h 250031"/>
                      <a:gd name="connsiteX117" fmla="*/ 0 w 233363"/>
                      <a:gd name="connsiteY117" fmla="*/ 45438 h 250031"/>
                      <a:gd name="connsiteX118" fmla="*/ 9063 w 233363"/>
                      <a:gd name="connsiteY118" fmla="*/ 38622 h 250031"/>
                      <a:gd name="connsiteX119" fmla="*/ 6797 w 233363"/>
                      <a:gd name="connsiteY119" fmla="*/ 34079 h 250031"/>
                      <a:gd name="connsiteX120" fmla="*/ 4531 w 233363"/>
                      <a:gd name="connsiteY120" fmla="*/ 31807 h 250031"/>
                      <a:gd name="connsiteX121" fmla="*/ 6797 w 233363"/>
                      <a:gd name="connsiteY121" fmla="*/ 24991 h 250031"/>
                      <a:gd name="connsiteX122" fmla="*/ 15859 w 233363"/>
                      <a:gd name="connsiteY122" fmla="*/ 27263 h 250031"/>
                      <a:gd name="connsiteX123" fmla="*/ 22656 w 233363"/>
                      <a:gd name="connsiteY123" fmla="*/ 27263 h 250031"/>
                      <a:gd name="connsiteX124" fmla="*/ 29453 w 233363"/>
                      <a:gd name="connsiteY124" fmla="*/ 22719 h 250031"/>
                      <a:gd name="connsiteX125" fmla="*/ 29453 w 233363"/>
                      <a:gd name="connsiteY125" fmla="*/ 18175 h 250031"/>
                      <a:gd name="connsiteX126" fmla="*/ 33985 w 233363"/>
                      <a:gd name="connsiteY126" fmla="*/ 15903 h 250031"/>
                      <a:gd name="connsiteX127" fmla="*/ 36250 w 233363"/>
                      <a:gd name="connsiteY127" fmla="*/ 20447 h 250031"/>
                      <a:gd name="connsiteX128" fmla="*/ 43047 w 233363"/>
                      <a:gd name="connsiteY128" fmla="*/ 24991 h 250031"/>
                      <a:gd name="connsiteX129" fmla="*/ 45313 w 233363"/>
                      <a:gd name="connsiteY129" fmla="*/ 29535 h 250031"/>
                      <a:gd name="connsiteX130" fmla="*/ 47579 w 233363"/>
                      <a:gd name="connsiteY130" fmla="*/ 22719 h 250031"/>
                      <a:gd name="connsiteX131" fmla="*/ 52110 w 233363"/>
                      <a:gd name="connsiteY131" fmla="*/ 15903 h 250031"/>
                      <a:gd name="connsiteX132" fmla="*/ 54376 w 233363"/>
                      <a:gd name="connsiteY132" fmla="*/ 15903 h 250031"/>
                      <a:gd name="connsiteX133" fmla="*/ 61173 w 233363"/>
                      <a:gd name="connsiteY133" fmla="*/ 18175 h 250031"/>
                      <a:gd name="connsiteX134" fmla="*/ 67970 w 233363"/>
                      <a:gd name="connsiteY134" fmla="*/ 20447 h 250031"/>
                      <a:gd name="connsiteX135" fmla="*/ 65704 w 233363"/>
                      <a:gd name="connsiteY135" fmla="*/ 15903 h 250031"/>
                      <a:gd name="connsiteX136" fmla="*/ 67970 w 233363"/>
                      <a:gd name="connsiteY136" fmla="*/ 11359 h 250031"/>
                      <a:gd name="connsiteX137" fmla="*/ 72501 w 233363"/>
                      <a:gd name="connsiteY137" fmla="*/ 13631 h 250031"/>
                      <a:gd name="connsiteX138" fmla="*/ 72501 w 233363"/>
                      <a:gd name="connsiteY138" fmla="*/ 9088 h 250031"/>
                      <a:gd name="connsiteX139" fmla="*/ 74767 w 233363"/>
                      <a:gd name="connsiteY139" fmla="*/ 4544 h 250031"/>
                      <a:gd name="connsiteX140" fmla="*/ 81564 w 233363"/>
                      <a:gd name="connsiteY140" fmla="*/ 6816 h 250031"/>
                      <a:gd name="connsiteX141" fmla="*/ 88361 w 233363"/>
                      <a:gd name="connsiteY141" fmla="*/ 2272 h 250031"/>
                      <a:gd name="connsiteX142" fmla="*/ 95158 w 233363"/>
                      <a:gd name="connsiteY142" fmla="*/ 2272 h 250031"/>
                      <a:gd name="connsiteX143" fmla="*/ 101955 w 233363"/>
                      <a:gd name="connsiteY143" fmla="*/ 0 h 250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233363" h="250031">
                        <a:moveTo>
                          <a:pt x="177404" y="211931"/>
                        </a:moveTo>
                        <a:cubicBezTo>
                          <a:pt x="175105" y="216413"/>
                          <a:pt x="172806" y="218654"/>
                          <a:pt x="170507" y="223137"/>
                        </a:cubicBezTo>
                        <a:cubicBezTo>
                          <a:pt x="170507" y="225378"/>
                          <a:pt x="165908" y="232102"/>
                          <a:pt x="168208" y="234343"/>
                        </a:cubicBezTo>
                        <a:cubicBezTo>
                          <a:pt x="168208" y="236584"/>
                          <a:pt x="172806" y="241066"/>
                          <a:pt x="170507" y="243307"/>
                        </a:cubicBezTo>
                        <a:cubicBezTo>
                          <a:pt x="170507" y="245549"/>
                          <a:pt x="168208" y="247790"/>
                          <a:pt x="168208" y="250031"/>
                        </a:cubicBezTo>
                        <a:cubicBezTo>
                          <a:pt x="165908" y="250031"/>
                          <a:pt x="161310" y="250031"/>
                          <a:pt x="159011" y="250031"/>
                        </a:cubicBezTo>
                        <a:cubicBezTo>
                          <a:pt x="154413" y="247790"/>
                          <a:pt x="154413" y="243307"/>
                          <a:pt x="149814" y="241066"/>
                        </a:cubicBezTo>
                        <a:cubicBezTo>
                          <a:pt x="145216" y="238825"/>
                          <a:pt x="140618" y="238825"/>
                          <a:pt x="136019" y="236584"/>
                        </a:cubicBezTo>
                        <a:cubicBezTo>
                          <a:pt x="131421" y="234343"/>
                          <a:pt x="126823" y="229860"/>
                          <a:pt x="122225" y="229860"/>
                        </a:cubicBezTo>
                        <a:cubicBezTo>
                          <a:pt x="119925" y="229860"/>
                          <a:pt x="115327" y="227619"/>
                          <a:pt x="115327" y="227619"/>
                        </a:cubicBezTo>
                        <a:cubicBezTo>
                          <a:pt x="110729" y="220896"/>
                          <a:pt x="117626" y="218654"/>
                          <a:pt x="119925" y="216413"/>
                        </a:cubicBezTo>
                        <a:cubicBezTo>
                          <a:pt x="122225" y="220896"/>
                          <a:pt x="124524" y="216413"/>
                          <a:pt x="126823" y="216413"/>
                        </a:cubicBezTo>
                        <a:cubicBezTo>
                          <a:pt x="133720" y="211931"/>
                          <a:pt x="136019" y="220896"/>
                          <a:pt x="142917" y="218654"/>
                        </a:cubicBezTo>
                        <a:cubicBezTo>
                          <a:pt x="147515" y="218654"/>
                          <a:pt x="149814" y="218654"/>
                          <a:pt x="154413" y="218654"/>
                        </a:cubicBezTo>
                        <a:cubicBezTo>
                          <a:pt x="156712" y="218654"/>
                          <a:pt x="161310" y="214172"/>
                          <a:pt x="163609" y="214172"/>
                        </a:cubicBezTo>
                        <a:cubicBezTo>
                          <a:pt x="165908" y="214172"/>
                          <a:pt x="165908" y="216413"/>
                          <a:pt x="170507" y="214172"/>
                        </a:cubicBezTo>
                        <a:cubicBezTo>
                          <a:pt x="170507" y="214172"/>
                          <a:pt x="177404" y="211931"/>
                          <a:pt x="177404" y="211931"/>
                        </a:cubicBezTo>
                        <a:close/>
                        <a:moveTo>
                          <a:pt x="51537" y="141547"/>
                        </a:moveTo>
                        <a:cubicBezTo>
                          <a:pt x="51537" y="141547"/>
                          <a:pt x="53833" y="146035"/>
                          <a:pt x="56129" y="143791"/>
                        </a:cubicBezTo>
                        <a:cubicBezTo>
                          <a:pt x="53833" y="146035"/>
                          <a:pt x="56129" y="146035"/>
                          <a:pt x="56129" y="146035"/>
                        </a:cubicBezTo>
                        <a:cubicBezTo>
                          <a:pt x="56129" y="148278"/>
                          <a:pt x="56129" y="148278"/>
                          <a:pt x="56129" y="148278"/>
                        </a:cubicBezTo>
                        <a:cubicBezTo>
                          <a:pt x="58426" y="148278"/>
                          <a:pt x="60722" y="157254"/>
                          <a:pt x="60722" y="159498"/>
                        </a:cubicBezTo>
                        <a:cubicBezTo>
                          <a:pt x="58426" y="163986"/>
                          <a:pt x="56129" y="163986"/>
                          <a:pt x="58426" y="166230"/>
                        </a:cubicBezTo>
                        <a:cubicBezTo>
                          <a:pt x="60722" y="170717"/>
                          <a:pt x="58426" y="177449"/>
                          <a:pt x="58426" y="181937"/>
                        </a:cubicBezTo>
                        <a:cubicBezTo>
                          <a:pt x="58426" y="184181"/>
                          <a:pt x="58426" y="188668"/>
                          <a:pt x="56129" y="190912"/>
                        </a:cubicBezTo>
                        <a:cubicBezTo>
                          <a:pt x="53833" y="190912"/>
                          <a:pt x="49241" y="188668"/>
                          <a:pt x="46945" y="188668"/>
                        </a:cubicBezTo>
                        <a:cubicBezTo>
                          <a:pt x="44648" y="190912"/>
                          <a:pt x="44648" y="197644"/>
                          <a:pt x="40056" y="197644"/>
                        </a:cubicBezTo>
                        <a:cubicBezTo>
                          <a:pt x="37760" y="195400"/>
                          <a:pt x="37760" y="197644"/>
                          <a:pt x="35464" y="193156"/>
                        </a:cubicBezTo>
                        <a:cubicBezTo>
                          <a:pt x="33167" y="195400"/>
                          <a:pt x="33167" y="195400"/>
                          <a:pt x="33167" y="195400"/>
                        </a:cubicBezTo>
                        <a:cubicBezTo>
                          <a:pt x="30871" y="193156"/>
                          <a:pt x="30871" y="193156"/>
                          <a:pt x="30871" y="193156"/>
                        </a:cubicBezTo>
                        <a:cubicBezTo>
                          <a:pt x="35464" y="193156"/>
                          <a:pt x="33167" y="190912"/>
                          <a:pt x="33167" y="186425"/>
                        </a:cubicBezTo>
                        <a:cubicBezTo>
                          <a:pt x="33167" y="184181"/>
                          <a:pt x="33167" y="179693"/>
                          <a:pt x="33167" y="175205"/>
                        </a:cubicBezTo>
                        <a:cubicBezTo>
                          <a:pt x="35464" y="177449"/>
                          <a:pt x="35464" y="177449"/>
                          <a:pt x="35464" y="177449"/>
                        </a:cubicBezTo>
                        <a:cubicBezTo>
                          <a:pt x="35464" y="177449"/>
                          <a:pt x="35464" y="175205"/>
                          <a:pt x="35464" y="172961"/>
                        </a:cubicBezTo>
                        <a:cubicBezTo>
                          <a:pt x="35464" y="172961"/>
                          <a:pt x="33167" y="172961"/>
                          <a:pt x="33167" y="170717"/>
                        </a:cubicBezTo>
                        <a:cubicBezTo>
                          <a:pt x="33167" y="170717"/>
                          <a:pt x="35464" y="168473"/>
                          <a:pt x="35464" y="166230"/>
                        </a:cubicBezTo>
                        <a:cubicBezTo>
                          <a:pt x="35464" y="163986"/>
                          <a:pt x="30871" y="161742"/>
                          <a:pt x="33167" y="159498"/>
                        </a:cubicBezTo>
                        <a:cubicBezTo>
                          <a:pt x="30871" y="159498"/>
                          <a:pt x="30871" y="157254"/>
                          <a:pt x="28575" y="157254"/>
                        </a:cubicBezTo>
                        <a:cubicBezTo>
                          <a:pt x="28575" y="152766"/>
                          <a:pt x="28575" y="150522"/>
                          <a:pt x="28575" y="148278"/>
                        </a:cubicBezTo>
                        <a:cubicBezTo>
                          <a:pt x="33167" y="155010"/>
                          <a:pt x="40056" y="148278"/>
                          <a:pt x="44648" y="143791"/>
                        </a:cubicBezTo>
                        <a:cubicBezTo>
                          <a:pt x="46945" y="141547"/>
                          <a:pt x="49241" y="139303"/>
                          <a:pt x="51537" y="141547"/>
                        </a:cubicBezTo>
                        <a:close/>
                        <a:moveTo>
                          <a:pt x="72629" y="100013"/>
                        </a:moveTo>
                        <a:cubicBezTo>
                          <a:pt x="72629" y="102394"/>
                          <a:pt x="72629" y="104776"/>
                          <a:pt x="72629" y="104776"/>
                        </a:cubicBezTo>
                        <a:cubicBezTo>
                          <a:pt x="70247" y="104776"/>
                          <a:pt x="67866" y="104776"/>
                          <a:pt x="67866" y="102394"/>
                        </a:cubicBezTo>
                        <a:cubicBezTo>
                          <a:pt x="70247" y="102394"/>
                          <a:pt x="72629" y="102394"/>
                          <a:pt x="72629" y="100013"/>
                        </a:cubicBezTo>
                        <a:close/>
                        <a:moveTo>
                          <a:pt x="101955" y="0"/>
                        </a:moveTo>
                        <a:cubicBezTo>
                          <a:pt x="104220" y="0"/>
                          <a:pt x="106486" y="0"/>
                          <a:pt x="106486" y="0"/>
                        </a:cubicBezTo>
                        <a:cubicBezTo>
                          <a:pt x="104220" y="2272"/>
                          <a:pt x="111017" y="9088"/>
                          <a:pt x="115549" y="11359"/>
                        </a:cubicBezTo>
                        <a:cubicBezTo>
                          <a:pt x="117814" y="11359"/>
                          <a:pt x="122346" y="11359"/>
                          <a:pt x="124611" y="11359"/>
                        </a:cubicBezTo>
                        <a:cubicBezTo>
                          <a:pt x="126877" y="11359"/>
                          <a:pt x="131408" y="11359"/>
                          <a:pt x="135939" y="13631"/>
                        </a:cubicBezTo>
                        <a:cubicBezTo>
                          <a:pt x="133674" y="15903"/>
                          <a:pt x="131408" y="18175"/>
                          <a:pt x="129143" y="18175"/>
                        </a:cubicBezTo>
                        <a:cubicBezTo>
                          <a:pt x="131408" y="20447"/>
                          <a:pt x="133674" y="20447"/>
                          <a:pt x="135939" y="20447"/>
                        </a:cubicBezTo>
                        <a:cubicBezTo>
                          <a:pt x="133674" y="22719"/>
                          <a:pt x="131408" y="27263"/>
                          <a:pt x="133674" y="27263"/>
                        </a:cubicBezTo>
                        <a:cubicBezTo>
                          <a:pt x="133674" y="29535"/>
                          <a:pt x="135939" y="31807"/>
                          <a:pt x="138205" y="31807"/>
                        </a:cubicBezTo>
                        <a:cubicBezTo>
                          <a:pt x="140471" y="31807"/>
                          <a:pt x="140471" y="36350"/>
                          <a:pt x="135939" y="36350"/>
                        </a:cubicBezTo>
                        <a:cubicBezTo>
                          <a:pt x="138205" y="29535"/>
                          <a:pt x="131408" y="31807"/>
                          <a:pt x="129143" y="34079"/>
                        </a:cubicBezTo>
                        <a:cubicBezTo>
                          <a:pt x="129143" y="29535"/>
                          <a:pt x="124611" y="34079"/>
                          <a:pt x="122346" y="34079"/>
                        </a:cubicBezTo>
                        <a:cubicBezTo>
                          <a:pt x="122346" y="34079"/>
                          <a:pt x="120080" y="36350"/>
                          <a:pt x="117814" y="36350"/>
                        </a:cubicBezTo>
                        <a:cubicBezTo>
                          <a:pt x="117814" y="36350"/>
                          <a:pt x="108752" y="40894"/>
                          <a:pt x="113283" y="36350"/>
                        </a:cubicBezTo>
                        <a:cubicBezTo>
                          <a:pt x="113283" y="38622"/>
                          <a:pt x="111017" y="36350"/>
                          <a:pt x="108752" y="38622"/>
                        </a:cubicBezTo>
                        <a:cubicBezTo>
                          <a:pt x="108752" y="38622"/>
                          <a:pt x="108752" y="43166"/>
                          <a:pt x="106486" y="43166"/>
                        </a:cubicBezTo>
                        <a:cubicBezTo>
                          <a:pt x="106486" y="43166"/>
                          <a:pt x="111017" y="47710"/>
                          <a:pt x="111017" y="47710"/>
                        </a:cubicBezTo>
                        <a:cubicBezTo>
                          <a:pt x="115549" y="49982"/>
                          <a:pt x="113283" y="56798"/>
                          <a:pt x="108752" y="54526"/>
                        </a:cubicBezTo>
                        <a:cubicBezTo>
                          <a:pt x="104220" y="63613"/>
                          <a:pt x="117814" y="72701"/>
                          <a:pt x="124611" y="77245"/>
                        </a:cubicBezTo>
                        <a:cubicBezTo>
                          <a:pt x="126877" y="79517"/>
                          <a:pt x="133674" y="81789"/>
                          <a:pt x="135939" y="86332"/>
                        </a:cubicBezTo>
                        <a:cubicBezTo>
                          <a:pt x="138205" y="90876"/>
                          <a:pt x="140471" y="97692"/>
                          <a:pt x="142736" y="102236"/>
                        </a:cubicBezTo>
                        <a:cubicBezTo>
                          <a:pt x="145002" y="111323"/>
                          <a:pt x="156331" y="118139"/>
                          <a:pt x="163128" y="120411"/>
                        </a:cubicBezTo>
                        <a:cubicBezTo>
                          <a:pt x="167659" y="122683"/>
                          <a:pt x="169925" y="124955"/>
                          <a:pt x="176722" y="122683"/>
                        </a:cubicBezTo>
                        <a:cubicBezTo>
                          <a:pt x="178987" y="122683"/>
                          <a:pt x="188050" y="122683"/>
                          <a:pt x="185784" y="127227"/>
                        </a:cubicBezTo>
                        <a:cubicBezTo>
                          <a:pt x="185784" y="129499"/>
                          <a:pt x="178987" y="131771"/>
                          <a:pt x="181253" y="134043"/>
                        </a:cubicBezTo>
                        <a:cubicBezTo>
                          <a:pt x="183519" y="136314"/>
                          <a:pt x="190316" y="138586"/>
                          <a:pt x="194847" y="140858"/>
                        </a:cubicBezTo>
                        <a:cubicBezTo>
                          <a:pt x="199378" y="143130"/>
                          <a:pt x="206175" y="145402"/>
                          <a:pt x="210707" y="147674"/>
                        </a:cubicBezTo>
                        <a:cubicBezTo>
                          <a:pt x="215238" y="152218"/>
                          <a:pt x="222035" y="152218"/>
                          <a:pt x="226566" y="156762"/>
                        </a:cubicBezTo>
                        <a:cubicBezTo>
                          <a:pt x="228832" y="161305"/>
                          <a:pt x="233363" y="163577"/>
                          <a:pt x="233363" y="168121"/>
                        </a:cubicBezTo>
                        <a:cubicBezTo>
                          <a:pt x="231097" y="170393"/>
                          <a:pt x="231097" y="174937"/>
                          <a:pt x="231097" y="174937"/>
                        </a:cubicBezTo>
                        <a:cubicBezTo>
                          <a:pt x="228832" y="174937"/>
                          <a:pt x="224300" y="172665"/>
                          <a:pt x="224300" y="170393"/>
                        </a:cubicBezTo>
                        <a:cubicBezTo>
                          <a:pt x="222035" y="168121"/>
                          <a:pt x="222035" y="161305"/>
                          <a:pt x="215238" y="163577"/>
                        </a:cubicBezTo>
                        <a:cubicBezTo>
                          <a:pt x="210707" y="163577"/>
                          <a:pt x="208441" y="159034"/>
                          <a:pt x="208441" y="159034"/>
                        </a:cubicBezTo>
                        <a:cubicBezTo>
                          <a:pt x="203910" y="159034"/>
                          <a:pt x="201644" y="159034"/>
                          <a:pt x="199378" y="163577"/>
                        </a:cubicBezTo>
                        <a:cubicBezTo>
                          <a:pt x="197113" y="168121"/>
                          <a:pt x="194847" y="170393"/>
                          <a:pt x="194847" y="174937"/>
                        </a:cubicBezTo>
                        <a:cubicBezTo>
                          <a:pt x="192581" y="179481"/>
                          <a:pt x="199378" y="179481"/>
                          <a:pt x="201644" y="181753"/>
                        </a:cubicBezTo>
                        <a:cubicBezTo>
                          <a:pt x="206175" y="184024"/>
                          <a:pt x="206175" y="186296"/>
                          <a:pt x="208441" y="190840"/>
                        </a:cubicBezTo>
                        <a:cubicBezTo>
                          <a:pt x="208441" y="199928"/>
                          <a:pt x="194847" y="193112"/>
                          <a:pt x="194847" y="204472"/>
                        </a:cubicBezTo>
                        <a:cubicBezTo>
                          <a:pt x="197113" y="209015"/>
                          <a:pt x="194847" y="209015"/>
                          <a:pt x="192581" y="211287"/>
                        </a:cubicBezTo>
                        <a:cubicBezTo>
                          <a:pt x="190316" y="213559"/>
                          <a:pt x="188050" y="218103"/>
                          <a:pt x="183519" y="220375"/>
                        </a:cubicBezTo>
                        <a:cubicBezTo>
                          <a:pt x="181253" y="222647"/>
                          <a:pt x="178987" y="220375"/>
                          <a:pt x="176722" y="218103"/>
                        </a:cubicBezTo>
                        <a:cubicBezTo>
                          <a:pt x="174456" y="213559"/>
                          <a:pt x="181253" y="211287"/>
                          <a:pt x="183519" y="206744"/>
                        </a:cubicBezTo>
                        <a:cubicBezTo>
                          <a:pt x="183519" y="204472"/>
                          <a:pt x="181253" y="204472"/>
                          <a:pt x="183519" y="202200"/>
                        </a:cubicBezTo>
                        <a:cubicBezTo>
                          <a:pt x="185784" y="199928"/>
                          <a:pt x="188050" y="202200"/>
                          <a:pt x="188050" y="199928"/>
                        </a:cubicBezTo>
                        <a:cubicBezTo>
                          <a:pt x="190316" y="197656"/>
                          <a:pt x="185784" y="193112"/>
                          <a:pt x="185784" y="190840"/>
                        </a:cubicBezTo>
                        <a:cubicBezTo>
                          <a:pt x="185784" y="188568"/>
                          <a:pt x="185784" y="186296"/>
                          <a:pt x="183519" y="181753"/>
                        </a:cubicBezTo>
                        <a:cubicBezTo>
                          <a:pt x="181253" y="179481"/>
                          <a:pt x="181253" y="172665"/>
                          <a:pt x="176722" y="170393"/>
                        </a:cubicBezTo>
                        <a:cubicBezTo>
                          <a:pt x="176722" y="168121"/>
                          <a:pt x="174456" y="168121"/>
                          <a:pt x="172190" y="170393"/>
                        </a:cubicBezTo>
                        <a:cubicBezTo>
                          <a:pt x="169925" y="170393"/>
                          <a:pt x="169925" y="168121"/>
                          <a:pt x="167659" y="168121"/>
                        </a:cubicBezTo>
                        <a:cubicBezTo>
                          <a:pt x="165393" y="165849"/>
                          <a:pt x="163128" y="165849"/>
                          <a:pt x="163128" y="163577"/>
                        </a:cubicBezTo>
                        <a:cubicBezTo>
                          <a:pt x="163128" y="161305"/>
                          <a:pt x="163128" y="161305"/>
                          <a:pt x="163128" y="159034"/>
                        </a:cubicBezTo>
                        <a:cubicBezTo>
                          <a:pt x="160862" y="154490"/>
                          <a:pt x="154065" y="154490"/>
                          <a:pt x="151799" y="156762"/>
                        </a:cubicBezTo>
                        <a:cubicBezTo>
                          <a:pt x="154065" y="152218"/>
                          <a:pt x="151799" y="149946"/>
                          <a:pt x="147268" y="149946"/>
                        </a:cubicBezTo>
                        <a:cubicBezTo>
                          <a:pt x="145002" y="149946"/>
                          <a:pt x="142736" y="145402"/>
                          <a:pt x="140471" y="143130"/>
                        </a:cubicBezTo>
                        <a:cubicBezTo>
                          <a:pt x="140471" y="140858"/>
                          <a:pt x="138205" y="140858"/>
                          <a:pt x="135939" y="140858"/>
                        </a:cubicBezTo>
                        <a:cubicBezTo>
                          <a:pt x="135939" y="140858"/>
                          <a:pt x="133674" y="140858"/>
                          <a:pt x="133674" y="140858"/>
                        </a:cubicBezTo>
                        <a:cubicBezTo>
                          <a:pt x="131408" y="140858"/>
                          <a:pt x="129143" y="138586"/>
                          <a:pt x="126877" y="138586"/>
                        </a:cubicBezTo>
                        <a:cubicBezTo>
                          <a:pt x="122346" y="140858"/>
                          <a:pt x="126877" y="140858"/>
                          <a:pt x="122346" y="138586"/>
                        </a:cubicBezTo>
                        <a:cubicBezTo>
                          <a:pt x="120080" y="136314"/>
                          <a:pt x="115549" y="134043"/>
                          <a:pt x="113283" y="131771"/>
                        </a:cubicBezTo>
                        <a:cubicBezTo>
                          <a:pt x="111017" y="129499"/>
                          <a:pt x="108752" y="124955"/>
                          <a:pt x="104220" y="122683"/>
                        </a:cubicBezTo>
                        <a:cubicBezTo>
                          <a:pt x="101955" y="120411"/>
                          <a:pt x="101955" y="120411"/>
                          <a:pt x="99689" y="118139"/>
                        </a:cubicBezTo>
                        <a:cubicBezTo>
                          <a:pt x="97423" y="113595"/>
                          <a:pt x="90626" y="109052"/>
                          <a:pt x="88361" y="113595"/>
                        </a:cubicBezTo>
                        <a:cubicBezTo>
                          <a:pt x="90626" y="109052"/>
                          <a:pt x="79298" y="97692"/>
                          <a:pt x="77032" y="99964"/>
                        </a:cubicBezTo>
                        <a:cubicBezTo>
                          <a:pt x="77032" y="99964"/>
                          <a:pt x="70235" y="81789"/>
                          <a:pt x="70235" y="81789"/>
                        </a:cubicBezTo>
                        <a:cubicBezTo>
                          <a:pt x="67970" y="72701"/>
                          <a:pt x="63438" y="72701"/>
                          <a:pt x="56641" y="68157"/>
                        </a:cubicBezTo>
                        <a:cubicBezTo>
                          <a:pt x="49844" y="63613"/>
                          <a:pt x="40782" y="61341"/>
                          <a:pt x="33985" y="68157"/>
                        </a:cubicBezTo>
                        <a:cubicBezTo>
                          <a:pt x="31719" y="72701"/>
                          <a:pt x="29453" y="74973"/>
                          <a:pt x="27188" y="77245"/>
                        </a:cubicBezTo>
                        <a:cubicBezTo>
                          <a:pt x="24922" y="77245"/>
                          <a:pt x="15859" y="79517"/>
                          <a:pt x="15859" y="77245"/>
                        </a:cubicBezTo>
                        <a:cubicBezTo>
                          <a:pt x="15859" y="74973"/>
                          <a:pt x="24922" y="68157"/>
                          <a:pt x="15859" y="70429"/>
                        </a:cubicBezTo>
                        <a:cubicBezTo>
                          <a:pt x="9063" y="72701"/>
                          <a:pt x="0" y="63613"/>
                          <a:pt x="6797" y="59070"/>
                        </a:cubicBezTo>
                        <a:cubicBezTo>
                          <a:pt x="9063" y="56798"/>
                          <a:pt x="9063" y="54526"/>
                          <a:pt x="4531" y="54526"/>
                        </a:cubicBezTo>
                        <a:cubicBezTo>
                          <a:pt x="0" y="49982"/>
                          <a:pt x="0" y="47710"/>
                          <a:pt x="0" y="47710"/>
                        </a:cubicBezTo>
                        <a:cubicBezTo>
                          <a:pt x="0" y="45438"/>
                          <a:pt x="0" y="45438"/>
                          <a:pt x="0" y="45438"/>
                        </a:cubicBezTo>
                        <a:cubicBezTo>
                          <a:pt x="2266" y="43166"/>
                          <a:pt x="9063" y="45438"/>
                          <a:pt x="9063" y="38622"/>
                        </a:cubicBezTo>
                        <a:cubicBezTo>
                          <a:pt x="9063" y="36350"/>
                          <a:pt x="6797" y="36350"/>
                          <a:pt x="6797" y="34079"/>
                        </a:cubicBezTo>
                        <a:cubicBezTo>
                          <a:pt x="4531" y="34079"/>
                          <a:pt x="4531" y="31807"/>
                          <a:pt x="4531" y="31807"/>
                        </a:cubicBezTo>
                        <a:cubicBezTo>
                          <a:pt x="6797" y="29535"/>
                          <a:pt x="9063" y="27263"/>
                          <a:pt x="6797" y="24991"/>
                        </a:cubicBezTo>
                        <a:cubicBezTo>
                          <a:pt x="9063" y="24991"/>
                          <a:pt x="11328" y="27263"/>
                          <a:pt x="15859" y="27263"/>
                        </a:cubicBezTo>
                        <a:cubicBezTo>
                          <a:pt x="18125" y="24991"/>
                          <a:pt x="20391" y="27263"/>
                          <a:pt x="22656" y="27263"/>
                        </a:cubicBezTo>
                        <a:cubicBezTo>
                          <a:pt x="24922" y="27263"/>
                          <a:pt x="27188" y="24991"/>
                          <a:pt x="29453" y="22719"/>
                        </a:cubicBezTo>
                        <a:cubicBezTo>
                          <a:pt x="29453" y="20447"/>
                          <a:pt x="29453" y="20447"/>
                          <a:pt x="29453" y="18175"/>
                        </a:cubicBezTo>
                        <a:cubicBezTo>
                          <a:pt x="31719" y="18175"/>
                          <a:pt x="33985" y="15903"/>
                          <a:pt x="33985" y="15903"/>
                        </a:cubicBezTo>
                        <a:cubicBezTo>
                          <a:pt x="36250" y="15903"/>
                          <a:pt x="36250" y="18175"/>
                          <a:pt x="36250" y="20447"/>
                        </a:cubicBezTo>
                        <a:cubicBezTo>
                          <a:pt x="38516" y="22719"/>
                          <a:pt x="40782" y="22719"/>
                          <a:pt x="43047" y="24991"/>
                        </a:cubicBezTo>
                        <a:cubicBezTo>
                          <a:pt x="43047" y="24991"/>
                          <a:pt x="43047" y="27263"/>
                          <a:pt x="45313" y="29535"/>
                        </a:cubicBezTo>
                        <a:cubicBezTo>
                          <a:pt x="47579" y="29535"/>
                          <a:pt x="45313" y="24991"/>
                          <a:pt x="47579" y="22719"/>
                        </a:cubicBezTo>
                        <a:cubicBezTo>
                          <a:pt x="49844" y="20447"/>
                          <a:pt x="49844" y="18175"/>
                          <a:pt x="52110" y="15903"/>
                        </a:cubicBezTo>
                        <a:cubicBezTo>
                          <a:pt x="52110" y="11359"/>
                          <a:pt x="54376" y="13631"/>
                          <a:pt x="54376" y="15903"/>
                        </a:cubicBezTo>
                        <a:cubicBezTo>
                          <a:pt x="56641" y="18175"/>
                          <a:pt x="56641" y="18175"/>
                          <a:pt x="61173" y="18175"/>
                        </a:cubicBezTo>
                        <a:cubicBezTo>
                          <a:pt x="63438" y="15903"/>
                          <a:pt x="63438" y="18175"/>
                          <a:pt x="67970" y="20447"/>
                        </a:cubicBezTo>
                        <a:cubicBezTo>
                          <a:pt x="67970" y="18175"/>
                          <a:pt x="67970" y="15903"/>
                          <a:pt x="65704" y="15903"/>
                        </a:cubicBezTo>
                        <a:cubicBezTo>
                          <a:pt x="65704" y="13631"/>
                          <a:pt x="67970" y="11359"/>
                          <a:pt x="67970" y="11359"/>
                        </a:cubicBezTo>
                        <a:cubicBezTo>
                          <a:pt x="70235" y="11359"/>
                          <a:pt x="72501" y="11359"/>
                          <a:pt x="72501" y="13631"/>
                        </a:cubicBezTo>
                        <a:cubicBezTo>
                          <a:pt x="74767" y="13631"/>
                          <a:pt x="72501" y="9088"/>
                          <a:pt x="72501" y="9088"/>
                        </a:cubicBezTo>
                        <a:cubicBezTo>
                          <a:pt x="74767" y="6816"/>
                          <a:pt x="74767" y="4544"/>
                          <a:pt x="74767" y="4544"/>
                        </a:cubicBezTo>
                        <a:cubicBezTo>
                          <a:pt x="77032" y="4544"/>
                          <a:pt x="81564" y="6816"/>
                          <a:pt x="81564" y="6816"/>
                        </a:cubicBezTo>
                        <a:cubicBezTo>
                          <a:pt x="83829" y="9088"/>
                          <a:pt x="86095" y="4544"/>
                          <a:pt x="88361" y="2272"/>
                        </a:cubicBezTo>
                        <a:cubicBezTo>
                          <a:pt x="90626" y="2272"/>
                          <a:pt x="92892" y="2272"/>
                          <a:pt x="95158" y="2272"/>
                        </a:cubicBezTo>
                        <a:cubicBezTo>
                          <a:pt x="97423" y="2272"/>
                          <a:pt x="99689" y="2272"/>
                          <a:pt x="101955" y="0"/>
                        </a:cubicBezTo>
                        <a:close/>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236" name="Bosnia &amp; Herz">
                    <a:extLst>
                      <a:ext uri="{FF2B5EF4-FFF2-40B4-BE49-F238E27FC236}">
                        <a16:creationId xmlns:a16="http://schemas.microsoft.com/office/drawing/2014/main" id="{D00C66EE-8DB9-D513-3858-510981E6E134}"/>
                      </a:ext>
                    </a:extLst>
                  </p:cNvPr>
                  <p:cNvSpPr>
                    <a:spLocks/>
                  </p:cNvSpPr>
                  <p:nvPr/>
                </p:nvSpPr>
                <p:spPr bwMode="auto">
                  <a:xfrm>
                    <a:off x="4128002" y="2218862"/>
                    <a:ext cx="80081" cy="70373"/>
                  </a:xfrm>
                  <a:custGeom>
                    <a:avLst/>
                    <a:gdLst/>
                    <a:ahLst/>
                    <a:cxnLst>
                      <a:cxn ang="0">
                        <a:pos x="0" y="3"/>
                      </a:cxn>
                      <a:cxn ang="0">
                        <a:pos x="3" y="3"/>
                      </a:cxn>
                      <a:cxn ang="0">
                        <a:pos x="6" y="2"/>
                      </a:cxn>
                      <a:cxn ang="0">
                        <a:pos x="9" y="2"/>
                      </a:cxn>
                      <a:cxn ang="0">
                        <a:pos x="15" y="3"/>
                      </a:cxn>
                      <a:cxn ang="0">
                        <a:pos x="18" y="3"/>
                      </a:cxn>
                      <a:cxn ang="0">
                        <a:pos x="20" y="3"/>
                      </a:cxn>
                      <a:cxn ang="0">
                        <a:pos x="24" y="4"/>
                      </a:cxn>
                      <a:cxn ang="0">
                        <a:pos x="27" y="5"/>
                      </a:cxn>
                      <a:cxn ang="0">
                        <a:pos x="30" y="5"/>
                      </a:cxn>
                      <a:cxn ang="0">
                        <a:pos x="29" y="8"/>
                      </a:cxn>
                      <a:cxn ang="0">
                        <a:pos x="31" y="13"/>
                      </a:cxn>
                      <a:cxn ang="0">
                        <a:pos x="30" y="15"/>
                      </a:cxn>
                      <a:cxn ang="0">
                        <a:pos x="32" y="18"/>
                      </a:cxn>
                      <a:cxn ang="0">
                        <a:pos x="27" y="20"/>
                      </a:cxn>
                      <a:cxn ang="0">
                        <a:pos x="28" y="22"/>
                      </a:cxn>
                      <a:cxn ang="0">
                        <a:pos x="25" y="25"/>
                      </a:cxn>
                      <a:cxn ang="0">
                        <a:pos x="24" y="30"/>
                      </a:cxn>
                      <a:cxn ang="0">
                        <a:pos x="19" y="27"/>
                      </a:cxn>
                      <a:cxn ang="0">
                        <a:pos x="18" y="26"/>
                      </a:cxn>
                      <a:cxn ang="0">
                        <a:pos x="16" y="26"/>
                      </a:cxn>
                      <a:cxn ang="0">
                        <a:pos x="13" y="21"/>
                      </a:cxn>
                      <a:cxn ang="0">
                        <a:pos x="8" y="16"/>
                      </a:cxn>
                      <a:cxn ang="0">
                        <a:pos x="5" y="13"/>
                      </a:cxn>
                      <a:cxn ang="0">
                        <a:pos x="3" y="9"/>
                      </a:cxn>
                      <a:cxn ang="0">
                        <a:pos x="0" y="6"/>
                      </a:cxn>
                      <a:cxn ang="0">
                        <a:pos x="0" y="3"/>
                      </a:cxn>
                    </a:cxnLst>
                    <a:rect l="0" t="0" r="r" b="b"/>
                    <a:pathLst>
                      <a:path w="35" h="30">
                        <a:moveTo>
                          <a:pt x="0" y="3"/>
                        </a:moveTo>
                        <a:cubicBezTo>
                          <a:pt x="0" y="0"/>
                          <a:pt x="2" y="2"/>
                          <a:pt x="3" y="3"/>
                        </a:cubicBezTo>
                        <a:cubicBezTo>
                          <a:pt x="4" y="4"/>
                          <a:pt x="5" y="3"/>
                          <a:pt x="6" y="2"/>
                        </a:cubicBezTo>
                        <a:cubicBezTo>
                          <a:pt x="6" y="1"/>
                          <a:pt x="8" y="2"/>
                          <a:pt x="9" y="2"/>
                        </a:cubicBezTo>
                        <a:cubicBezTo>
                          <a:pt x="9" y="1"/>
                          <a:pt x="14" y="3"/>
                          <a:pt x="15" y="3"/>
                        </a:cubicBezTo>
                        <a:cubicBezTo>
                          <a:pt x="16" y="3"/>
                          <a:pt x="17" y="3"/>
                          <a:pt x="18" y="3"/>
                        </a:cubicBezTo>
                        <a:cubicBezTo>
                          <a:pt x="19" y="2"/>
                          <a:pt x="19" y="3"/>
                          <a:pt x="20" y="3"/>
                        </a:cubicBezTo>
                        <a:cubicBezTo>
                          <a:pt x="22" y="3"/>
                          <a:pt x="23" y="3"/>
                          <a:pt x="24" y="4"/>
                        </a:cubicBezTo>
                        <a:cubicBezTo>
                          <a:pt x="26" y="4"/>
                          <a:pt x="25" y="5"/>
                          <a:pt x="27" y="5"/>
                        </a:cubicBezTo>
                        <a:cubicBezTo>
                          <a:pt x="27" y="5"/>
                          <a:pt x="29" y="4"/>
                          <a:pt x="30" y="5"/>
                        </a:cubicBezTo>
                        <a:cubicBezTo>
                          <a:pt x="31" y="5"/>
                          <a:pt x="30" y="7"/>
                          <a:pt x="29" y="8"/>
                        </a:cubicBezTo>
                        <a:cubicBezTo>
                          <a:pt x="27" y="11"/>
                          <a:pt x="30" y="11"/>
                          <a:pt x="31" y="13"/>
                        </a:cubicBezTo>
                        <a:cubicBezTo>
                          <a:pt x="35" y="15"/>
                          <a:pt x="30" y="14"/>
                          <a:pt x="30" y="15"/>
                        </a:cubicBezTo>
                        <a:cubicBezTo>
                          <a:pt x="30" y="15"/>
                          <a:pt x="32" y="18"/>
                          <a:pt x="32" y="18"/>
                        </a:cubicBezTo>
                        <a:cubicBezTo>
                          <a:pt x="32" y="19"/>
                          <a:pt x="28" y="20"/>
                          <a:pt x="27" y="20"/>
                        </a:cubicBezTo>
                        <a:cubicBezTo>
                          <a:pt x="27" y="21"/>
                          <a:pt x="28" y="21"/>
                          <a:pt x="28" y="22"/>
                        </a:cubicBezTo>
                        <a:cubicBezTo>
                          <a:pt x="27" y="20"/>
                          <a:pt x="24" y="23"/>
                          <a:pt x="25" y="25"/>
                        </a:cubicBezTo>
                        <a:cubicBezTo>
                          <a:pt x="22" y="24"/>
                          <a:pt x="26" y="30"/>
                          <a:pt x="24" y="30"/>
                        </a:cubicBezTo>
                        <a:cubicBezTo>
                          <a:pt x="22" y="30"/>
                          <a:pt x="20" y="28"/>
                          <a:pt x="19" y="27"/>
                        </a:cubicBezTo>
                        <a:cubicBezTo>
                          <a:pt x="18" y="27"/>
                          <a:pt x="18" y="26"/>
                          <a:pt x="18" y="26"/>
                        </a:cubicBezTo>
                        <a:cubicBezTo>
                          <a:pt x="17" y="26"/>
                          <a:pt x="17" y="27"/>
                          <a:pt x="16" y="26"/>
                        </a:cubicBezTo>
                        <a:cubicBezTo>
                          <a:pt x="18" y="26"/>
                          <a:pt x="14" y="22"/>
                          <a:pt x="13" y="21"/>
                        </a:cubicBezTo>
                        <a:cubicBezTo>
                          <a:pt x="11" y="19"/>
                          <a:pt x="10" y="18"/>
                          <a:pt x="8" y="16"/>
                        </a:cubicBezTo>
                        <a:cubicBezTo>
                          <a:pt x="7" y="15"/>
                          <a:pt x="6" y="14"/>
                          <a:pt x="5" y="13"/>
                        </a:cubicBezTo>
                        <a:cubicBezTo>
                          <a:pt x="3" y="12"/>
                          <a:pt x="4" y="10"/>
                          <a:pt x="3" y="9"/>
                        </a:cubicBezTo>
                        <a:cubicBezTo>
                          <a:pt x="2" y="7"/>
                          <a:pt x="1" y="7"/>
                          <a:pt x="0" y="6"/>
                        </a:cubicBezTo>
                        <a:cubicBezTo>
                          <a:pt x="0" y="6"/>
                          <a:pt x="0" y="4"/>
                          <a:pt x="0" y="3"/>
                        </a:cubicBezTo>
                      </a:path>
                    </a:pathLst>
                  </a:custGeom>
                  <a:solidFill>
                    <a:schemeClr val="accent2">
                      <a:lumMod val="50000"/>
                    </a:schemeClr>
                  </a:solid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237" name="Albania">
                    <a:extLst>
                      <a:ext uri="{FF2B5EF4-FFF2-40B4-BE49-F238E27FC236}">
                        <a16:creationId xmlns:a16="http://schemas.microsoft.com/office/drawing/2014/main" id="{79BDB3F1-894D-9402-F8FC-984D2476F100}"/>
                      </a:ext>
                    </a:extLst>
                  </p:cNvPr>
                  <p:cNvSpPr>
                    <a:spLocks/>
                  </p:cNvSpPr>
                  <p:nvPr/>
                </p:nvSpPr>
                <p:spPr bwMode="auto">
                  <a:xfrm>
                    <a:off x="4199588" y="2281954"/>
                    <a:ext cx="38827" cy="78868"/>
                  </a:xfrm>
                  <a:custGeom>
                    <a:avLst/>
                    <a:gdLst/>
                    <a:ahLst/>
                    <a:cxnLst>
                      <a:cxn ang="0">
                        <a:pos x="1" y="23"/>
                      </a:cxn>
                      <a:cxn ang="0">
                        <a:pos x="1" y="20"/>
                      </a:cxn>
                      <a:cxn ang="0">
                        <a:pos x="2" y="17"/>
                      </a:cxn>
                      <a:cxn ang="0">
                        <a:pos x="2" y="15"/>
                      </a:cxn>
                      <a:cxn ang="0">
                        <a:pos x="2" y="13"/>
                      </a:cxn>
                      <a:cxn ang="0">
                        <a:pos x="1" y="10"/>
                      </a:cxn>
                      <a:cxn ang="0">
                        <a:pos x="1" y="4"/>
                      </a:cxn>
                      <a:cxn ang="0">
                        <a:pos x="4" y="3"/>
                      </a:cxn>
                      <a:cxn ang="0">
                        <a:pos x="8" y="4"/>
                      </a:cxn>
                      <a:cxn ang="0">
                        <a:pos x="8" y="5"/>
                      </a:cxn>
                      <a:cxn ang="0">
                        <a:pos x="11" y="7"/>
                      </a:cxn>
                      <a:cxn ang="0">
                        <a:pos x="12" y="10"/>
                      </a:cxn>
                      <a:cxn ang="0">
                        <a:pos x="10" y="14"/>
                      </a:cxn>
                      <a:cxn ang="0">
                        <a:pos x="11" y="15"/>
                      </a:cxn>
                      <a:cxn ang="0">
                        <a:pos x="11" y="16"/>
                      </a:cxn>
                      <a:cxn ang="0">
                        <a:pos x="12" y="18"/>
                      </a:cxn>
                      <a:cxn ang="0">
                        <a:pos x="14" y="20"/>
                      </a:cxn>
                      <a:cxn ang="0">
                        <a:pos x="16" y="22"/>
                      </a:cxn>
                      <a:cxn ang="0">
                        <a:pos x="14" y="26"/>
                      </a:cxn>
                      <a:cxn ang="0">
                        <a:pos x="12" y="29"/>
                      </a:cxn>
                      <a:cxn ang="0">
                        <a:pos x="11" y="32"/>
                      </a:cxn>
                      <a:cxn ang="0">
                        <a:pos x="9" y="34"/>
                      </a:cxn>
                      <a:cxn ang="0">
                        <a:pos x="7" y="32"/>
                      </a:cxn>
                      <a:cxn ang="0">
                        <a:pos x="1" y="25"/>
                      </a:cxn>
                      <a:cxn ang="0">
                        <a:pos x="2" y="26"/>
                      </a:cxn>
                      <a:cxn ang="0">
                        <a:pos x="2" y="24"/>
                      </a:cxn>
                      <a:cxn ang="0">
                        <a:pos x="1" y="23"/>
                      </a:cxn>
                    </a:cxnLst>
                    <a:rect l="0" t="0" r="r" b="b"/>
                    <a:pathLst>
                      <a:path w="17" h="34">
                        <a:moveTo>
                          <a:pt x="1" y="23"/>
                        </a:moveTo>
                        <a:cubicBezTo>
                          <a:pt x="1" y="22"/>
                          <a:pt x="2" y="21"/>
                          <a:pt x="1" y="20"/>
                        </a:cubicBezTo>
                        <a:cubicBezTo>
                          <a:pt x="3" y="21"/>
                          <a:pt x="2" y="18"/>
                          <a:pt x="2" y="17"/>
                        </a:cubicBezTo>
                        <a:cubicBezTo>
                          <a:pt x="2" y="16"/>
                          <a:pt x="1" y="16"/>
                          <a:pt x="2" y="15"/>
                        </a:cubicBezTo>
                        <a:cubicBezTo>
                          <a:pt x="2" y="14"/>
                          <a:pt x="2" y="13"/>
                          <a:pt x="2" y="13"/>
                        </a:cubicBezTo>
                        <a:cubicBezTo>
                          <a:pt x="3" y="11"/>
                          <a:pt x="2" y="10"/>
                          <a:pt x="1" y="10"/>
                        </a:cubicBezTo>
                        <a:cubicBezTo>
                          <a:pt x="0" y="8"/>
                          <a:pt x="0" y="6"/>
                          <a:pt x="1" y="4"/>
                        </a:cubicBezTo>
                        <a:cubicBezTo>
                          <a:pt x="2" y="3"/>
                          <a:pt x="3" y="0"/>
                          <a:pt x="4" y="3"/>
                        </a:cubicBezTo>
                        <a:cubicBezTo>
                          <a:pt x="5" y="5"/>
                          <a:pt x="6" y="1"/>
                          <a:pt x="8" y="4"/>
                        </a:cubicBezTo>
                        <a:cubicBezTo>
                          <a:pt x="8" y="4"/>
                          <a:pt x="8" y="5"/>
                          <a:pt x="8" y="5"/>
                        </a:cubicBezTo>
                        <a:cubicBezTo>
                          <a:pt x="9" y="6"/>
                          <a:pt x="10" y="5"/>
                          <a:pt x="11" y="7"/>
                        </a:cubicBezTo>
                        <a:cubicBezTo>
                          <a:pt x="11" y="7"/>
                          <a:pt x="12" y="9"/>
                          <a:pt x="12" y="10"/>
                        </a:cubicBezTo>
                        <a:cubicBezTo>
                          <a:pt x="10" y="11"/>
                          <a:pt x="12" y="13"/>
                          <a:pt x="10" y="14"/>
                        </a:cubicBezTo>
                        <a:cubicBezTo>
                          <a:pt x="11" y="14"/>
                          <a:pt x="11" y="14"/>
                          <a:pt x="11" y="15"/>
                        </a:cubicBezTo>
                        <a:cubicBezTo>
                          <a:pt x="11" y="15"/>
                          <a:pt x="11" y="16"/>
                          <a:pt x="11" y="16"/>
                        </a:cubicBezTo>
                        <a:cubicBezTo>
                          <a:pt x="11" y="17"/>
                          <a:pt x="12" y="18"/>
                          <a:pt x="12" y="18"/>
                        </a:cubicBezTo>
                        <a:cubicBezTo>
                          <a:pt x="13" y="19"/>
                          <a:pt x="13" y="20"/>
                          <a:pt x="14" y="20"/>
                        </a:cubicBezTo>
                        <a:cubicBezTo>
                          <a:pt x="15" y="20"/>
                          <a:pt x="15" y="21"/>
                          <a:pt x="16" y="22"/>
                        </a:cubicBezTo>
                        <a:cubicBezTo>
                          <a:pt x="17" y="25"/>
                          <a:pt x="15" y="24"/>
                          <a:pt x="14" y="26"/>
                        </a:cubicBezTo>
                        <a:cubicBezTo>
                          <a:pt x="14" y="27"/>
                          <a:pt x="13" y="29"/>
                          <a:pt x="12" y="29"/>
                        </a:cubicBezTo>
                        <a:cubicBezTo>
                          <a:pt x="10" y="30"/>
                          <a:pt x="10" y="30"/>
                          <a:pt x="11" y="32"/>
                        </a:cubicBezTo>
                        <a:cubicBezTo>
                          <a:pt x="9" y="32"/>
                          <a:pt x="11" y="33"/>
                          <a:pt x="9" y="34"/>
                        </a:cubicBezTo>
                        <a:cubicBezTo>
                          <a:pt x="7" y="34"/>
                          <a:pt x="7" y="33"/>
                          <a:pt x="7" y="32"/>
                        </a:cubicBezTo>
                        <a:cubicBezTo>
                          <a:pt x="6" y="29"/>
                          <a:pt x="2" y="28"/>
                          <a:pt x="1" y="25"/>
                        </a:cubicBezTo>
                        <a:cubicBezTo>
                          <a:pt x="1" y="26"/>
                          <a:pt x="2" y="26"/>
                          <a:pt x="2" y="26"/>
                        </a:cubicBezTo>
                        <a:cubicBezTo>
                          <a:pt x="3" y="25"/>
                          <a:pt x="1" y="25"/>
                          <a:pt x="2" y="24"/>
                        </a:cubicBezTo>
                        <a:cubicBezTo>
                          <a:pt x="2" y="24"/>
                          <a:pt x="1" y="24"/>
                          <a:pt x="1" y="23"/>
                        </a:cubicBezTo>
                      </a:path>
                    </a:pathLst>
                  </a:custGeom>
                  <a:solidFill>
                    <a:schemeClr val="accent2">
                      <a:lumMod val="50000"/>
                    </a:schemeClr>
                  </a:solid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grpSp>
            <p:sp>
              <p:nvSpPr>
                <p:cNvPr id="234" name="Croatia">
                  <a:extLst>
                    <a:ext uri="{FF2B5EF4-FFF2-40B4-BE49-F238E27FC236}">
                      <a16:creationId xmlns:a16="http://schemas.microsoft.com/office/drawing/2014/main" id="{FE6E5580-A371-76A6-54C2-72D60C959C45}"/>
                    </a:ext>
                  </a:extLst>
                </p:cNvPr>
                <p:cNvSpPr>
                  <a:spLocks/>
                </p:cNvSpPr>
                <p:nvPr/>
              </p:nvSpPr>
              <p:spPr bwMode="auto">
                <a:xfrm>
                  <a:off x="4080681" y="2191690"/>
                  <a:ext cx="116840" cy="99972"/>
                </a:xfrm>
                <a:custGeom>
                  <a:avLst/>
                  <a:gdLst>
                    <a:gd name="connsiteX0" fmla="*/ 73819 w 114653"/>
                    <a:gd name="connsiteY0" fmla="*/ 83812 h 98100"/>
                    <a:gd name="connsiteX1" fmla="*/ 84810 w 114653"/>
                    <a:gd name="connsiteY1" fmla="*/ 88575 h 98100"/>
                    <a:gd name="connsiteX2" fmla="*/ 84810 w 114653"/>
                    <a:gd name="connsiteY2" fmla="*/ 86194 h 98100"/>
                    <a:gd name="connsiteX3" fmla="*/ 91404 w 114653"/>
                    <a:gd name="connsiteY3" fmla="*/ 90956 h 98100"/>
                    <a:gd name="connsiteX4" fmla="*/ 100196 w 114653"/>
                    <a:gd name="connsiteY4" fmla="*/ 98100 h 98100"/>
                    <a:gd name="connsiteX5" fmla="*/ 89206 w 114653"/>
                    <a:gd name="connsiteY5" fmla="*/ 90956 h 98100"/>
                    <a:gd name="connsiteX6" fmla="*/ 80413 w 114653"/>
                    <a:gd name="connsiteY6" fmla="*/ 88575 h 98100"/>
                    <a:gd name="connsiteX7" fmla="*/ 73819 w 114653"/>
                    <a:gd name="connsiteY7" fmla="*/ 83812 h 98100"/>
                    <a:gd name="connsiteX8" fmla="*/ 59531 w 114653"/>
                    <a:gd name="connsiteY8" fmla="*/ 79049 h 98100"/>
                    <a:gd name="connsiteX9" fmla="*/ 73818 w 114653"/>
                    <a:gd name="connsiteY9" fmla="*/ 81430 h 98100"/>
                    <a:gd name="connsiteX10" fmla="*/ 71437 w 114653"/>
                    <a:gd name="connsiteY10" fmla="*/ 81430 h 98100"/>
                    <a:gd name="connsiteX11" fmla="*/ 59531 w 114653"/>
                    <a:gd name="connsiteY11" fmla="*/ 79049 h 98100"/>
                    <a:gd name="connsiteX12" fmla="*/ 59531 w 114653"/>
                    <a:gd name="connsiteY12" fmla="*/ 74287 h 98100"/>
                    <a:gd name="connsiteX13" fmla="*/ 69056 w 114653"/>
                    <a:gd name="connsiteY13" fmla="*/ 76668 h 98100"/>
                    <a:gd name="connsiteX14" fmla="*/ 64294 w 114653"/>
                    <a:gd name="connsiteY14" fmla="*/ 76668 h 98100"/>
                    <a:gd name="connsiteX15" fmla="*/ 59531 w 114653"/>
                    <a:gd name="connsiteY15" fmla="*/ 74287 h 98100"/>
                    <a:gd name="connsiteX16" fmla="*/ 29766 w 114653"/>
                    <a:gd name="connsiteY16" fmla="*/ 56427 h 98100"/>
                    <a:gd name="connsiteX17" fmla="*/ 34528 w 114653"/>
                    <a:gd name="connsiteY17" fmla="*/ 61189 h 98100"/>
                    <a:gd name="connsiteX18" fmla="*/ 29766 w 114653"/>
                    <a:gd name="connsiteY18" fmla="*/ 58808 h 98100"/>
                    <a:gd name="connsiteX19" fmla="*/ 29766 w 114653"/>
                    <a:gd name="connsiteY19" fmla="*/ 56427 h 98100"/>
                    <a:gd name="connsiteX20" fmla="*/ 25003 w 114653"/>
                    <a:gd name="connsiteY20" fmla="*/ 43331 h 98100"/>
                    <a:gd name="connsiteX21" fmla="*/ 34528 w 114653"/>
                    <a:gd name="connsiteY21" fmla="*/ 51666 h 98100"/>
                    <a:gd name="connsiteX22" fmla="*/ 29766 w 114653"/>
                    <a:gd name="connsiteY22" fmla="*/ 49582 h 98100"/>
                    <a:gd name="connsiteX23" fmla="*/ 25003 w 114653"/>
                    <a:gd name="connsiteY23" fmla="*/ 43331 h 98100"/>
                    <a:gd name="connsiteX24" fmla="*/ 21134 w 114653"/>
                    <a:gd name="connsiteY24" fmla="*/ 31424 h 98100"/>
                    <a:gd name="connsiteX25" fmla="*/ 27385 w 114653"/>
                    <a:gd name="connsiteY25" fmla="*/ 36187 h 98100"/>
                    <a:gd name="connsiteX26" fmla="*/ 23218 w 114653"/>
                    <a:gd name="connsiteY26" fmla="*/ 36187 h 98100"/>
                    <a:gd name="connsiteX27" fmla="*/ 21134 w 114653"/>
                    <a:gd name="connsiteY27" fmla="*/ 31424 h 98100"/>
                    <a:gd name="connsiteX28" fmla="*/ 16669 w 114653"/>
                    <a:gd name="connsiteY28" fmla="*/ 31424 h 98100"/>
                    <a:gd name="connsiteX29" fmla="*/ 19050 w 114653"/>
                    <a:gd name="connsiteY29" fmla="*/ 36186 h 98100"/>
                    <a:gd name="connsiteX30" fmla="*/ 21431 w 114653"/>
                    <a:gd name="connsiteY30" fmla="*/ 45711 h 98100"/>
                    <a:gd name="connsiteX31" fmla="*/ 16669 w 114653"/>
                    <a:gd name="connsiteY31" fmla="*/ 31424 h 98100"/>
                    <a:gd name="connsiteX32" fmla="*/ 54909 w 114653"/>
                    <a:gd name="connsiteY32" fmla="*/ 66 h 98100"/>
                    <a:gd name="connsiteX33" fmla="*/ 61772 w 114653"/>
                    <a:gd name="connsiteY33" fmla="*/ 2611 h 98100"/>
                    <a:gd name="connsiteX34" fmla="*/ 70924 w 114653"/>
                    <a:gd name="connsiteY34" fmla="*/ 9398 h 98100"/>
                    <a:gd name="connsiteX35" fmla="*/ 86939 w 114653"/>
                    <a:gd name="connsiteY35" fmla="*/ 18447 h 98100"/>
                    <a:gd name="connsiteX36" fmla="*/ 102954 w 114653"/>
                    <a:gd name="connsiteY36" fmla="*/ 13922 h 98100"/>
                    <a:gd name="connsiteX37" fmla="*/ 105242 w 114653"/>
                    <a:gd name="connsiteY37" fmla="*/ 18447 h 98100"/>
                    <a:gd name="connsiteX38" fmla="*/ 109818 w 114653"/>
                    <a:gd name="connsiteY38" fmla="*/ 22971 h 98100"/>
                    <a:gd name="connsiteX39" fmla="*/ 114393 w 114653"/>
                    <a:gd name="connsiteY39" fmla="*/ 32020 h 98100"/>
                    <a:gd name="connsiteX40" fmla="*/ 109818 w 114653"/>
                    <a:gd name="connsiteY40" fmla="*/ 32020 h 98100"/>
                    <a:gd name="connsiteX41" fmla="*/ 105242 w 114653"/>
                    <a:gd name="connsiteY41" fmla="*/ 38806 h 98100"/>
                    <a:gd name="connsiteX42" fmla="*/ 100666 w 114653"/>
                    <a:gd name="connsiteY42" fmla="*/ 34282 h 98100"/>
                    <a:gd name="connsiteX43" fmla="*/ 91515 w 114653"/>
                    <a:gd name="connsiteY43" fmla="*/ 34282 h 98100"/>
                    <a:gd name="connsiteX44" fmla="*/ 86939 w 114653"/>
                    <a:gd name="connsiteY44" fmla="*/ 34282 h 98100"/>
                    <a:gd name="connsiteX45" fmla="*/ 80075 w 114653"/>
                    <a:gd name="connsiteY45" fmla="*/ 34282 h 98100"/>
                    <a:gd name="connsiteX46" fmla="*/ 68636 w 114653"/>
                    <a:gd name="connsiteY46" fmla="*/ 29757 h 98100"/>
                    <a:gd name="connsiteX47" fmla="*/ 64060 w 114653"/>
                    <a:gd name="connsiteY47" fmla="*/ 32020 h 98100"/>
                    <a:gd name="connsiteX48" fmla="*/ 59485 w 114653"/>
                    <a:gd name="connsiteY48" fmla="*/ 34282 h 98100"/>
                    <a:gd name="connsiteX49" fmla="*/ 50333 w 114653"/>
                    <a:gd name="connsiteY49" fmla="*/ 32020 h 98100"/>
                    <a:gd name="connsiteX50" fmla="*/ 45757 w 114653"/>
                    <a:gd name="connsiteY50" fmla="*/ 38806 h 98100"/>
                    <a:gd name="connsiteX51" fmla="*/ 48045 w 114653"/>
                    <a:gd name="connsiteY51" fmla="*/ 43330 h 98100"/>
                    <a:gd name="connsiteX52" fmla="*/ 52621 w 114653"/>
                    <a:gd name="connsiteY52" fmla="*/ 47855 h 98100"/>
                    <a:gd name="connsiteX53" fmla="*/ 59485 w 114653"/>
                    <a:gd name="connsiteY53" fmla="*/ 59166 h 98100"/>
                    <a:gd name="connsiteX54" fmla="*/ 73212 w 114653"/>
                    <a:gd name="connsiteY54" fmla="*/ 70477 h 98100"/>
                    <a:gd name="connsiteX55" fmla="*/ 82363 w 114653"/>
                    <a:gd name="connsiteY55" fmla="*/ 79525 h 98100"/>
                    <a:gd name="connsiteX56" fmla="*/ 77787 w 114653"/>
                    <a:gd name="connsiteY56" fmla="*/ 81787 h 98100"/>
                    <a:gd name="connsiteX57" fmla="*/ 66920 w 114653"/>
                    <a:gd name="connsiteY57" fmla="*/ 73870 h 98100"/>
                    <a:gd name="connsiteX58" fmla="*/ 57137 w 114653"/>
                    <a:gd name="connsiteY58" fmla="*/ 73096 h 98100"/>
                    <a:gd name="connsiteX59" fmla="*/ 52621 w 114653"/>
                    <a:gd name="connsiteY59" fmla="*/ 72739 h 98100"/>
                    <a:gd name="connsiteX60" fmla="*/ 50333 w 114653"/>
                    <a:gd name="connsiteY60" fmla="*/ 70477 h 98100"/>
                    <a:gd name="connsiteX61" fmla="*/ 45757 w 114653"/>
                    <a:gd name="connsiteY61" fmla="*/ 65952 h 98100"/>
                    <a:gd name="connsiteX62" fmla="*/ 32030 w 114653"/>
                    <a:gd name="connsiteY62" fmla="*/ 54641 h 98100"/>
                    <a:gd name="connsiteX63" fmla="*/ 41182 w 114653"/>
                    <a:gd name="connsiteY63" fmla="*/ 54641 h 98100"/>
                    <a:gd name="connsiteX64" fmla="*/ 29742 w 114653"/>
                    <a:gd name="connsiteY64" fmla="*/ 45593 h 98100"/>
                    <a:gd name="connsiteX65" fmla="*/ 27454 w 114653"/>
                    <a:gd name="connsiteY65" fmla="*/ 34282 h 98100"/>
                    <a:gd name="connsiteX66" fmla="*/ 18303 w 114653"/>
                    <a:gd name="connsiteY66" fmla="*/ 27495 h 98100"/>
                    <a:gd name="connsiteX67" fmla="*/ 13727 w 114653"/>
                    <a:gd name="connsiteY67" fmla="*/ 36544 h 98100"/>
                    <a:gd name="connsiteX68" fmla="*/ 11439 w 114653"/>
                    <a:gd name="connsiteY68" fmla="*/ 34282 h 98100"/>
                    <a:gd name="connsiteX69" fmla="*/ 9152 w 114653"/>
                    <a:gd name="connsiteY69" fmla="*/ 41068 h 98100"/>
                    <a:gd name="connsiteX70" fmla="*/ 4576 w 114653"/>
                    <a:gd name="connsiteY70" fmla="*/ 32020 h 98100"/>
                    <a:gd name="connsiteX71" fmla="*/ 0 w 114653"/>
                    <a:gd name="connsiteY71" fmla="*/ 25233 h 98100"/>
                    <a:gd name="connsiteX72" fmla="*/ 2288 w 114653"/>
                    <a:gd name="connsiteY72" fmla="*/ 25233 h 98100"/>
                    <a:gd name="connsiteX73" fmla="*/ 6864 w 114653"/>
                    <a:gd name="connsiteY73" fmla="*/ 25233 h 98100"/>
                    <a:gd name="connsiteX74" fmla="*/ 11439 w 114653"/>
                    <a:gd name="connsiteY74" fmla="*/ 25233 h 98100"/>
                    <a:gd name="connsiteX75" fmla="*/ 20591 w 114653"/>
                    <a:gd name="connsiteY75" fmla="*/ 20709 h 98100"/>
                    <a:gd name="connsiteX76" fmla="*/ 32030 w 114653"/>
                    <a:gd name="connsiteY76" fmla="*/ 25233 h 98100"/>
                    <a:gd name="connsiteX77" fmla="*/ 36606 w 114653"/>
                    <a:gd name="connsiteY77" fmla="*/ 20709 h 98100"/>
                    <a:gd name="connsiteX78" fmla="*/ 34318 w 114653"/>
                    <a:gd name="connsiteY78" fmla="*/ 18447 h 98100"/>
                    <a:gd name="connsiteX79" fmla="*/ 41182 w 114653"/>
                    <a:gd name="connsiteY79" fmla="*/ 9398 h 98100"/>
                    <a:gd name="connsiteX80" fmla="*/ 50333 w 114653"/>
                    <a:gd name="connsiteY80" fmla="*/ 4873 h 98100"/>
                    <a:gd name="connsiteX81" fmla="*/ 50333 w 114653"/>
                    <a:gd name="connsiteY81" fmla="*/ 2611 h 98100"/>
                    <a:gd name="connsiteX82" fmla="*/ 54909 w 114653"/>
                    <a:gd name="connsiteY82" fmla="*/ 2611 h 98100"/>
                    <a:gd name="connsiteX83" fmla="*/ 54909 w 114653"/>
                    <a:gd name="connsiteY83" fmla="*/ 66 h 9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14653" h="98100">
                      <a:moveTo>
                        <a:pt x="73819" y="83812"/>
                      </a:moveTo>
                      <a:cubicBezTo>
                        <a:pt x="76017" y="81431"/>
                        <a:pt x="82611" y="86194"/>
                        <a:pt x="84810" y="88575"/>
                      </a:cubicBezTo>
                      <a:cubicBezTo>
                        <a:pt x="84810" y="86194"/>
                        <a:pt x="84810" y="86194"/>
                        <a:pt x="84810" y="86194"/>
                      </a:cubicBezTo>
                      <a:cubicBezTo>
                        <a:pt x="87008" y="83812"/>
                        <a:pt x="89206" y="88575"/>
                        <a:pt x="91404" y="90956"/>
                      </a:cubicBezTo>
                      <a:cubicBezTo>
                        <a:pt x="95800" y="93337"/>
                        <a:pt x="102394" y="93337"/>
                        <a:pt x="100196" y="98100"/>
                      </a:cubicBezTo>
                      <a:cubicBezTo>
                        <a:pt x="95800" y="98100"/>
                        <a:pt x="91404" y="93337"/>
                        <a:pt x="89206" y="90956"/>
                      </a:cubicBezTo>
                      <a:cubicBezTo>
                        <a:pt x="87008" y="88575"/>
                        <a:pt x="84810" y="88575"/>
                        <a:pt x="80413" y="88575"/>
                      </a:cubicBezTo>
                      <a:cubicBezTo>
                        <a:pt x="78215" y="86194"/>
                        <a:pt x="76017" y="83812"/>
                        <a:pt x="73819" y="83812"/>
                      </a:cubicBezTo>
                      <a:close/>
                      <a:moveTo>
                        <a:pt x="59531" y="79049"/>
                      </a:moveTo>
                      <a:cubicBezTo>
                        <a:pt x="64293" y="79049"/>
                        <a:pt x="69056" y="81430"/>
                        <a:pt x="73818" y="81430"/>
                      </a:cubicBezTo>
                      <a:cubicBezTo>
                        <a:pt x="71437" y="81430"/>
                        <a:pt x="71437" y="81430"/>
                        <a:pt x="71437" y="81430"/>
                      </a:cubicBezTo>
                      <a:cubicBezTo>
                        <a:pt x="69056" y="81430"/>
                        <a:pt x="64293" y="81430"/>
                        <a:pt x="59531" y="79049"/>
                      </a:cubicBezTo>
                      <a:close/>
                      <a:moveTo>
                        <a:pt x="59531" y="74287"/>
                      </a:moveTo>
                      <a:cubicBezTo>
                        <a:pt x="61912" y="74287"/>
                        <a:pt x="64294" y="74287"/>
                        <a:pt x="69056" y="76668"/>
                      </a:cubicBezTo>
                      <a:cubicBezTo>
                        <a:pt x="66675" y="76668"/>
                        <a:pt x="66675" y="76668"/>
                        <a:pt x="64294" y="76668"/>
                      </a:cubicBezTo>
                      <a:cubicBezTo>
                        <a:pt x="61912" y="76668"/>
                        <a:pt x="59531" y="76668"/>
                        <a:pt x="59531" y="74287"/>
                      </a:cubicBezTo>
                      <a:close/>
                      <a:moveTo>
                        <a:pt x="29766" y="56427"/>
                      </a:moveTo>
                      <a:cubicBezTo>
                        <a:pt x="32147" y="56427"/>
                        <a:pt x="32147" y="61189"/>
                        <a:pt x="34528" y="61189"/>
                      </a:cubicBezTo>
                      <a:cubicBezTo>
                        <a:pt x="32147" y="61189"/>
                        <a:pt x="32147" y="61189"/>
                        <a:pt x="29766" y="58808"/>
                      </a:cubicBezTo>
                      <a:cubicBezTo>
                        <a:pt x="29766" y="56427"/>
                        <a:pt x="29766" y="56427"/>
                        <a:pt x="29766" y="56427"/>
                      </a:cubicBezTo>
                      <a:close/>
                      <a:moveTo>
                        <a:pt x="25003" y="43331"/>
                      </a:moveTo>
                      <a:cubicBezTo>
                        <a:pt x="27384" y="47498"/>
                        <a:pt x="32147" y="47498"/>
                        <a:pt x="34528" y="51666"/>
                      </a:cubicBezTo>
                      <a:cubicBezTo>
                        <a:pt x="32147" y="51666"/>
                        <a:pt x="32147" y="49582"/>
                        <a:pt x="29766" y="49582"/>
                      </a:cubicBezTo>
                      <a:cubicBezTo>
                        <a:pt x="29766" y="47498"/>
                        <a:pt x="27384" y="45415"/>
                        <a:pt x="25003" y="43331"/>
                      </a:cubicBezTo>
                      <a:close/>
                      <a:moveTo>
                        <a:pt x="21134" y="31424"/>
                      </a:moveTo>
                      <a:cubicBezTo>
                        <a:pt x="23218" y="29043"/>
                        <a:pt x="25301" y="36187"/>
                        <a:pt x="27385" y="36187"/>
                      </a:cubicBezTo>
                      <a:cubicBezTo>
                        <a:pt x="25301" y="36187"/>
                        <a:pt x="25301" y="36187"/>
                        <a:pt x="23218" y="36187"/>
                      </a:cubicBezTo>
                      <a:cubicBezTo>
                        <a:pt x="21134" y="36187"/>
                        <a:pt x="19050" y="31424"/>
                        <a:pt x="21134" y="31424"/>
                      </a:cubicBezTo>
                      <a:close/>
                      <a:moveTo>
                        <a:pt x="16669" y="31424"/>
                      </a:moveTo>
                      <a:cubicBezTo>
                        <a:pt x="16669" y="33805"/>
                        <a:pt x="16669" y="33805"/>
                        <a:pt x="19050" y="36186"/>
                      </a:cubicBezTo>
                      <a:cubicBezTo>
                        <a:pt x="16669" y="38567"/>
                        <a:pt x="19050" y="43330"/>
                        <a:pt x="21431" y="45711"/>
                      </a:cubicBezTo>
                      <a:cubicBezTo>
                        <a:pt x="21431" y="40949"/>
                        <a:pt x="19050" y="36186"/>
                        <a:pt x="16669" y="31424"/>
                      </a:cubicBezTo>
                      <a:close/>
                      <a:moveTo>
                        <a:pt x="54909" y="66"/>
                      </a:moveTo>
                      <a:cubicBezTo>
                        <a:pt x="57197" y="349"/>
                        <a:pt x="60628" y="1480"/>
                        <a:pt x="61772" y="2611"/>
                      </a:cubicBezTo>
                      <a:cubicBezTo>
                        <a:pt x="61772" y="2611"/>
                        <a:pt x="70924" y="7136"/>
                        <a:pt x="70924" y="9398"/>
                      </a:cubicBezTo>
                      <a:cubicBezTo>
                        <a:pt x="75500" y="13922"/>
                        <a:pt x="82363" y="16184"/>
                        <a:pt x="86939" y="18447"/>
                      </a:cubicBezTo>
                      <a:cubicBezTo>
                        <a:pt x="102954" y="18447"/>
                        <a:pt x="96090" y="13922"/>
                        <a:pt x="102954" y="13922"/>
                      </a:cubicBezTo>
                      <a:cubicBezTo>
                        <a:pt x="102954" y="11660"/>
                        <a:pt x="105242" y="16184"/>
                        <a:pt x="105242" y="18447"/>
                      </a:cubicBezTo>
                      <a:cubicBezTo>
                        <a:pt x="105242" y="20709"/>
                        <a:pt x="105242" y="22971"/>
                        <a:pt x="109818" y="22971"/>
                      </a:cubicBezTo>
                      <a:cubicBezTo>
                        <a:pt x="102954" y="27495"/>
                        <a:pt x="116681" y="29757"/>
                        <a:pt x="114393" y="32020"/>
                      </a:cubicBezTo>
                      <a:cubicBezTo>
                        <a:pt x="109818" y="32020"/>
                        <a:pt x="109818" y="32020"/>
                        <a:pt x="109818" y="32020"/>
                      </a:cubicBezTo>
                      <a:cubicBezTo>
                        <a:pt x="112105" y="36544"/>
                        <a:pt x="107530" y="41068"/>
                        <a:pt x="105242" y="38806"/>
                      </a:cubicBezTo>
                      <a:cubicBezTo>
                        <a:pt x="100666" y="34282"/>
                        <a:pt x="100666" y="36544"/>
                        <a:pt x="100666" y="34282"/>
                      </a:cubicBezTo>
                      <a:cubicBezTo>
                        <a:pt x="98378" y="34282"/>
                        <a:pt x="93803" y="34282"/>
                        <a:pt x="91515" y="34282"/>
                      </a:cubicBezTo>
                      <a:cubicBezTo>
                        <a:pt x="89227" y="34282"/>
                        <a:pt x="89227" y="32020"/>
                        <a:pt x="86939" y="34282"/>
                      </a:cubicBezTo>
                      <a:cubicBezTo>
                        <a:pt x="84651" y="34282"/>
                        <a:pt x="82363" y="34282"/>
                        <a:pt x="80075" y="34282"/>
                      </a:cubicBezTo>
                      <a:cubicBezTo>
                        <a:pt x="75500" y="34282"/>
                        <a:pt x="73212" y="32020"/>
                        <a:pt x="68636" y="29757"/>
                      </a:cubicBezTo>
                      <a:cubicBezTo>
                        <a:pt x="64060" y="32020"/>
                        <a:pt x="68636" y="32020"/>
                        <a:pt x="64060" y="32020"/>
                      </a:cubicBezTo>
                      <a:cubicBezTo>
                        <a:pt x="59485" y="29757"/>
                        <a:pt x="59485" y="32020"/>
                        <a:pt x="59485" y="34282"/>
                      </a:cubicBezTo>
                      <a:cubicBezTo>
                        <a:pt x="54909" y="38806"/>
                        <a:pt x="54909" y="36544"/>
                        <a:pt x="50333" y="32020"/>
                      </a:cubicBezTo>
                      <a:cubicBezTo>
                        <a:pt x="43470" y="27495"/>
                        <a:pt x="45757" y="36544"/>
                        <a:pt x="45757" y="38806"/>
                      </a:cubicBezTo>
                      <a:cubicBezTo>
                        <a:pt x="45757" y="41068"/>
                        <a:pt x="45757" y="41068"/>
                        <a:pt x="48045" y="43330"/>
                      </a:cubicBezTo>
                      <a:cubicBezTo>
                        <a:pt x="48045" y="43330"/>
                        <a:pt x="52621" y="45593"/>
                        <a:pt x="52621" y="47855"/>
                      </a:cubicBezTo>
                      <a:cubicBezTo>
                        <a:pt x="54909" y="50117"/>
                        <a:pt x="52621" y="54641"/>
                        <a:pt x="59485" y="59166"/>
                      </a:cubicBezTo>
                      <a:cubicBezTo>
                        <a:pt x="64060" y="61428"/>
                        <a:pt x="66348" y="68214"/>
                        <a:pt x="73212" y="70477"/>
                      </a:cubicBezTo>
                      <a:cubicBezTo>
                        <a:pt x="75500" y="75001"/>
                        <a:pt x="77787" y="77263"/>
                        <a:pt x="82363" y="79525"/>
                      </a:cubicBezTo>
                      <a:cubicBezTo>
                        <a:pt x="84651" y="84050"/>
                        <a:pt x="84651" y="88574"/>
                        <a:pt x="77787" y="81787"/>
                      </a:cubicBezTo>
                      <a:cubicBezTo>
                        <a:pt x="75499" y="79525"/>
                        <a:pt x="71496" y="76132"/>
                        <a:pt x="66920" y="73870"/>
                      </a:cubicBezTo>
                      <a:lnTo>
                        <a:pt x="57137" y="73096"/>
                      </a:lnTo>
                      <a:lnTo>
                        <a:pt x="52621" y="72739"/>
                      </a:lnTo>
                      <a:cubicBezTo>
                        <a:pt x="52621" y="72739"/>
                        <a:pt x="50333" y="72739"/>
                        <a:pt x="50333" y="70477"/>
                      </a:cubicBezTo>
                      <a:cubicBezTo>
                        <a:pt x="48045" y="68214"/>
                        <a:pt x="48045" y="68214"/>
                        <a:pt x="45757" y="65952"/>
                      </a:cubicBezTo>
                      <a:cubicBezTo>
                        <a:pt x="41182" y="63690"/>
                        <a:pt x="34318" y="59166"/>
                        <a:pt x="32030" y="54641"/>
                      </a:cubicBezTo>
                      <a:cubicBezTo>
                        <a:pt x="36606" y="52379"/>
                        <a:pt x="38894" y="54641"/>
                        <a:pt x="41182" y="54641"/>
                      </a:cubicBezTo>
                      <a:cubicBezTo>
                        <a:pt x="36606" y="52379"/>
                        <a:pt x="32030" y="50117"/>
                        <a:pt x="29742" y="45593"/>
                      </a:cubicBezTo>
                      <a:cubicBezTo>
                        <a:pt x="27454" y="43330"/>
                        <a:pt x="29742" y="38806"/>
                        <a:pt x="27454" y="34282"/>
                      </a:cubicBezTo>
                      <a:cubicBezTo>
                        <a:pt x="25167" y="32020"/>
                        <a:pt x="20591" y="29757"/>
                        <a:pt x="18303" y="27495"/>
                      </a:cubicBezTo>
                      <a:cubicBezTo>
                        <a:pt x="16015" y="27495"/>
                        <a:pt x="13727" y="34282"/>
                        <a:pt x="13727" y="36544"/>
                      </a:cubicBezTo>
                      <a:cubicBezTo>
                        <a:pt x="13727" y="36544"/>
                        <a:pt x="13727" y="36544"/>
                        <a:pt x="11439" y="34282"/>
                      </a:cubicBezTo>
                      <a:cubicBezTo>
                        <a:pt x="11439" y="38806"/>
                        <a:pt x="11439" y="41068"/>
                        <a:pt x="9152" y="41068"/>
                      </a:cubicBezTo>
                      <a:cubicBezTo>
                        <a:pt x="6864" y="41068"/>
                        <a:pt x="2288" y="34282"/>
                        <a:pt x="4576" y="32020"/>
                      </a:cubicBezTo>
                      <a:cubicBezTo>
                        <a:pt x="2288" y="34282"/>
                        <a:pt x="2288" y="27495"/>
                        <a:pt x="0" y="25233"/>
                      </a:cubicBezTo>
                      <a:cubicBezTo>
                        <a:pt x="2288" y="25233"/>
                        <a:pt x="2288" y="25233"/>
                        <a:pt x="2288" y="25233"/>
                      </a:cubicBezTo>
                      <a:cubicBezTo>
                        <a:pt x="4576" y="25233"/>
                        <a:pt x="4576" y="25233"/>
                        <a:pt x="6864" y="25233"/>
                      </a:cubicBezTo>
                      <a:cubicBezTo>
                        <a:pt x="9152" y="25233"/>
                        <a:pt x="9152" y="25233"/>
                        <a:pt x="11439" y="25233"/>
                      </a:cubicBezTo>
                      <a:cubicBezTo>
                        <a:pt x="11439" y="22971"/>
                        <a:pt x="16015" y="27495"/>
                        <a:pt x="20591" y="20709"/>
                      </a:cubicBezTo>
                      <a:cubicBezTo>
                        <a:pt x="25167" y="22971"/>
                        <a:pt x="27454" y="22971"/>
                        <a:pt x="32030" y="25233"/>
                      </a:cubicBezTo>
                      <a:cubicBezTo>
                        <a:pt x="36606" y="27495"/>
                        <a:pt x="34318" y="20709"/>
                        <a:pt x="36606" y="20709"/>
                      </a:cubicBezTo>
                      <a:cubicBezTo>
                        <a:pt x="36606" y="20709"/>
                        <a:pt x="36606" y="20709"/>
                        <a:pt x="34318" y="18447"/>
                      </a:cubicBezTo>
                      <a:cubicBezTo>
                        <a:pt x="43470" y="13922"/>
                        <a:pt x="43470" y="20709"/>
                        <a:pt x="41182" y="9398"/>
                      </a:cubicBezTo>
                      <a:cubicBezTo>
                        <a:pt x="41182" y="7136"/>
                        <a:pt x="48045" y="7136"/>
                        <a:pt x="50333" y="4873"/>
                      </a:cubicBezTo>
                      <a:cubicBezTo>
                        <a:pt x="50333" y="2611"/>
                        <a:pt x="50333" y="4873"/>
                        <a:pt x="50333" y="2611"/>
                      </a:cubicBezTo>
                      <a:cubicBezTo>
                        <a:pt x="54909" y="2611"/>
                        <a:pt x="54909" y="2611"/>
                        <a:pt x="54909" y="2611"/>
                      </a:cubicBezTo>
                      <a:cubicBezTo>
                        <a:pt x="51477" y="349"/>
                        <a:pt x="52621" y="-216"/>
                        <a:pt x="54909" y="66"/>
                      </a:cubicBezTo>
                      <a:close/>
                    </a:path>
                  </a:pathLst>
                </a:custGeom>
                <a:solidFill>
                  <a:schemeClr val="accent2">
                    <a:lumMod val="50000"/>
                  </a:schemeClr>
                </a:solid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grpSp>
          <p:sp>
            <p:nvSpPr>
              <p:cNvPr id="232" name="Montenegro">
                <a:extLst>
                  <a:ext uri="{FF2B5EF4-FFF2-40B4-BE49-F238E27FC236}">
                    <a16:creationId xmlns:a16="http://schemas.microsoft.com/office/drawing/2014/main" id="{3CA6E557-EA82-C276-6BEF-DB66CB71A30F}"/>
                  </a:ext>
                </a:extLst>
              </p:cNvPr>
              <p:cNvSpPr>
                <a:spLocks/>
              </p:cNvSpPr>
              <p:nvPr/>
            </p:nvSpPr>
            <p:spPr bwMode="auto">
              <a:xfrm>
                <a:off x="4176535" y="2266180"/>
                <a:ext cx="41253" cy="38827"/>
              </a:xfrm>
              <a:custGeom>
                <a:avLst/>
                <a:gdLst/>
                <a:ahLst/>
                <a:cxnLst>
                  <a:cxn ang="0">
                    <a:pos x="3" y="10"/>
                  </a:cxn>
                  <a:cxn ang="0">
                    <a:pos x="4" y="5"/>
                  </a:cxn>
                  <a:cxn ang="0">
                    <a:pos x="7" y="2"/>
                  </a:cxn>
                  <a:cxn ang="0">
                    <a:pos x="6" y="0"/>
                  </a:cxn>
                  <a:cxn ang="0">
                    <a:pos x="9" y="2"/>
                  </a:cxn>
                  <a:cxn ang="0">
                    <a:pos x="14" y="5"/>
                  </a:cxn>
                  <a:cxn ang="0">
                    <a:pos x="17" y="6"/>
                  </a:cxn>
                  <a:cxn ang="0">
                    <a:pos x="16" y="8"/>
                  </a:cxn>
                  <a:cxn ang="0">
                    <a:pos x="16" y="10"/>
                  </a:cxn>
                  <a:cxn ang="0">
                    <a:pos x="14" y="10"/>
                  </a:cxn>
                  <a:cxn ang="0">
                    <a:pos x="13" y="9"/>
                  </a:cxn>
                  <a:cxn ang="0">
                    <a:pos x="11" y="17"/>
                  </a:cxn>
                  <a:cxn ang="0">
                    <a:pos x="7" y="13"/>
                  </a:cxn>
                  <a:cxn ang="0">
                    <a:pos x="4" y="11"/>
                  </a:cxn>
                  <a:cxn ang="0">
                    <a:pos x="5" y="11"/>
                  </a:cxn>
                  <a:cxn ang="0">
                    <a:pos x="3" y="10"/>
                  </a:cxn>
                </a:cxnLst>
                <a:rect l="0" t="0" r="r" b="b"/>
                <a:pathLst>
                  <a:path w="18" h="17">
                    <a:moveTo>
                      <a:pt x="3" y="10"/>
                    </a:moveTo>
                    <a:cubicBezTo>
                      <a:pt x="5" y="9"/>
                      <a:pt x="0" y="4"/>
                      <a:pt x="4" y="5"/>
                    </a:cubicBezTo>
                    <a:cubicBezTo>
                      <a:pt x="3" y="3"/>
                      <a:pt x="6" y="0"/>
                      <a:pt x="7" y="2"/>
                    </a:cubicBezTo>
                    <a:cubicBezTo>
                      <a:pt x="7" y="1"/>
                      <a:pt x="6" y="1"/>
                      <a:pt x="6" y="0"/>
                    </a:cubicBezTo>
                    <a:cubicBezTo>
                      <a:pt x="8" y="0"/>
                      <a:pt x="8" y="1"/>
                      <a:pt x="9" y="2"/>
                    </a:cubicBezTo>
                    <a:cubicBezTo>
                      <a:pt x="11" y="4"/>
                      <a:pt x="12" y="4"/>
                      <a:pt x="14" y="5"/>
                    </a:cubicBezTo>
                    <a:cubicBezTo>
                      <a:pt x="14" y="6"/>
                      <a:pt x="17" y="5"/>
                      <a:pt x="17" y="6"/>
                    </a:cubicBezTo>
                    <a:cubicBezTo>
                      <a:pt x="18" y="7"/>
                      <a:pt x="16" y="7"/>
                      <a:pt x="16" y="8"/>
                    </a:cubicBezTo>
                    <a:cubicBezTo>
                      <a:pt x="15" y="8"/>
                      <a:pt x="17" y="9"/>
                      <a:pt x="16" y="10"/>
                    </a:cubicBezTo>
                    <a:cubicBezTo>
                      <a:pt x="16" y="10"/>
                      <a:pt x="15" y="11"/>
                      <a:pt x="14" y="10"/>
                    </a:cubicBezTo>
                    <a:cubicBezTo>
                      <a:pt x="14" y="9"/>
                      <a:pt x="13" y="8"/>
                      <a:pt x="13" y="9"/>
                    </a:cubicBezTo>
                    <a:cubicBezTo>
                      <a:pt x="11" y="12"/>
                      <a:pt x="10" y="14"/>
                      <a:pt x="11" y="17"/>
                    </a:cubicBezTo>
                    <a:cubicBezTo>
                      <a:pt x="9" y="16"/>
                      <a:pt x="8" y="15"/>
                      <a:pt x="7" y="13"/>
                    </a:cubicBezTo>
                    <a:cubicBezTo>
                      <a:pt x="7" y="13"/>
                      <a:pt x="4" y="11"/>
                      <a:pt x="4" y="11"/>
                    </a:cubicBezTo>
                    <a:cubicBezTo>
                      <a:pt x="5" y="11"/>
                      <a:pt x="4" y="11"/>
                      <a:pt x="5" y="11"/>
                    </a:cubicBezTo>
                    <a:cubicBezTo>
                      <a:pt x="5" y="10"/>
                      <a:pt x="2" y="12"/>
                      <a:pt x="3" y="10"/>
                    </a:cubicBezTo>
                  </a:path>
                </a:pathLst>
              </a:custGeom>
              <a:solidFill>
                <a:schemeClr val="accent2">
                  <a:lumMod val="50000"/>
                </a:schemeClr>
              </a:solid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19" name="Group 213">
              <a:extLst>
                <a:ext uri="{FF2B5EF4-FFF2-40B4-BE49-F238E27FC236}">
                  <a16:creationId xmlns:a16="http://schemas.microsoft.com/office/drawing/2014/main" id="{2BA621CC-5BB7-00D3-4B08-481F17FEBFC2}"/>
                </a:ext>
              </a:extLst>
            </p:cNvPr>
            <p:cNvGrpSpPr/>
            <p:nvPr/>
          </p:nvGrpSpPr>
          <p:grpSpPr>
            <a:xfrm>
              <a:off x="3219262" y="1410421"/>
              <a:ext cx="376742" cy="141750"/>
              <a:chOff x="4898656" y="2194179"/>
              <a:chExt cx="591922" cy="222711"/>
            </a:xfrm>
            <a:solidFill>
              <a:schemeClr val="accent4"/>
            </a:solidFill>
          </p:grpSpPr>
          <p:sp>
            <p:nvSpPr>
              <p:cNvPr id="21" name="Turkmenistan">
                <a:extLst>
                  <a:ext uri="{FF2B5EF4-FFF2-40B4-BE49-F238E27FC236}">
                    <a16:creationId xmlns:a16="http://schemas.microsoft.com/office/drawing/2014/main" id="{27692CB9-04C1-49E9-A455-5753EDB4DC28}"/>
                  </a:ext>
                </a:extLst>
              </p:cNvPr>
              <p:cNvSpPr>
                <a:spLocks/>
              </p:cNvSpPr>
              <p:nvPr/>
            </p:nvSpPr>
            <p:spPr bwMode="auto">
              <a:xfrm>
                <a:off x="4898656" y="2207515"/>
                <a:ext cx="328272" cy="209375"/>
              </a:xfrm>
              <a:custGeom>
                <a:avLst/>
                <a:gdLst/>
                <a:ahLst/>
                <a:cxnLst>
                  <a:cxn ang="0">
                    <a:pos x="18" y="7"/>
                  </a:cxn>
                  <a:cxn ang="0">
                    <a:pos x="35" y="16"/>
                  </a:cxn>
                  <a:cxn ang="0">
                    <a:pos x="41" y="14"/>
                  </a:cxn>
                  <a:cxn ang="0">
                    <a:pos x="46" y="5"/>
                  </a:cxn>
                  <a:cxn ang="0">
                    <a:pos x="48" y="2"/>
                  </a:cxn>
                  <a:cxn ang="0">
                    <a:pos x="53" y="2"/>
                  </a:cxn>
                  <a:cxn ang="0">
                    <a:pos x="59" y="5"/>
                  </a:cxn>
                  <a:cxn ang="0">
                    <a:pos x="65" y="8"/>
                  </a:cxn>
                  <a:cxn ang="0">
                    <a:pos x="66" y="12"/>
                  </a:cxn>
                  <a:cxn ang="0">
                    <a:pos x="73" y="17"/>
                  </a:cxn>
                  <a:cxn ang="0">
                    <a:pos x="79" y="16"/>
                  </a:cxn>
                  <a:cxn ang="0">
                    <a:pos x="91" y="29"/>
                  </a:cxn>
                  <a:cxn ang="0">
                    <a:pos x="109" y="41"/>
                  </a:cxn>
                  <a:cxn ang="0">
                    <a:pos x="125" y="49"/>
                  </a:cxn>
                  <a:cxn ang="0">
                    <a:pos x="132" y="51"/>
                  </a:cxn>
                  <a:cxn ang="0">
                    <a:pos x="133" y="58"/>
                  </a:cxn>
                  <a:cxn ang="0">
                    <a:pos x="125" y="58"/>
                  </a:cxn>
                  <a:cxn ang="0">
                    <a:pos x="119" y="60"/>
                  </a:cxn>
                  <a:cxn ang="0">
                    <a:pos x="118" y="68"/>
                  </a:cxn>
                  <a:cxn ang="0">
                    <a:pos x="106" y="74"/>
                  </a:cxn>
                  <a:cxn ang="0">
                    <a:pos x="105" y="79"/>
                  </a:cxn>
                  <a:cxn ang="0">
                    <a:pos x="97" y="79"/>
                  </a:cxn>
                  <a:cxn ang="0">
                    <a:pos x="90" y="77"/>
                  </a:cxn>
                  <a:cxn ang="0">
                    <a:pos x="88" y="72"/>
                  </a:cxn>
                  <a:cxn ang="0">
                    <a:pos x="84" y="66"/>
                  </a:cxn>
                  <a:cxn ang="0">
                    <a:pos x="76" y="62"/>
                  </a:cxn>
                  <a:cxn ang="0">
                    <a:pos x="67" y="56"/>
                  </a:cxn>
                  <a:cxn ang="0">
                    <a:pos x="56" y="53"/>
                  </a:cxn>
                  <a:cxn ang="0">
                    <a:pos x="47" y="49"/>
                  </a:cxn>
                  <a:cxn ang="0">
                    <a:pos x="35" y="50"/>
                  </a:cxn>
                  <a:cxn ang="0">
                    <a:pos x="28" y="57"/>
                  </a:cxn>
                  <a:cxn ang="0">
                    <a:pos x="21" y="58"/>
                  </a:cxn>
                  <a:cxn ang="0">
                    <a:pos x="19" y="46"/>
                  </a:cxn>
                  <a:cxn ang="0">
                    <a:pos x="16" y="39"/>
                  </a:cxn>
                  <a:cxn ang="0">
                    <a:pos x="11" y="37"/>
                  </a:cxn>
                  <a:cxn ang="0">
                    <a:pos x="15" y="35"/>
                  </a:cxn>
                  <a:cxn ang="0">
                    <a:pos x="13" y="31"/>
                  </a:cxn>
                  <a:cxn ang="0">
                    <a:pos x="6" y="30"/>
                  </a:cxn>
                  <a:cxn ang="0">
                    <a:pos x="6" y="22"/>
                  </a:cxn>
                  <a:cxn ang="0">
                    <a:pos x="5" y="18"/>
                  </a:cxn>
                  <a:cxn ang="0">
                    <a:pos x="7" y="20"/>
                  </a:cxn>
                  <a:cxn ang="0">
                    <a:pos x="9" y="20"/>
                  </a:cxn>
                  <a:cxn ang="0">
                    <a:pos x="13" y="22"/>
                  </a:cxn>
                  <a:cxn ang="0">
                    <a:pos x="17" y="21"/>
                  </a:cxn>
                  <a:cxn ang="0">
                    <a:pos x="18" y="22"/>
                  </a:cxn>
                  <a:cxn ang="0">
                    <a:pos x="17" y="20"/>
                  </a:cxn>
                  <a:cxn ang="0">
                    <a:pos x="20" y="18"/>
                  </a:cxn>
                  <a:cxn ang="0">
                    <a:pos x="14" y="13"/>
                  </a:cxn>
                  <a:cxn ang="0">
                    <a:pos x="2" y="9"/>
                  </a:cxn>
                  <a:cxn ang="0">
                    <a:pos x="3" y="14"/>
                  </a:cxn>
                  <a:cxn ang="0">
                    <a:pos x="3" y="14"/>
                  </a:cxn>
                </a:cxnLst>
                <a:rect l="0" t="0" r="r" b="b"/>
                <a:pathLst>
                  <a:path w="133" h="82">
                    <a:moveTo>
                      <a:pt x="0" y="11"/>
                    </a:moveTo>
                    <a:cubicBezTo>
                      <a:pt x="4" y="5"/>
                      <a:pt x="11" y="4"/>
                      <a:pt x="18" y="7"/>
                    </a:cubicBezTo>
                    <a:cubicBezTo>
                      <a:pt x="21" y="9"/>
                      <a:pt x="22" y="11"/>
                      <a:pt x="25" y="14"/>
                    </a:cubicBezTo>
                    <a:cubicBezTo>
                      <a:pt x="28" y="17"/>
                      <a:pt x="31" y="16"/>
                      <a:pt x="35" y="16"/>
                    </a:cubicBezTo>
                    <a:cubicBezTo>
                      <a:pt x="37" y="16"/>
                      <a:pt x="38" y="16"/>
                      <a:pt x="40" y="16"/>
                    </a:cubicBezTo>
                    <a:cubicBezTo>
                      <a:pt x="42" y="16"/>
                      <a:pt x="41" y="15"/>
                      <a:pt x="41" y="14"/>
                    </a:cubicBezTo>
                    <a:cubicBezTo>
                      <a:pt x="38" y="10"/>
                      <a:pt x="39" y="10"/>
                      <a:pt x="41" y="7"/>
                    </a:cubicBezTo>
                    <a:cubicBezTo>
                      <a:pt x="43" y="6"/>
                      <a:pt x="46" y="8"/>
                      <a:pt x="46" y="5"/>
                    </a:cubicBezTo>
                    <a:cubicBezTo>
                      <a:pt x="46" y="1"/>
                      <a:pt x="50" y="5"/>
                      <a:pt x="51" y="5"/>
                    </a:cubicBezTo>
                    <a:cubicBezTo>
                      <a:pt x="51" y="5"/>
                      <a:pt x="48" y="2"/>
                      <a:pt x="48" y="2"/>
                    </a:cubicBezTo>
                    <a:cubicBezTo>
                      <a:pt x="48" y="1"/>
                      <a:pt x="50" y="3"/>
                      <a:pt x="51" y="1"/>
                    </a:cubicBezTo>
                    <a:cubicBezTo>
                      <a:pt x="52" y="0"/>
                      <a:pt x="53" y="1"/>
                      <a:pt x="53" y="2"/>
                    </a:cubicBezTo>
                    <a:cubicBezTo>
                      <a:pt x="54" y="3"/>
                      <a:pt x="55" y="3"/>
                      <a:pt x="57" y="3"/>
                    </a:cubicBezTo>
                    <a:cubicBezTo>
                      <a:pt x="58" y="4"/>
                      <a:pt x="58" y="5"/>
                      <a:pt x="59" y="5"/>
                    </a:cubicBezTo>
                    <a:cubicBezTo>
                      <a:pt x="60" y="6"/>
                      <a:pt x="61" y="5"/>
                      <a:pt x="62" y="5"/>
                    </a:cubicBezTo>
                    <a:cubicBezTo>
                      <a:pt x="64" y="5"/>
                      <a:pt x="65" y="6"/>
                      <a:pt x="65" y="8"/>
                    </a:cubicBezTo>
                    <a:cubicBezTo>
                      <a:pt x="65" y="10"/>
                      <a:pt x="67" y="9"/>
                      <a:pt x="67" y="11"/>
                    </a:cubicBezTo>
                    <a:cubicBezTo>
                      <a:pt x="66" y="11"/>
                      <a:pt x="66" y="11"/>
                      <a:pt x="66" y="12"/>
                    </a:cubicBezTo>
                    <a:cubicBezTo>
                      <a:pt x="67" y="13"/>
                      <a:pt x="67" y="13"/>
                      <a:pt x="67" y="14"/>
                    </a:cubicBezTo>
                    <a:cubicBezTo>
                      <a:pt x="67" y="16"/>
                      <a:pt x="72" y="17"/>
                      <a:pt x="73" y="17"/>
                    </a:cubicBezTo>
                    <a:cubicBezTo>
                      <a:pt x="75" y="16"/>
                      <a:pt x="76" y="17"/>
                      <a:pt x="77" y="17"/>
                    </a:cubicBezTo>
                    <a:cubicBezTo>
                      <a:pt x="79" y="18"/>
                      <a:pt x="78" y="16"/>
                      <a:pt x="79" y="16"/>
                    </a:cubicBezTo>
                    <a:cubicBezTo>
                      <a:pt x="83" y="16"/>
                      <a:pt x="85" y="20"/>
                      <a:pt x="86" y="22"/>
                    </a:cubicBezTo>
                    <a:cubicBezTo>
                      <a:pt x="88" y="24"/>
                      <a:pt x="89" y="27"/>
                      <a:pt x="91" y="29"/>
                    </a:cubicBezTo>
                    <a:cubicBezTo>
                      <a:pt x="92" y="32"/>
                      <a:pt x="97" y="34"/>
                      <a:pt x="99" y="35"/>
                    </a:cubicBezTo>
                    <a:cubicBezTo>
                      <a:pt x="102" y="37"/>
                      <a:pt x="107" y="41"/>
                      <a:pt x="109" y="41"/>
                    </a:cubicBezTo>
                    <a:cubicBezTo>
                      <a:pt x="111" y="41"/>
                      <a:pt x="114" y="43"/>
                      <a:pt x="117" y="45"/>
                    </a:cubicBezTo>
                    <a:cubicBezTo>
                      <a:pt x="120" y="47"/>
                      <a:pt x="122" y="49"/>
                      <a:pt x="125" y="49"/>
                    </a:cubicBezTo>
                    <a:cubicBezTo>
                      <a:pt x="126" y="49"/>
                      <a:pt x="128" y="49"/>
                      <a:pt x="129" y="50"/>
                    </a:cubicBezTo>
                    <a:cubicBezTo>
                      <a:pt x="131" y="51"/>
                      <a:pt x="132" y="51"/>
                      <a:pt x="132" y="51"/>
                    </a:cubicBezTo>
                    <a:cubicBezTo>
                      <a:pt x="133" y="52"/>
                      <a:pt x="132" y="53"/>
                      <a:pt x="132" y="54"/>
                    </a:cubicBezTo>
                    <a:cubicBezTo>
                      <a:pt x="132" y="55"/>
                      <a:pt x="132" y="57"/>
                      <a:pt x="133" y="58"/>
                    </a:cubicBezTo>
                    <a:cubicBezTo>
                      <a:pt x="129" y="59"/>
                      <a:pt x="128" y="57"/>
                      <a:pt x="127" y="56"/>
                    </a:cubicBezTo>
                    <a:cubicBezTo>
                      <a:pt x="125" y="56"/>
                      <a:pt x="125" y="58"/>
                      <a:pt x="125" y="58"/>
                    </a:cubicBezTo>
                    <a:cubicBezTo>
                      <a:pt x="125" y="59"/>
                      <a:pt x="124" y="60"/>
                      <a:pt x="123" y="60"/>
                    </a:cubicBezTo>
                    <a:cubicBezTo>
                      <a:pt x="122" y="60"/>
                      <a:pt x="120" y="59"/>
                      <a:pt x="119" y="60"/>
                    </a:cubicBezTo>
                    <a:cubicBezTo>
                      <a:pt x="118" y="61"/>
                      <a:pt x="118" y="62"/>
                      <a:pt x="118" y="63"/>
                    </a:cubicBezTo>
                    <a:cubicBezTo>
                      <a:pt x="118" y="65"/>
                      <a:pt x="118" y="66"/>
                      <a:pt x="118" y="68"/>
                    </a:cubicBezTo>
                    <a:cubicBezTo>
                      <a:pt x="118" y="69"/>
                      <a:pt x="117" y="70"/>
                      <a:pt x="116" y="71"/>
                    </a:cubicBezTo>
                    <a:cubicBezTo>
                      <a:pt x="113" y="72"/>
                      <a:pt x="109" y="75"/>
                      <a:pt x="106" y="74"/>
                    </a:cubicBezTo>
                    <a:cubicBezTo>
                      <a:pt x="106" y="75"/>
                      <a:pt x="106" y="76"/>
                      <a:pt x="107" y="76"/>
                    </a:cubicBezTo>
                    <a:cubicBezTo>
                      <a:pt x="106" y="77"/>
                      <a:pt x="108" y="78"/>
                      <a:pt x="105" y="79"/>
                    </a:cubicBezTo>
                    <a:cubicBezTo>
                      <a:pt x="104" y="81"/>
                      <a:pt x="101" y="80"/>
                      <a:pt x="100" y="82"/>
                    </a:cubicBezTo>
                    <a:cubicBezTo>
                      <a:pt x="99" y="80"/>
                      <a:pt x="98" y="79"/>
                      <a:pt x="97" y="79"/>
                    </a:cubicBezTo>
                    <a:cubicBezTo>
                      <a:pt x="94" y="78"/>
                      <a:pt x="95" y="79"/>
                      <a:pt x="93" y="79"/>
                    </a:cubicBezTo>
                    <a:cubicBezTo>
                      <a:pt x="93" y="78"/>
                      <a:pt x="91" y="77"/>
                      <a:pt x="90" y="77"/>
                    </a:cubicBezTo>
                    <a:cubicBezTo>
                      <a:pt x="90" y="76"/>
                      <a:pt x="89" y="75"/>
                      <a:pt x="89" y="74"/>
                    </a:cubicBezTo>
                    <a:cubicBezTo>
                      <a:pt x="88" y="72"/>
                      <a:pt x="88" y="74"/>
                      <a:pt x="88" y="72"/>
                    </a:cubicBezTo>
                    <a:cubicBezTo>
                      <a:pt x="88" y="71"/>
                      <a:pt x="87" y="68"/>
                      <a:pt x="87" y="67"/>
                    </a:cubicBezTo>
                    <a:cubicBezTo>
                      <a:pt x="87" y="65"/>
                      <a:pt x="86" y="65"/>
                      <a:pt x="84" y="66"/>
                    </a:cubicBezTo>
                    <a:cubicBezTo>
                      <a:pt x="83" y="66"/>
                      <a:pt x="81" y="66"/>
                      <a:pt x="80" y="66"/>
                    </a:cubicBezTo>
                    <a:cubicBezTo>
                      <a:pt x="78" y="65"/>
                      <a:pt x="77" y="63"/>
                      <a:pt x="76" y="62"/>
                    </a:cubicBezTo>
                    <a:cubicBezTo>
                      <a:pt x="74" y="61"/>
                      <a:pt x="72" y="61"/>
                      <a:pt x="71" y="59"/>
                    </a:cubicBezTo>
                    <a:cubicBezTo>
                      <a:pt x="69" y="57"/>
                      <a:pt x="69" y="56"/>
                      <a:pt x="67" y="56"/>
                    </a:cubicBezTo>
                    <a:cubicBezTo>
                      <a:pt x="65" y="55"/>
                      <a:pt x="63" y="55"/>
                      <a:pt x="61" y="55"/>
                    </a:cubicBezTo>
                    <a:cubicBezTo>
                      <a:pt x="59" y="55"/>
                      <a:pt x="58" y="53"/>
                      <a:pt x="56" y="53"/>
                    </a:cubicBezTo>
                    <a:cubicBezTo>
                      <a:pt x="54" y="52"/>
                      <a:pt x="51" y="53"/>
                      <a:pt x="50" y="51"/>
                    </a:cubicBezTo>
                    <a:cubicBezTo>
                      <a:pt x="50" y="49"/>
                      <a:pt x="49" y="49"/>
                      <a:pt x="47" y="49"/>
                    </a:cubicBezTo>
                    <a:cubicBezTo>
                      <a:pt x="47" y="49"/>
                      <a:pt x="39" y="48"/>
                      <a:pt x="41" y="50"/>
                    </a:cubicBezTo>
                    <a:cubicBezTo>
                      <a:pt x="39" y="51"/>
                      <a:pt x="37" y="50"/>
                      <a:pt x="35" y="50"/>
                    </a:cubicBezTo>
                    <a:cubicBezTo>
                      <a:pt x="32" y="51"/>
                      <a:pt x="31" y="52"/>
                      <a:pt x="29" y="54"/>
                    </a:cubicBezTo>
                    <a:cubicBezTo>
                      <a:pt x="28" y="55"/>
                      <a:pt x="29" y="56"/>
                      <a:pt x="28" y="57"/>
                    </a:cubicBezTo>
                    <a:cubicBezTo>
                      <a:pt x="28" y="57"/>
                      <a:pt x="27" y="58"/>
                      <a:pt x="26" y="58"/>
                    </a:cubicBezTo>
                    <a:cubicBezTo>
                      <a:pt x="25" y="58"/>
                      <a:pt x="23" y="59"/>
                      <a:pt x="21" y="58"/>
                    </a:cubicBezTo>
                    <a:cubicBezTo>
                      <a:pt x="20" y="57"/>
                      <a:pt x="20" y="55"/>
                      <a:pt x="20" y="54"/>
                    </a:cubicBezTo>
                    <a:cubicBezTo>
                      <a:pt x="19" y="51"/>
                      <a:pt x="19" y="49"/>
                      <a:pt x="19" y="46"/>
                    </a:cubicBezTo>
                    <a:cubicBezTo>
                      <a:pt x="18" y="45"/>
                      <a:pt x="20" y="42"/>
                      <a:pt x="18" y="41"/>
                    </a:cubicBezTo>
                    <a:cubicBezTo>
                      <a:pt x="18" y="41"/>
                      <a:pt x="16" y="40"/>
                      <a:pt x="16" y="39"/>
                    </a:cubicBezTo>
                    <a:cubicBezTo>
                      <a:pt x="16" y="41"/>
                      <a:pt x="15" y="38"/>
                      <a:pt x="14" y="38"/>
                    </a:cubicBezTo>
                    <a:cubicBezTo>
                      <a:pt x="13" y="37"/>
                      <a:pt x="12" y="36"/>
                      <a:pt x="11" y="37"/>
                    </a:cubicBezTo>
                    <a:cubicBezTo>
                      <a:pt x="10" y="36"/>
                      <a:pt x="10" y="34"/>
                      <a:pt x="12" y="33"/>
                    </a:cubicBezTo>
                    <a:cubicBezTo>
                      <a:pt x="10" y="35"/>
                      <a:pt x="14" y="34"/>
                      <a:pt x="15" y="35"/>
                    </a:cubicBezTo>
                    <a:cubicBezTo>
                      <a:pt x="14" y="35"/>
                      <a:pt x="14" y="33"/>
                      <a:pt x="14" y="33"/>
                    </a:cubicBezTo>
                    <a:cubicBezTo>
                      <a:pt x="13" y="34"/>
                      <a:pt x="13" y="32"/>
                      <a:pt x="13" y="31"/>
                    </a:cubicBezTo>
                    <a:cubicBezTo>
                      <a:pt x="13" y="29"/>
                      <a:pt x="9" y="30"/>
                      <a:pt x="7" y="30"/>
                    </a:cubicBezTo>
                    <a:cubicBezTo>
                      <a:pt x="9" y="31"/>
                      <a:pt x="6" y="30"/>
                      <a:pt x="6" y="30"/>
                    </a:cubicBezTo>
                    <a:cubicBezTo>
                      <a:pt x="6" y="29"/>
                      <a:pt x="5" y="28"/>
                      <a:pt x="5" y="27"/>
                    </a:cubicBezTo>
                    <a:cubicBezTo>
                      <a:pt x="5" y="25"/>
                      <a:pt x="6" y="24"/>
                      <a:pt x="6" y="22"/>
                    </a:cubicBezTo>
                    <a:cubicBezTo>
                      <a:pt x="6" y="21"/>
                      <a:pt x="6" y="20"/>
                      <a:pt x="6" y="19"/>
                    </a:cubicBezTo>
                    <a:cubicBezTo>
                      <a:pt x="6" y="19"/>
                      <a:pt x="4" y="17"/>
                      <a:pt x="5" y="18"/>
                    </a:cubicBezTo>
                    <a:cubicBezTo>
                      <a:pt x="5" y="17"/>
                      <a:pt x="5" y="17"/>
                      <a:pt x="5" y="17"/>
                    </a:cubicBezTo>
                    <a:cubicBezTo>
                      <a:pt x="5" y="17"/>
                      <a:pt x="6" y="20"/>
                      <a:pt x="7" y="20"/>
                    </a:cubicBezTo>
                    <a:cubicBezTo>
                      <a:pt x="6" y="20"/>
                      <a:pt x="7" y="22"/>
                      <a:pt x="8" y="20"/>
                    </a:cubicBezTo>
                    <a:cubicBezTo>
                      <a:pt x="8" y="21"/>
                      <a:pt x="8" y="21"/>
                      <a:pt x="9" y="20"/>
                    </a:cubicBezTo>
                    <a:cubicBezTo>
                      <a:pt x="10" y="21"/>
                      <a:pt x="11" y="22"/>
                      <a:pt x="11" y="19"/>
                    </a:cubicBezTo>
                    <a:cubicBezTo>
                      <a:pt x="12" y="19"/>
                      <a:pt x="12" y="22"/>
                      <a:pt x="13" y="22"/>
                    </a:cubicBezTo>
                    <a:cubicBezTo>
                      <a:pt x="13" y="23"/>
                      <a:pt x="16" y="22"/>
                      <a:pt x="15" y="21"/>
                    </a:cubicBezTo>
                    <a:cubicBezTo>
                      <a:pt x="16" y="21"/>
                      <a:pt x="17" y="21"/>
                      <a:pt x="17" y="21"/>
                    </a:cubicBezTo>
                    <a:cubicBezTo>
                      <a:pt x="17" y="21"/>
                      <a:pt x="16" y="22"/>
                      <a:pt x="18" y="22"/>
                    </a:cubicBezTo>
                    <a:cubicBezTo>
                      <a:pt x="18" y="22"/>
                      <a:pt x="18" y="22"/>
                      <a:pt x="18" y="22"/>
                    </a:cubicBezTo>
                    <a:cubicBezTo>
                      <a:pt x="19" y="21"/>
                      <a:pt x="19" y="21"/>
                      <a:pt x="19" y="21"/>
                    </a:cubicBezTo>
                    <a:cubicBezTo>
                      <a:pt x="17" y="21"/>
                      <a:pt x="18" y="21"/>
                      <a:pt x="17" y="20"/>
                    </a:cubicBezTo>
                    <a:cubicBezTo>
                      <a:pt x="17" y="19"/>
                      <a:pt x="19" y="19"/>
                      <a:pt x="19" y="20"/>
                    </a:cubicBezTo>
                    <a:cubicBezTo>
                      <a:pt x="20" y="21"/>
                      <a:pt x="22" y="19"/>
                      <a:pt x="20" y="18"/>
                    </a:cubicBezTo>
                    <a:cubicBezTo>
                      <a:pt x="21" y="18"/>
                      <a:pt x="21" y="18"/>
                      <a:pt x="21" y="18"/>
                    </a:cubicBezTo>
                    <a:cubicBezTo>
                      <a:pt x="20" y="16"/>
                      <a:pt x="14" y="14"/>
                      <a:pt x="14" y="13"/>
                    </a:cubicBezTo>
                    <a:cubicBezTo>
                      <a:pt x="13" y="12"/>
                      <a:pt x="11" y="7"/>
                      <a:pt x="10" y="6"/>
                    </a:cubicBezTo>
                    <a:cubicBezTo>
                      <a:pt x="7" y="5"/>
                      <a:pt x="3" y="8"/>
                      <a:pt x="2" y="9"/>
                    </a:cubicBezTo>
                    <a:cubicBezTo>
                      <a:pt x="2" y="9"/>
                      <a:pt x="2" y="11"/>
                      <a:pt x="2" y="11"/>
                    </a:cubicBezTo>
                    <a:cubicBezTo>
                      <a:pt x="3" y="10"/>
                      <a:pt x="3" y="12"/>
                      <a:pt x="3" y="14"/>
                    </a:cubicBezTo>
                    <a:cubicBezTo>
                      <a:pt x="3" y="14"/>
                      <a:pt x="5" y="18"/>
                      <a:pt x="4" y="17"/>
                    </a:cubicBezTo>
                    <a:cubicBezTo>
                      <a:pt x="4" y="16"/>
                      <a:pt x="3" y="15"/>
                      <a:pt x="3" y="14"/>
                    </a:cubicBezTo>
                    <a:cubicBezTo>
                      <a:pt x="2" y="14"/>
                      <a:pt x="1" y="12"/>
                      <a:pt x="0" y="11"/>
                    </a:cubicBezTo>
                  </a:path>
                </a:pathLst>
              </a:custGeom>
              <a:solidFill>
                <a:schemeClr val="accent2">
                  <a:lumMod val="60000"/>
                  <a:lumOff val="40000"/>
                </a:schemeClr>
              </a:solidFill>
              <a:ln w="3175">
                <a:solidFill>
                  <a:schemeClr val="accent2">
                    <a:lumMod val="60000"/>
                    <a:lumOff val="4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25" name="Tajikistan">
                <a:extLst>
                  <a:ext uri="{FF2B5EF4-FFF2-40B4-BE49-F238E27FC236}">
                    <a16:creationId xmlns:a16="http://schemas.microsoft.com/office/drawing/2014/main" id="{1FA95988-D076-D0A0-3A2F-181BF0F880D5}"/>
                  </a:ext>
                </a:extLst>
              </p:cNvPr>
              <p:cNvSpPr>
                <a:spLocks/>
              </p:cNvSpPr>
              <p:nvPr/>
            </p:nvSpPr>
            <p:spPr bwMode="auto">
              <a:xfrm>
                <a:off x="5234681" y="2255524"/>
                <a:ext cx="179644" cy="130692"/>
              </a:xfrm>
              <a:custGeom>
                <a:avLst/>
                <a:gdLst/>
                <a:ahLst/>
                <a:cxnLst>
                  <a:cxn ang="0">
                    <a:pos x="2" y="15"/>
                  </a:cxn>
                  <a:cxn ang="0">
                    <a:pos x="10" y="13"/>
                  </a:cxn>
                  <a:cxn ang="0">
                    <a:pos x="11" y="12"/>
                  </a:cxn>
                  <a:cxn ang="0">
                    <a:pos x="11" y="10"/>
                  </a:cxn>
                  <a:cxn ang="0">
                    <a:pos x="14" y="9"/>
                  </a:cxn>
                  <a:cxn ang="0">
                    <a:pos x="14" y="3"/>
                  </a:cxn>
                  <a:cxn ang="0">
                    <a:pos x="22" y="0"/>
                  </a:cxn>
                  <a:cxn ang="0">
                    <a:pos x="24" y="5"/>
                  </a:cxn>
                  <a:cxn ang="0">
                    <a:pos x="26" y="9"/>
                  </a:cxn>
                  <a:cxn ang="0">
                    <a:pos x="25" y="12"/>
                  </a:cxn>
                  <a:cxn ang="0">
                    <a:pos x="16" y="12"/>
                  </a:cxn>
                  <a:cxn ang="0">
                    <a:pos x="19" y="15"/>
                  </a:cxn>
                  <a:cxn ang="0">
                    <a:pos x="24" y="16"/>
                  </a:cxn>
                  <a:cxn ang="0">
                    <a:pos x="29" y="17"/>
                  </a:cxn>
                  <a:cxn ang="0">
                    <a:pos x="36" y="16"/>
                  </a:cxn>
                  <a:cxn ang="0">
                    <a:pos x="38" y="18"/>
                  </a:cxn>
                  <a:cxn ang="0">
                    <a:pos x="50" y="18"/>
                  </a:cxn>
                  <a:cxn ang="0">
                    <a:pos x="55" y="19"/>
                  </a:cxn>
                  <a:cxn ang="0">
                    <a:pos x="58" y="26"/>
                  </a:cxn>
                  <a:cxn ang="0">
                    <a:pos x="64" y="25"/>
                  </a:cxn>
                  <a:cxn ang="0">
                    <a:pos x="69" y="32"/>
                  </a:cxn>
                  <a:cxn ang="0">
                    <a:pos x="71" y="37"/>
                  </a:cxn>
                  <a:cxn ang="0">
                    <a:pos x="71" y="41"/>
                  </a:cxn>
                  <a:cxn ang="0">
                    <a:pos x="66" y="39"/>
                  </a:cxn>
                  <a:cxn ang="0">
                    <a:pos x="55" y="39"/>
                  </a:cxn>
                  <a:cxn ang="0">
                    <a:pos x="48" y="44"/>
                  </a:cxn>
                  <a:cxn ang="0">
                    <a:pos x="37" y="33"/>
                  </a:cxn>
                  <a:cxn ang="0">
                    <a:pos x="34" y="28"/>
                  </a:cxn>
                  <a:cxn ang="0">
                    <a:pos x="29" y="35"/>
                  </a:cxn>
                  <a:cxn ang="0">
                    <a:pos x="23" y="37"/>
                  </a:cxn>
                  <a:cxn ang="0">
                    <a:pos x="19" y="40"/>
                  </a:cxn>
                  <a:cxn ang="0">
                    <a:pos x="16" y="40"/>
                  </a:cxn>
                  <a:cxn ang="0">
                    <a:pos x="13" y="43"/>
                  </a:cxn>
                  <a:cxn ang="0">
                    <a:pos x="9" y="36"/>
                  </a:cxn>
                  <a:cxn ang="0">
                    <a:pos x="6" y="22"/>
                  </a:cxn>
                  <a:cxn ang="0">
                    <a:pos x="0" y="19"/>
                  </a:cxn>
                </a:cxnLst>
                <a:rect l="0" t="0" r="r" b="b"/>
                <a:pathLst>
                  <a:path w="73" h="51">
                    <a:moveTo>
                      <a:pt x="0" y="19"/>
                    </a:moveTo>
                    <a:cubicBezTo>
                      <a:pt x="0" y="17"/>
                      <a:pt x="0" y="15"/>
                      <a:pt x="2" y="15"/>
                    </a:cubicBezTo>
                    <a:cubicBezTo>
                      <a:pt x="4" y="15"/>
                      <a:pt x="6" y="16"/>
                      <a:pt x="8" y="16"/>
                    </a:cubicBezTo>
                    <a:cubicBezTo>
                      <a:pt x="9" y="16"/>
                      <a:pt x="10" y="15"/>
                      <a:pt x="10" y="13"/>
                    </a:cubicBezTo>
                    <a:cubicBezTo>
                      <a:pt x="10" y="13"/>
                      <a:pt x="9" y="12"/>
                      <a:pt x="10" y="12"/>
                    </a:cubicBezTo>
                    <a:cubicBezTo>
                      <a:pt x="11" y="12"/>
                      <a:pt x="10" y="11"/>
                      <a:pt x="11" y="12"/>
                    </a:cubicBezTo>
                    <a:cubicBezTo>
                      <a:pt x="11" y="11"/>
                      <a:pt x="10" y="11"/>
                      <a:pt x="10" y="10"/>
                    </a:cubicBezTo>
                    <a:cubicBezTo>
                      <a:pt x="11" y="10"/>
                      <a:pt x="11" y="10"/>
                      <a:pt x="11" y="10"/>
                    </a:cubicBezTo>
                    <a:cubicBezTo>
                      <a:pt x="11" y="9"/>
                      <a:pt x="9" y="10"/>
                      <a:pt x="8" y="9"/>
                    </a:cubicBezTo>
                    <a:cubicBezTo>
                      <a:pt x="10" y="7"/>
                      <a:pt x="12" y="9"/>
                      <a:pt x="14" y="9"/>
                    </a:cubicBezTo>
                    <a:cubicBezTo>
                      <a:pt x="13" y="8"/>
                      <a:pt x="14" y="7"/>
                      <a:pt x="14" y="6"/>
                    </a:cubicBezTo>
                    <a:cubicBezTo>
                      <a:pt x="13" y="6"/>
                      <a:pt x="12" y="3"/>
                      <a:pt x="14" y="3"/>
                    </a:cubicBezTo>
                    <a:cubicBezTo>
                      <a:pt x="15" y="2"/>
                      <a:pt x="16" y="4"/>
                      <a:pt x="17" y="4"/>
                    </a:cubicBezTo>
                    <a:cubicBezTo>
                      <a:pt x="19" y="3"/>
                      <a:pt x="21" y="1"/>
                      <a:pt x="22" y="0"/>
                    </a:cubicBezTo>
                    <a:cubicBezTo>
                      <a:pt x="23" y="1"/>
                      <a:pt x="24" y="2"/>
                      <a:pt x="25" y="3"/>
                    </a:cubicBezTo>
                    <a:cubicBezTo>
                      <a:pt x="26" y="4"/>
                      <a:pt x="25" y="4"/>
                      <a:pt x="24" y="5"/>
                    </a:cubicBezTo>
                    <a:cubicBezTo>
                      <a:pt x="22" y="6"/>
                      <a:pt x="23" y="6"/>
                      <a:pt x="24" y="7"/>
                    </a:cubicBezTo>
                    <a:cubicBezTo>
                      <a:pt x="25" y="8"/>
                      <a:pt x="25" y="9"/>
                      <a:pt x="26" y="9"/>
                    </a:cubicBezTo>
                    <a:cubicBezTo>
                      <a:pt x="27" y="9"/>
                      <a:pt x="28" y="8"/>
                      <a:pt x="29" y="8"/>
                    </a:cubicBezTo>
                    <a:cubicBezTo>
                      <a:pt x="28" y="9"/>
                      <a:pt x="26" y="12"/>
                      <a:pt x="25" y="12"/>
                    </a:cubicBezTo>
                    <a:cubicBezTo>
                      <a:pt x="26" y="10"/>
                      <a:pt x="22" y="9"/>
                      <a:pt x="21" y="9"/>
                    </a:cubicBezTo>
                    <a:cubicBezTo>
                      <a:pt x="18" y="8"/>
                      <a:pt x="17" y="10"/>
                      <a:pt x="16" y="12"/>
                    </a:cubicBezTo>
                    <a:cubicBezTo>
                      <a:pt x="15" y="10"/>
                      <a:pt x="16" y="15"/>
                      <a:pt x="16" y="16"/>
                    </a:cubicBezTo>
                    <a:cubicBezTo>
                      <a:pt x="17" y="17"/>
                      <a:pt x="19" y="15"/>
                      <a:pt x="19" y="15"/>
                    </a:cubicBezTo>
                    <a:cubicBezTo>
                      <a:pt x="21" y="15"/>
                      <a:pt x="22" y="16"/>
                      <a:pt x="24" y="15"/>
                    </a:cubicBezTo>
                    <a:cubicBezTo>
                      <a:pt x="24" y="16"/>
                      <a:pt x="24" y="16"/>
                      <a:pt x="24" y="16"/>
                    </a:cubicBezTo>
                    <a:cubicBezTo>
                      <a:pt x="25" y="16"/>
                      <a:pt x="26" y="15"/>
                      <a:pt x="27" y="15"/>
                    </a:cubicBezTo>
                    <a:cubicBezTo>
                      <a:pt x="28" y="16"/>
                      <a:pt x="28" y="17"/>
                      <a:pt x="29" y="17"/>
                    </a:cubicBezTo>
                    <a:cubicBezTo>
                      <a:pt x="30" y="18"/>
                      <a:pt x="33" y="16"/>
                      <a:pt x="34" y="15"/>
                    </a:cubicBezTo>
                    <a:cubicBezTo>
                      <a:pt x="35" y="15"/>
                      <a:pt x="35" y="16"/>
                      <a:pt x="36" y="16"/>
                    </a:cubicBezTo>
                    <a:cubicBezTo>
                      <a:pt x="36" y="17"/>
                      <a:pt x="37" y="17"/>
                      <a:pt x="37" y="17"/>
                    </a:cubicBezTo>
                    <a:cubicBezTo>
                      <a:pt x="38" y="17"/>
                      <a:pt x="38" y="17"/>
                      <a:pt x="38" y="18"/>
                    </a:cubicBezTo>
                    <a:cubicBezTo>
                      <a:pt x="40" y="19"/>
                      <a:pt x="41" y="17"/>
                      <a:pt x="43" y="20"/>
                    </a:cubicBezTo>
                    <a:cubicBezTo>
                      <a:pt x="43" y="16"/>
                      <a:pt x="48" y="18"/>
                      <a:pt x="50" y="18"/>
                    </a:cubicBezTo>
                    <a:cubicBezTo>
                      <a:pt x="51" y="18"/>
                      <a:pt x="54" y="16"/>
                      <a:pt x="54" y="17"/>
                    </a:cubicBezTo>
                    <a:cubicBezTo>
                      <a:pt x="55" y="17"/>
                      <a:pt x="54" y="19"/>
                      <a:pt x="55" y="19"/>
                    </a:cubicBezTo>
                    <a:cubicBezTo>
                      <a:pt x="56" y="20"/>
                      <a:pt x="57" y="21"/>
                      <a:pt x="57" y="22"/>
                    </a:cubicBezTo>
                    <a:cubicBezTo>
                      <a:pt x="55" y="22"/>
                      <a:pt x="57" y="25"/>
                      <a:pt x="58" y="26"/>
                    </a:cubicBezTo>
                    <a:cubicBezTo>
                      <a:pt x="59" y="26"/>
                      <a:pt x="59" y="26"/>
                      <a:pt x="60" y="26"/>
                    </a:cubicBezTo>
                    <a:cubicBezTo>
                      <a:pt x="62" y="25"/>
                      <a:pt x="63" y="25"/>
                      <a:pt x="64" y="25"/>
                    </a:cubicBezTo>
                    <a:cubicBezTo>
                      <a:pt x="66" y="26"/>
                      <a:pt x="68" y="26"/>
                      <a:pt x="68" y="30"/>
                    </a:cubicBezTo>
                    <a:cubicBezTo>
                      <a:pt x="68" y="30"/>
                      <a:pt x="68" y="31"/>
                      <a:pt x="69" y="32"/>
                    </a:cubicBezTo>
                    <a:cubicBezTo>
                      <a:pt x="70" y="33"/>
                      <a:pt x="70" y="34"/>
                      <a:pt x="70" y="34"/>
                    </a:cubicBezTo>
                    <a:cubicBezTo>
                      <a:pt x="71" y="35"/>
                      <a:pt x="70" y="36"/>
                      <a:pt x="71" y="37"/>
                    </a:cubicBezTo>
                    <a:cubicBezTo>
                      <a:pt x="71" y="37"/>
                      <a:pt x="72" y="37"/>
                      <a:pt x="72" y="38"/>
                    </a:cubicBezTo>
                    <a:cubicBezTo>
                      <a:pt x="73" y="39"/>
                      <a:pt x="72" y="40"/>
                      <a:pt x="71" y="41"/>
                    </a:cubicBezTo>
                    <a:cubicBezTo>
                      <a:pt x="71" y="41"/>
                      <a:pt x="70" y="39"/>
                      <a:pt x="70" y="39"/>
                    </a:cubicBezTo>
                    <a:cubicBezTo>
                      <a:pt x="69" y="39"/>
                      <a:pt x="66" y="38"/>
                      <a:pt x="66" y="39"/>
                    </a:cubicBezTo>
                    <a:cubicBezTo>
                      <a:pt x="64" y="40"/>
                      <a:pt x="62" y="41"/>
                      <a:pt x="60" y="40"/>
                    </a:cubicBezTo>
                    <a:cubicBezTo>
                      <a:pt x="63" y="38"/>
                      <a:pt x="57" y="38"/>
                      <a:pt x="55" y="39"/>
                    </a:cubicBezTo>
                    <a:cubicBezTo>
                      <a:pt x="54" y="40"/>
                      <a:pt x="53" y="41"/>
                      <a:pt x="52" y="42"/>
                    </a:cubicBezTo>
                    <a:cubicBezTo>
                      <a:pt x="52" y="44"/>
                      <a:pt x="49" y="43"/>
                      <a:pt x="48" y="44"/>
                    </a:cubicBezTo>
                    <a:cubicBezTo>
                      <a:pt x="41" y="51"/>
                      <a:pt x="40" y="40"/>
                      <a:pt x="40" y="35"/>
                    </a:cubicBezTo>
                    <a:cubicBezTo>
                      <a:pt x="40" y="32"/>
                      <a:pt x="39" y="34"/>
                      <a:pt x="37" y="33"/>
                    </a:cubicBezTo>
                    <a:cubicBezTo>
                      <a:pt x="37" y="33"/>
                      <a:pt x="37" y="31"/>
                      <a:pt x="37" y="30"/>
                    </a:cubicBezTo>
                    <a:cubicBezTo>
                      <a:pt x="37" y="29"/>
                      <a:pt x="34" y="28"/>
                      <a:pt x="34" y="28"/>
                    </a:cubicBezTo>
                    <a:cubicBezTo>
                      <a:pt x="30" y="28"/>
                      <a:pt x="30" y="31"/>
                      <a:pt x="28" y="33"/>
                    </a:cubicBezTo>
                    <a:cubicBezTo>
                      <a:pt x="27" y="34"/>
                      <a:pt x="29" y="35"/>
                      <a:pt x="29" y="35"/>
                    </a:cubicBezTo>
                    <a:cubicBezTo>
                      <a:pt x="30" y="37"/>
                      <a:pt x="28" y="38"/>
                      <a:pt x="27" y="37"/>
                    </a:cubicBezTo>
                    <a:cubicBezTo>
                      <a:pt x="25" y="37"/>
                      <a:pt x="24" y="37"/>
                      <a:pt x="23" y="37"/>
                    </a:cubicBezTo>
                    <a:cubicBezTo>
                      <a:pt x="21" y="38"/>
                      <a:pt x="23" y="39"/>
                      <a:pt x="23" y="40"/>
                    </a:cubicBezTo>
                    <a:cubicBezTo>
                      <a:pt x="23" y="44"/>
                      <a:pt x="20" y="41"/>
                      <a:pt x="19" y="40"/>
                    </a:cubicBezTo>
                    <a:cubicBezTo>
                      <a:pt x="19" y="40"/>
                      <a:pt x="18" y="39"/>
                      <a:pt x="18" y="40"/>
                    </a:cubicBezTo>
                    <a:cubicBezTo>
                      <a:pt x="17" y="41"/>
                      <a:pt x="17" y="40"/>
                      <a:pt x="16" y="40"/>
                    </a:cubicBezTo>
                    <a:cubicBezTo>
                      <a:pt x="16" y="40"/>
                      <a:pt x="15" y="41"/>
                      <a:pt x="15" y="41"/>
                    </a:cubicBezTo>
                    <a:cubicBezTo>
                      <a:pt x="14" y="41"/>
                      <a:pt x="13" y="42"/>
                      <a:pt x="13" y="43"/>
                    </a:cubicBezTo>
                    <a:cubicBezTo>
                      <a:pt x="12" y="43"/>
                      <a:pt x="11" y="44"/>
                      <a:pt x="10" y="43"/>
                    </a:cubicBezTo>
                    <a:cubicBezTo>
                      <a:pt x="8" y="42"/>
                      <a:pt x="7" y="38"/>
                      <a:pt x="9" y="36"/>
                    </a:cubicBezTo>
                    <a:cubicBezTo>
                      <a:pt x="10" y="34"/>
                      <a:pt x="13" y="31"/>
                      <a:pt x="9" y="29"/>
                    </a:cubicBezTo>
                    <a:cubicBezTo>
                      <a:pt x="7" y="27"/>
                      <a:pt x="9" y="22"/>
                      <a:pt x="6" y="22"/>
                    </a:cubicBezTo>
                    <a:cubicBezTo>
                      <a:pt x="5" y="22"/>
                      <a:pt x="3" y="22"/>
                      <a:pt x="3" y="21"/>
                    </a:cubicBezTo>
                    <a:cubicBezTo>
                      <a:pt x="2" y="19"/>
                      <a:pt x="0" y="20"/>
                      <a:pt x="0" y="19"/>
                    </a:cubicBezTo>
                  </a:path>
                </a:pathLst>
              </a:custGeom>
              <a:solidFill>
                <a:schemeClr val="accent2">
                  <a:lumMod val="60000"/>
                  <a:lumOff val="40000"/>
                </a:schemeClr>
              </a:solidFill>
              <a:ln w="3175">
                <a:solidFill>
                  <a:schemeClr val="accent4"/>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229" name="Kyrgyzstan">
                <a:extLst>
                  <a:ext uri="{FF2B5EF4-FFF2-40B4-BE49-F238E27FC236}">
                    <a16:creationId xmlns:a16="http://schemas.microsoft.com/office/drawing/2014/main" id="{14B4D39A-31E4-C040-BFA8-BF2E2051AF1A}"/>
                  </a:ext>
                </a:extLst>
              </p:cNvPr>
              <p:cNvSpPr>
                <a:spLocks/>
              </p:cNvSpPr>
              <p:nvPr/>
            </p:nvSpPr>
            <p:spPr bwMode="auto">
              <a:xfrm>
                <a:off x="5270868" y="2194179"/>
                <a:ext cx="219710" cy="112022"/>
              </a:xfrm>
              <a:custGeom>
                <a:avLst/>
                <a:gdLst/>
                <a:ahLst/>
                <a:cxnLst>
                  <a:cxn ang="0">
                    <a:pos x="7" y="33"/>
                  </a:cxn>
                  <a:cxn ang="0">
                    <a:pos x="14" y="32"/>
                  </a:cxn>
                  <a:cxn ang="0">
                    <a:pos x="19" y="33"/>
                  </a:cxn>
                  <a:cxn ang="0">
                    <a:pos x="23" y="32"/>
                  </a:cxn>
                  <a:cxn ang="0">
                    <a:pos x="25" y="29"/>
                  </a:cxn>
                  <a:cxn ang="0">
                    <a:pos x="31" y="26"/>
                  </a:cxn>
                  <a:cxn ang="0">
                    <a:pos x="22" y="24"/>
                  </a:cxn>
                  <a:cxn ang="0">
                    <a:pos x="16" y="18"/>
                  </a:cxn>
                  <a:cxn ang="0">
                    <a:pos x="15" y="21"/>
                  </a:cxn>
                  <a:cxn ang="0">
                    <a:pos x="9" y="21"/>
                  </a:cxn>
                  <a:cxn ang="0">
                    <a:pos x="3" y="19"/>
                  </a:cxn>
                  <a:cxn ang="0">
                    <a:pos x="8" y="8"/>
                  </a:cxn>
                  <a:cxn ang="0">
                    <a:pos x="12" y="5"/>
                  </a:cxn>
                  <a:cxn ang="0">
                    <a:pos x="23" y="7"/>
                  </a:cxn>
                  <a:cxn ang="0">
                    <a:pos x="30" y="9"/>
                  </a:cxn>
                  <a:cxn ang="0">
                    <a:pos x="33" y="0"/>
                  </a:cxn>
                  <a:cxn ang="0">
                    <a:pos x="47" y="5"/>
                  </a:cxn>
                  <a:cxn ang="0">
                    <a:pos x="54" y="4"/>
                  </a:cxn>
                  <a:cxn ang="0">
                    <a:pos x="61" y="4"/>
                  </a:cxn>
                  <a:cxn ang="0">
                    <a:pos x="70" y="4"/>
                  </a:cxn>
                  <a:cxn ang="0">
                    <a:pos x="82" y="9"/>
                  </a:cxn>
                  <a:cxn ang="0">
                    <a:pos x="89" y="13"/>
                  </a:cxn>
                  <a:cxn ang="0">
                    <a:pos x="77" y="19"/>
                  </a:cxn>
                  <a:cxn ang="0">
                    <a:pos x="72" y="24"/>
                  </a:cxn>
                  <a:cxn ang="0">
                    <a:pos x="64" y="24"/>
                  </a:cxn>
                  <a:cxn ang="0">
                    <a:pos x="57" y="31"/>
                  </a:cxn>
                  <a:cxn ang="0">
                    <a:pos x="50" y="30"/>
                  </a:cxn>
                  <a:cxn ang="0">
                    <a:pos x="47" y="31"/>
                  </a:cxn>
                  <a:cxn ang="0">
                    <a:pos x="41" y="35"/>
                  </a:cxn>
                  <a:cxn ang="0">
                    <a:pos x="37" y="41"/>
                  </a:cxn>
                  <a:cxn ang="0">
                    <a:pos x="28" y="44"/>
                  </a:cxn>
                  <a:cxn ang="0">
                    <a:pos x="22" y="41"/>
                  </a:cxn>
                  <a:cxn ang="0">
                    <a:pos x="20" y="39"/>
                  </a:cxn>
                  <a:cxn ang="0">
                    <a:pos x="13" y="40"/>
                  </a:cxn>
                  <a:cxn ang="0">
                    <a:pos x="9" y="39"/>
                  </a:cxn>
                  <a:cxn ang="0">
                    <a:pos x="1" y="40"/>
                  </a:cxn>
                  <a:cxn ang="0">
                    <a:pos x="2" y="34"/>
                  </a:cxn>
                </a:cxnLst>
                <a:rect l="0" t="0" r="r" b="b"/>
                <a:pathLst>
                  <a:path w="89" h="44">
                    <a:moveTo>
                      <a:pt x="2" y="34"/>
                    </a:moveTo>
                    <a:cubicBezTo>
                      <a:pt x="3" y="32"/>
                      <a:pt x="6" y="32"/>
                      <a:pt x="7" y="33"/>
                    </a:cubicBezTo>
                    <a:cubicBezTo>
                      <a:pt x="8" y="33"/>
                      <a:pt x="11" y="34"/>
                      <a:pt x="10" y="36"/>
                    </a:cubicBezTo>
                    <a:cubicBezTo>
                      <a:pt x="12" y="35"/>
                      <a:pt x="13" y="33"/>
                      <a:pt x="14" y="32"/>
                    </a:cubicBezTo>
                    <a:cubicBezTo>
                      <a:pt x="15" y="31"/>
                      <a:pt x="15" y="31"/>
                      <a:pt x="17" y="32"/>
                    </a:cubicBezTo>
                    <a:cubicBezTo>
                      <a:pt x="18" y="32"/>
                      <a:pt x="18" y="33"/>
                      <a:pt x="19" y="33"/>
                    </a:cubicBezTo>
                    <a:cubicBezTo>
                      <a:pt x="20" y="33"/>
                      <a:pt x="20" y="32"/>
                      <a:pt x="20" y="33"/>
                    </a:cubicBezTo>
                    <a:cubicBezTo>
                      <a:pt x="21" y="33"/>
                      <a:pt x="22" y="32"/>
                      <a:pt x="23" y="32"/>
                    </a:cubicBezTo>
                    <a:cubicBezTo>
                      <a:pt x="20" y="31"/>
                      <a:pt x="25" y="31"/>
                      <a:pt x="26" y="31"/>
                    </a:cubicBezTo>
                    <a:cubicBezTo>
                      <a:pt x="26" y="30"/>
                      <a:pt x="25" y="29"/>
                      <a:pt x="25" y="29"/>
                    </a:cubicBezTo>
                    <a:cubicBezTo>
                      <a:pt x="27" y="29"/>
                      <a:pt x="28" y="30"/>
                      <a:pt x="29" y="28"/>
                    </a:cubicBezTo>
                    <a:cubicBezTo>
                      <a:pt x="29" y="27"/>
                      <a:pt x="31" y="27"/>
                      <a:pt x="31" y="26"/>
                    </a:cubicBezTo>
                    <a:cubicBezTo>
                      <a:pt x="30" y="26"/>
                      <a:pt x="28" y="26"/>
                      <a:pt x="28" y="26"/>
                    </a:cubicBezTo>
                    <a:cubicBezTo>
                      <a:pt x="26" y="26"/>
                      <a:pt x="24" y="23"/>
                      <a:pt x="22" y="24"/>
                    </a:cubicBezTo>
                    <a:cubicBezTo>
                      <a:pt x="22" y="22"/>
                      <a:pt x="21" y="23"/>
                      <a:pt x="20" y="22"/>
                    </a:cubicBezTo>
                    <a:cubicBezTo>
                      <a:pt x="18" y="21"/>
                      <a:pt x="17" y="20"/>
                      <a:pt x="16" y="18"/>
                    </a:cubicBezTo>
                    <a:cubicBezTo>
                      <a:pt x="16" y="19"/>
                      <a:pt x="16" y="20"/>
                      <a:pt x="16" y="21"/>
                    </a:cubicBezTo>
                    <a:cubicBezTo>
                      <a:pt x="16" y="21"/>
                      <a:pt x="15" y="21"/>
                      <a:pt x="15" y="21"/>
                    </a:cubicBezTo>
                    <a:cubicBezTo>
                      <a:pt x="15" y="22"/>
                      <a:pt x="15" y="22"/>
                      <a:pt x="15" y="23"/>
                    </a:cubicBezTo>
                    <a:cubicBezTo>
                      <a:pt x="13" y="21"/>
                      <a:pt x="10" y="23"/>
                      <a:pt x="9" y="21"/>
                    </a:cubicBezTo>
                    <a:cubicBezTo>
                      <a:pt x="9" y="19"/>
                      <a:pt x="8" y="19"/>
                      <a:pt x="7" y="20"/>
                    </a:cubicBezTo>
                    <a:cubicBezTo>
                      <a:pt x="6" y="20"/>
                      <a:pt x="4" y="19"/>
                      <a:pt x="3" y="19"/>
                    </a:cubicBezTo>
                    <a:cubicBezTo>
                      <a:pt x="4" y="16"/>
                      <a:pt x="9" y="13"/>
                      <a:pt x="11" y="11"/>
                    </a:cubicBezTo>
                    <a:cubicBezTo>
                      <a:pt x="8" y="10"/>
                      <a:pt x="7" y="12"/>
                      <a:pt x="8" y="8"/>
                    </a:cubicBezTo>
                    <a:cubicBezTo>
                      <a:pt x="8" y="7"/>
                      <a:pt x="8" y="7"/>
                      <a:pt x="9" y="6"/>
                    </a:cubicBezTo>
                    <a:cubicBezTo>
                      <a:pt x="10" y="5"/>
                      <a:pt x="12" y="6"/>
                      <a:pt x="12" y="5"/>
                    </a:cubicBezTo>
                    <a:cubicBezTo>
                      <a:pt x="14" y="4"/>
                      <a:pt x="19" y="6"/>
                      <a:pt x="21" y="6"/>
                    </a:cubicBezTo>
                    <a:cubicBezTo>
                      <a:pt x="22" y="6"/>
                      <a:pt x="22" y="7"/>
                      <a:pt x="23" y="7"/>
                    </a:cubicBezTo>
                    <a:cubicBezTo>
                      <a:pt x="24" y="8"/>
                      <a:pt x="24" y="8"/>
                      <a:pt x="26" y="8"/>
                    </a:cubicBezTo>
                    <a:cubicBezTo>
                      <a:pt x="27" y="8"/>
                      <a:pt x="28" y="9"/>
                      <a:pt x="30" y="9"/>
                    </a:cubicBezTo>
                    <a:cubicBezTo>
                      <a:pt x="28" y="8"/>
                      <a:pt x="27" y="3"/>
                      <a:pt x="29" y="2"/>
                    </a:cubicBezTo>
                    <a:cubicBezTo>
                      <a:pt x="29" y="2"/>
                      <a:pt x="33" y="1"/>
                      <a:pt x="33" y="0"/>
                    </a:cubicBezTo>
                    <a:cubicBezTo>
                      <a:pt x="35" y="1"/>
                      <a:pt x="38" y="2"/>
                      <a:pt x="40" y="4"/>
                    </a:cubicBezTo>
                    <a:cubicBezTo>
                      <a:pt x="41" y="4"/>
                      <a:pt x="46" y="6"/>
                      <a:pt x="47" y="5"/>
                    </a:cubicBezTo>
                    <a:cubicBezTo>
                      <a:pt x="48" y="5"/>
                      <a:pt x="47" y="4"/>
                      <a:pt x="48" y="4"/>
                    </a:cubicBezTo>
                    <a:cubicBezTo>
                      <a:pt x="50" y="4"/>
                      <a:pt x="52" y="4"/>
                      <a:pt x="54" y="4"/>
                    </a:cubicBezTo>
                    <a:cubicBezTo>
                      <a:pt x="55" y="4"/>
                      <a:pt x="56" y="3"/>
                      <a:pt x="57" y="3"/>
                    </a:cubicBezTo>
                    <a:cubicBezTo>
                      <a:pt x="59" y="3"/>
                      <a:pt x="60" y="4"/>
                      <a:pt x="61" y="4"/>
                    </a:cubicBezTo>
                    <a:cubicBezTo>
                      <a:pt x="63" y="3"/>
                      <a:pt x="64" y="4"/>
                      <a:pt x="65" y="4"/>
                    </a:cubicBezTo>
                    <a:cubicBezTo>
                      <a:pt x="67" y="4"/>
                      <a:pt x="69" y="4"/>
                      <a:pt x="70" y="4"/>
                    </a:cubicBezTo>
                    <a:cubicBezTo>
                      <a:pt x="73" y="4"/>
                      <a:pt x="77" y="5"/>
                      <a:pt x="79" y="7"/>
                    </a:cubicBezTo>
                    <a:cubicBezTo>
                      <a:pt x="80" y="8"/>
                      <a:pt x="80" y="9"/>
                      <a:pt x="82" y="9"/>
                    </a:cubicBezTo>
                    <a:cubicBezTo>
                      <a:pt x="83" y="9"/>
                      <a:pt x="84" y="9"/>
                      <a:pt x="85" y="9"/>
                    </a:cubicBezTo>
                    <a:cubicBezTo>
                      <a:pt x="86" y="10"/>
                      <a:pt x="88" y="11"/>
                      <a:pt x="89" y="13"/>
                    </a:cubicBezTo>
                    <a:cubicBezTo>
                      <a:pt x="89" y="13"/>
                      <a:pt x="85" y="14"/>
                      <a:pt x="85" y="15"/>
                    </a:cubicBezTo>
                    <a:cubicBezTo>
                      <a:pt x="82" y="17"/>
                      <a:pt x="79" y="17"/>
                      <a:pt x="77" y="19"/>
                    </a:cubicBezTo>
                    <a:cubicBezTo>
                      <a:pt x="75" y="20"/>
                      <a:pt x="75" y="20"/>
                      <a:pt x="75" y="22"/>
                    </a:cubicBezTo>
                    <a:cubicBezTo>
                      <a:pt x="75" y="23"/>
                      <a:pt x="74" y="24"/>
                      <a:pt x="72" y="24"/>
                    </a:cubicBezTo>
                    <a:cubicBezTo>
                      <a:pt x="71" y="24"/>
                      <a:pt x="70" y="24"/>
                      <a:pt x="69" y="24"/>
                    </a:cubicBezTo>
                    <a:cubicBezTo>
                      <a:pt x="67" y="24"/>
                      <a:pt x="66" y="24"/>
                      <a:pt x="64" y="24"/>
                    </a:cubicBezTo>
                    <a:cubicBezTo>
                      <a:pt x="62" y="24"/>
                      <a:pt x="62" y="26"/>
                      <a:pt x="62" y="28"/>
                    </a:cubicBezTo>
                    <a:cubicBezTo>
                      <a:pt x="61" y="32"/>
                      <a:pt x="59" y="31"/>
                      <a:pt x="57" y="31"/>
                    </a:cubicBezTo>
                    <a:cubicBezTo>
                      <a:pt x="54" y="32"/>
                      <a:pt x="54" y="29"/>
                      <a:pt x="53" y="28"/>
                    </a:cubicBezTo>
                    <a:cubicBezTo>
                      <a:pt x="52" y="28"/>
                      <a:pt x="51" y="30"/>
                      <a:pt x="50" y="30"/>
                    </a:cubicBezTo>
                    <a:cubicBezTo>
                      <a:pt x="49" y="31"/>
                      <a:pt x="48" y="30"/>
                      <a:pt x="47" y="30"/>
                    </a:cubicBezTo>
                    <a:cubicBezTo>
                      <a:pt x="47" y="30"/>
                      <a:pt x="47" y="31"/>
                      <a:pt x="47" y="31"/>
                    </a:cubicBezTo>
                    <a:cubicBezTo>
                      <a:pt x="46" y="31"/>
                      <a:pt x="45" y="32"/>
                      <a:pt x="44" y="33"/>
                    </a:cubicBezTo>
                    <a:cubicBezTo>
                      <a:pt x="44" y="35"/>
                      <a:pt x="42" y="34"/>
                      <a:pt x="41" y="35"/>
                    </a:cubicBezTo>
                    <a:cubicBezTo>
                      <a:pt x="39" y="37"/>
                      <a:pt x="43" y="39"/>
                      <a:pt x="41" y="41"/>
                    </a:cubicBezTo>
                    <a:cubicBezTo>
                      <a:pt x="40" y="41"/>
                      <a:pt x="38" y="40"/>
                      <a:pt x="37" y="41"/>
                    </a:cubicBezTo>
                    <a:cubicBezTo>
                      <a:pt x="36" y="42"/>
                      <a:pt x="35" y="42"/>
                      <a:pt x="33" y="42"/>
                    </a:cubicBezTo>
                    <a:cubicBezTo>
                      <a:pt x="32" y="41"/>
                      <a:pt x="28" y="41"/>
                      <a:pt x="28" y="44"/>
                    </a:cubicBezTo>
                    <a:cubicBezTo>
                      <a:pt x="26" y="42"/>
                      <a:pt x="24" y="43"/>
                      <a:pt x="23" y="42"/>
                    </a:cubicBezTo>
                    <a:cubicBezTo>
                      <a:pt x="23" y="42"/>
                      <a:pt x="23" y="41"/>
                      <a:pt x="22" y="41"/>
                    </a:cubicBezTo>
                    <a:cubicBezTo>
                      <a:pt x="22" y="41"/>
                      <a:pt x="21" y="41"/>
                      <a:pt x="21" y="40"/>
                    </a:cubicBezTo>
                    <a:cubicBezTo>
                      <a:pt x="20" y="40"/>
                      <a:pt x="20" y="40"/>
                      <a:pt x="20" y="39"/>
                    </a:cubicBezTo>
                    <a:cubicBezTo>
                      <a:pt x="19" y="39"/>
                      <a:pt x="16" y="42"/>
                      <a:pt x="15" y="41"/>
                    </a:cubicBezTo>
                    <a:cubicBezTo>
                      <a:pt x="14" y="41"/>
                      <a:pt x="14" y="41"/>
                      <a:pt x="13" y="40"/>
                    </a:cubicBezTo>
                    <a:cubicBezTo>
                      <a:pt x="12" y="39"/>
                      <a:pt x="10" y="40"/>
                      <a:pt x="9" y="40"/>
                    </a:cubicBezTo>
                    <a:cubicBezTo>
                      <a:pt x="9" y="39"/>
                      <a:pt x="9" y="39"/>
                      <a:pt x="9" y="39"/>
                    </a:cubicBezTo>
                    <a:cubicBezTo>
                      <a:pt x="8" y="40"/>
                      <a:pt x="7" y="40"/>
                      <a:pt x="6" y="39"/>
                    </a:cubicBezTo>
                    <a:cubicBezTo>
                      <a:pt x="3" y="39"/>
                      <a:pt x="3" y="41"/>
                      <a:pt x="1" y="40"/>
                    </a:cubicBezTo>
                    <a:cubicBezTo>
                      <a:pt x="0" y="39"/>
                      <a:pt x="0" y="34"/>
                      <a:pt x="1" y="36"/>
                    </a:cubicBezTo>
                    <a:cubicBezTo>
                      <a:pt x="1" y="35"/>
                      <a:pt x="2" y="35"/>
                      <a:pt x="2" y="34"/>
                    </a:cubicBezTo>
                  </a:path>
                </a:pathLst>
              </a:custGeom>
              <a:solidFill>
                <a:schemeClr val="accent2">
                  <a:lumMod val="60000"/>
                  <a:lumOff val="40000"/>
                </a:schemeClr>
              </a:solidFill>
              <a:ln w="3175">
                <a:solidFill>
                  <a:schemeClr val="accent2">
                    <a:lumMod val="60000"/>
                    <a:lumOff val="4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23" name="Group 204">
              <a:extLst>
                <a:ext uri="{FF2B5EF4-FFF2-40B4-BE49-F238E27FC236}">
                  <a16:creationId xmlns:a16="http://schemas.microsoft.com/office/drawing/2014/main" id="{0CA4B546-63EB-F2A5-51FB-E5CF7D21A8C6}"/>
                </a:ext>
              </a:extLst>
            </p:cNvPr>
            <p:cNvGrpSpPr/>
            <p:nvPr/>
          </p:nvGrpSpPr>
          <p:grpSpPr>
            <a:xfrm>
              <a:off x="4158207" y="1424585"/>
              <a:ext cx="217777" cy="372227"/>
              <a:chOff x="6373888" y="2216434"/>
              <a:chExt cx="342162" cy="584830"/>
            </a:xfrm>
            <a:solidFill>
              <a:schemeClr val="accent2"/>
            </a:solidFill>
          </p:grpSpPr>
          <p:sp>
            <p:nvSpPr>
              <p:cNvPr id="17" name="Taiwan">
                <a:extLst>
                  <a:ext uri="{FF2B5EF4-FFF2-40B4-BE49-F238E27FC236}">
                    <a16:creationId xmlns:a16="http://schemas.microsoft.com/office/drawing/2014/main" id="{D6F8F83C-FEC3-77E2-5FFB-A1B243AC3565}"/>
                  </a:ext>
                </a:extLst>
              </p:cNvPr>
              <p:cNvSpPr>
                <a:spLocks/>
              </p:cNvSpPr>
              <p:nvPr/>
            </p:nvSpPr>
            <p:spPr bwMode="auto">
              <a:xfrm>
                <a:off x="6373888" y="2715116"/>
                <a:ext cx="31546" cy="86148"/>
              </a:xfrm>
              <a:custGeom>
                <a:avLst/>
                <a:gdLst/>
                <a:ahLst/>
                <a:cxnLst>
                  <a:cxn ang="0">
                    <a:pos x="0" y="20"/>
                  </a:cxn>
                  <a:cxn ang="0">
                    <a:pos x="1" y="22"/>
                  </a:cxn>
                  <a:cxn ang="0">
                    <a:pos x="1" y="24"/>
                  </a:cxn>
                  <a:cxn ang="0">
                    <a:pos x="3" y="29"/>
                  </a:cxn>
                  <a:cxn ang="0">
                    <a:pos x="7" y="33"/>
                  </a:cxn>
                  <a:cxn ang="0">
                    <a:pos x="10" y="36"/>
                  </a:cxn>
                  <a:cxn ang="0">
                    <a:pos x="10" y="33"/>
                  </a:cxn>
                  <a:cxn ang="0">
                    <a:pos x="11" y="28"/>
                  </a:cxn>
                  <a:cxn ang="0">
                    <a:pos x="13" y="16"/>
                  </a:cxn>
                  <a:cxn ang="0">
                    <a:pos x="13" y="13"/>
                  </a:cxn>
                  <a:cxn ang="0">
                    <a:pos x="14" y="11"/>
                  </a:cxn>
                  <a:cxn ang="0">
                    <a:pos x="13" y="6"/>
                  </a:cxn>
                  <a:cxn ang="0">
                    <a:pos x="13" y="3"/>
                  </a:cxn>
                  <a:cxn ang="0">
                    <a:pos x="9" y="1"/>
                  </a:cxn>
                  <a:cxn ang="0">
                    <a:pos x="5" y="4"/>
                  </a:cxn>
                  <a:cxn ang="0">
                    <a:pos x="4" y="8"/>
                  </a:cxn>
                  <a:cxn ang="0">
                    <a:pos x="2" y="13"/>
                  </a:cxn>
                  <a:cxn ang="0">
                    <a:pos x="0" y="20"/>
                  </a:cxn>
                </a:cxnLst>
                <a:rect l="0" t="0" r="r" b="b"/>
                <a:pathLst>
                  <a:path w="14" h="37">
                    <a:moveTo>
                      <a:pt x="0" y="20"/>
                    </a:moveTo>
                    <a:cubicBezTo>
                      <a:pt x="1" y="20"/>
                      <a:pt x="1" y="21"/>
                      <a:pt x="1" y="22"/>
                    </a:cubicBezTo>
                    <a:cubicBezTo>
                      <a:pt x="1" y="23"/>
                      <a:pt x="0" y="24"/>
                      <a:pt x="1" y="24"/>
                    </a:cubicBezTo>
                    <a:cubicBezTo>
                      <a:pt x="2" y="25"/>
                      <a:pt x="3" y="27"/>
                      <a:pt x="3" y="29"/>
                    </a:cubicBezTo>
                    <a:cubicBezTo>
                      <a:pt x="4" y="31"/>
                      <a:pt x="6" y="31"/>
                      <a:pt x="7" y="33"/>
                    </a:cubicBezTo>
                    <a:cubicBezTo>
                      <a:pt x="8" y="33"/>
                      <a:pt x="9" y="37"/>
                      <a:pt x="10" y="36"/>
                    </a:cubicBezTo>
                    <a:cubicBezTo>
                      <a:pt x="11" y="36"/>
                      <a:pt x="10" y="34"/>
                      <a:pt x="10" y="33"/>
                    </a:cubicBezTo>
                    <a:cubicBezTo>
                      <a:pt x="10" y="31"/>
                      <a:pt x="10" y="30"/>
                      <a:pt x="11" y="28"/>
                    </a:cubicBezTo>
                    <a:cubicBezTo>
                      <a:pt x="13" y="25"/>
                      <a:pt x="14" y="19"/>
                      <a:pt x="13" y="16"/>
                    </a:cubicBezTo>
                    <a:cubicBezTo>
                      <a:pt x="13" y="15"/>
                      <a:pt x="13" y="14"/>
                      <a:pt x="13" y="13"/>
                    </a:cubicBezTo>
                    <a:cubicBezTo>
                      <a:pt x="13" y="12"/>
                      <a:pt x="14" y="12"/>
                      <a:pt x="14" y="11"/>
                    </a:cubicBezTo>
                    <a:cubicBezTo>
                      <a:pt x="14" y="9"/>
                      <a:pt x="13" y="7"/>
                      <a:pt x="13" y="6"/>
                    </a:cubicBezTo>
                    <a:cubicBezTo>
                      <a:pt x="13" y="5"/>
                      <a:pt x="14" y="4"/>
                      <a:pt x="13" y="3"/>
                    </a:cubicBezTo>
                    <a:cubicBezTo>
                      <a:pt x="13" y="2"/>
                      <a:pt x="10" y="0"/>
                      <a:pt x="9" y="1"/>
                    </a:cubicBezTo>
                    <a:cubicBezTo>
                      <a:pt x="8" y="2"/>
                      <a:pt x="6" y="2"/>
                      <a:pt x="5" y="4"/>
                    </a:cubicBezTo>
                    <a:cubicBezTo>
                      <a:pt x="5" y="6"/>
                      <a:pt x="5" y="7"/>
                      <a:pt x="4" y="8"/>
                    </a:cubicBezTo>
                    <a:cubicBezTo>
                      <a:pt x="3" y="9"/>
                      <a:pt x="3" y="11"/>
                      <a:pt x="2" y="13"/>
                    </a:cubicBezTo>
                    <a:cubicBezTo>
                      <a:pt x="1" y="15"/>
                      <a:pt x="0" y="17"/>
                      <a:pt x="0" y="20"/>
                    </a:cubicBezTo>
                  </a:path>
                </a:pathLst>
              </a:custGeom>
              <a:solidFill>
                <a:schemeClr val="accent2">
                  <a:lumMod val="20000"/>
                  <a:lumOff val="80000"/>
                </a:schemeClr>
              </a:solidFill>
              <a:ln w="3175">
                <a:solidFill>
                  <a:schemeClr val="accent2">
                    <a:lumMod val="20000"/>
                    <a:lumOff val="80000"/>
                  </a:schemeClr>
                </a:solidFill>
                <a:round/>
                <a:headEnd/>
                <a:tailEnd/>
              </a:ln>
            </p:spPr>
            <p:txBody>
              <a:bodyPr vert="horz" wrap="square" lIns="68455" tIns="34227" rIns="68455" bIns="3422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8" name="Japan">
                <a:extLst>
                  <a:ext uri="{FF2B5EF4-FFF2-40B4-BE49-F238E27FC236}">
                    <a16:creationId xmlns:a16="http://schemas.microsoft.com/office/drawing/2014/main" id="{54267E61-2EE7-9CD4-99DC-59BC66BE230F}"/>
                  </a:ext>
                </a:extLst>
              </p:cNvPr>
              <p:cNvSpPr>
                <a:spLocks/>
              </p:cNvSpPr>
              <p:nvPr/>
            </p:nvSpPr>
            <p:spPr bwMode="auto">
              <a:xfrm>
                <a:off x="6447901" y="2216434"/>
                <a:ext cx="268149" cy="526588"/>
              </a:xfrm>
              <a:custGeom>
                <a:avLst/>
                <a:gdLst>
                  <a:gd name="connsiteX0" fmla="*/ 0 w 263129"/>
                  <a:gd name="connsiteY0" fmla="*/ 511969 h 516731"/>
                  <a:gd name="connsiteX1" fmla="*/ 3572 w 263129"/>
                  <a:gd name="connsiteY1" fmla="*/ 514350 h 516731"/>
                  <a:gd name="connsiteX2" fmla="*/ 0 w 263129"/>
                  <a:gd name="connsiteY2" fmla="*/ 516731 h 516731"/>
                  <a:gd name="connsiteX3" fmla="*/ 0 w 263129"/>
                  <a:gd name="connsiteY3" fmla="*/ 511969 h 516731"/>
                  <a:gd name="connsiteX4" fmla="*/ 10717 w 263129"/>
                  <a:gd name="connsiteY4" fmla="*/ 509587 h 516731"/>
                  <a:gd name="connsiteX5" fmla="*/ 8336 w 263129"/>
                  <a:gd name="connsiteY5" fmla="*/ 514349 h 516731"/>
                  <a:gd name="connsiteX6" fmla="*/ 5954 w 263129"/>
                  <a:gd name="connsiteY6" fmla="*/ 511968 h 516731"/>
                  <a:gd name="connsiteX7" fmla="*/ 10717 w 263129"/>
                  <a:gd name="connsiteY7" fmla="*/ 509587 h 516731"/>
                  <a:gd name="connsiteX8" fmla="*/ 81161 w 263129"/>
                  <a:gd name="connsiteY8" fmla="*/ 453628 h 516731"/>
                  <a:gd name="connsiteX9" fmla="*/ 76796 w 263129"/>
                  <a:gd name="connsiteY9" fmla="*/ 462558 h 516731"/>
                  <a:gd name="connsiteX10" fmla="*/ 72430 w 263129"/>
                  <a:gd name="connsiteY10" fmla="*/ 471488 h 516731"/>
                  <a:gd name="connsiteX11" fmla="*/ 74613 w 263129"/>
                  <a:gd name="connsiteY11" fmla="*/ 462558 h 516731"/>
                  <a:gd name="connsiteX12" fmla="*/ 74613 w 263129"/>
                  <a:gd name="connsiteY12" fmla="*/ 458093 h 516731"/>
                  <a:gd name="connsiteX13" fmla="*/ 81161 w 263129"/>
                  <a:gd name="connsiteY13" fmla="*/ 453628 h 516731"/>
                  <a:gd name="connsiteX14" fmla="*/ 100013 w 263129"/>
                  <a:gd name="connsiteY14" fmla="*/ 411956 h 516731"/>
                  <a:gd name="connsiteX15" fmla="*/ 95250 w 263129"/>
                  <a:gd name="connsiteY15" fmla="*/ 416718 h 516731"/>
                  <a:gd name="connsiteX16" fmla="*/ 92869 w 263129"/>
                  <a:gd name="connsiteY16" fmla="*/ 421481 h 516731"/>
                  <a:gd name="connsiteX17" fmla="*/ 100013 w 263129"/>
                  <a:gd name="connsiteY17" fmla="*/ 411956 h 516731"/>
                  <a:gd name="connsiteX18" fmla="*/ 101799 w 263129"/>
                  <a:gd name="connsiteY18" fmla="*/ 364331 h 516731"/>
                  <a:gd name="connsiteX19" fmla="*/ 103882 w 263129"/>
                  <a:gd name="connsiteY19" fmla="*/ 371475 h 516731"/>
                  <a:gd name="connsiteX20" fmla="*/ 101799 w 263129"/>
                  <a:gd name="connsiteY20" fmla="*/ 364331 h 516731"/>
                  <a:gd name="connsiteX21" fmla="*/ 74772 w 263129"/>
                  <a:gd name="connsiteY21" fmla="*/ 316706 h 516731"/>
                  <a:gd name="connsiteX22" fmla="*/ 76916 w 263129"/>
                  <a:gd name="connsiteY22" fmla="*/ 323850 h 516731"/>
                  <a:gd name="connsiteX23" fmla="*/ 74772 w 263129"/>
                  <a:gd name="connsiteY23" fmla="*/ 316706 h 516731"/>
                  <a:gd name="connsiteX24" fmla="*/ 54769 w 263129"/>
                  <a:gd name="connsiteY24" fmla="*/ 294085 h 516731"/>
                  <a:gd name="connsiteX25" fmla="*/ 55960 w 263129"/>
                  <a:gd name="connsiteY25" fmla="*/ 296466 h 516731"/>
                  <a:gd name="connsiteX26" fmla="*/ 54769 w 263129"/>
                  <a:gd name="connsiteY26" fmla="*/ 298847 h 516731"/>
                  <a:gd name="connsiteX27" fmla="*/ 54769 w 263129"/>
                  <a:gd name="connsiteY27" fmla="*/ 294085 h 516731"/>
                  <a:gd name="connsiteX28" fmla="*/ 54769 w 263129"/>
                  <a:gd name="connsiteY28" fmla="*/ 282178 h 516731"/>
                  <a:gd name="connsiteX29" fmla="*/ 56555 w 263129"/>
                  <a:gd name="connsiteY29" fmla="*/ 282178 h 516731"/>
                  <a:gd name="connsiteX30" fmla="*/ 58341 w 263129"/>
                  <a:gd name="connsiteY30" fmla="*/ 284559 h 516731"/>
                  <a:gd name="connsiteX31" fmla="*/ 54769 w 263129"/>
                  <a:gd name="connsiteY31" fmla="*/ 282178 h 516731"/>
                  <a:gd name="connsiteX32" fmla="*/ 76534 w 263129"/>
                  <a:gd name="connsiteY32" fmla="*/ 279797 h 516731"/>
                  <a:gd name="connsiteX33" fmla="*/ 83392 w 263129"/>
                  <a:gd name="connsiteY33" fmla="*/ 284406 h 516731"/>
                  <a:gd name="connsiteX34" fmla="*/ 97108 w 263129"/>
                  <a:gd name="connsiteY34" fmla="*/ 286710 h 516731"/>
                  <a:gd name="connsiteX35" fmla="*/ 97108 w 263129"/>
                  <a:gd name="connsiteY35" fmla="*/ 295928 h 516731"/>
                  <a:gd name="connsiteX36" fmla="*/ 103966 w 263129"/>
                  <a:gd name="connsiteY36" fmla="*/ 298232 h 516731"/>
                  <a:gd name="connsiteX37" fmla="*/ 108538 w 263129"/>
                  <a:gd name="connsiteY37" fmla="*/ 300537 h 516731"/>
                  <a:gd name="connsiteX38" fmla="*/ 108538 w 263129"/>
                  <a:gd name="connsiteY38" fmla="*/ 302841 h 516731"/>
                  <a:gd name="connsiteX39" fmla="*/ 108538 w 263129"/>
                  <a:gd name="connsiteY39" fmla="*/ 312059 h 516731"/>
                  <a:gd name="connsiteX40" fmla="*/ 108538 w 263129"/>
                  <a:gd name="connsiteY40" fmla="*/ 318972 h 516731"/>
                  <a:gd name="connsiteX41" fmla="*/ 110824 w 263129"/>
                  <a:gd name="connsiteY41" fmla="*/ 342016 h 516731"/>
                  <a:gd name="connsiteX42" fmla="*/ 106252 w 263129"/>
                  <a:gd name="connsiteY42" fmla="*/ 344321 h 516731"/>
                  <a:gd name="connsiteX43" fmla="*/ 99394 w 263129"/>
                  <a:gd name="connsiteY43" fmla="*/ 351234 h 516731"/>
                  <a:gd name="connsiteX44" fmla="*/ 99394 w 263129"/>
                  <a:gd name="connsiteY44" fmla="*/ 342016 h 516731"/>
                  <a:gd name="connsiteX45" fmla="*/ 94822 w 263129"/>
                  <a:gd name="connsiteY45" fmla="*/ 337407 h 516731"/>
                  <a:gd name="connsiteX46" fmla="*/ 92536 w 263129"/>
                  <a:gd name="connsiteY46" fmla="*/ 335103 h 516731"/>
                  <a:gd name="connsiteX47" fmla="*/ 97108 w 263129"/>
                  <a:gd name="connsiteY47" fmla="*/ 344321 h 516731"/>
                  <a:gd name="connsiteX48" fmla="*/ 97108 w 263129"/>
                  <a:gd name="connsiteY48" fmla="*/ 348930 h 516731"/>
                  <a:gd name="connsiteX49" fmla="*/ 92536 w 263129"/>
                  <a:gd name="connsiteY49" fmla="*/ 346625 h 516731"/>
                  <a:gd name="connsiteX50" fmla="*/ 85678 w 263129"/>
                  <a:gd name="connsiteY50" fmla="*/ 342016 h 516731"/>
                  <a:gd name="connsiteX51" fmla="*/ 83392 w 263129"/>
                  <a:gd name="connsiteY51" fmla="*/ 332799 h 516731"/>
                  <a:gd name="connsiteX52" fmla="*/ 81106 w 263129"/>
                  <a:gd name="connsiteY52" fmla="*/ 328190 h 516731"/>
                  <a:gd name="connsiteX53" fmla="*/ 83392 w 263129"/>
                  <a:gd name="connsiteY53" fmla="*/ 321276 h 516731"/>
                  <a:gd name="connsiteX54" fmla="*/ 81106 w 263129"/>
                  <a:gd name="connsiteY54" fmla="*/ 307450 h 516731"/>
                  <a:gd name="connsiteX55" fmla="*/ 69676 w 263129"/>
                  <a:gd name="connsiteY55" fmla="*/ 300537 h 516731"/>
                  <a:gd name="connsiteX56" fmla="*/ 71962 w 263129"/>
                  <a:gd name="connsiteY56" fmla="*/ 307450 h 516731"/>
                  <a:gd name="connsiteX57" fmla="*/ 76534 w 263129"/>
                  <a:gd name="connsiteY57" fmla="*/ 312059 h 516731"/>
                  <a:gd name="connsiteX58" fmla="*/ 74248 w 263129"/>
                  <a:gd name="connsiteY58" fmla="*/ 309754 h 516731"/>
                  <a:gd name="connsiteX59" fmla="*/ 67390 w 263129"/>
                  <a:gd name="connsiteY59" fmla="*/ 312059 h 516731"/>
                  <a:gd name="connsiteX60" fmla="*/ 62818 w 263129"/>
                  <a:gd name="connsiteY60" fmla="*/ 302841 h 516731"/>
                  <a:gd name="connsiteX61" fmla="*/ 65104 w 263129"/>
                  <a:gd name="connsiteY61" fmla="*/ 305146 h 516731"/>
                  <a:gd name="connsiteX62" fmla="*/ 69676 w 263129"/>
                  <a:gd name="connsiteY62" fmla="*/ 307450 h 516731"/>
                  <a:gd name="connsiteX63" fmla="*/ 67390 w 263129"/>
                  <a:gd name="connsiteY63" fmla="*/ 302841 h 516731"/>
                  <a:gd name="connsiteX64" fmla="*/ 60532 w 263129"/>
                  <a:gd name="connsiteY64" fmla="*/ 298232 h 516731"/>
                  <a:gd name="connsiteX65" fmla="*/ 58246 w 263129"/>
                  <a:gd name="connsiteY65" fmla="*/ 293623 h 516731"/>
                  <a:gd name="connsiteX66" fmla="*/ 60532 w 263129"/>
                  <a:gd name="connsiteY66" fmla="*/ 293623 h 516731"/>
                  <a:gd name="connsiteX67" fmla="*/ 65104 w 263129"/>
                  <a:gd name="connsiteY67" fmla="*/ 291319 h 516731"/>
                  <a:gd name="connsiteX68" fmla="*/ 69676 w 263129"/>
                  <a:gd name="connsiteY68" fmla="*/ 289015 h 516731"/>
                  <a:gd name="connsiteX69" fmla="*/ 76534 w 263129"/>
                  <a:gd name="connsiteY69" fmla="*/ 279797 h 516731"/>
                  <a:gd name="connsiteX70" fmla="*/ 140132 w 263129"/>
                  <a:gd name="connsiteY70" fmla="*/ 269081 h 516731"/>
                  <a:gd name="connsiteX71" fmla="*/ 151521 w 263129"/>
                  <a:gd name="connsiteY71" fmla="*/ 273579 h 516731"/>
                  <a:gd name="connsiteX72" fmla="*/ 156077 w 263129"/>
                  <a:gd name="connsiteY72" fmla="*/ 282575 h 516731"/>
                  <a:gd name="connsiteX73" fmla="*/ 151521 w 263129"/>
                  <a:gd name="connsiteY73" fmla="*/ 289321 h 516731"/>
                  <a:gd name="connsiteX74" fmla="*/ 151521 w 263129"/>
                  <a:gd name="connsiteY74" fmla="*/ 296068 h 516731"/>
                  <a:gd name="connsiteX75" fmla="*/ 133299 w 263129"/>
                  <a:gd name="connsiteY75" fmla="*/ 296068 h 516731"/>
                  <a:gd name="connsiteX76" fmla="*/ 133299 w 263129"/>
                  <a:gd name="connsiteY76" fmla="*/ 309562 h 516731"/>
                  <a:gd name="connsiteX77" fmla="*/ 126466 w 263129"/>
                  <a:gd name="connsiteY77" fmla="*/ 307313 h 516731"/>
                  <a:gd name="connsiteX78" fmla="*/ 121910 w 263129"/>
                  <a:gd name="connsiteY78" fmla="*/ 305064 h 516731"/>
                  <a:gd name="connsiteX79" fmla="*/ 115077 w 263129"/>
                  <a:gd name="connsiteY79" fmla="*/ 298317 h 516731"/>
                  <a:gd name="connsiteX80" fmla="*/ 115077 w 263129"/>
                  <a:gd name="connsiteY80" fmla="*/ 296068 h 516731"/>
                  <a:gd name="connsiteX81" fmla="*/ 112799 w 263129"/>
                  <a:gd name="connsiteY81" fmla="*/ 291570 h 516731"/>
                  <a:gd name="connsiteX82" fmla="*/ 105966 w 263129"/>
                  <a:gd name="connsiteY82" fmla="*/ 293819 h 516731"/>
                  <a:gd name="connsiteX83" fmla="*/ 112799 w 263129"/>
                  <a:gd name="connsiteY83" fmla="*/ 287072 h 516731"/>
                  <a:gd name="connsiteX84" fmla="*/ 117355 w 263129"/>
                  <a:gd name="connsiteY84" fmla="*/ 275828 h 516731"/>
                  <a:gd name="connsiteX85" fmla="*/ 128744 w 263129"/>
                  <a:gd name="connsiteY85" fmla="*/ 278077 h 516731"/>
                  <a:gd name="connsiteX86" fmla="*/ 131021 w 263129"/>
                  <a:gd name="connsiteY86" fmla="*/ 271330 h 516731"/>
                  <a:gd name="connsiteX87" fmla="*/ 140132 w 263129"/>
                  <a:gd name="connsiteY87" fmla="*/ 269081 h 516731"/>
                  <a:gd name="connsiteX88" fmla="*/ 140494 w 263129"/>
                  <a:gd name="connsiteY88" fmla="*/ 266700 h 516731"/>
                  <a:gd name="connsiteX89" fmla="*/ 142876 w 263129"/>
                  <a:gd name="connsiteY89" fmla="*/ 266700 h 516731"/>
                  <a:gd name="connsiteX90" fmla="*/ 140494 w 263129"/>
                  <a:gd name="connsiteY90" fmla="*/ 266700 h 516731"/>
                  <a:gd name="connsiteX91" fmla="*/ 155972 w 263129"/>
                  <a:gd name="connsiteY91" fmla="*/ 264319 h 516731"/>
                  <a:gd name="connsiteX92" fmla="*/ 154186 w 263129"/>
                  <a:gd name="connsiteY92" fmla="*/ 273844 h 516731"/>
                  <a:gd name="connsiteX93" fmla="*/ 155972 w 263129"/>
                  <a:gd name="connsiteY93" fmla="*/ 264319 h 516731"/>
                  <a:gd name="connsiteX94" fmla="*/ 102394 w 263129"/>
                  <a:gd name="connsiteY94" fmla="*/ 221456 h 516731"/>
                  <a:gd name="connsiteX95" fmla="*/ 102394 w 263129"/>
                  <a:gd name="connsiteY95" fmla="*/ 226218 h 516731"/>
                  <a:gd name="connsiteX96" fmla="*/ 102394 w 263129"/>
                  <a:gd name="connsiteY96" fmla="*/ 221456 h 516731"/>
                  <a:gd name="connsiteX97" fmla="*/ 185738 w 263129"/>
                  <a:gd name="connsiteY97" fmla="*/ 173831 h 516731"/>
                  <a:gd name="connsiteX98" fmla="*/ 185738 w 263129"/>
                  <a:gd name="connsiteY98" fmla="*/ 178117 h 516731"/>
                  <a:gd name="connsiteX99" fmla="*/ 188119 w 263129"/>
                  <a:gd name="connsiteY99" fmla="*/ 180261 h 516731"/>
                  <a:gd name="connsiteX100" fmla="*/ 185738 w 263129"/>
                  <a:gd name="connsiteY100" fmla="*/ 184547 h 516731"/>
                  <a:gd name="connsiteX101" fmla="*/ 183356 w 263129"/>
                  <a:gd name="connsiteY101" fmla="*/ 180261 h 516731"/>
                  <a:gd name="connsiteX102" fmla="*/ 185738 w 263129"/>
                  <a:gd name="connsiteY102" fmla="*/ 173831 h 516731"/>
                  <a:gd name="connsiteX103" fmla="*/ 197684 w 263129"/>
                  <a:gd name="connsiteY103" fmla="*/ 97752 h 516731"/>
                  <a:gd name="connsiteX104" fmla="*/ 204200 w 263129"/>
                  <a:gd name="connsiteY104" fmla="*/ 98603 h 516731"/>
                  <a:gd name="connsiteX105" fmla="*/ 215533 w 263129"/>
                  <a:gd name="connsiteY105" fmla="*/ 119049 h 516731"/>
                  <a:gd name="connsiteX106" fmla="*/ 229132 w 263129"/>
                  <a:gd name="connsiteY106" fmla="*/ 128136 h 516731"/>
                  <a:gd name="connsiteX107" fmla="*/ 233665 w 263129"/>
                  <a:gd name="connsiteY107" fmla="*/ 134952 h 516731"/>
                  <a:gd name="connsiteX108" fmla="*/ 238198 w 263129"/>
                  <a:gd name="connsiteY108" fmla="*/ 141767 h 516731"/>
                  <a:gd name="connsiteX109" fmla="*/ 240464 w 263129"/>
                  <a:gd name="connsiteY109" fmla="*/ 148582 h 516731"/>
                  <a:gd name="connsiteX110" fmla="*/ 242731 w 263129"/>
                  <a:gd name="connsiteY110" fmla="*/ 155398 h 516731"/>
                  <a:gd name="connsiteX111" fmla="*/ 244997 w 263129"/>
                  <a:gd name="connsiteY111" fmla="*/ 173572 h 516731"/>
                  <a:gd name="connsiteX112" fmla="*/ 238198 w 263129"/>
                  <a:gd name="connsiteY112" fmla="*/ 182659 h 516731"/>
                  <a:gd name="connsiteX113" fmla="*/ 249530 w 263129"/>
                  <a:gd name="connsiteY113" fmla="*/ 205377 h 516731"/>
                  <a:gd name="connsiteX114" fmla="*/ 249530 w 263129"/>
                  <a:gd name="connsiteY114" fmla="*/ 207648 h 516731"/>
                  <a:gd name="connsiteX115" fmla="*/ 247264 w 263129"/>
                  <a:gd name="connsiteY115" fmla="*/ 209920 h 516731"/>
                  <a:gd name="connsiteX116" fmla="*/ 249530 w 263129"/>
                  <a:gd name="connsiteY116" fmla="*/ 219007 h 516731"/>
                  <a:gd name="connsiteX117" fmla="*/ 263129 w 263129"/>
                  <a:gd name="connsiteY117" fmla="*/ 237181 h 516731"/>
                  <a:gd name="connsiteX118" fmla="*/ 256330 w 263129"/>
                  <a:gd name="connsiteY118" fmla="*/ 241725 h 516731"/>
                  <a:gd name="connsiteX119" fmla="*/ 258596 w 263129"/>
                  <a:gd name="connsiteY119" fmla="*/ 248540 h 516731"/>
                  <a:gd name="connsiteX120" fmla="*/ 249530 w 263129"/>
                  <a:gd name="connsiteY120" fmla="*/ 255356 h 516731"/>
                  <a:gd name="connsiteX121" fmla="*/ 247264 w 263129"/>
                  <a:gd name="connsiteY121" fmla="*/ 243997 h 516731"/>
                  <a:gd name="connsiteX122" fmla="*/ 242731 w 263129"/>
                  <a:gd name="connsiteY122" fmla="*/ 241725 h 516731"/>
                  <a:gd name="connsiteX123" fmla="*/ 244997 w 263129"/>
                  <a:gd name="connsiteY123" fmla="*/ 250812 h 516731"/>
                  <a:gd name="connsiteX124" fmla="*/ 233665 w 263129"/>
                  <a:gd name="connsiteY124" fmla="*/ 248540 h 516731"/>
                  <a:gd name="connsiteX125" fmla="*/ 235931 w 263129"/>
                  <a:gd name="connsiteY125" fmla="*/ 257627 h 516731"/>
                  <a:gd name="connsiteX126" fmla="*/ 231398 w 263129"/>
                  <a:gd name="connsiteY126" fmla="*/ 262171 h 516731"/>
                  <a:gd name="connsiteX127" fmla="*/ 226865 w 263129"/>
                  <a:gd name="connsiteY127" fmla="*/ 255356 h 516731"/>
                  <a:gd name="connsiteX128" fmla="*/ 229132 w 263129"/>
                  <a:gd name="connsiteY128" fmla="*/ 253084 h 516731"/>
                  <a:gd name="connsiteX129" fmla="*/ 220066 w 263129"/>
                  <a:gd name="connsiteY129" fmla="*/ 264443 h 516731"/>
                  <a:gd name="connsiteX130" fmla="*/ 199667 w 263129"/>
                  <a:gd name="connsiteY130" fmla="*/ 264443 h 516731"/>
                  <a:gd name="connsiteX131" fmla="*/ 201934 w 263129"/>
                  <a:gd name="connsiteY131" fmla="*/ 262171 h 516731"/>
                  <a:gd name="connsiteX132" fmla="*/ 192868 w 263129"/>
                  <a:gd name="connsiteY132" fmla="*/ 255356 h 516731"/>
                  <a:gd name="connsiteX133" fmla="*/ 192868 w 263129"/>
                  <a:gd name="connsiteY133" fmla="*/ 259899 h 516731"/>
                  <a:gd name="connsiteX134" fmla="*/ 190601 w 263129"/>
                  <a:gd name="connsiteY134" fmla="*/ 253084 h 516731"/>
                  <a:gd name="connsiteX135" fmla="*/ 186068 w 263129"/>
                  <a:gd name="connsiteY135" fmla="*/ 255356 h 516731"/>
                  <a:gd name="connsiteX136" fmla="*/ 188335 w 263129"/>
                  <a:gd name="connsiteY136" fmla="*/ 264443 h 516731"/>
                  <a:gd name="connsiteX137" fmla="*/ 197401 w 263129"/>
                  <a:gd name="connsiteY137" fmla="*/ 271258 h 516731"/>
                  <a:gd name="connsiteX138" fmla="*/ 188335 w 263129"/>
                  <a:gd name="connsiteY138" fmla="*/ 273530 h 516731"/>
                  <a:gd name="connsiteX139" fmla="*/ 186068 w 263129"/>
                  <a:gd name="connsiteY139" fmla="*/ 280345 h 516731"/>
                  <a:gd name="connsiteX140" fmla="*/ 181535 w 263129"/>
                  <a:gd name="connsiteY140" fmla="*/ 291704 h 516731"/>
                  <a:gd name="connsiteX141" fmla="*/ 177002 w 263129"/>
                  <a:gd name="connsiteY141" fmla="*/ 289432 h 516731"/>
                  <a:gd name="connsiteX142" fmla="*/ 170203 w 263129"/>
                  <a:gd name="connsiteY142" fmla="*/ 284889 h 516731"/>
                  <a:gd name="connsiteX143" fmla="*/ 163404 w 263129"/>
                  <a:gd name="connsiteY143" fmla="*/ 278073 h 516731"/>
                  <a:gd name="connsiteX144" fmla="*/ 161137 w 263129"/>
                  <a:gd name="connsiteY144" fmla="*/ 271258 h 516731"/>
                  <a:gd name="connsiteX145" fmla="*/ 163404 w 263129"/>
                  <a:gd name="connsiteY145" fmla="*/ 262171 h 516731"/>
                  <a:gd name="connsiteX146" fmla="*/ 156604 w 263129"/>
                  <a:gd name="connsiteY146" fmla="*/ 262171 h 516731"/>
                  <a:gd name="connsiteX147" fmla="*/ 145272 w 263129"/>
                  <a:gd name="connsiteY147" fmla="*/ 259899 h 516731"/>
                  <a:gd name="connsiteX148" fmla="*/ 133939 w 263129"/>
                  <a:gd name="connsiteY148" fmla="*/ 264443 h 516731"/>
                  <a:gd name="connsiteX149" fmla="*/ 131673 w 263129"/>
                  <a:gd name="connsiteY149" fmla="*/ 266714 h 516731"/>
                  <a:gd name="connsiteX150" fmla="*/ 124873 w 263129"/>
                  <a:gd name="connsiteY150" fmla="*/ 266714 h 516731"/>
                  <a:gd name="connsiteX151" fmla="*/ 122607 w 263129"/>
                  <a:gd name="connsiteY151" fmla="*/ 268986 h 516731"/>
                  <a:gd name="connsiteX152" fmla="*/ 120340 w 263129"/>
                  <a:gd name="connsiteY152" fmla="*/ 271258 h 516731"/>
                  <a:gd name="connsiteX153" fmla="*/ 120340 w 263129"/>
                  <a:gd name="connsiteY153" fmla="*/ 268986 h 516731"/>
                  <a:gd name="connsiteX154" fmla="*/ 111274 w 263129"/>
                  <a:gd name="connsiteY154" fmla="*/ 273530 h 516731"/>
                  <a:gd name="connsiteX155" fmla="*/ 106741 w 263129"/>
                  <a:gd name="connsiteY155" fmla="*/ 268986 h 516731"/>
                  <a:gd name="connsiteX156" fmla="*/ 104475 w 263129"/>
                  <a:gd name="connsiteY156" fmla="*/ 282617 h 516731"/>
                  <a:gd name="connsiteX157" fmla="*/ 88609 w 263129"/>
                  <a:gd name="connsiteY157" fmla="*/ 280345 h 516731"/>
                  <a:gd name="connsiteX158" fmla="*/ 79543 w 263129"/>
                  <a:gd name="connsiteY158" fmla="*/ 280345 h 516731"/>
                  <a:gd name="connsiteX159" fmla="*/ 75010 w 263129"/>
                  <a:gd name="connsiteY159" fmla="*/ 271258 h 516731"/>
                  <a:gd name="connsiteX160" fmla="*/ 84076 w 263129"/>
                  <a:gd name="connsiteY160" fmla="*/ 266714 h 516731"/>
                  <a:gd name="connsiteX161" fmla="*/ 99942 w 263129"/>
                  <a:gd name="connsiteY161" fmla="*/ 243997 h 516731"/>
                  <a:gd name="connsiteX162" fmla="*/ 109008 w 263129"/>
                  <a:gd name="connsiteY162" fmla="*/ 241725 h 516731"/>
                  <a:gd name="connsiteX163" fmla="*/ 115807 w 263129"/>
                  <a:gd name="connsiteY163" fmla="*/ 241725 h 516731"/>
                  <a:gd name="connsiteX164" fmla="*/ 124873 w 263129"/>
                  <a:gd name="connsiteY164" fmla="*/ 241725 h 516731"/>
                  <a:gd name="connsiteX165" fmla="*/ 131673 w 263129"/>
                  <a:gd name="connsiteY165" fmla="*/ 239453 h 516731"/>
                  <a:gd name="connsiteX166" fmla="*/ 143005 w 263129"/>
                  <a:gd name="connsiteY166" fmla="*/ 237181 h 516731"/>
                  <a:gd name="connsiteX167" fmla="*/ 147538 w 263129"/>
                  <a:gd name="connsiteY167" fmla="*/ 234910 h 516731"/>
                  <a:gd name="connsiteX168" fmla="*/ 149805 w 263129"/>
                  <a:gd name="connsiteY168" fmla="*/ 239453 h 516731"/>
                  <a:gd name="connsiteX169" fmla="*/ 154338 w 263129"/>
                  <a:gd name="connsiteY169" fmla="*/ 241725 h 516731"/>
                  <a:gd name="connsiteX170" fmla="*/ 161137 w 263129"/>
                  <a:gd name="connsiteY170" fmla="*/ 239453 h 516731"/>
                  <a:gd name="connsiteX171" fmla="*/ 165670 w 263129"/>
                  <a:gd name="connsiteY171" fmla="*/ 237181 h 516731"/>
                  <a:gd name="connsiteX172" fmla="*/ 161137 w 263129"/>
                  <a:gd name="connsiteY172" fmla="*/ 223551 h 516731"/>
                  <a:gd name="connsiteX173" fmla="*/ 167936 w 263129"/>
                  <a:gd name="connsiteY173" fmla="*/ 212192 h 516731"/>
                  <a:gd name="connsiteX174" fmla="*/ 161137 w 263129"/>
                  <a:gd name="connsiteY174" fmla="*/ 198561 h 516731"/>
                  <a:gd name="connsiteX175" fmla="*/ 170203 w 263129"/>
                  <a:gd name="connsiteY175" fmla="*/ 194018 h 516731"/>
                  <a:gd name="connsiteX176" fmla="*/ 167936 w 263129"/>
                  <a:gd name="connsiteY176" fmla="*/ 200833 h 516731"/>
                  <a:gd name="connsiteX177" fmla="*/ 167936 w 263129"/>
                  <a:gd name="connsiteY177" fmla="*/ 203105 h 516731"/>
                  <a:gd name="connsiteX178" fmla="*/ 172469 w 263129"/>
                  <a:gd name="connsiteY178" fmla="*/ 209920 h 516731"/>
                  <a:gd name="connsiteX179" fmla="*/ 181535 w 263129"/>
                  <a:gd name="connsiteY179" fmla="*/ 205377 h 516731"/>
                  <a:gd name="connsiteX180" fmla="*/ 195134 w 263129"/>
                  <a:gd name="connsiteY180" fmla="*/ 198561 h 516731"/>
                  <a:gd name="connsiteX181" fmla="*/ 201934 w 263129"/>
                  <a:gd name="connsiteY181" fmla="*/ 182659 h 516731"/>
                  <a:gd name="connsiteX182" fmla="*/ 204200 w 263129"/>
                  <a:gd name="connsiteY182" fmla="*/ 164485 h 516731"/>
                  <a:gd name="connsiteX183" fmla="*/ 199667 w 263129"/>
                  <a:gd name="connsiteY183" fmla="*/ 141767 h 516731"/>
                  <a:gd name="connsiteX184" fmla="*/ 192868 w 263129"/>
                  <a:gd name="connsiteY184" fmla="*/ 134952 h 516731"/>
                  <a:gd name="connsiteX185" fmla="*/ 188335 w 263129"/>
                  <a:gd name="connsiteY185" fmla="*/ 132680 h 516731"/>
                  <a:gd name="connsiteX186" fmla="*/ 190601 w 263129"/>
                  <a:gd name="connsiteY186" fmla="*/ 125865 h 516731"/>
                  <a:gd name="connsiteX187" fmla="*/ 183802 w 263129"/>
                  <a:gd name="connsiteY187" fmla="*/ 119049 h 516731"/>
                  <a:gd name="connsiteX188" fmla="*/ 188335 w 263129"/>
                  <a:gd name="connsiteY188" fmla="*/ 114506 h 516731"/>
                  <a:gd name="connsiteX189" fmla="*/ 183802 w 263129"/>
                  <a:gd name="connsiteY189" fmla="*/ 103147 h 516731"/>
                  <a:gd name="connsiteX190" fmla="*/ 190601 w 263129"/>
                  <a:gd name="connsiteY190" fmla="*/ 105419 h 516731"/>
                  <a:gd name="connsiteX191" fmla="*/ 197401 w 263129"/>
                  <a:gd name="connsiteY191" fmla="*/ 112234 h 516731"/>
                  <a:gd name="connsiteX192" fmla="*/ 197401 w 263129"/>
                  <a:gd name="connsiteY192" fmla="*/ 107691 h 516731"/>
                  <a:gd name="connsiteX193" fmla="*/ 204200 w 263129"/>
                  <a:gd name="connsiteY193" fmla="*/ 112234 h 516731"/>
                  <a:gd name="connsiteX194" fmla="*/ 199667 w 263129"/>
                  <a:gd name="connsiteY194" fmla="*/ 100875 h 516731"/>
                  <a:gd name="connsiteX195" fmla="*/ 192868 w 263129"/>
                  <a:gd name="connsiteY195" fmla="*/ 98603 h 516731"/>
                  <a:gd name="connsiteX196" fmla="*/ 197684 w 263129"/>
                  <a:gd name="connsiteY196" fmla="*/ 97752 h 516731"/>
                  <a:gd name="connsiteX197" fmla="*/ 249635 w 263129"/>
                  <a:gd name="connsiteY197" fmla="*/ 23812 h 516731"/>
                  <a:gd name="connsiteX198" fmla="*/ 258366 w 263129"/>
                  <a:gd name="connsiteY198" fmla="*/ 26061 h 516731"/>
                  <a:gd name="connsiteX199" fmla="*/ 258366 w 263129"/>
                  <a:gd name="connsiteY199" fmla="*/ 28310 h 516731"/>
                  <a:gd name="connsiteX200" fmla="*/ 249635 w 263129"/>
                  <a:gd name="connsiteY200" fmla="*/ 41804 h 516731"/>
                  <a:gd name="connsiteX201" fmla="*/ 247452 w 263129"/>
                  <a:gd name="connsiteY201" fmla="*/ 37306 h 516731"/>
                  <a:gd name="connsiteX202" fmla="*/ 249635 w 263129"/>
                  <a:gd name="connsiteY202" fmla="*/ 23812 h 516731"/>
                  <a:gd name="connsiteX203" fmla="*/ 147638 w 263129"/>
                  <a:gd name="connsiteY203" fmla="*/ 0 h 516731"/>
                  <a:gd name="connsiteX204" fmla="*/ 152158 w 263129"/>
                  <a:gd name="connsiteY204" fmla="*/ 0 h 516731"/>
                  <a:gd name="connsiteX205" fmla="*/ 161197 w 263129"/>
                  <a:gd name="connsiteY205" fmla="*/ 4600 h 516731"/>
                  <a:gd name="connsiteX206" fmla="*/ 186054 w 263129"/>
                  <a:gd name="connsiteY206" fmla="*/ 20701 h 516731"/>
                  <a:gd name="connsiteX207" fmla="*/ 206392 w 263129"/>
                  <a:gd name="connsiteY207" fmla="*/ 29901 h 516731"/>
                  <a:gd name="connsiteX208" fmla="*/ 213172 w 263129"/>
                  <a:gd name="connsiteY208" fmla="*/ 32201 h 516731"/>
                  <a:gd name="connsiteX209" fmla="*/ 217691 w 263129"/>
                  <a:gd name="connsiteY209" fmla="*/ 34501 h 516731"/>
                  <a:gd name="connsiteX210" fmla="*/ 231250 w 263129"/>
                  <a:gd name="connsiteY210" fmla="*/ 36801 h 516731"/>
                  <a:gd name="connsiteX211" fmla="*/ 235769 w 263129"/>
                  <a:gd name="connsiteY211" fmla="*/ 27601 h 516731"/>
                  <a:gd name="connsiteX212" fmla="*/ 238029 w 263129"/>
                  <a:gd name="connsiteY212" fmla="*/ 39101 h 516731"/>
                  <a:gd name="connsiteX213" fmla="*/ 249328 w 263129"/>
                  <a:gd name="connsiteY213" fmla="*/ 46001 h 516731"/>
                  <a:gd name="connsiteX214" fmla="*/ 251588 w 263129"/>
                  <a:gd name="connsiteY214" fmla="*/ 50601 h 516731"/>
                  <a:gd name="connsiteX215" fmla="*/ 253848 w 263129"/>
                  <a:gd name="connsiteY215" fmla="*/ 52902 h 516731"/>
                  <a:gd name="connsiteX216" fmla="*/ 258367 w 263129"/>
                  <a:gd name="connsiteY216" fmla="*/ 52902 h 516731"/>
                  <a:gd name="connsiteX217" fmla="*/ 256107 w 263129"/>
                  <a:gd name="connsiteY217" fmla="*/ 55202 h 516731"/>
                  <a:gd name="connsiteX218" fmla="*/ 251588 w 263129"/>
                  <a:gd name="connsiteY218" fmla="*/ 57502 h 516731"/>
                  <a:gd name="connsiteX219" fmla="*/ 244809 w 263129"/>
                  <a:gd name="connsiteY219" fmla="*/ 62102 h 516731"/>
                  <a:gd name="connsiteX220" fmla="*/ 228990 w 263129"/>
                  <a:gd name="connsiteY220" fmla="*/ 69002 h 516731"/>
                  <a:gd name="connsiteX221" fmla="*/ 228990 w 263129"/>
                  <a:gd name="connsiteY221" fmla="*/ 80502 h 516731"/>
                  <a:gd name="connsiteX222" fmla="*/ 228990 w 263129"/>
                  <a:gd name="connsiteY222" fmla="*/ 85102 h 516731"/>
                  <a:gd name="connsiteX223" fmla="*/ 210912 w 263129"/>
                  <a:gd name="connsiteY223" fmla="*/ 78202 h 516731"/>
                  <a:gd name="connsiteX224" fmla="*/ 188314 w 263129"/>
                  <a:gd name="connsiteY224" fmla="*/ 71302 h 516731"/>
                  <a:gd name="connsiteX225" fmla="*/ 181535 w 263129"/>
                  <a:gd name="connsiteY225" fmla="*/ 75902 h 516731"/>
                  <a:gd name="connsiteX226" fmla="*/ 174756 w 263129"/>
                  <a:gd name="connsiteY226" fmla="*/ 71302 h 516731"/>
                  <a:gd name="connsiteX227" fmla="*/ 167976 w 263129"/>
                  <a:gd name="connsiteY227" fmla="*/ 71302 h 516731"/>
                  <a:gd name="connsiteX228" fmla="*/ 170236 w 263129"/>
                  <a:gd name="connsiteY228" fmla="*/ 78202 h 516731"/>
                  <a:gd name="connsiteX229" fmla="*/ 181535 w 263129"/>
                  <a:gd name="connsiteY229" fmla="*/ 82802 h 516731"/>
                  <a:gd name="connsiteX230" fmla="*/ 190574 w 263129"/>
                  <a:gd name="connsiteY230" fmla="*/ 89703 h 516731"/>
                  <a:gd name="connsiteX231" fmla="*/ 183795 w 263129"/>
                  <a:gd name="connsiteY231" fmla="*/ 89703 h 516731"/>
                  <a:gd name="connsiteX232" fmla="*/ 181535 w 263129"/>
                  <a:gd name="connsiteY232" fmla="*/ 96603 h 516731"/>
                  <a:gd name="connsiteX233" fmla="*/ 172496 w 263129"/>
                  <a:gd name="connsiteY233" fmla="*/ 94303 h 516731"/>
                  <a:gd name="connsiteX234" fmla="*/ 170236 w 263129"/>
                  <a:gd name="connsiteY234" fmla="*/ 85102 h 516731"/>
                  <a:gd name="connsiteX235" fmla="*/ 156677 w 263129"/>
                  <a:gd name="connsiteY235" fmla="*/ 73602 h 516731"/>
                  <a:gd name="connsiteX236" fmla="*/ 161197 w 263129"/>
                  <a:gd name="connsiteY236" fmla="*/ 62102 h 516731"/>
                  <a:gd name="connsiteX237" fmla="*/ 156677 w 263129"/>
                  <a:gd name="connsiteY237" fmla="*/ 57502 h 516731"/>
                  <a:gd name="connsiteX238" fmla="*/ 156677 w 263129"/>
                  <a:gd name="connsiteY238" fmla="*/ 50601 h 516731"/>
                  <a:gd name="connsiteX239" fmla="*/ 170236 w 263129"/>
                  <a:gd name="connsiteY239" fmla="*/ 55202 h 516731"/>
                  <a:gd name="connsiteX240" fmla="*/ 170236 w 263129"/>
                  <a:gd name="connsiteY240" fmla="*/ 43701 h 516731"/>
                  <a:gd name="connsiteX241" fmla="*/ 170236 w 263129"/>
                  <a:gd name="connsiteY241" fmla="*/ 34501 h 516731"/>
                  <a:gd name="connsiteX242" fmla="*/ 163457 w 263129"/>
                  <a:gd name="connsiteY242" fmla="*/ 20701 h 516731"/>
                  <a:gd name="connsiteX243" fmla="*/ 152158 w 263129"/>
                  <a:gd name="connsiteY243" fmla="*/ 9200 h 516731"/>
                  <a:gd name="connsiteX244" fmla="*/ 147638 w 263129"/>
                  <a:gd name="connsiteY244" fmla="*/ 0 h 516731"/>
                  <a:gd name="connsiteX245" fmla="*/ 135732 w 263129"/>
                  <a:gd name="connsiteY245" fmla="*/ 0 h 516731"/>
                  <a:gd name="connsiteX246" fmla="*/ 138113 w 263129"/>
                  <a:gd name="connsiteY246" fmla="*/ 2381 h 516731"/>
                  <a:gd name="connsiteX247" fmla="*/ 135732 w 263129"/>
                  <a:gd name="connsiteY247" fmla="*/ 0 h 516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Lst>
                <a:rect l="l" t="t" r="r" b="b"/>
                <a:pathLst>
                  <a:path w="263129" h="516731">
                    <a:moveTo>
                      <a:pt x="0" y="511969"/>
                    </a:moveTo>
                    <a:cubicBezTo>
                      <a:pt x="1786" y="511969"/>
                      <a:pt x="3572" y="514350"/>
                      <a:pt x="3572" y="514350"/>
                    </a:cubicBezTo>
                    <a:cubicBezTo>
                      <a:pt x="1786" y="516731"/>
                      <a:pt x="1786" y="516731"/>
                      <a:pt x="0" y="516731"/>
                    </a:cubicBezTo>
                    <a:cubicBezTo>
                      <a:pt x="0" y="514350"/>
                      <a:pt x="0" y="514350"/>
                      <a:pt x="0" y="511969"/>
                    </a:cubicBezTo>
                    <a:close/>
                    <a:moveTo>
                      <a:pt x="10717" y="509587"/>
                    </a:moveTo>
                    <a:cubicBezTo>
                      <a:pt x="10717" y="509587"/>
                      <a:pt x="10717" y="514349"/>
                      <a:pt x="8336" y="514349"/>
                    </a:cubicBezTo>
                    <a:cubicBezTo>
                      <a:pt x="8336" y="514349"/>
                      <a:pt x="5954" y="511968"/>
                      <a:pt x="5954" y="511968"/>
                    </a:cubicBezTo>
                    <a:cubicBezTo>
                      <a:pt x="8336" y="511968"/>
                      <a:pt x="8336" y="511968"/>
                      <a:pt x="10717" y="509587"/>
                    </a:cubicBezTo>
                    <a:close/>
                    <a:moveTo>
                      <a:pt x="81161" y="453628"/>
                    </a:moveTo>
                    <a:cubicBezTo>
                      <a:pt x="83344" y="458093"/>
                      <a:pt x="78979" y="460325"/>
                      <a:pt x="76796" y="462558"/>
                    </a:cubicBezTo>
                    <a:cubicBezTo>
                      <a:pt x="74613" y="464790"/>
                      <a:pt x="74613" y="471488"/>
                      <a:pt x="72430" y="471488"/>
                    </a:cubicBezTo>
                    <a:cubicBezTo>
                      <a:pt x="70247" y="469255"/>
                      <a:pt x="72430" y="464790"/>
                      <a:pt x="74613" y="462558"/>
                    </a:cubicBezTo>
                    <a:cubicBezTo>
                      <a:pt x="74613" y="460325"/>
                      <a:pt x="74613" y="460325"/>
                      <a:pt x="74613" y="458093"/>
                    </a:cubicBezTo>
                    <a:cubicBezTo>
                      <a:pt x="76796" y="460325"/>
                      <a:pt x="78979" y="453628"/>
                      <a:pt x="81161" y="453628"/>
                    </a:cubicBezTo>
                    <a:close/>
                    <a:moveTo>
                      <a:pt x="100013" y="411956"/>
                    </a:moveTo>
                    <a:cubicBezTo>
                      <a:pt x="102394" y="414337"/>
                      <a:pt x="97632" y="414337"/>
                      <a:pt x="95250" y="416718"/>
                    </a:cubicBezTo>
                    <a:cubicBezTo>
                      <a:pt x="95250" y="419100"/>
                      <a:pt x="97632" y="423862"/>
                      <a:pt x="92869" y="421481"/>
                    </a:cubicBezTo>
                    <a:cubicBezTo>
                      <a:pt x="85725" y="419100"/>
                      <a:pt x="97632" y="414337"/>
                      <a:pt x="100013" y="411956"/>
                    </a:cubicBezTo>
                    <a:close/>
                    <a:moveTo>
                      <a:pt x="101799" y="364331"/>
                    </a:moveTo>
                    <a:cubicBezTo>
                      <a:pt x="103882" y="364331"/>
                      <a:pt x="105966" y="371475"/>
                      <a:pt x="103882" y="371475"/>
                    </a:cubicBezTo>
                    <a:cubicBezTo>
                      <a:pt x="101799" y="369094"/>
                      <a:pt x="97631" y="366712"/>
                      <a:pt x="101799" y="364331"/>
                    </a:cubicBezTo>
                    <a:close/>
                    <a:moveTo>
                      <a:pt x="74772" y="316706"/>
                    </a:moveTo>
                    <a:cubicBezTo>
                      <a:pt x="72629" y="311944"/>
                      <a:pt x="83345" y="319088"/>
                      <a:pt x="76916" y="323850"/>
                    </a:cubicBezTo>
                    <a:cubicBezTo>
                      <a:pt x="74772" y="321469"/>
                      <a:pt x="74772" y="319088"/>
                      <a:pt x="74772" y="316706"/>
                    </a:cubicBezTo>
                    <a:close/>
                    <a:moveTo>
                      <a:pt x="54769" y="294085"/>
                    </a:moveTo>
                    <a:cubicBezTo>
                      <a:pt x="54769" y="294085"/>
                      <a:pt x="54769" y="294085"/>
                      <a:pt x="55960" y="296466"/>
                    </a:cubicBezTo>
                    <a:cubicBezTo>
                      <a:pt x="55960" y="296466"/>
                      <a:pt x="55960" y="298847"/>
                      <a:pt x="54769" y="298847"/>
                    </a:cubicBezTo>
                    <a:cubicBezTo>
                      <a:pt x="54769" y="296466"/>
                      <a:pt x="54769" y="296466"/>
                      <a:pt x="54769" y="294085"/>
                    </a:cubicBezTo>
                    <a:close/>
                    <a:moveTo>
                      <a:pt x="54769" y="282178"/>
                    </a:moveTo>
                    <a:cubicBezTo>
                      <a:pt x="54769" y="282178"/>
                      <a:pt x="54769" y="282178"/>
                      <a:pt x="56555" y="282178"/>
                    </a:cubicBezTo>
                    <a:cubicBezTo>
                      <a:pt x="56555" y="282178"/>
                      <a:pt x="56555" y="282178"/>
                      <a:pt x="58341" y="284559"/>
                    </a:cubicBezTo>
                    <a:cubicBezTo>
                      <a:pt x="56555" y="284559"/>
                      <a:pt x="54769" y="284559"/>
                      <a:pt x="54769" y="282178"/>
                    </a:cubicBezTo>
                    <a:close/>
                    <a:moveTo>
                      <a:pt x="76534" y="279797"/>
                    </a:moveTo>
                    <a:cubicBezTo>
                      <a:pt x="81106" y="279797"/>
                      <a:pt x="81106" y="279797"/>
                      <a:pt x="83392" y="284406"/>
                    </a:cubicBezTo>
                    <a:cubicBezTo>
                      <a:pt x="87964" y="291319"/>
                      <a:pt x="92536" y="284406"/>
                      <a:pt x="97108" y="286710"/>
                    </a:cubicBezTo>
                    <a:cubicBezTo>
                      <a:pt x="101680" y="289015"/>
                      <a:pt x="99394" y="293623"/>
                      <a:pt x="97108" y="295928"/>
                    </a:cubicBezTo>
                    <a:cubicBezTo>
                      <a:pt x="99394" y="298232"/>
                      <a:pt x="101680" y="295928"/>
                      <a:pt x="103966" y="298232"/>
                    </a:cubicBezTo>
                    <a:cubicBezTo>
                      <a:pt x="106252" y="298232"/>
                      <a:pt x="106252" y="300537"/>
                      <a:pt x="108538" y="300537"/>
                    </a:cubicBezTo>
                    <a:cubicBezTo>
                      <a:pt x="108538" y="300537"/>
                      <a:pt x="108538" y="300537"/>
                      <a:pt x="108538" y="302841"/>
                    </a:cubicBezTo>
                    <a:cubicBezTo>
                      <a:pt x="113110" y="305146"/>
                      <a:pt x="108538" y="309754"/>
                      <a:pt x="108538" y="312059"/>
                    </a:cubicBezTo>
                    <a:cubicBezTo>
                      <a:pt x="106252" y="314363"/>
                      <a:pt x="108538" y="318972"/>
                      <a:pt x="108538" y="318972"/>
                    </a:cubicBezTo>
                    <a:cubicBezTo>
                      <a:pt x="108538" y="325885"/>
                      <a:pt x="113110" y="335103"/>
                      <a:pt x="110824" y="342016"/>
                    </a:cubicBezTo>
                    <a:cubicBezTo>
                      <a:pt x="106252" y="339712"/>
                      <a:pt x="101680" y="342016"/>
                      <a:pt x="106252" y="344321"/>
                    </a:cubicBezTo>
                    <a:cubicBezTo>
                      <a:pt x="103966" y="346625"/>
                      <a:pt x="103966" y="351234"/>
                      <a:pt x="99394" y="351234"/>
                    </a:cubicBezTo>
                    <a:cubicBezTo>
                      <a:pt x="99394" y="348930"/>
                      <a:pt x="99394" y="346625"/>
                      <a:pt x="99394" y="342016"/>
                    </a:cubicBezTo>
                    <a:cubicBezTo>
                      <a:pt x="97108" y="339712"/>
                      <a:pt x="94822" y="339712"/>
                      <a:pt x="94822" y="337407"/>
                    </a:cubicBezTo>
                    <a:cubicBezTo>
                      <a:pt x="99394" y="337407"/>
                      <a:pt x="94822" y="332799"/>
                      <a:pt x="92536" y="335103"/>
                    </a:cubicBezTo>
                    <a:cubicBezTo>
                      <a:pt x="92536" y="337407"/>
                      <a:pt x="92536" y="344321"/>
                      <a:pt x="97108" y="344321"/>
                    </a:cubicBezTo>
                    <a:cubicBezTo>
                      <a:pt x="97108" y="344321"/>
                      <a:pt x="99394" y="346625"/>
                      <a:pt x="97108" y="348930"/>
                    </a:cubicBezTo>
                    <a:cubicBezTo>
                      <a:pt x="94822" y="348930"/>
                      <a:pt x="94822" y="346625"/>
                      <a:pt x="92536" y="346625"/>
                    </a:cubicBezTo>
                    <a:cubicBezTo>
                      <a:pt x="90250" y="346625"/>
                      <a:pt x="87964" y="344321"/>
                      <a:pt x="85678" y="342016"/>
                    </a:cubicBezTo>
                    <a:cubicBezTo>
                      <a:pt x="90250" y="344321"/>
                      <a:pt x="85678" y="335103"/>
                      <a:pt x="83392" y="332799"/>
                    </a:cubicBezTo>
                    <a:cubicBezTo>
                      <a:pt x="83392" y="330494"/>
                      <a:pt x="81106" y="330494"/>
                      <a:pt x="81106" y="328190"/>
                    </a:cubicBezTo>
                    <a:cubicBezTo>
                      <a:pt x="81106" y="323581"/>
                      <a:pt x="83392" y="323581"/>
                      <a:pt x="83392" y="321276"/>
                    </a:cubicBezTo>
                    <a:cubicBezTo>
                      <a:pt x="87964" y="316668"/>
                      <a:pt x="83392" y="312059"/>
                      <a:pt x="81106" y="307450"/>
                    </a:cubicBezTo>
                    <a:cubicBezTo>
                      <a:pt x="78820" y="305146"/>
                      <a:pt x="71962" y="295928"/>
                      <a:pt x="69676" y="300537"/>
                    </a:cubicBezTo>
                    <a:cubicBezTo>
                      <a:pt x="71962" y="300537"/>
                      <a:pt x="74248" y="302841"/>
                      <a:pt x="71962" y="307450"/>
                    </a:cubicBezTo>
                    <a:cubicBezTo>
                      <a:pt x="76534" y="302841"/>
                      <a:pt x="78820" y="312059"/>
                      <a:pt x="76534" y="312059"/>
                    </a:cubicBezTo>
                    <a:cubicBezTo>
                      <a:pt x="74248" y="312059"/>
                      <a:pt x="74248" y="309754"/>
                      <a:pt x="74248" y="309754"/>
                    </a:cubicBezTo>
                    <a:cubicBezTo>
                      <a:pt x="74248" y="305146"/>
                      <a:pt x="69676" y="309754"/>
                      <a:pt x="67390" y="312059"/>
                    </a:cubicBezTo>
                    <a:cubicBezTo>
                      <a:pt x="67390" y="307450"/>
                      <a:pt x="58246" y="305146"/>
                      <a:pt x="62818" y="302841"/>
                    </a:cubicBezTo>
                    <a:cubicBezTo>
                      <a:pt x="65104" y="302841"/>
                      <a:pt x="65104" y="305146"/>
                      <a:pt x="65104" y="305146"/>
                    </a:cubicBezTo>
                    <a:cubicBezTo>
                      <a:pt x="67390" y="307450"/>
                      <a:pt x="69676" y="305146"/>
                      <a:pt x="69676" y="307450"/>
                    </a:cubicBezTo>
                    <a:cubicBezTo>
                      <a:pt x="69676" y="305146"/>
                      <a:pt x="67390" y="302841"/>
                      <a:pt x="67390" y="302841"/>
                    </a:cubicBezTo>
                    <a:cubicBezTo>
                      <a:pt x="65104" y="300537"/>
                      <a:pt x="60532" y="300537"/>
                      <a:pt x="60532" y="298232"/>
                    </a:cubicBezTo>
                    <a:cubicBezTo>
                      <a:pt x="58246" y="298232"/>
                      <a:pt x="55960" y="295928"/>
                      <a:pt x="58246" y="293623"/>
                    </a:cubicBezTo>
                    <a:cubicBezTo>
                      <a:pt x="58246" y="293623"/>
                      <a:pt x="60532" y="293623"/>
                      <a:pt x="60532" y="293623"/>
                    </a:cubicBezTo>
                    <a:cubicBezTo>
                      <a:pt x="60532" y="291319"/>
                      <a:pt x="62818" y="286710"/>
                      <a:pt x="65104" y="291319"/>
                    </a:cubicBezTo>
                    <a:cubicBezTo>
                      <a:pt x="67390" y="289015"/>
                      <a:pt x="65104" y="286710"/>
                      <a:pt x="69676" y="289015"/>
                    </a:cubicBezTo>
                    <a:cubicBezTo>
                      <a:pt x="67390" y="282101"/>
                      <a:pt x="71962" y="279797"/>
                      <a:pt x="76534" y="279797"/>
                    </a:cubicBezTo>
                    <a:close/>
                    <a:moveTo>
                      <a:pt x="140132" y="269081"/>
                    </a:moveTo>
                    <a:cubicBezTo>
                      <a:pt x="144688" y="271330"/>
                      <a:pt x="146966" y="273579"/>
                      <a:pt x="151521" y="273579"/>
                    </a:cubicBezTo>
                    <a:cubicBezTo>
                      <a:pt x="151521" y="275828"/>
                      <a:pt x="158354" y="280326"/>
                      <a:pt x="156077" y="282575"/>
                    </a:cubicBezTo>
                    <a:cubicBezTo>
                      <a:pt x="153799" y="284824"/>
                      <a:pt x="151521" y="287072"/>
                      <a:pt x="151521" y="289321"/>
                    </a:cubicBezTo>
                    <a:cubicBezTo>
                      <a:pt x="151521" y="291570"/>
                      <a:pt x="151521" y="293819"/>
                      <a:pt x="151521" y="296068"/>
                    </a:cubicBezTo>
                    <a:cubicBezTo>
                      <a:pt x="144688" y="291570"/>
                      <a:pt x="137855" y="284824"/>
                      <a:pt x="133299" y="296068"/>
                    </a:cubicBezTo>
                    <a:cubicBezTo>
                      <a:pt x="131021" y="298317"/>
                      <a:pt x="128744" y="307313"/>
                      <a:pt x="133299" y="309562"/>
                    </a:cubicBezTo>
                    <a:cubicBezTo>
                      <a:pt x="131021" y="307313"/>
                      <a:pt x="128744" y="309562"/>
                      <a:pt x="126466" y="307313"/>
                    </a:cubicBezTo>
                    <a:cubicBezTo>
                      <a:pt x="124188" y="307313"/>
                      <a:pt x="124188" y="305064"/>
                      <a:pt x="121910" y="305064"/>
                    </a:cubicBezTo>
                    <a:cubicBezTo>
                      <a:pt x="117355" y="305064"/>
                      <a:pt x="117355" y="298317"/>
                      <a:pt x="115077" y="298317"/>
                    </a:cubicBezTo>
                    <a:cubicBezTo>
                      <a:pt x="119633" y="298317"/>
                      <a:pt x="117355" y="296068"/>
                      <a:pt x="115077" y="296068"/>
                    </a:cubicBezTo>
                    <a:cubicBezTo>
                      <a:pt x="115077" y="296068"/>
                      <a:pt x="112799" y="291570"/>
                      <a:pt x="112799" y="291570"/>
                    </a:cubicBezTo>
                    <a:cubicBezTo>
                      <a:pt x="110522" y="291570"/>
                      <a:pt x="108244" y="293819"/>
                      <a:pt x="105966" y="293819"/>
                    </a:cubicBezTo>
                    <a:cubicBezTo>
                      <a:pt x="108244" y="291570"/>
                      <a:pt x="112799" y="291570"/>
                      <a:pt x="112799" y="287072"/>
                    </a:cubicBezTo>
                    <a:cubicBezTo>
                      <a:pt x="117355" y="287072"/>
                      <a:pt x="117355" y="278077"/>
                      <a:pt x="117355" y="275828"/>
                    </a:cubicBezTo>
                    <a:cubicBezTo>
                      <a:pt x="121910" y="275828"/>
                      <a:pt x="121910" y="280326"/>
                      <a:pt x="128744" y="278077"/>
                    </a:cubicBezTo>
                    <a:cubicBezTo>
                      <a:pt x="131021" y="278077"/>
                      <a:pt x="133299" y="275828"/>
                      <a:pt x="131021" y="271330"/>
                    </a:cubicBezTo>
                    <a:cubicBezTo>
                      <a:pt x="133299" y="273579"/>
                      <a:pt x="135577" y="269081"/>
                      <a:pt x="140132" y="269081"/>
                    </a:cubicBezTo>
                    <a:close/>
                    <a:moveTo>
                      <a:pt x="140494" y="266700"/>
                    </a:moveTo>
                    <a:cubicBezTo>
                      <a:pt x="140494" y="266700"/>
                      <a:pt x="142876" y="264319"/>
                      <a:pt x="142876" y="266700"/>
                    </a:cubicBezTo>
                    <a:cubicBezTo>
                      <a:pt x="145257" y="269081"/>
                      <a:pt x="140494" y="269081"/>
                      <a:pt x="140494" y="266700"/>
                    </a:cubicBezTo>
                    <a:close/>
                    <a:moveTo>
                      <a:pt x="155972" y="264319"/>
                    </a:moveTo>
                    <a:cubicBezTo>
                      <a:pt x="155972" y="266700"/>
                      <a:pt x="155972" y="276225"/>
                      <a:pt x="154186" y="273844"/>
                    </a:cubicBezTo>
                    <a:cubicBezTo>
                      <a:pt x="152400" y="271463"/>
                      <a:pt x="152400" y="264319"/>
                      <a:pt x="155972" y="264319"/>
                    </a:cubicBezTo>
                    <a:close/>
                    <a:moveTo>
                      <a:pt x="102394" y="221456"/>
                    </a:moveTo>
                    <a:cubicBezTo>
                      <a:pt x="104180" y="223837"/>
                      <a:pt x="105966" y="226218"/>
                      <a:pt x="102394" y="226218"/>
                    </a:cubicBezTo>
                    <a:cubicBezTo>
                      <a:pt x="102394" y="226218"/>
                      <a:pt x="102394" y="223837"/>
                      <a:pt x="102394" y="221456"/>
                    </a:cubicBezTo>
                    <a:close/>
                    <a:moveTo>
                      <a:pt x="185738" y="173831"/>
                    </a:moveTo>
                    <a:cubicBezTo>
                      <a:pt x="185738" y="175974"/>
                      <a:pt x="185738" y="178117"/>
                      <a:pt x="185738" y="178117"/>
                    </a:cubicBezTo>
                    <a:cubicBezTo>
                      <a:pt x="185738" y="178117"/>
                      <a:pt x="185738" y="178117"/>
                      <a:pt x="188119" y="180261"/>
                    </a:cubicBezTo>
                    <a:cubicBezTo>
                      <a:pt x="190500" y="182404"/>
                      <a:pt x="188119" y="184547"/>
                      <a:pt x="185738" y="184547"/>
                    </a:cubicBezTo>
                    <a:cubicBezTo>
                      <a:pt x="185738" y="182404"/>
                      <a:pt x="185738" y="182404"/>
                      <a:pt x="183356" y="180261"/>
                    </a:cubicBezTo>
                    <a:cubicBezTo>
                      <a:pt x="180975" y="180261"/>
                      <a:pt x="183356" y="175974"/>
                      <a:pt x="185738" y="173831"/>
                    </a:cubicBezTo>
                    <a:close/>
                    <a:moveTo>
                      <a:pt x="197684" y="97752"/>
                    </a:moveTo>
                    <a:cubicBezTo>
                      <a:pt x="200234" y="98603"/>
                      <a:pt x="203067" y="99739"/>
                      <a:pt x="204200" y="98603"/>
                    </a:cubicBezTo>
                    <a:cubicBezTo>
                      <a:pt x="206467" y="105419"/>
                      <a:pt x="208733" y="114506"/>
                      <a:pt x="215533" y="119049"/>
                    </a:cubicBezTo>
                    <a:cubicBezTo>
                      <a:pt x="220066" y="121321"/>
                      <a:pt x="226865" y="123593"/>
                      <a:pt x="229132" y="128136"/>
                    </a:cubicBezTo>
                    <a:cubicBezTo>
                      <a:pt x="229132" y="130408"/>
                      <a:pt x="231398" y="132680"/>
                      <a:pt x="233665" y="134952"/>
                    </a:cubicBezTo>
                    <a:cubicBezTo>
                      <a:pt x="235931" y="137224"/>
                      <a:pt x="235931" y="139495"/>
                      <a:pt x="238198" y="141767"/>
                    </a:cubicBezTo>
                    <a:cubicBezTo>
                      <a:pt x="240464" y="144039"/>
                      <a:pt x="240464" y="146311"/>
                      <a:pt x="240464" y="148582"/>
                    </a:cubicBezTo>
                    <a:cubicBezTo>
                      <a:pt x="242731" y="150854"/>
                      <a:pt x="240464" y="153126"/>
                      <a:pt x="242731" y="155398"/>
                    </a:cubicBezTo>
                    <a:cubicBezTo>
                      <a:pt x="235931" y="157669"/>
                      <a:pt x="242731" y="171300"/>
                      <a:pt x="244997" y="173572"/>
                    </a:cubicBezTo>
                    <a:cubicBezTo>
                      <a:pt x="235931" y="169028"/>
                      <a:pt x="233665" y="175844"/>
                      <a:pt x="238198" y="182659"/>
                    </a:cubicBezTo>
                    <a:cubicBezTo>
                      <a:pt x="242731" y="189474"/>
                      <a:pt x="249530" y="196290"/>
                      <a:pt x="249530" y="205377"/>
                    </a:cubicBezTo>
                    <a:cubicBezTo>
                      <a:pt x="249530" y="205377"/>
                      <a:pt x="251797" y="207648"/>
                      <a:pt x="249530" y="207648"/>
                    </a:cubicBezTo>
                    <a:cubicBezTo>
                      <a:pt x="247264" y="207648"/>
                      <a:pt x="247264" y="207648"/>
                      <a:pt x="247264" y="209920"/>
                    </a:cubicBezTo>
                    <a:cubicBezTo>
                      <a:pt x="247264" y="212192"/>
                      <a:pt x="247264" y="214464"/>
                      <a:pt x="249530" y="219007"/>
                    </a:cubicBezTo>
                    <a:cubicBezTo>
                      <a:pt x="251797" y="225823"/>
                      <a:pt x="256330" y="232638"/>
                      <a:pt x="263129" y="237181"/>
                    </a:cubicBezTo>
                    <a:cubicBezTo>
                      <a:pt x="260863" y="237181"/>
                      <a:pt x="256330" y="239453"/>
                      <a:pt x="256330" y="241725"/>
                    </a:cubicBezTo>
                    <a:cubicBezTo>
                      <a:pt x="256330" y="243997"/>
                      <a:pt x="258596" y="246269"/>
                      <a:pt x="258596" y="248540"/>
                    </a:cubicBezTo>
                    <a:cubicBezTo>
                      <a:pt x="258596" y="250812"/>
                      <a:pt x="251797" y="257627"/>
                      <a:pt x="249530" y="255356"/>
                    </a:cubicBezTo>
                    <a:cubicBezTo>
                      <a:pt x="247264" y="255356"/>
                      <a:pt x="247264" y="243997"/>
                      <a:pt x="247264" y="243997"/>
                    </a:cubicBezTo>
                    <a:cubicBezTo>
                      <a:pt x="251797" y="237181"/>
                      <a:pt x="240464" y="237181"/>
                      <a:pt x="242731" y="241725"/>
                    </a:cubicBezTo>
                    <a:cubicBezTo>
                      <a:pt x="238198" y="241725"/>
                      <a:pt x="244997" y="248540"/>
                      <a:pt x="244997" y="250812"/>
                    </a:cubicBezTo>
                    <a:cubicBezTo>
                      <a:pt x="242731" y="248540"/>
                      <a:pt x="231398" y="243997"/>
                      <a:pt x="233665" y="248540"/>
                    </a:cubicBezTo>
                    <a:cubicBezTo>
                      <a:pt x="233665" y="253084"/>
                      <a:pt x="235931" y="253084"/>
                      <a:pt x="235931" y="257627"/>
                    </a:cubicBezTo>
                    <a:cubicBezTo>
                      <a:pt x="235931" y="259899"/>
                      <a:pt x="235931" y="264443"/>
                      <a:pt x="231398" y="262171"/>
                    </a:cubicBezTo>
                    <a:cubicBezTo>
                      <a:pt x="229132" y="262171"/>
                      <a:pt x="229132" y="257627"/>
                      <a:pt x="226865" y="255356"/>
                    </a:cubicBezTo>
                    <a:cubicBezTo>
                      <a:pt x="226865" y="255356"/>
                      <a:pt x="226865" y="255356"/>
                      <a:pt x="229132" y="253084"/>
                    </a:cubicBezTo>
                    <a:cubicBezTo>
                      <a:pt x="224599" y="246269"/>
                      <a:pt x="215533" y="259899"/>
                      <a:pt x="220066" y="264443"/>
                    </a:cubicBezTo>
                    <a:cubicBezTo>
                      <a:pt x="213266" y="262171"/>
                      <a:pt x="206467" y="259899"/>
                      <a:pt x="199667" y="264443"/>
                    </a:cubicBezTo>
                    <a:cubicBezTo>
                      <a:pt x="199667" y="262171"/>
                      <a:pt x="199667" y="262171"/>
                      <a:pt x="201934" y="262171"/>
                    </a:cubicBezTo>
                    <a:cubicBezTo>
                      <a:pt x="199667" y="257627"/>
                      <a:pt x="192868" y="262171"/>
                      <a:pt x="192868" y="255356"/>
                    </a:cubicBezTo>
                    <a:cubicBezTo>
                      <a:pt x="192868" y="257627"/>
                      <a:pt x="192868" y="259899"/>
                      <a:pt x="192868" y="259899"/>
                    </a:cubicBezTo>
                    <a:cubicBezTo>
                      <a:pt x="190601" y="262171"/>
                      <a:pt x="190601" y="255356"/>
                      <a:pt x="190601" y="253084"/>
                    </a:cubicBezTo>
                    <a:cubicBezTo>
                      <a:pt x="188335" y="250812"/>
                      <a:pt x="186068" y="253084"/>
                      <a:pt x="186068" y="255356"/>
                    </a:cubicBezTo>
                    <a:cubicBezTo>
                      <a:pt x="186068" y="259899"/>
                      <a:pt x="183802" y="262171"/>
                      <a:pt x="188335" y="264443"/>
                    </a:cubicBezTo>
                    <a:cubicBezTo>
                      <a:pt x="192868" y="266714"/>
                      <a:pt x="195134" y="268986"/>
                      <a:pt x="197401" y="271258"/>
                    </a:cubicBezTo>
                    <a:cubicBezTo>
                      <a:pt x="195134" y="273530"/>
                      <a:pt x="190601" y="271258"/>
                      <a:pt x="188335" y="273530"/>
                    </a:cubicBezTo>
                    <a:cubicBezTo>
                      <a:pt x="186068" y="273530"/>
                      <a:pt x="186068" y="278073"/>
                      <a:pt x="186068" y="280345"/>
                    </a:cubicBezTo>
                    <a:cubicBezTo>
                      <a:pt x="186068" y="282617"/>
                      <a:pt x="183802" y="291704"/>
                      <a:pt x="181535" y="291704"/>
                    </a:cubicBezTo>
                    <a:cubicBezTo>
                      <a:pt x="179269" y="291704"/>
                      <a:pt x="177002" y="289432"/>
                      <a:pt x="177002" y="289432"/>
                    </a:cubicBezTo>
                    <a:cubicBezTo>
                      <a:pt x="172469" y="289432"/>
                      <a:pt x="172469" y="284889"/>
                      <a:pt x="170203" y="284889"/>
                    </a:cubicBezTo>
                    <a:cubicBezTo>
                      <a:pt x="167936" y="282617"/>
                      <a:pt x="163404" y="282617"/>
                      <a:pt x="163404" y="278073"/>
                    </a:cubicBezTo>
                    <a:cubicBezTo>
                      <a:pt x="163404" y="275802"/>
                      <a:pt x="163404" y="273530"/>
                      <a:pt x="161137" y="271258"/>
                    </a:cubicBezTo>
                    <a:cubicBezTo>
                      <a:pt x="163404" y="268986"/>
                      <a:pt x="165670" y="266714"/>
                      <a:pt x="163404" y="262171"/>
                    </a:cubicBezTo>
                    <a:cubicBezTo>
                      <a:pt x="163404" y="259899"/>
                      <a:pt x="158871" y="262171"/>
                      <a:pt x="156604" y="262171"/>
                    </a:cubicBezTo>
                    <a:cubicBezTo>
                      <a:pt x="152071" y="264443"/>
                      <a:pt x="149805" y="259899"/>
                      <a:pt x="145272" y="259899"/>
                    </a:cubicBezTo>
                    <a:cubicBezTo>
                      <a:pt x="140739" y="259899"/>
                      <a:pt x="138472" y="262171"/>
                      <a:pt x="133939" y="264443"/>
                    </a:cubicBezTo>
                    <a:cubicBezTo>
                      <a:pt x="138472" y="262171"/>
                      <a:pt x="136206" y="266714"/>
                      <a:pt x="131673" y="266714"/>
                    </a:cubicBezTo>
                    <a:cubicBezTo>
                      <a:pt x="129406" y="266714"/>
                      <a:pt x="127140" y="268986"/>
                      <a:pt x="124873" y="266714"/>
                    </a:cubicBezTo>
                    <a:cubicBezTo>
                      <a:pt x="124873" y="268986"/>
                      <a:pt x="122607" y="268986"/>
                      <a:pt x="122607" y="268986"/>
                    </a:cubicBezTo>
                    <a:cubicBezTo>
                      <a:pt x="122607" y="268986"/>
                      <a:pt x="122607" y="271258"/>
                      <a:pt x="120340" y="271258"/>
                    </a:cubicBezTo>
                    <a:cubicBezTo>
                      <a:pt x="120340" y="271258"/>
                      <a:pt x="120340" y="271258"/>
                      <a:pt x="120340" y="268986"/>
                    </a:cubicBezTo>
                    <a:cubicBezTo>
                      <a:pt x="118074" y="271258"/>
                      <a:pt x="113541" y="273530"/>
                      <a:pt x="111274" y="273530"/>
                    </a:cubicBezTo>
                    <a:cubicBezTo>
                      <a:pt x="109008" y="273530"/>
                      <a:pt x="109008" y="268986"/>
                      <a:pt x="106741" y="268986"/>
                    </a:cubicBezTo>
                    <a:cubicBezTo>
                      <a:pt x="102208" y="268986"/>
                      <a:pt x="102208" y="280345"/>
                      <a:pt x="104475" y="282617"/>
                    </a:cubicBezTo>
                    <a:cubicBezTo>
                      <a:pt x="99942" y="278073"/>
                      <a:pt x="95409" y="278073"/>
                      <a:pt x="88609" y="280345"/>
                    </a:cubicBezTo>
                    <a:cubicBezTo>
                      <a:pt x="84076" y="280345"/>
                      <a:pt x="79543" y="275802"/>
                      <a:pt x="79543" y="280345"/>
                    </a:cubicBezTo>
                    <a:cubicBezTo>
                      <a:pt x="77277" y="278073"/>
                      <a:pt x="75010" y="273530"/>
                      <a:pt x="75010" y="271258"/>
                    </a:cubicBezTo>
                    <a:cubicBezTo>
                      <a:pt x="75010" y="266714"/>
                      <a:pt x="84076" y="271258"/>
                      <a:pt x="84076" y="266714"/>
                    </a:cubicBezTo>
                    <a:cubicBezTo>
                      <a:pt x="86343" y="262171"/>
                      <a:pt x="104475" y="248540"/>
                      <a:pt x="99942" y="243997"/>
                    </a:cubicBezTo>
                    <a:cubicBezTo>
                      <a:pt x="102208" y="241725"/>
                      <a:pt x="106741" y="239453"/>
                      <a:pt x="109008" y="241725"/>
                    </a:cubicBezTo>
                    <a:cubicBezTo>
                      <a:pt x="111274" y="241725"/>
                      <a:pt x="113541" y="243997"/>
                      <a:pt x="115807" y="241725"/>
                    </a:cubicBezTo>
                    <a:cubicBezTo>
                      <a:pt x="118074" y="241725"/>
                      <a:pt x="122607" y="241725"/>
                      <a:pt x="124873" y="241725"/>
                    </a:cubicBezTo>
                    <a:cubicBezTo>
                      <a:pt x="127140" y="241725"/>
                      <a:pt x="129406" y="241725"/>
                      <a:pt x="131673" y="239453"/>
                    </a:cubicBezTo>
                    <a:cubicBezTo>
                      <a:pt x="136206" y="237181"/>
                      <a:pt x="140739" y="239453"/>
                      <a:pt x="143005" y="237181"/>
                    </a:cubicBezTo>
                    <a:cubicBezTo>
                      <a:pt x="145272" y="237181"/>
                      <a:pt x="145272" y="237181"/>
                      <a:pt x="147538" y="234910"/>
                    </a:cubicBezTo>
                    <a:cubicBezTo>
                      <a:pt x="152071" y="234910"/>
                      <a:pt x="149805" y="237181"/>
                      <a:pt x="149805" y="239453"/>
                    </a:cubicBezTo>
                    <a:cubicBezTo>
                      <a:pt x="149805" y="241725"/>
                      <a:pt x="152071" y="241725"/>
                      <a:pt x="154338" y="241725"/>
                    </a:cubicBezTo>
                    <a:cubicBezTo>
                      <a:pt x="149805" y="237181"/>
                      <a:pt x="163404" y="246269"/>
                      <a:pt x="161137" y="239453"/>
                    </a:cubicBezTo>
                    <a:cubicBezTo>
                      <a:pt x="165670" y="239453"/>
                      <a:pt x="163404" y="234910"/>
                      <a:pt x="165670" y="237181"/>
                    </a:cubicBezTo>
                    <a:cubicBezTo>
                      <a:pt x="165670" y="232638"/>
                      <a:pt x="156604" y="230366"/>
                      <a:pt x="161137" y="223551"/>
                    </a:cubicBezTo>
                    <a:cubicBezTo>
                      <a:pt x="163404" y="221279"/>
                      <a:pt x="165670" y="216736"/>
                      <a:pt x="167936" y="212192"/>
                    </a:cubicBezTo>
                    <a:cubicBezTo>
                      <a:pt x="167936" y="207648"/>
                      <a:pt x="161137" y="203105"/>
                      <a:pt x="161137" y="198561"/>
                    </a:cubicBezTo>
                    <a:cubicBezTo>
                      <a:pt x="163404" y="194018"/>
                      <a:pt x="167936" y="191746"/>
                      <a:pt x="170203" y="194018"/>
                    </a:cubicBezTo>
                    <a:cubicBezTo>
                      <a:pt x="170203" y="194018"/>
                      <a:pt x="172469" y="200833"/>
                      <a:pt x="167936" y="200833"/>
                    </a:cubicBezTo>
                    <a:cubicBezTo>
                      <a:pt x="165670" y="200833"/>
                      <a:pt x="167936" y="203105"/>
                      <a:pt x="167936" y="203105"/>
                    </a:cubicBezTo>
                    <a:cubicBezTo>
                      <a:pt x="172469" y="205377"/>
                      <a:pt x="172469" y="207648"/>
                      <a:pt x="172469" y="209920"/>
                    </a:cubicBezTo>
                    <a:cubicBezTo>
                      <a:pt x="177002" y="216736"/>
                      <a:pt x="179269" y="207648"/>
                      <a:pt x="181535" y="205377"/>
                    </a:cubicBezTo>
                    <a:cubicBezTo>
                      <a:pt x="186068" y="203105"/>
                      <a:pt x="192868" y="203105"/>
                      <a:pt x="195134" y="198561"/>
                    </a:cubicBezTo>
                    <a:cubicBezTo>
                      <a:pt x="199667" y="191746"/>
                      <a:pt x="195134" y="184931"/>
                      <a:pt x="201934" y="182659"/>
                    </a:cubicBezTo>
                    <a:cubicBezTo>
                      <a:pt x="208733" y="178115"/>
                      <a:pt x="201934" y="169028"/>
                      <a:pt x="204200" y="164485"/>
                    </a:cubicBezTo>
                    <a:cubicBezTo>
                      <a:pt x="204200" y="157669"/>
                      <a:pt x="204200" y="146311"/>
                      <a:pt x="199667" y="141767"/>
                    </a:cubicBezTo>
                    <a:cubicBezTo>
                      <a:pt x="197401" y="139495"/>
                      <a:pt x="195134" y="134952"/>
                      <a:pt x="192868" y="134952"/>
                    </a:cubicBezTo>
                    <a:cubicBezTo>
                      <a:pt x="190601" y="134952"/>
                      <a:pt x="188335" y="134952"/>
                      <a:pt x="188335" y="132680"/>
                    </a:cubicBezTo>
                    <a:cubicBezTo>
                      <a:pt x="192868" y="134952"/>
                      <a:pt x="192868" y="130408"/>
                      <a:pt x="190601" y="125865"/>
                    </a:cubicBezTo>
                    <a:cubicBezTo>
                      <a:pt x="190601" y="123593"/>
                      <a:pt x="186068" y="121321"/>
                      <a:pt x="183802" y="119049"/>
                    </a:cubicBezTo>
                    <a:cubicBezTo>
                      <a:pt x="181535" y="116778"/>
                      <a:pt x="186068" y="114506"/>
                      <a:pt x="188335" y="114506"/>
                    </a:cubicBezTo>
                    <a:cubicBezTo>
                      <a:pt x="190601" y="112234"/>
                      <a:pt x="183802" y="105419"/>
                      <a:pt x="183802" y="103147"/>
                    </a:cubicBezTo>
                    <a:cubicBezTo>
                      <a:pt x="186068" y="103147"/>
                      <a:pt x="188335" y="103147"/>
                      <a:pt x="190601" y="105419"/>
                    </a:cubicBezTo>
                    <a:cubicBezTo>
                      <a:pt x="192868" y="107691"/>
                      <a:pt x="195134" y="112234"/>
                      <a:pt x="197401" y="112234"/>
                    </a:cubicBezTo>
                    <a:cubicBezTo>
                      <a:pt x="199667" y="112234"/>
                      <a:pt x="199667" y="109962"/>
                      <a:pt x="197401" y="107691"/>
                    </a:cubicBezTo>
                    <a:cubicBezTo>
                      <a:pt x="199667" y="109962"/>
                      <a:pt x="201934" y="109962"/>
                      <a:pt x="204200" y="112234"/>
                    </a:cubicBezTo>
                    <a:cubicBezTo>
                      <a:pt x="206467" y="107691"/>
                      <a:pt x="204200" y="103147"/>
                      <a:pt x="199667" y="100875"/>
                    </a:cubicBezTo>
                    <a:cubicBezTo>
                      <a:pt x="199667" y="107691"/>
                      <a:pt x="188335" y="103147"/>
                      <a:pt x="192868" y="98603"/>
                    </a:cubicBezTo>
                    <a:cubicBezTo>
                      <a:pt x="192868" y="96332"/>
                      <a:pt x="195134" y="96900"/>
                      <a:pt x="197684" y="97752"/>
                    </a:cubicBezTo>
                    <a:close/>
                    <a:moveTo>
                      <a:pt x="249635" y="23812"/>
                    </a:moveTo>
                    <a:cubicBezTo>
                      <a:pt x="251818" y="26061"/>
                      <a:pt x="254001" y="26061"/>
                      <a:pt x="258366" y="26061"/>
                    </a:cubicBezTo>
                    <a:cubicBezTo>
                      <a:pt x="258366" y="26061"/>
                      <a:pt x="258366" y="26061"/>
                      <a:pt x="258366" y="28310"/>
                    </a:cubicBezTo>
                    <a:cubicBezTo>
                      <a:pt x="251818" y="26061"/>
                      <a:pt x="247452" y="37306"/>
                      <a:pt x="249635" y="41804"/>
                    </a:cubicBezTo>
                    <a:cubicBezTo>
                      <a:pt x="245269" y="44053"/>
                      <a:pt x="247452" y="39555"/>
                      <a:pt x="247452" y="37306"/>
                    </a:cubicBezTo>
                    <a:cubicBezTo>
                      <a:pt x="249635" y="32808"/>
                      <a:pt x="247452" y="28310"/>
                      <a:pt x="249635" y="23812"/>
                    </a:cubicBezTo>
                    <a:close/>
                    <a:moveTo>
                      <a:pt x="147638" y="0"/>
                    </a:moveTo>
                    <a:cubicBezTo>
                      <a:pt x="149898" y="2300"/>
                      <a:pt x="149898" y="0"/>
                      <a:pt x="152158" y="0"/>
                    </a:cubicBezTo>
                    <a:cubicBezTo>
                      <a:pt x="156677" y="0"/>
                      <a:pt x="158937" y="2300"/>
                      <a:pt x="161197" y="4600"/>
                    </a:cubicBezTo>
                    <a:cubicBezTo>
                      <a:pt x="170236" y="9200"/>
                      <a:pt x="177015" y="16100"/>
                      <a:pt x="186054" y="20701"/>
                    </a:cubicBezTo>
                    <a:cubicBezTo>
                      <a:pt x="192834" y="25301"/>
                      <a:pt x="199613" y="27601"/>
                      <a:pt x="206392" y="29901"/>
                    </a:cubicBezTo>
                    <a:cubicBezTo>
                      <a:pt x="208652" y="32201"/>
                      <a:pt x="208652" y="32201"/>
                      <a:pt x="213172" y="32201"/>
                    </a:cubicBezTo>
                    <a:cubicBezTo>
                      <a:pt x="213172" y="32201"/>
                      <a:pt x="215432" y="32201"/>
                      <a:pt x="217691" y="34501"/>
                    </a:cubicBezTo>
                    <a:cubicBezTo>
                      <a:pt x="219951" y="32201"/>
                      <a:pt x="226730" y="39101"/>
                      <a:pt x="231250" y="36801"/>
                    </a:cubicBezTo>
                    <a:cubicBezTo>
                      <a:pt x="233510" y="36801"/>
                      <a:pt x="235769" y="29901"/>
                      <a:pt x="235769" y="27601"/>
                    </a:cubicBezTo>
                    <a:cubicBezTo>
                      <a:pt x="240289" y="29901"/>
                      <a:pt x="238029" y="34501"/>
                      <a:pt x="238029" y="39101"/>
                    </a:cubicBezTo>
                    <a:cubicBezTo>
                      <a:pt x="240289" y="43701"/>
                      <a:pt x="244809" y="43701"/>
                      <a:pt x="249328" y="46001"/>
                    </a:cubicBezTo>
                    <a:cubicBezTo>
                      <a:pt x="242549" y="43701"/>
                      <a:pt x="249328" y="50601"/>
                      <a:pt x="251588" y="50601"/>
                    </a:cubicBezTo>
                    <a:cubicBezTo>
                      <a:pt x="251588" y="52902"/>
                      <a:pt x="253848" y="55202"/>
                      <a:pt x="253848" y="52902"/>
                    </a:cubicBezTo>
                    <a:cubicBezTo>
                      <a:pt x="256107" y="52902"/>
                      <a:pt x="256107" y="48301"/>
                      <a:pt x="258367" y="52902"/>
                    </a:cubicBezTo>
                    <a:cubicBezTo>
                      <a:pt x="258367" y="52902"/>
                      <a:pt x="256107" y="55202"/>
                      <a:pt x="256107" y="55202"/>
                    </a:cubicBezTo>
                    <a:cubicBezTo>
                      <a:pt x="253848" y="55202"/>
                      <a:pt x="251588" y="55202"/>
                      <a:pt x="251588" y="57502"/>
                    </a:cubicBezTo>
                    <a:cubicBezTo>
                      <a:pt x="253848" y="62102"/>
                      <a:pt x="242549" y="57502"/>
                      <a:pt x="244809" y="62102"/>
                    </a:cubicBezTo>
                    <a:cubicBezTo>
                      <a:pt x="238029" y="59802"/>
                      <a:pt x="231250" y="59802"/>
                      <a:pt x="228990" y="69002"/>
                    </a:cubicBezTo>
                    <a:cubicBezTo>
                      <a:pt x="226730" y="73602"/>
                      <a:pt x="226730" y="75902"/>
                      <a:pt x="228990" y="80502"/>
                    </a:cubicBezTo>
                    <a:cubicBezTo>
                      <a:pt x="231250" y="80502"/>
                      <a:pt x="231250" y="85102"/>
                      <a:pt x="228990" y="85102"/>
                    </a:cubicBezTo>
                    <a:cubicBezTo>
                      <a:pt x="224471" y="85102"/>
                      <a:pt x="215432" y="78202"/>
                      <a:pt x="210912" y="78202"/>
                    </a:cubicBezTo>
                    <a:cubicBezTo>
                      <a:pt x="204133" y="75902"/>
                      <a:pt x="195094" y="66702"/>
                      <a:pt x="188314" y="71302"/>
                    </a:cubicBezTo>
                    <a:cubicBezTo>
                      <a:pt x="186054" y="71302"/>
                      <a:pt x="183795" y="75902"/>
                      <a:pt x="181535" y="75902"/>
                    </a:cubicBezTo>
                    <a:cubicBezTo>
                      <a:pt x="179275" y="75902"/>
                      <a:pt x="177015" y="73602"/>
                      <a:pt x="174756" y="71302"/>
                    </a:cubicBezTo>
                    <a:cubicBezTo>
                      <a:pt x="172496" y="71302"/>
                      <a:pt x="167976" y="69002"/>
                      <a:pt x="167976" y="71302"/>
                    </a:cubicBezTo>
                    <a:cubicBezTo>
                      <a:pt x="165716" y="73602"/>
                      <a:pt x="167976" y="75902"/>
                      <a:pt x="170236" y="78202"/>
                    </a:cubicBezTo>
                    <a:cubicBezTo>
                      <a:pt x="172496" y="80502"/>
                      <a:pt x="179275" y="80502"/>
                      <a:pt x="181535" y="82802"/>
                    </a:cubicBezTo>
                    <a:cubicBezTo>
                      <a:pt x="183795" y="85102"/>
                      <a:pt x="190574" y="85102"/>
                      <a:pt x="190574" y="89703"/>
                    </a:cubicBezTo>
                    <a:cubicBezTo>
                      <a:pt x="192834" y="92003"/>
                      <a:pt x="186054" y="89703"/>
                      <a:pt x="183795" y="89703"/>
                    </a:cubicBezTo>
                    <a:cubicBezTo>
                      <a:pt x="181535" y="89703"/>
                      <a:pt x="179275" y="94303"/>
                      <a:pt x="181535" y="96603"/>
                    </a:cubicBezTo>
                    <a:cubicBezTo>
                      <a:pt x="177015" y="96603"/>
                      <a:pt x="177015" y="101203"/>
                      <a:pt x="172496" y="94303"/>
                    </a:cubicBezTo>
                    <a:cubicBezTo>
                      <a:pt x="170236" y="92003"/>
                      <a:pt x="172496" y="87403"/>
                      <a:pt x="170236" y="85102"/>
                    </a:cubicBezTo>
                    <a:cubicBezTo>
                      <a:pt x="165716" y="80502"/>
                      <a:pt x="158937" y="80502"/>
                      <a:pt x="156677" y="73602"/>
                    </a:cubicBezTo>
                    <a:cubicBezTo>
                      <a:pt x="154418" y="64402"/>
                      <a:pt x="161197" y="69002"/>
                      <a:pt x="161197" y="62102"/>
                    </a:cubicBezTo>
                    <a:cubicBezTo>
                      <a:pt x="163457" y="59802"/>
                      <a:pt x="161197" y="57502"/>
                      <a:pt x="156677" y="57502"/>
                    </a:cubicBezTo>
                    <a:cubicBezTo>
                      <a:pt x="156677" y="55202"/>
                      <a:pt x="154418" y="50601"/>
                      <a:pt x="156677" y="50601"/>
                    </a:cubicBezTo>
                    <a:cubicBezTo>
                      <a:pt x="161197" y="50601"/>
                      <a:pt x="165716" y="55202"/>
                      <a:pt x="170236" y="55202"/>
                    </a:cubicBezTo>
                    <a:cubicBezTo>
                      <a:pt x="179275" y="57502"/>
                      <a:pt x="172496" y="48301"/>
                      <a:pt x="170236" y="43701"/>
                    </a:cubicBezTo>
                    <a:cubicBezTo>
                      <a:pt x="167976" y="41401"/>
                      <a:pt x="170236" y="39101"/>
                      <a:pt x="170236" y="34501"/>
                    </a:cubicBezTo>
                    <a:cubicBezTo>
                      <a:pt x="167976" y="29901"/>
                      <a:pt x="165716" y="25301"/>
                      <a:pt x="163457" y="20701"/>
                    </a:cubicBezTo>
                    <a:cubicBezTo>
                      <a:pt x="161197" y="16100"/>
                      <a:pt x="156677" y="13800"/>
                      <a:pt x="152158" y="9200"/>
                    </a:cubicBezTo>
                    <a:cubicBezTo>
                      <a:pt x="149898" y="6900"/>
                      <a:pt x="149898" y="2300"/>
                      <a:pt x="147638" y="0"/>
                    </a:cubicBezTo>
                    <a:close/>
                    <a:moveTo>
                      <a:pt x="135732" y="0"/>
                    </a:moveTo>
                    <a:cubicBezTo>
                      <a:pt x="135732" y="0"/>
                      <a:pt x="138113" y="2381"/>
                      <a:pt x="138113" y="2381"/>
                    </a:cubicBezTo>
                    <a:cubicBezTo>
                      <a:pt x="138113" y="2381"/>
                      <a:pt x="133350" y="0"/>
                      <a:pt x="135732" y="0"/>
                    </a:cubicBezTo>
                    <a:close/>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16" name="Group 218">
              <a:extLst>
                <a:ext uri="{FF2B5EF4-FFF2-40B4-BE49-F238E27FC236}">
                  <a16:creationId xmlns:a16="http://schemas.microsoft.com/office/drawing/2014/main" id="{B4BF7BA1-0B35-54A7-9696-6859D4579DBB}"/>
                </a:ext>
              </a:extLst>
            </p:cNvPr>
            <p:cNvGrpSpPr/>
            <p:nvPr/>
          </p:nvGrpSpPr>
          <p:grpSpPr>
            <a:xfrm>
              <a:off x="3002100" y="1454154"/>
              <a:ext cx="123099" cy="149792"/>
              <a:chOff x="4557459" y="2262890"/>
              <a:chExt cx="193407" cy="235349"/>
            </a:xfrm>
            <a:solidFill>
              <a:schemeClr val="accent2">
                <a:lumMod val="50000"/>
              </a:schemeClr>
            </a:solidFill>
          </p:grpSpPr>
          <p:sp>
            <p:nvSpPr>
              <p:cNvPr id="32" name="Syria">
                <a:extLst>
                  <a:ext uri="{FF2B5EF4-FFF2-40B4-BE49-F238E27FC236}">
                    <a16:creationId xmlns:a16="http://schemas.microsoft.com/office/drawing/2014/main" id="{C66A04C5-276B-D154-B504-E95EDD638DBF}"/>
                  </a:ext>
                </a:extLst>
              </p:cNvPr>
              <p:cNvSpPr>
                <a:spLocks/>
              </p:cNvSpPr>
              <p:nvPr/>
            </p:nvSpPr>
            <p:spPr bwMode="auto">
              <a:xfrm>
                <a:off x="4557459" y="2352877"/>
                <a:ext cx="140872" cy="145362"/>
              </a:xfrm>
              <a:custGeom>
                <a:avLst/>
                <a:gdLst/>
                <a:ahLst/>
                <a:cxnLst>
                  <a:cxn ang="0">
                    <a:pos x="1" y="45"/>
                  </a:cxn>
                  <a:cxn ang="0">
                    <a:pos x="5" y="42"/>
                  </a:cxn>
                  <a:cxn ang="0">
                    <a:pos x="8" y="39"/>
                  </a:cxn>
                  <a:cxn ang="0">
                    <a:pos x="9" y="35"/>
                  </a:cxn>
                  <a:cxn ang="0">
                    <a:pos x="7" y="32"/>
                  </a:cxn>
                  <a:cxn ang="0">
                    <a:pos x="6" y="30"/>
                  </a:cxn>
                  <a:cxn ang="0">
                    <a:pos x="2" y="27"/>
                  </a:cxn>
                  <a:cxn ang="0">
                    <a:pos x="2" y="22"/>
                  </a:cxn>
                  <a:cxn ang="0">
                    <a:pos x="1" y="17"/>
                  </a:cxn>
                  <a:cxn ang="0">
                    <a:pos x="4" y="18"/>
                  </a:cxn>
                  <a:cxn ang="0">
                    <a:pos x="5" y="16"/>
                  </a:cxn>
                  <a:cxn ang="0">
                    <a:pos x="5" y="13"/>
                  </a:cxn>
                  <a:cxn ang="0">
                    <a:pos x="8" y="13"/>
                  </a:cxn>
                  <a:cxn ang="0">
                    <a:pos x="7" y="10"/>
                  </a:cxn>
                  <a:cxn ang="0">
                    <a:pos x="8" y="7"/>
                  </a:cxn>
                  <a:cxn ang="0">
                    <a:pos x="9" y="7"/>
                  </a:cxn>
                  <a:cxn ang="0">
                    <a:pos x="13" y="9"/>
                  </a:cxn>
                  <a:cxn ang="0">
                    <a:pos x="17" y="8"/>
                  </a:cxn>
                  <a:cxn ang="0">
                    <a:pos x="22" y="6"/>
                  </a:cxn>
                  <a:cxn ang="0">
                    <a:pos x="26" y="8"/>
                  </a:cxn>
                  <a:cxn ang="0">
                    <a:pos x="31" y="8"/>
                  </a:cxn>
                  <a:cxn ang="0">
                    <a:pos x="42" y="4"/>
                  </a:cxn>
                  <a:cxn ang="0">
                    <a:pos x="53" y="3"/>
                  </a:cxn>
                  <a:cxn ang="0">
                    <a:pos x="57" y="4"/>
                  </a:cxn>
                  <a:cxn ang="0">
                    <a:pos x="54" y="8"/>
                  </a:cxn>
                  <a:cxn ang="0">
                    <a:pos x="50" y="10"/>
                  </a:cxn>
                  <a:cxn ang="0">
                    <a:pos x="50" y="18"/>
                  </a:cxn>
                  <a:cxn ang="0">
                    <a:pos x="50" y="23"/>
                  </a:cxn>
                  <a:cxn ang="0">
                    <a:pos x="50" y="30"/>
                  </a:cxn>
                  <a:cxn ang="0">
                    <a:pos x="20" y="50"/>
                  </a:cxn>
                  <a:cxn ang="0">
                    <a:pos x="9" y="54"/>
                  </a:cxn>
                  <a:cxn ang="0">
                    <a:pos x="5" y="52"/>
                  </a:cxn>
                  <a:cxn ang="0">
                    <a:pos x="2" y="51"/>
                  </a:cxn>
                  <a:cxn ang="0">
                    <a:pos x="1" y="45"/>
                  </a:cxn>
                </a:cxnLst>
                <a:rect l="0" t="0" r="r" b="b"/>
                <a:pathLst>
                  <a:path w="57" h="57">
                    <a:moveTo>
                      <a:pt x="1" y="45"/>
                    </a:moveTo>
                    <a:cubicBezTo>
                      <a:pt x="2" y="44"/>
                      <a:pt x="4" y="42"/>
                      <a:pt x="5" y="42"/>
                    </a:cubicBezTo>
                    <a:cubicBezTo>
                      <a:pt x="3" y="40"/>
                      <a:pt x="6" y="38"/>
                      <a:pt x="8" y="39"/>
                    </a:cubicBezTo>
                    <a:cubicBezTo>
                      <a:pt x="6" y="37"/>
                      <a:pt x="8" y="37"/>
                      <a:pt x="9" y="35"/>
                    </a:cubicBezTo>
                    <a:cubicBezTo>
                      <a:pt x="9" y="34"/>
                      <a:pt x="8" y="32"/>
                      <a:pt x="7" y="32"/>
                    </a:cubicBezTo>
                    <a:cubicBezTo>
                      <a:pt x="5" y="32"/>
                      <a:pt x="8" y="30"/>
                      <a:pt x="6" y="30"/>
                    </a:cubicBezTo>
                    <a:cubicBezTo>
                      <a:pt x="3" y="31"/>
                      <a:pt x="2" y="29"/>
                      <a:pt x="2" y="27"/>
                    </a:cubicBezTo>
                    <a:cubicBezTo>
                      <a:pt x="2" y="26"/>
                      <a:pt x="3" y="23"/>
                      <a:pt x="2" y="22"/>
                    </a:cubicBezTo>
                    <a:cubicBezTo>
                      <a:pt x="0" y="21"/>
                      <a:pt x="1" y="18"/>
                      <a:pt x="1" y="17"/>
                    </a:cubicBezTo>
                    <a:cubicBezTo>
                      <a:pt x="1" y="16"/>
                      <a:pt x="3" y="17"/>
                      <a:pt x="4" y="18"/>
                    </a:cubicBezTo>
                    <a:cubicBezTo>
                      <a:pt x="4" y="18"/>
                      <a:pt x="4" y="17"/>
                      <a:pt x="5" y="16"/>
                    </a:cubicBezTo>
                    <a:cubicBezTo>
                      <a:pt x="6" y="16"/>
                      <a:pt x="5" y="14"/>
                      <a:pt x="5" y="13"/>
                    </a:cubicBezTo>
                    <a:cubicBezTo>
                      <a:pt x="6" y="13"/>
                      <a:pt x="7" y="13"/>
                      <a:pt x="8" y="13"/>
                    </a:cubicBezTo>
                    <a:cubicBezTo>
                      <a:pt x="7" y="12"/>
                      <a:pt x="7" y="11"/>
                      <a:pt x="7" y="10"/>
                    </a:cubicBezTo>
                    <a:cubicBezTo>
                      <a:pt x="7" y="9"/>
                      <a:pt x="7" y="7"/>
                      <a:pt x="8" y="7"/>
                    </a:cubicBezTo>
                    <a:cubicBezTo>
                      <a:pt x="8" y="7"/>
                      <a:pt x="9" y="7"/>
                      <a:pt x="9" y="7"/>
                    </a:cubicBezTo>
                    <a:cubicBezTo>
                      <a:pt x="11" y="8"/>
                      <a:pt x="11" y="9"/>
                      <a:pt x="13" y="9"/>
                    </a:cubicBezTo>
                    <a:cubicBezTo>
                      <a:pt x="14" y="9"/>
                      <a:pt x="16" y="8"/>
                      <a:pt x="17" y="8"/>
                    </a:cubicBezTo>
                    <a:cubicBezTo>
                      <a:pt x="19" y="7"/>
                      <a:pt x="20" y="6"/>
                      <a:pt x="22" y="6"/>
                    </a:cubicBezTo>
                    <a:cubicBezTo>
                      <a:pt x="24" y="6"/>
                      <a:pt x="25" y="7"/>
                      <a:pt x="26" y="8"/>
                    </a:cubicBezTo>
                    <a:cubicBezTo>
                      <a:pt x="27" y="9"/>
                      <a:pt x="30" y="8"/>
                      <a:pt x="31" y="8"/>
                    </a:cubicBezTo>
                    <a:cubicBezTo>
                      <a:pt x="35" y="8"/>
                      <a:pt x="38" y="6"/>
                      <a:pt x="42" y="4"/>
                    </a:cubicBezTo>
                    <a:cubicBezTo>
                      <a:pt x="45" y="3"/>
                      <a:pt x="49" y="5"/>
                      <a:pt x="53" y="3"/>
                    </a:cubicBezTo>
                    <a:cubicBezTo>
                      <a:pt x="54" y="3"/>
                      <a:pt x="57" y="0"/>
                      <a:pt x="57" y="4"/>
                    </a:cubicBezTo>
                    <a:cubicBezTo>
                      <a:pt x="57" y="5"/>
                      <a:pt x="55" y="7"/>
                      <a:pt x="54" y="8"/>
                    </a:cubicBezTo>
                    <a:cubicBezTo>
                      <a:pt x="53" y="9"/>
                      <a:pt x="51" y="9"/>
                      <a:pt x="50" y="10"/>
                    </a:cubicBezTo>
                    <a:cubicBezTo>
                      <a:pt x="47" y="12"/>
                      <a:pt x="50" y="16"/>
                      <a:pt x="50" y="18"/>
                    </a:cubicBezTo>
                    <a:cubicBezTo>
                      <a:pt x="51" y="20"/>
                      <a:pt x="50" y="21"/>
                      <a:pt x="50" y="23"/>
                    </a:cubicBezTo>
                    <a:cubicBezTo>
                      <a:pt x="49" y="25"/>
                      <a:pt x="50" y="28"/>
                      <a:pt x="50" y="30"/>
                    </a:cubicBezTo>
                    <a:cubicBezTo>
                      <a:pt x="50" y="35"/>
                      <a:pt x="30" y="44"/>
                      <a:pt x="20" y="50"/>
                    </a:cubicBezTo>
                    <a:cubicBezTo>
                      <a:pt x="17" y="52"/>
                      <a:pt x="13" y="57"/>
                      <a:pt x="9" y="54"/>
                    </a:cubicBezTo>
                    <a:cubicBezTo>
                      <a:pt x="8" y="53"/>
                      <a:pt x="7" y="53"/>
                      <a:pt x="5" y="52"/>
                    </a:cubicBezTo>
                    <a:cubicBezTo>
                      <a:pt x="3" y="50"/>
                      <a:pt x="2" y="51"/>
                      <a:pt x="2" y="51"/>
                    </a:cubicBezTo>
                    <a:cubicBezTo>
                      <a:pt x="2" y="51"/>
                      <a:pt x="3" y="46"/>
                      <a:pt x="1" y="45"/>
                    </a:cubicBezTo>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33" name="Georgia">
                <a:extLst>
                  <a:ext uri="{FF2B5EF4-FFF2-40B4-BE49-F238E27FC236}">
                    <a16:creationId xmlns:a16="http://schemas.microsoft.com/office/drawing/2014/main" id="{C327589C-C341-BB65-F8A4-CC0DD6BB4C23}"/>
                  </a:ext>
                </a:extLst>
              </p:cNvPr>
              <p:cNvSpPr>
                <a:spLocks/>
              </p:cNvSpPr>
              <p:nvPr/>
            </p:nvSpPr>
            <p:spPr bwMode="auto">
              <a:xfrm>
                <a:off x="4609697" y="2262890"/>
                <a:ext cx="141169" cy="61323"/>
              </a:xfrm>
              <a:custGeom>
                <a:avLst/>
                <a:gdLst>
                  <a:gd name="connsiteX0" fmla="*/ 3611 w 138527"/>
                  <a:gd name="connsiteY0" fmla="*/ 255 h 60175"/>
                  <a:gd name="connsiteX1" fmla="*/ 27192 w 138527"/>
                  <a:gd name="connsiteY1" fmla="*/ 5035 h 60175"/>
                  <a:gd name="connsiteX2" fmla="*/ 40788 w 138527"/>
                  <a:gd name="connsiteY2" fmla="*/ 9567 h 60175"/>
                  <a:gd name="connsiteX3" fmla="*/ 49853 w 138527"/>
                  <a:gd name="connsiteY3" fmla="*/ 9567 h 60175"/>
                  <a:gd name="connsiteX4" fmla="*/ 56651 w 138527"/>
                  <a:gd name="connsiteY4" fmla="*/ 9567 h 60175"/>
                  <a:gd name="connsiteX5" fmla="*/ 67981 w 138527"/>
                  <a:gd name="connsiteY5" fmla="*/ 16365 h 60175"/>
                  <a:gd name="connsiteX6" fmla="*/ 74779 w 138527"/>
                  <a:gd name="connsiteY6" fmla="*/ 20897 h 60175"/>
                  <a:gd name="connsiteX7" fmla="*/ 77045 w 138527"/>
                  <a:gd name="connsiteY7" fmla="*/ 23163 h 60175"/>
                  <a:gd name="connsiteX8" fmla="*/ 95173 w 138527"/>
                  <a:gd name="connsiteY8" fmla="*/ 23163 h 60175"/>
                  <a:gd name="connsiteX9" fmla="*/ 104238 w 138527"/>
                  <a:gd name="connsiteY9" fmla="*/ 20897 h 60175"/>
                  <a:gd name="connsiteX10" fmla="*/ 106504 w 138527"/>
                  <a:gd name="connsiteY10" fmla="*/ 25430 h 60175"/>
                  <a:gd name="connsiteX11" fmla="*/ 115568 w 138527"/>
                  <a:gd name="connsiteY11" fmla="*/ 27696 h 60175"/>
                  <a:gd name="connsiteX12" fmla="*/ 115568 w 138527"/>
                  <a:gd name="connsiteY12" fmla="*/ 34494 h 60175"/>
                  <a:gd name="connsiteX13" fmla="*/ 129164 w 138527"/>
                  <a:gd name="connsiteY13" fmla="*/ 39026 h 60175"/>
                  <a:gd name="connsiteX14" fmla="*/ 129164 w 138527"/>
                  <a:gd name="connsiteY14" fmla="*/ 48090 h 60175"/>
                  <a:gd name="connsiteX15" fmla="*/ 138228 w 138527"/>
                  <a:gd name="connsiteY15" fmla="*/ 57154 h 60175"/>
                  <a:gd name="connsiteX16" fmla="*/ 126898 w 138527"/>
                  <a:gd name="connsiteY16" fmla="*/ 57154 h 60175"/>
                  <a:gd name="connsiteX17" fmla="*/ 113302 w 138527"/>
                  <a:gd name="connsiteY17" fmla="*/ 52622 h 60175"/>
                  <a:gd name="connsiteX18" fmla="*/ 106504 w 138527"/>
                  <a:gd name="connsiteY18" fmla="*/ 52622 h 60175"/>
                  <a:gd name="connsiteX19" fmla="*/ 101972 w 138527"/>
                  <a:gd name="connsiteY19" fmla="*/ 57154 h 60175"/>
                  <a:gd name="connsiteX20" fmla="*/ 92907 w 138527"/>
                  <a:gd name="connsiteY20" fmla="*/ 57154 h 60175"/>
                  <a:gd name="connsiteX21" fmla="*/ 81577 w 138527"/>
                  <a:gd name="connsiteY21" fmla="*/ 59420 h 60175"/>
                  <a:gd name="connsiteX22" fmla="*/ 74779 w 138527"/>
                  <a:gd name="connsiteY22" fmla="*/ 57154 h 60175"/>
                  <a:gd name="connsiteX23" fmla="*/ 70247 w 138527"/>
                  <a:gd name="connsiteY23" fmla="*/ 57154 h 60175"/>
                  <a:gd name="connsiteX24" fmla="*/ 67981 w 138527"/>
                  <a:gd name="connsiteY24" fmla="*/ 54888 h 60175"/>
                  <a:gd name="connsiteX25" fmla="*/ 61183 w 138527"/>
                  <a:gd name="connsiteY25" fmla="*/ 50356 h 60175"/>
                  <a:gd name="connsiteX26" fmla="*/ 56651 w 138527"/>
                  <a:gd name="connsiteY26" fmla="*/ 50356 h 60175"/>
                  <a:gd name="connsiteX27" fmla="*/ 45321 w 138527"/>
                  <a:gd name="connsiteY27" fmla="*/ 50356 h 60175"/>
                  <a:gd name="connsiteX28" fmla="*/ 40788 w 138527"/>
                  <a:gd name="connsiteY28" fmla="*/ 52622 h 60175"/>
                  <a:gd name="connsiteX29" fmla="*/ 36256 w 138527"/>
                  <a:gd name="connsiteY29" fmla="*/ 50356 h 60175"/>
                  <a:gd name="connsiteX30" fmla="*/ 36256 w 138527"/>
                  <a:gd name="connsiteY30" fmla="*/ 48090 h 60175"/>
                  <a:gd name="connsiteX31" fmla="*/ 36256 w 138527"/>
                  <a:gd name="connsiteY31" fmla="*/ 36760 h 60175"/>
                  <a:gd name="connsiteX32" fmla="*/ 32004 w 138527"/>
                  <a:gd name="connsiteY32" fmla="*/ 24004 h 60175"/>
                  <a:gd name="connsiteX33" fmla="*/ 31583 w 138527"/>
                  <a:gd name="connsiteY33" fmla="*/ 23579 h 60175"/>
                  <a:gd name="connsiteX34" fmla="*/ 29558 w 138527"/>
                  <a:gd name="connsiteY34" fmla="*/ 21539 h 60175"/>
                  <a:gd name="connsiteX35" fmla="*/ 29085 w 138527"/>
                  <a:gd name="connsiteY35" fmla="*/ 21184 h 60175"/>
                  <a:gd name="connsiteX36" fmla="*/ 24815 w 138527"/>
                  <a:gd name="connsiteY36" fmla="*/ 19033 h 60175"/>
                  <a:gd name="connsiteX37" fmla="*/ 20303 w 138527"/>
                  <a:gd name="connsiteY37" fmla="*/ 16760 h 60175"/>
                  <a:gd name="connsiteX38" fmla="*/ 11280 w 138527"/>
                  <a:gd name="connsiteY38" fmla="*/ 12214 h 60175"/>
                  <a:gd name="connsiteX39" fmla="*/ 5549 w 138527"/>
                  <a:gd name="connsiteY39" fmla="*/ 8365 h 60175"/>
                  <a:gd name="connsiteX40" fmla="*/ 3739 w 138527"/>
                  <a:gd name="connsiteY40" fmla="*/ 7279 h 60175"/>
                  <a:gd name="connsiteX41" fmla="*/ 0 w 138527"/>
                  <a:gd name="connsiteY41" fmla="*/ 5395 h 60175"/>
                  <a:gd name="connsiteX42" fmla="*/ 0 w 138527"/>
                  <a:gd name="connsiteY42" fmla="*/ 5035 h 60175"/>
                  <a:gd name="connsiteX43" fmla="*/ 0 w 138527"/>
                  <a:gd name="connsiteY43" fmla="*/ 3122 h 60175"/>
                  <a:gd name="connsiteX44" fmla="*/ 2256 w 138527"/>
                  <a:gd name="connsiteY44" fmla="*/ 849 h 60175"/>
                  <a:gd name="connsiteX45" fmla="*/ 3163 w 138527"/>
                  <a:gd name="connsiteY45" fmla="*/ 849 h 60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38527" h="60175">
                    <a:moveTo>
                      <a:pt x="3611" y="255"/>
                    </a:moveTo>
                    <a:cubicBezTo>
                      <a:pt x="10197" y="-1338"/>
                      <a:pt x="23793" y="5035"/>
                      <a:pt x="27192" y="5035"/>
                    </a:cubicBezTo>
                    <a:cubicBezTo>
                      <a:pt x="31724" y="7301"/>
                      <a:pt x="36256" y="9567"/>
                      <a:pt x="40788" y="9567"/>
                    </a:cubicBezTo>
                    <a:cubicBezTo>
                      <a:pt x="45321" y="7301"/>
                      <a:pt x="47587" y="7301"/>
                      <a:pt x="49853" y="9567"/>
                    </a:cubicBezTo>
                    <a:cubicBezTo>
                      <a:pt x="52119" y="9567"/>
                      <a:pt x="54385" y="9567"/>
                      <a:pt x="56651" y="9567"/>
                    </a:cubicBezTo>
                    <a:cubicBezTo>
                      <a:pt x="63449" y="14099"/>
                      <a:pt x="67981" y="16365"/>
                      <a:pt x="67981" y="16365"/>
                    </a:cubicBezTo>
                    <a:cubicBezTo>
                      <a:pt x="70247" y="18631"/>
                      <a:pt x="72513" y="18631"/>
                      <a:pt x="74779" y="20897"/>
                    </a:cubicBezTo>
                    <a:cubicBezTo>
                      <a:pt x="77045" y="23163"/>
                      <a:pt x="74779" y="20897"/>
                      <a:pt x="77045" y="23163"/>
                    </a:cubicBezTo>
                    <a:cubicBezTo>
                      <a:pt x="83843" y="25430"/>
                      <a:pt x="92907" y="14099"/>
                      <a:pt x="95173" y="23163"/>
                    </a:cubicBezTo>
                    <a:cubicBezTo>
                      <a:pt x="97440" y="18631"/>
                      <a:pt x="101972" y="20897"/>
                      <a:pt x="104238" y="20897"/>
                    </a:cubicBezTo>
                    <a:cubicBezTo>
                      <a:pt x="104238" y="23163"/>
                      <a:pt x="106504" y="23163"/>
                      <a:pt x="106504" y="25430"/>
                    </a:cubicBezTo>
                    <a:cubicBezTo>
                      <a:pt x="108770" y="25430"/>
                      <a:pt x="113302" y="23163"/>
                      <a:pt x="115568" y="27696"/>
                    </a:cubicBezTo>
                    <a:cubicBezTo>
                      <a:pt x="115568" y="29962"/>
                      <a:pt x="113302" y="32228"/>
                      <a:pt x="115568" y="34494"/>
                    </a:cubicBezTo>
                    <a:cubicBezTo>
                      <a:pt x="120100" y="36760"/>
                      <a:pt x="124632" y="36760"/>
                      <a:pt x="129164" y="39026"/>
                    </a:cubicBezTo>
                    <a:cubicBezTo>
                      <a:pt x="133696" y="41292"/>
                      <a:pt x="124632" y="43558"/>
                      <a:pt x="129164" y="48090"/>
                    </a:cubicBezTo>
                    <a:cubicBezTo>
                      <a:pt x="129164" y="50356"/>
                      <a:pt x="140494" y="54888"/>
                      <a:pt x="138228" y="57154"/>
                    </a:cubicBezTo>
                    <a:cubicBezTo>
                      <a:pt x="138228" y="63952"/>
                      <a:pt x="129164" y="57154"/>
                      <a:pt x="126898" y="57154"/>
                    </a:cubicBezTo>
                    <a:cubicBezTo>
                      <a:pt x="122366" y="59420"/>
                      <a:pt x="117834" y="52622"/>
                      <a:pt x="113302" y="52622"/>
                    </a:cubicBezTo>
                    <a:cubicBezTo>
                      <a:pt x="111036" y="52622"/>
                      <a:pt x="108770" y="52622"/>
                      <a:pt x="106504" y="52622"/>
                    </a:cubicBezTo>
                    <a:cubicBezTo>
                      <a:pt x="106504" y="54888"/>
                      <a:pt x="101972" y="57154"/>
                      <a:pt x="101972" y="57154"/>
                    </a:cubicBezTo>
                    <a:cubicBezTo>
                      <a:pt x="99706" y="57154"/>
                      <a:pt x="95173" y="57154"/>
                      <a:pt x="92907" y="57154"/>
                    </a:cubicBezTo>
                    <a:cubicBezTo>
                      <a:pt x="88375" y="57154"/>
                      <a:pt x="86109" y="59420"/>
                      <a:pt x="81577" y="59420"/>
                    </a:cubicBezTo>
                    <a:cubicBezTo>
                      <a:pt x="79311" y="59420"/>
                      <a:pt x="77045" y="57154"/>
                      <a:pt x="74779" y="57154"/>
                    </a:cubicBezTo>
                    <a:cubicBezTo>
                      <a:pt x="72513" y="57154"/>
                      <a:pt x="67981" y="57154"/>
                      <a:pt x="70247" y="57154"/>
                    </a:cubicBezTo>
                    <a:cubicBezTo>
                      <a:pt x="70247" y="54888"/>
                      <a:pt x="70247" y="54888"/>
                      <a:pt x="67981" y="54888"/>
                    </a:cubicBezTo>
                    <a:cubicBezTo>
                      <a:pt x="67981" y="54888"/>
                      <a:pt x="63449" y="50356"/>
                      <a:pt x="61183" y="50356"/>
                    </a:cubicBezTo>
                    <a:cubicBezTo>
                      <a:pt x="63449" y="45824"/>
                      <a:pt x="56651" y="48090"/>
                      <a:pt x="56651" y="50356"/>
                    </a:cubicBezTo>
                    <a:cubicBezTo>
                      <a:pt x="54385" y="52622"/>
                      <a:pt x="47587" y="50356"/>
                      <a:pt x="45321" y="50356"/>
                    </a:cubicBezTo>
                    <a:cubicBezTo>
                      <a:pt x="43054" y="50356"/>
                      <a:pt x="43054" y="52622"/>
                      <a:pt x="40788" y="52622"/>
                    </a:cubicBezTo>
                    <a:cubicBezTo>
                      <a:pt x="38522" y="50356"/>
                      <a:pt x="36256" y="50356"/>
                      <a:pt x="36256" y="50356"/>
                    </a:cubicBezTo>
                    <a:cubicBezTo>
                      <a:pt x="36256" y="50356"/>
                      <a:pt x="36256" y="48090"/>
                      <a:pt x="36256" y="48090"/>
                    </a:cubicBezTo>
                    <a:cubicBezTo>
                      <a:pt x="38522" y="43558"/>
                      <a:pt x="40788" y="41292"/>
                      <a:pt x="36256" y="36760"/>
                    </a:cubicBezTo>
                    <a:lnTo>
                      <a:pt x="32004" y="24004"/>
                    </a:lnTo>
                    <a:lnTo>
                      <a:pt x="31583" y="23579"/>
                    </a:lnTo>
                    <a:lnTo>
                      <a:pt x="29558" y="21539"/>
                    </a:lnTo>
                    <a:lnTo>
                      <a:pt x="29085" y="21184"/>
                    </a:lnTo>
                    <a:lnTo>
                      <a:pt x="24815" y="19033"/>
                    </a:lnTo>
                    <a:cubicBezTo>
                      <a:pt x="22559" y="19033"/>
                      <a:pt x="22559" y="16760"/>
                      <a:pt x="20303" y="16760"/>
                    </a:cubicBezTo>
                    <a:cubicBezTo>
                      <a:pt x="18047" y="14487"/>
                      <a:pt x="15792" y="12214"/>
                      <a:pt x="11280" y="12214"/>
                    </a:cubicBezTo>
                    <a:lnTo>
                      <a:pt x="5549" y="8365"/>
                    </a:lnTo>
                    <a:lnTo>
                      <a:pt x="3739" y="7279"/>
                    </a:lnTo>
                    <a:lnTo>
                      <a:pt x="0" y="5395"/>
                    </a:lnTo>
                    <a:lnTo>
                      <a:pt x="0" y="5035"/>
                    </a:lnTo>
                    <a:lnTo>
                      <a:pt x="0" y="3122"/>
                    </a:lnTo>
                    <a:cubicBezTo>
                      <a:pt x="0" y="3122"/>
                      <a:pt x="2256" y="849"/>
                      <a:pt x="2256" y="849"/>
                    </a:cubicBezTo>
                    <a:lnTo>
                      <a:pt x="3163" y="849"/>
                    </a:lnTo>
                    <a:close/>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34" name="Group 193">
              <a:extLst>
                <a:ext uri="{FF2B5EF4-FFF2-40B4-BE49-F238E27FC236}">
                  <a16:creationId xmlns:a16="http://schemas.microsoft.com/office/drawing/2014/main" id="{A522F2D3-90FB-CD80-E866-D57A1CA211E7}"/>
                </a:ext>
              </a:extLst>
            </p:cNvPr>
            <p:cNvGrpSpPr/>
            <p:nvPr/>
          </p:nvGrpSpPr>
          <p:grpSpPr>
            <a:xfrm>
              <a:off x="1910944" y="908720"/>
              <a:ext cx="559114" cy="299635"/>
              <a:chOff x="2843077" y="1405925"/>
              <a:chExt cx="878456" cy="470775"/>
            </a:xfrm>
            <a:solidFill>
              <a:schemeClr val="bg1">
                <a:lumMod val="95000"/>
              </a:schemeClr>
            </a:solidFill>
          </p:grpSpPr>
          <p:sp>
            <p:nvSpPr>
              <p:cNvPr id="35" name="Iceland">
                <a:extLst>
                  <a:ext uri="{FF2B5EF4-FFF2-40B4-BE49-F238E27FC236}">
                    <a16:creationId xmlns:a16="http://schemas.microsoft.com/office/drawing/2014/main" id="{E550E3BF-A351-D329-9D99-7B787F0E8A2E}"/>
                  </a:ext>
                </a:extLst>
              </p:cNvPr>
              <p:cNvSpPr>
                <a:spLocks/>
              </p:cNvSpPr>
              <p:nvPr/>
            </p:nvSpPr>
            <p:spPr bwMode="auto">
              <a:xfrm>
                <a:off x="3441252" y="1727460"/>
                <a:ext cx="180788" cy="67946"/>
              </a:xfrm>
              <a:custGeom>
                <a:avLst/>
                <a:gdLst/>
                <a:ahLst/>
                <a:cxnLst>
                  <a:cxn ang="0">
                    <a:pos x="8" y="10"/>
                  </a:cxn>
                  <a:cxn ang="0">
                    <a:pos x="12" y="9"/>
                  </a:cxn>
                  <a:cxn ang="0">
                    <a:pos x="17" y="9"/>
                  </a:cxn>
                  <a:cxn ang="0">
                    <a:pos x="17" y="9"/>
                  </a:cxn>
                  <a:cxn ang="0">
                    <a:pos x="13" y="13"/>
                  </a:cxn>
                  <a:cxn ang="0">
                    <a:pos x="18" y="13"/>
                  </a:cxn>
                  <a:cxn ang="0">
                    <a:pos x="6" y="15"/>
                  </a:cxn>
                  <a:cxn ang="0">
                    <a:pos x="4" y="16"/>
                  </a:cxn>
                  <a:cxn ang="0">
                    <a:pos x="11" y="16"/>
                  </a:cxn>
                  <a:cxn ang="0">
                    <a:pos x="13" y="18"/>
                  </a:cxn>
                  <a:cxn ang="0">
                    <a:pos x="19" y="17"/>
                  </a:cxn>
                  <a:cxn ang="0">
                    <a:pos x="16" y="20"/>
                  </a:cxn>
                  <a:cxn ang="0">
                    <a:pos x="19" y="20"/>
                  </a:cxn>
                  <a:cxn ang="0">
                    <a:pos x="14" y="22"/>
                  </a:cxn>
                  <a:cxn ang="0">
                    <a:pos x="10" y="24"/>
                  </a:cxn>
                  <a:cxn ang="0">
                    <a:pos x="8" y="25"/>
                  </a:cxn>
                  <a:cxn ang="0">
                    <a:pos x="18" y="25"/>
                  </a:cxn>
                  <a:cxn ang="0">
                    <a:pos x="20" y="25"/>
                  </a:cxn>
                  <a:cxn ang="0">
                    <a:pos x="22" y="26"/>
                  </a:cxn>
                  <a:cxn ang="0">
                    <a:pos x="26" y="26"/>
                  </a:cxn>
                  <a:cxn ang="0">
                    <a:pos x="29" y="28"/>
                  </a:cxn>
                  <a:cxn ang="0">
                    <a:pos x="40" y="29"/>
                  </a:cxn>
                  <a:cxn ang="0">
                    <a:pos x="44" y="27"/>
                  </a:cxn>
                  <a:cxn ang="0">
                    <a:pos x="50" y="24"/>
                  </a:cxn>
                  <a:cxn ang="0">
                    <a:pos x="62" y="20"/>
                  </a:cxn>
                  <a:cxn ang="0">
                    <a:pos x="69" y="18"/>
                  </a:cxn>
                  <a:cxn ang="0">
                    <a:pos x="75" y="16"/>
                  </a:cxn>
                  <a:cxn ang="0">
                    <a:pos x="76" y="15"/>
                  </a:cxn>
                  <a:cxn ang="0">
                    <a:pos x="78" y="13"/>
                  </a:cxn>
                  <a:cxn ang="0">
                    <a:pos x="78" y="12"/>
                  </a:cxn>
                  <a:cxn ang="0">
                    <a:pos x="77" y="9"/>
                  </a:cxn>
                  <a:cxn ang="0">
                    <a:pos x="71" y="9"/>
                  </a:cxn>
                  <a:cxn ang="0">
                    <a:pos x="69" y="7"/>
                  </a:cxn>
                  <a:cxn ang="0">
                    <a:pos x="68" y="3"/>
                  </a:cxn>
                  <a:cxn ang="0">
                    <a:pos x="72" y="1"/>
                  </a:cxn>
                  <a:cxn ang="0">
                    <a:pos x="64" y="1"/>
                  </a:cxn>
                  <a:cxn ang="0">
                    <a:pos x="59" y="1"/>
                  </a:cxn>
                  <a:cxn ang="0">
                    <a:pos x="54" y="3"/>
                  </a:cxn>
                  <a:cxn ang="0">
                    <a:pos x="45" y="3"/>
                  </a:cxn>
                  <a:cxn ang="0">
                    <a:pos x="46" y="8"/>
                  </a:cxn>
                  <a:cxn ang="0">
                    <a:pos x="40" y="4"/>
                  </a:cxn>
                  <a:cxn ang="0">
                    <a:pos x="36" y="7"/>
                  </a:cxn>
                  <a:cxn ang="0">
                    <a:pos x="30" y="6"/>
                  </a:cxn>
                  <a:cxn ang="0">
                    <a:pos x="27" y="8"/>
                  </a:cxn>
                  <a:cxn ang="0">
                    <a:pos x="23" y="13"/>
                  </a:cxn>
                  <a:cxn ang="0">
                    <a:pos x="20" y="7"/>
                  </a:cxn>
                  <a:cxn ang="0">
                    <a:pos x="22" y="4"/>
                  </a:cxn>
                  <a:cxn ang="0">
                    <a:pos x="18" y="1"/>
                  </a:cxn>
                  <a:cxn ang="0">
                    <a:pos x="12" y="2"/>
                  </a:cxn>
                  <a:cxn ang="0">
                    <a:pos x="13" y="3"/>
                  </a:cxn>
                  <a:cxn ang="0">
                    <a:pos x="14" y="6"/>
                  </a:cxn>
                  <a:cxn ang="0">
                    <a:pos x="11" y="5"/>
                  </a:cxn>
                  <a:cxn ang="0">
                    <a:pos x="9" y="3"/>
                  </a:cxn>
                  <a:cxn ang="0">
                    <a:pos x="9" y="5"/>
                  </a:cxn>
                  <a:cxn ang="0">
                    <a:pos x="9" y="6"/>
                  </a:cxn>
                  <a:cxn ang="0">
                    <a:pos x="9" y="7"/>
                  </a:cxn>
                  <a:cxn ang="0">
                    <a:pos x="9" y="8"/>
                  </a:cxn>
                  <a:cxn ang="0">
                    <a:pos x="4" y="8"/>
                  </a:cxn>
                  <a:cxn ang="0">
                    <a:pos x="0" y="9"/>
                  </a:cxn>
                </a:cxnLst>
                <a:rect l="0" t="0" r="r" b="b"/>
                <a:pathLst>
                  <a:path w="78" h="29">
                    <a:moveTo>
                      <a:pt x="4" y="10"/>
                    </a:moveTo>
                    <a:cubicBezTo>
                      <a:pt x="5" y="10"/>
                      <a:pt x="7" y="10"/>
                      <a:pt x="8" y="10"/>
                    </a:cubicBezTo>
                    <a:cubicBezTo>
                      <a:pt x="9" y="9"/>
                      <a:pt x="9" y="8"/>
                      <a:pt x="10" y="9"/>
                    </a:cubicBezTo>
                    <a:cubicBezTo>
                      <a:pt x="11" y="10"/>
                      <a:pt x="12" y="7"/>
                      <a:pt x="12" y="9"/>
                    </a:cubicBezTo>
                    <a:cubicBezTo>
                      <a:pt x="13" y="9"/>
                      <a:pt x="13" y="9"/>
                      <a:pt x="14" y="8"/>
                    </a:cubicBezTo>
                    <a:cubicBezTo>
                      <a:pt x="14" y="10"/>
                      <a:pt x="16" y="9"/>
                      <a:pt x="17" y="9"/>
                    </a:cubicBezTo>
                    <a:cubicBezTo>
                      <a:pt x="16" y="9"/>
                      <a:pt x="16" y="9"/>
                      <a:pt x="15" y="10"/>
                    </a:cubicBezTo>
                    <a:cubicBezTo>
                      <a:pt x="16" y="10"/>
                      <a:pt x="16" y="10"/>
                      <a:pt x="17" y="9"/>
                    </a:cubicBezTo>
                    <a:cubicBezTo>
                      <a:pt x="17" y="9"/>
                      <a:pt x="19" y="10"/>
                      <a:pt x="20" y="10"/>
                    </a:cubicBezTo>
                    <a:cubicBezTo>
                      <a:pt x="17" y="10"/>
                      <a:pt x="15" y="11"/>
                      <a:pt x="13" y="13"/>
                    </a:cubicBezTo>
                    <a:cubicBezTo>
                      <a:pt x="14" y="13"/>
                      <a:pt x="15" y="13"/>
                      <a:pt x="16" y="13"/>
                    </a:cubicBezTo>
                    <a:cubicBezTo>
                      <a:pt x="16" y="13"/>
                      <a:pt x="17" y="13"/>
                      <a:pt x="18" y="13"/>
                    </a:cubicBezTo>
                    <a:cubicBezTo>
                      <a:pt x="16" y="16"/>
                      <a:pt x="10" y="12"/>
                      <a:pt x="8" y="15"/>
                    </a:cubicBezTo>
                    <a:cubicBezTo>
                      <a:pt x="8" y="13"/>
                      <a:pt x="7" y="14"/>
                      <a:pt x="6" y="15"/>
                    </a:cubicBezTo>
                    <a:cubicBezTo>
                      <a:pt x="5" y="15"/>
                      <a:pt x="4" y="15"/>
                      <a:pt x="3" y="15"/>
                    </a:cubicBezTo>
                    <a:cubicBezTo>
                      <a:pt x="1" y="15"/>
                      <a:pt x="2" y="17"/>
                      <a:pt x="4" y="16"/>
                    </a:cubicBezTo>
                    <a:cubicBezTo>
                      <a:pt x="5" y="16"/>
                      <a:pt x="6" y="16"/>
                      <a:pt x="8" y="16"/>
                    </a:cubicBezTo>
                    <a:cubicBezTo>
                      <a:pt x="9" y="16"/>
                      <a:pt x="10" y="16"/>
                      <a:pt x="11" y="16"/>
                    </a:cubicBezTo>
                    <a:cubicBezTo>
                      <a:pt x="12" y="16"/>
                      <a:pt x="13" y="17"/>
                      <a:pt x="14" y="17"/>
                    </a:cubicBezTo>
                    <a:cubicBezTo>
                      <a:pt x="14" y="17"/>
                      <a:pt x="13" y="17"/>
                      <a:pt x="13" y="18"/>
                    </a:cubicBezTo>
                    <a:cubicBezTo>
                      <a:pt x="13" y="18"/>
                      <a:pt x="14" y="19"/>
                      <a:pt x="14" y="19"/>
                    </a:cubicBezTo>
                    <a:cubicBezTo>
                      <a:pt x="15" y="18"/>
                      <a:pt x="17" y="17"/>
                      <a:pt x="19" y="17"/>
                    </a:cubicBezTo>
                    <a:cubicBezTo>
                      <a:pt x="18" y="18"/>
                      <a:pt x="17" y="18"/>
                      <a:pt x="17" y="18"/>
                    </a:cubicBezTo>
                    <a:cubicBezTo>
                      <a:pt x="16" y="19"/>
                      <a:pt x="14" y="20"/>
                      <a:pt x="16" y="20"/>
                    </a:cubicBezTo>
                    <a:cubicBezTo>
                      <a:pt x="15" y="20"/>
                      <a:pt x="15" y="20"/>
                      <a:pt x="14" y="21"/>
                    </a:cubicBezTo>
                    <a:cubicBezTo>
                      <a:pt x="16" y="21"/>
                      <a:pt x="17" y="19"/>
                      <a:pt x="19" y="20"/>
                    </a:cubicBezTo>
                    <a:cubicBezTo>
                      <a:pt x="18" y="20"/>
                      <a:pt x="14" y="21"/>
                      <a:pt x="16" y="22"/>
                    </a:cubicBezTo>
                    <a:cubicBezTo>
                      <a:pt x="15" y="22"/>
                      <a:pt x="15" y="22"/>
                      <a:pt x="14" y="22"/>
                    </a:cubicBezTo>
                    <a:cubicBezTo>
                      <a:pt x="14" y="24"/>
                      <a:pt x="13" y="23"/>
                      <a:pt x="12" y="23"/>
                    </a:cubicBezTo>
                    <a:cubicBezTo>
                      <a:pt x="11" y="24"/>
                      <a:pt x="11" y="24"/>
                      <a:pt x="10" y="24"/>
                    </a:cubicBezTo>
                    <a:cubicBezTo>
                      <a:pt x="9" y="23"/>
                      <a:pt x="9" y="23"/>
                      <a:pt x="9" y="23"/>
                    </a:cubicBezTo>
                    <a:cubicBezTo>
                      <a:pt x="8" y="23"/>
                      <a:pt x="8" y="25"/>
                      <a:pt x="8" y="25"/>
                    </a:cubicBezTo>
                    <a:cubicBezTo>
                      <a:pt x="10" y="25"/>
                      <a:pt x="13" y="25"/>
                      <a:pt x="15" y="25"/>
                    </a:cubicBezTo>
                    <a:cubicBezTo>
                      <a:pt x="16" y="25"/>
                      <a:pt x="17" y="25"/>
                      <a:pt x="18" y="25"/>
                    </a:cubicBezTo>
                    <a:cubicBezTo>
                      <a:pt x="19" y="25"/>
                      <a:pt x="19" y="24"/>
                      <a:pt x="21" y="24"/>
                    </a:cubicBezTo>
                    <a:cubicBezTo>
                      <a:pt x="20" y="25"/>
                      <a:pt x="20" y="25"/>
                      <a:pt x="20" y="25"/>
                    </a:cubicBezTo>
                    <a:cubicBezTo>
                      <a:pt x="21" y="25"/>
                      <a:pt x="22" y="26"/>
                      <a:pt x="22" y="25"/>
                    </a:cubicBezTo>
                    <a:cubicBezTo>
                      <a:pt x="23" y="25"/>
                      <a:pt x="24" y="26"/>
                      <a:pt x="22" y="26"/>
                    </a:cubicBezTo>
                    <a:cubicBezTo>
                      <a:pt x="23" y="27"/>
                      <a:pt x="24" y="26"/>
                      <a:pt x="25" y="25"/>
                    </a:cubicBezTo>
                    <a:cubicBezTo>
                      <a:pt x="25" y="25"/>
                      <a:pt x="26" y="26"/>
                      <a:pt x="26" y="26"/>
                    </a:cubicBezTo>
                    <a:cubicBezTo>
                      <a:pt x="25" y="26"/>
                      <a:pt x="25" y="26"/>
                      <a:pt x="24" y="26"/>
                    </a:cubicBezTo>
                    <a:cubicBezTo>
                      <a:pt x="25" y="28"/>
                      <a:pt x="27" y="28"/>
                      <a:pt x="29" y="28"/>
                    </a:cubicBezTo>
                    <a:cubicBezTo>
                      <a:pt x="31" y="28"/>
                      <a:pt x="33" y="29"/>
                      <a:pt x="35" y="29"/>
                    </a:cubicBezTo>
                    <a:cubicBezTo>
                      <a:pt x="37" y="29"/>
                      <a:pt x="39" y="29"/>
                      <a:pt x="40" y="29"/>
                    </a:cubicBezTo>
                    <a:cubicBezTo>
                      <a:pt x="41" y="29"/>
                      <a:pt x="42" y="29"/>
                      <a:pt x="42" y="28"/>
                    </a:cubicBezTo>
                    <a:cubicBezTo>
                      <a:pt x="44" y="27"/>
                      <a:pt x="42" y="27"/>
                      <a:pt x="44" y="27"/>
                    </a:cubicBezTo>
                    <a:cubicBezTo>
                      <a:pt x="41" y="26"/>
                      <a:pt x="46" y="26"/>
                      <a:pt x="46" y="26"/>
                    </a:cubicBezTo>
                    <a:cubicBezTo>
                      <a:pt x="48" y="26"/>
                      <a:pt x="50" y="26"/>
                      <a:pt x="50" y="24"/>
                    </a:cubicBezTo>
                    <a:cubicBezTo>
                      <a:pt x="50" y="27"/>
                      <a:pt x="54" y="24"/>
                      <a:pt x="55" y="24"/>
                    </a:cubicBezTo>
                    <a:cubicBezTo>
                      <a:pt x="58" y="23"/>
                      <a:pt x="60" y="22"/>
                      <a:pt x="62" y="20"/>
                    </a:cubicBezTo>
                    <a:cubicBezTo>
                      <a:pt x="63" y="20"/>
                      <a:pt x="65" y="21"/>
                      <a:pt x="66" y="21"/>
                    </a:cubicBezTo>
                    <a:cubicBezTo>
                      <a:pt x="67" y="21"/>
                      <a:pt x="71" y="18"/>
                      <a:pt x="69" y="18"/>
                    </a:cubicBezTo>
                    <a:cubicBezTo>
                      <a:pt x="70" y="17"/>
                      <a:pt x="72" y="18"/>
                      <a:pt x="70" y="16"/>
                    </a:cubicBezTo>
                    <a:cubicBezTo>
                      <a:pt x="72" y="18"/>
                      <a:pt x="73" y="16"/>
                      <a:pt x="75" y="16"/>
                    </a:cubicBezTo>
                    <a:cubicBezTo>
                      <a:pt x="73" y="15"/>
                      <a:pt x="76" y="15"/>
                      <a:pt x="74" y="15"/>
                    </a:cubicBezTo>
                    <a:cubicBezTo>
                      <a:pt x="74" y="15"/>
                      <a:pt x="75" y="15"/>
                      <a:pt x="76" y="15"/>
                    </a:cubicBezTo>
                    <a:cubicBezTo>
                      <a:pt x="75" y="14"/>
                      <a:pt x="74" y="14"/>
                      <a:pt x="73" y="14"/>
                    </a:cubicBezTo>
                    <a:cubicBezTo>
                      <a:pt x="75" y="13"/>
                      <a:pt x="76" y="15"/>
                      <a:pt x="78" y="13"/>
                    </a:cubicBezTo>
                    <a:cubicBezTo>
                      <a:pt x="78" y="12"/>
                      <a:pt x="75" y="12"/>
                      <a:pt x="75" y="12"/>
                    </a:cubicBezTo>
                    <a:cubicBezTo>
                      <a:pt x="76" y="12"/>
                      <a:pt x="77" y="12"/>
                      <a:pt x="78" y="12"/>
                    </a:cubicBezTo>
                    <a:cubicBezTo>
                      <a:pt x="77" y="11"/>
                      <a:pt x="76" y="11"/>
                      <a:pt x="75" y="11"/>
                    </a:cubicBezTo>
                    <a:cubicBezTo>
                      <a:pt x="76" y="11"/>
                      <a:pt x="78" y="10"/>
                      <a:pt x="77" y="9"/>
                    </a:cubicBezTo>
                    <a:cubicBezTo>
                      <a:pt x="76" y="9"/>
                      <a:pt x="75" y="8"/>
                      <a:pt x="74" y="8"/>
                    </a:cubicBezTo>
                    <a:cubicBezTo>
                      <a:pt x="73" y="8"/>
                      <a:pt x="72" y="9"/>
                      <a:pt x="71" y="9"/>
                    </a:cubicBezTo>
                    <a:cubicBezTo>
                      <a:pt x="72" y="9"/>
                      <a:pt x="73" y="8"/>
                      <a:pt x="73" y="7"/>
                    </a:cubicBezTo>
                    <a:cubicBezTo>
                      <a:pt x="72" y="7"/>
                      <a:pt x="70" y="7"/>
                      <a:pt x="69" y="7"/>
                    </a:cubicBezTo>
                    <a:cubicBezTo>
                      <a:pt x="69" y="6"/>
                      <a:pt x="71" y="6"/>
                      <a:pt x="71" y="5"/>
                    </a:cubicBezTo>
                    <a:cubicBezTo>
                      <a:pt x="72" y="4"/>
                      <a:pt x="68" y="4"/>
                      <a:pt x="68" y="3"/>
                    </a:cubicBezTo>
                    <a:cubicBezTo>
                      <a:pt x="69" y="3"/>
                      <a:pt x="69" y="3"/>
                      <a:pt x="69" y="2"/>
                    </a:cubicBezTo>
                    <a:cubicBezTo>
                      <a:pt x="69" y="1"/>
                      <a:pt x="71" y="2"/>
                      <a:pt x="72" y="1"/>
                    </a:cubicBezTo>
                    <a:cubicBezTo>
                      <a:pt x="70" y="2"/>
                      <a:pt x="67" y="1"/>
                      <a:pt x="66" y="3"/>
                    </a:cubicBezTo>
                    <a:cubicBezTo>
                      <a:pt x="66" y="3"/>
                      <a:pt x="64" y="2"/>
                      <a:pt x="64" y="1"/>
                    </a:cubicBezTo>
                    <a:cubicBezTo>
                      <a:pt x="65" y="0"/>
                      <a:pt x="61" y="0"/>
                      <a:pt x="61" y="0"/>
                    </a:cubicBezTo>
                    <a:cubicBezTo>
                      <a:pt x="60" y="0"/>
                      <a:pt x="59" y="0"/>
                      <a:pt x="59" y="1"/>
                    </a:cubicBezTo>
                    <a:cubicBezTo>
                      <a:pt x="59" y="3"/>
                      <a:pt x="58" y="3"/>
                      <a:pt x="57" y="4"/>
                    </a:cubicBezTo>
                    <a:cubicBezTo>
                      <a:pt x="57" y="4"/>
                      <a:pt x="54" y="3"/>
                      <a:pt x="54" y="3"/>
                    </a:cubicBezTo>
                    <a:cubicBezTo>
                      <a:pt x="52" y="3"/>
                      <a:pt x="51" y="5"/>
                      <a:pt x="50" y="6"/>
                    </a:cubicBezTo>
                    <a:cubicBezTo>
                      <a:pt x="50" y="4"/>
                      <a:pt x="46" y="2"/>
                      <a:pt x="45" y="3"/>
                    </a:cubicBezTo>
                    <a:cubicBezTo>
                      <a:pt x="45" y="4"/>
                      <a:pt x="45" y="5"/>
                      <a:pt x="46" y="5"/>
                    </a:cubicBezTo>
                    <a:cubicBezTo>
                      <a:pt x="47" y="6"/>
                      <a:pt x="46" y="7"/>
                      <a:pt x="46" y="8"/>
                    </a:cubicBezTo>
                    <a:cubicBezTo>
                      <a:pt x="45" y="6"/>
                      <a:pt x="44" y="2"/>
                      <a:pt x="41" y="3"/>
                    </a:cubicBezTo>
                    <a:cubicBezTo>
                      <a:pt x="40" y="3"/>
                      <a:pt x="40" y="4"/>
                      <a:pt x="40" y="4"/>
                    </a:cubicBezTo>
                    <a:cubicBezTo>
                      <a:pt x="39" y="4"/>
                      <a:pt x="38" y="4"/>
                      <a:pt x="37" y="4"/>
                    </a:cubicBezTo>
                    <a:cubicBezTo>
                      <a:pt x="36" y="5"/>
                      <a:pt x="37" y="6"/>
                      <a:pt x="36" y="7"/>
                    </a:cubicBezTo>
                    <a:cubicBezTo>
                      <a:pt x="35" y="8"/>
                      <a:pt x="33" y="4"/>
                      <a:pt x="32" y="4"/>
                    </a:cubicBezTo>
                    <a:cubicBezTo>
                      <a:pt x="31" y="3"/>
                      <a:pt x="30" y="5"/>
                      <a:pt x="30" y="6"/>
                    </a:cubicBezTo>
                    <a:cubicBezTo>
                      <a:pt x="31" y="7"/>
                      <a:pt x="30" y="10"/>
                      <a:pt x="29" y="9"/>
                    </a:cubicBezTo>
                    <a:cubicBezTo>
                      <a:pt x="28" y="11"/>
                      <a:pt x="28" y="8"/>
                      <a:pt x="27" y="8"/>
                    </a:cubicBezTo>
                    <a:cubicBezTo>
                      <a:pt x="25" y="8"/>
                      <a:pt x="25" y="12"/>
                      <a:pt x="24" y="10"/>
                    </a:cubicBezTo>
                    <a:cubicBezTo>
                      <a:pt x="24" y="11"/>
                      <a:pt x="23" y="12"/>
                      <a:pt x="23" y="13"/>
                    </a:cubicBezTo>
                    <a:cubicBezTo>
                      <a:pt x="23" y="11"/>
                      <a:pt x="23" y="9"/>
                      <a:pt x="21" y="10"/>
                    </a:cubicBezTo>
                    <a:cubicBezTo>
                      <a:pt x="24" y="9"/>
                      <a:pt x="20" y="8"/>
                      <a:pt x="20" y="7"/>
                    </a:cubicBezTo>
                    <a:cubicBezTo>
                      <a:pt x="22" y="10"/>
                      <a:pt x="24" y="5"/>
                      <a:pt x="22" y="5"/>
                    </a:cubicBezTo>
                    <a:cubicBezTo>
                      <a:pt x="24" y="4"/>
                      <a:pt x="22" y="4"/>
                      <a:pt x="22" y="4"/>
                    </a:cubicBezTo>
                    <a:cubicBezTo>
                      <a:pt x="21" y="4"/>
                      <a:pt x="21" y="3"/>
                      <a:pt x="20" y="2"/>
                    </a:cubicBezTo>
                    <a:cubicBezTo>
                      <a:pt x="19" y="2"/>
                      <a:pt x="18" y="2"/>
                      <a:pt x="18" y="1"/>
                    </a:cubicBezTo>
                    <a:cubicBezTo>
                      <a:pt x="17" y="1"/>
                      <a:pt x="16" y="0"/>
                      <a:pt x="16" y="0"/>
                    </a:cubicBezTo>
                    <a:cubicBezTo>
                      <a:pt x="15" y="0"/>
                      <a:pt x="11" y="1"/>
                      <a:pt x="12" y="2"/>
                    </a:cubicBezTo>
                    <a:cubicBezTo>
                      <a:pt x="13" y="2"/>
                      <a:pt x="15" y="2"/>
                      <a:pt x="17" y="2"/>
                    </a:cubicBezTo>
                    <a:cubicBezTo>
                      <a:pt x="15" y="3"/>
                      <a:pt x="14" y="2"/>
                      <a:pt x="13" y="3"/>
                    </a:cubicBezTo>
                    <a:cubicBezTo>
                      <a:pt x="14" y="4"/>
                      <a:pt x="15" y="4"/>
                      <a:pt x="16" y="5"/>
                    </a:cubicBezTo>
                    <a:cubicBezTo>
                      <a:pt x="16" y="6"/>
                      <a:pt x="14" y="6"/>
                      <a:pt x="14" y="6"/>
                    </a:cubicBezTo>
                    <a:cubicBezTo>
                      <a:pt x="15" y="4"/>
                      <a:pt x="13" y="5"/>
                      <a:pt x="12" y="5"/>
                    </a:cubicBezTo>
                    <a:cubicBezTo>
                      <a:pt x="13" y="4"/>
                      <a:pt x="12" y="4"/>
                      <a:pt x="11" y="5"/>
                    </a:cubicBezTo>
                    <a:cubicBezTo>
                      <a:pt x="12" y="4"/>
                      <a:pt x="12" y="4"/>
                      <a:pt x="12" y="4"/>
                    </a:cubicBezTo>
                    <a:cubicBezTo>
                      <a:pt x="11" y="3"/>
                      <a:pt x="10" y="3"/>
                      <a:pt x="9" y="3"/>
                    </a:cubicBezTo>
                    <a:cubicBezTo>
                      <a:pt x="9" y="3"/>
                      <a:pt x="7" y="3"/>
                      <a:pt x="9" y="4"/>
                    </a:cubicBezTo>
                    <a:cubicBezTo>
                      <a:pt x="8" y="4"/>
                      <a:pt x="8" y="4"/>
                      <a:pt x="9" y="5"/>
                    </a:cubicBezTo>
                    <a:cubicBezTo>
                      <a:pt x="8" y="4"/>
                      <a:pt x="7" y="4"/>
                      <a:pt x="6" y="4"/>
                    </a:cubicBezTo>
                    <a:cubicBezTo>
                      <a:pt x="6" y="6"/>
                      <a:pt x="8" y="6"/>
                      <a:pt x="9" y="6"/>
                    </a:cubicBezTo>
                    <a:cubicBezTo>
                      <a:pt x="8" y="6"/>
                      <a:pt x="6" y="5"/>
                      <a:pt x="5" y="6"/>
                    </a:cubicBezTo>
                    <a:cubicBezTo>
                      <a:pt x="6" y="7"/>
                      <a:pt x="8" y="7"/>
                      <a:pt x="9" y="7"/>
                    </a:cubicBezTo>
                    <a:cubicBezTo>
                      <a:pt x="8" y="7"/>
                      <a:pt x="8" y="7"/>
                      <a:pt x="7" y="7"/>
                    </a:cubicBezTo>
                    <a:cubicBezTo>
                      <a:pt x="8" y="8"/>
                      <a:pt x="8" y="8"/>
                      <a:pt x="9" y="8"/>
                    </a:cubicBezTo>
                    <a:cubicBezTo>
                      <a:pt x="7" y="9"/>
                      <a:pt x="5" y="6"/>
                      <a:pt x="3" y="7"/>
                    </a:cubicBezTo>
                    <a:cubicBezTo>
                      <a:pt x="3" y="8"/>
                      <a:pt x="4" y="8"/>
                      <a:pt x="4" y="8"/>
                    </a:cubicBezTo>
                    <a:cubicBezTo>
                      <a:pt x="3" y="8"/>
                      <a:pt x="3" y="9"/>
                      <a:pt x="4" y="9"/>
                    </a:cubicBezTo>
                    <a:cubicBezTo>
                      <a:pt x="3" y="9"/>
                      <a:pt x="1" y="8"/>
                      <a:pt x="0" y="9"/>
                    </a:cubicBezTo>
                    <a:cubicBezTo>
                      <a:pt x="1" y="9"/>
                      <a:pt x="3" y="9"/>
                      <a:pt x="4" y="10"/>
                    </a:cubicBezTo>
                  </a:path>
                </a:pathLst>
              </a:custGeom>
              <a:grpFill/>
              <a:ln w="3175">
                <a:solidFill>
                  <a:schemeClr val="bg1">
                    <a:lumMod val="95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36" name="Greenland">
                <a:extLst>
                  <a:ext uri="{FF2B5EF4-FFF2-40B4-BE49-F238E27FC236}">
                    <a16:creationId xmlns:a16="http://schemas.microsoft.com/office/drawing/2014/main" id="{234A8D80-C83A-DA1B-20AB-F923498D1765}"/>
                  </a:ext>
                </a:extLst>
              </p:cNvPr>
              <p:cNvSpPr>
                <a:spLocks/>
              </p:cNvSpPr>
              <p:nvPr/>
            </p:nvSpPr>
            <p:spPr bwMode="auto">
              <a:xfrm>
                <a:off x="2843077" y="1405925"/>
                <a:ext cx="878456" cy="470775"/>
              </a:xfrm>
              <a:custGeom>
                <a:avLst/>
                <a:gdLst>
                  <a:gd name="connsiteX0" fmla="*/ 223838 w 862013"/>
                  <a:gd name="connsiteY0" fmla="*/ 459582 h 461963"/>
                  <a:gd name="connsiteX1" fmla="*/ 219075 w 862013"/>
                  <a:gd name="connsiteY1" fmla="*/ 461963 h 461963"/>
                  <a:gd name="connsiteX2" fmla="*/ 219075 w 862013"/>
                  <a:gd name="connsiteY2" fmla="*/ 460772 h 461963"/>
                  <a:gd name="connsiteX3" fmla="*/ 219075 w 862013"/>
                  <a:gd name="connsiteY3" fmla="*/ 459582 h 461963"/>
                  <a:gd name="connsiteX4" fmla="*/ 219075 w 862013"/>
                  <a:gd name="connsiteY4" fmla="*/ 460772 h 461963"/>
                  <a:gd name="connsiteX5" fmla="*/ 214313 w 862013"/>
                  <a:gd name="connsiteY5" fmla="*/ 461963 h 461963"/>
                  <a:gd name="connsiteX6" fmla="*/ 219075 w 862013"/>
                  <a:gd name="connsiteY6" fmla="*/ 459582 h 461963"/>
                  <a:gd name="connsiteX7" fmla="*/ 214313 w 862013"/>
                  <a:gd name="connsiteY7" fmla="*/ 457200 h 461963"/>
                  <a:gd name="connsiteX8" fmla="*/ 219076 w 862013"/>
                  <a:gd name="connsiteY8" fmla="*/ 457200 h 461963"/>
                  <a:gd name="connsiteX9" fmla="*/ 211932 w 862013"/>
                  <a:gd name="connsiteY9" fmla="*/ 459582 h 461963"/>
                  <a:gd name="connsiteX10" fmla="*/ 214313 w 862013"/>
                  <a:gd name="connsiteY10" fmla="*/ 457200 h 461963"/>
                  <a:gd name="connsiteX11" fmla="*/ 243985 w 862013"/>
                  <a:gd name="connsiteY11" fmla="*/ 438793 h 461963"/>
                  <a:gd name="connsiteX12" fmla="*/ 244778 w 862013"/>
                  <a:gd name="connsiteY12" fmla="*/ 438991 h 461963"/>
                  <a:gd name="connsiteX13" fmla="*/ 245639 w 862013"/>
                  <a:gd name="connsiteY13" fmla="*/ 439206 h 461963"/>
                  <a:gd name="connsiteX14" fmla="*/ 244347 w 862013"/>
                  <a:gd name="connsiteY14" fmla="*/ 439206 h 461963"/>
                  <a:gd name="connsiteX15" fmla="*/ 243365 w 862013"/>
                  <a:gd name="connsiteY15" fmla="*/ 439206 h 461963"/>
                  <a:gd name="connsiteX16" fmla="*/ 162338 w 862013"/>
                  <a:gd name="connsiteY16" fmla="*/ 437215 h 461963"/>
                  <a:gd name="connsiteX17" fmla="*/ 168308 w 862013"/>
                  <a:gd name="connsiteY17" fmla="*/ 439206 h 461963"/>
                  <a:gd name="connsiteX18" fmla="*/ 152387 w 862013"/>
                  <a:gd name="connsiteY18" fmla="*/ 439206 h 461963"/>
                  <a:gd name="connsiteX19" fmla="*/ 189309 w 862013"/>
                  <a:gd name="connsiteY19" fmla="*/ 436960 h 461963"/>
                  <a:gd name="connsiteX20" fmla="*/ 189309 w 862013"/>
                  <a:gd name="connsiteY20" fmla="*/ 438746 h 461963"/>
                  <a:gd name="connsiteX21" fmla="*/ 177403 w 862013"/>
                  <a:gd name="connsiteY21" fmla="*/ 440532 h 461963"/>
                  <a:gd name="connsiteX22" fmla="*/ 189309 w 862013"/>
                  <a:gd name="connsiteY22" fmla="*/ 436960 h 461963"/>
                  <a:gd name="connsiteX23" fmla="*/ 309265 w 862013"/>
                  <a:gd name="connsiteY23" fmla="*/ 363513 h 461963"/>
                  <a:gd name="connsiteX24" fmla="*/ 311944 w 862013"/>
                  <a:gd name="connsiteY24" fmla="*/ 365522 h 461963"/>
                  <a:gd name="connsiteX25" fmla="*/ 304800 w 862013"/>
                  <a:gd name="connsiteY25" fmla="*/ 365522 h 461963"/>
                  <a:gd name="connsiteX26" fmla="*/ 309265 w 862013"/>
                  <a:gd name="connsiteY26" fmla="*/ 363513 h 461963"/>
                  <a:gd name="connsiteX27" fmla="*/ 152387 w 862013"/>
                  <a:gd name="connsiteY27" fmla="*/ 355006 h 461963"/>
                  <a:gd name="connsiteX28" fmla="*/ 156936 w 862013"/>
                  <a:gd name="connsiteY28" fmla="*/ 359557 h 461963"/>
                  <a:gd name="connsiteX29" fmla="*/ 152387 w 862013"/>
                  <a:gd name="connsiteY29" fmla="*/ 357282 h 461963"/>
                  <a:gd name="connsiteX30" fmla="*/ 147839 w 862013"/>
                  <a:gd name="connsiteY30" fmla="*/ 357282 h 461963"/>
                  <a:gd name="connsiteX31" fmla="*/ 152387 w 862013"/>
                  <a:gd name="connsiteY31" fmla="*/ 355006 h 461963"/>
                  <a:gd name="connsiteX32" fmla="*/ 319088 w 862013"/>
                  <a:gd name="connsiteY32" fmla="*/ 350044 h 461963"/>
                  <a:gd name="connsiteX33" fmla="*/ 319088 w 862013"/>
                  <a:gd name="connsiteY33" fmla="*/ 357188 h 461963"/>
                  <a:gd name="connsiteX34" fmla="*/ 321469 w 862013"/>
                  <a:gd name="connsiteY34" fmla="*/ 359569 h 461963"/>
                  <a:gd name="connsiteX35" fmla="*/ 314325 w 862013"/>
                  <a:gd name="connsiteY35" fmla="*/ 352425 h 461963"/>
                  <a:gd name="connsiteX36" fmla="*/ 319088 w 862013"/>
                  <a:gd name="connsiteY36" fmla="*/ 350044 h 461963"/>
                  <a:gd name="connsiteX37" fmla="*/ 336947 w 862013"/>
                  <a:gd name="connsiteY37" fmla="*/ 340519 h 461963"/>
                  <a:gd name="connsiteX38" fmla="*/ 341710 w 862013"/>
                  <a:gd name="connsiteY38" fmla="*/ 340519 h 461963"/>
                  <a:gd name="connsiteX39" fmla="*/ 339328 w 862013"/>
                  <a:gd name="connsiteY39" fmla="*/ 342900 h 461963"/>
                  <a:gd name="connsiteX40" fmla="*/ 336947 w 862013"/>
                  <a:gd name="connsiteY40" fmla="*/ 340519 h 461963"/>
                  <a:gd name="connsiteX41" fmla="*/ 379809 w 862013"/>
                  <a:gd name="connsiteY41" fmla="*/ 334567 h 461963"/>
                  <a:gd name="connsiteX42" fmla="*/ 384572 w 862013"/>
                  <a:gd name="connsiteY42" fmla="*/ 334567 h 461963"/>
                  <a:gd name="connsiteX43" fmla="*/ 382190 w 862013"/>
                  <a:gd name="connsiteY43" fmla="*/ 336948 h 461963"/>
                  <a:gd name="connsiteX44" fmla="*/ 379809 w 862013"/>
                  <a:gd name="connsiteY44" fmla="*/ 334567 h 461963"/>
                  <a:gd name="connsiteX45" fmla="*/ 125094 w 862013"/>
                  <a:gd name="connsiteY45" fmla="*/ 316320 h 461963"/>
                  <a:gd name="connsiteX46" fmla="*/ 127369 w 862013"/>
                  <a:gd name="connsiteY46" fmla="*/ 316320 h 461963"/>
                  <a:gd name="connsiteX47" fmla="*/ 143290 w 862013"/>
                  <a:gd name="connsiteY47" fmla="*/ 316320 h 461963"/>
                  <a:gd name="connsiteX48" fmla="*/ 134192 w 862013"/>
                  <a:gd name="connsiteY48" fmla="*/ 320871 h 461963"/>
                  <a:gd name="connsiteX49" fmla="*/ 118271 w 862013"/>
                  <a:gd name="connsiteY49" fmla="*/ 323147 h 461963"/>
                  <a:gd name="connsiteX50" fmla="*/ 127369 w 862013"/>
                  <a:gd name="connsiteY50" fmla="*/ 320871 h 461963"/>
                  <a:gd name="connsiteX51" fmla="*/ 120545 w 862013"/>
                  <a:gd name="connsiteY51" fmla="*/ 318595 h 461963"/>
                  <a:gd name="connsiteX52" fmla="*/ 125094 w 862013"/>
                  <a:gd name="connsiteY52" fmla="*/ 316320 h 461963"/>
                  <a:gd name="connsiteX53" fmla="*/ 160982 w 862013"/>
                  <a:gd name="connsiteY53" fmla="*/ 286595 h 461963"/>
                  <a:gd name="connsiteX54" fmla="*/ 161485 w 862013"/>
                  <a:gd name="connsiteY54" fmla="*/ 286736 h 461963"/>
                  <a:gd name="connsiteX55" fmla="*/ 160887 w 862013"/>
                  <a:gd name="connsiteY55" fmla="*/ 286616 h 461963"/>
                  <a:gd name="connsiteX56" fmla="*/ 149712 w 862013"/>
                  <a:gd name="connsiteY56" fmla="*/ 284594 h 461963"/>
                  <a:gd name="connsiteX57" fmla="*/ 150987 w 862013"/>
                  <a:gd name="connsiteY57" fmla="*/ 284635 h 461963"/>
                  <a:gd name="connsiteX58" fmla="*/ 160887 w 862013"/>
                  <a:gd name="connsiteY58" fmla="*/ 286616 h 461963"/>
                  <a:gd name="connsiteX59" fmla="*/ 150113 w 862013"/>
                  <a:gd name="connsiteY59" fmla="*/ 289011 h 461963"/>
                  <a:gd name="connsiteX60" fmla="*/ 144654 w 862013"/>
                  <a:gd name="connsiteY60" fmla="*/ 291059 h 461963"/>
                  <a:gd name="connsiteX61" fmla="*/ 143290 w 862013"/>
                  <a:gd name="connsiteY61" fmla="*/ 291287 h 461963"/>
                  <a:gd name="connsiteX62" fmla="*/ 143875 w 862013"/>
                  <a:gd name="connsiteY62" fmla="*/ 291352 h 461963"/>
                  <a:gd name="connsiteX63" fmla="*/ 137982 w 862013"/>
                  <a:gd name="connsiteY63" fmla="*/ 293563 h 461963"/>
                  <a:gd name="connsiteX64" fmla="*/ 136466 w 862013"/>
                  <a:gd name="connsiteY64" fmla="*/ 293563 h 461963"/>
                  <a:gd name="connsiteX65" fmla="*/ 134950 w 862013"/>
                  <a:gd name="connsiteY65" fmla="*/ 294700 h 461963"/>
                  <a:gd name="connsiteX66" fmla="*/ 131917 w 862013"/>
                  <a:gd name="connsiteY66" fmla="*/ 295838 h 461963"/>
                  <a:gd name="connsiteX67" fmla="*/ 136466 w 862013"/>
                  <a:gd name="connsiteY67" fmla="*/ 289011 h 461963"/>
                  <a:gd name="connsiteX68" fmla="*/ 141015 w 862013"/>
                  <a:gd name="connsiteY68" fmla="*/ 286736 h 461963"/>
                  <a:gd name="connsiteX69" fmla="*/ 143290 w 862013"/>
                  <a:gd name="connsiteY69" fmla="*/ 286736 h 461963"/>
                  <a:gd name="connsiteX70" fmla="*/ 145564 w 862013"/>
                  <a:gd name="connsiteY70" fmla="*/ 284460 h 461963"/>
                  <a:gd name="connsiteX71" fmla="*/ 150113 w 862013"/>
                  <a:gd name="connsiteY71" fmla="*/ 284460 h 461963"/>
                  <a:gd name="connsiteX72" fmla="*/ 149712 w 862013"/>
                  <a:gd name="connsiteY72" fmla="*/ 284594 h 461963"/>
                  <a:gd name="connsiteX73" fmla="*/ 145564 w 862013"/>
                  <a:gd name="connsiteY73" fmla="*/ 282184 h 461963"/>
                  <a:gd name="connsiteX74" fmla="*/ 159211 w 862013"/>
                  <a:gd name="connsiteY74" fmla="*/ 284460 h 461963"/>
                  <a:gd name="connsiteX75" fmla="*/ 154662 w 862013"/>
                  <a:gd name="connsiteY75" fmla="*/ 282184 h 461963"/>
                  <a:gd name="connsiteX76" fmla="*/ 166034 w 862013"/>
                  <a:gd name="connsiteY76" fmla="*/ 284460 h 461963"/>
                  <a:gd name="connsiteX77" fmla="*/ 170583 w 862013"/>
                  <a:gd name="connsiteY77" fmla="*/ 284460 h 461963"/>
                  <a:gd name="connsiteX78" fmla="*/ 160982 w 862013"/>
                  <a:gd name="connsiteY78" fmla="*/ 286595 h 461963"/>
                  <a:gd name="connsiteX79" fmla="*/ 154378 w 862013"/>
                  <a:gd name="connsiteY79" fmla="*/ 284744 h 461963"/>
                  <a:gd name="connsiteX80" fmla="*/ 150987 w 862013"/>
                  <a:gd name="connsiteY80" fmla="*/ 284635 h 461963"/>
                  <a:gd name="connsiteX81" fmla="*/ 150113 w 862013"/>
                  <a:gd name="connsiteY81" fmla="*/ 284460 h 461963"/>
                  <a:gd name="connsiteX82" fmla="*/ 145564 w 862013"/>
                  <a:gd name="connsiteY82" fmla="*/ 282184 h 461963"/>
                  <a:gd name="connsiteX83" fmla="*/ 166290 w 862013"/>
                  <a:gd name="connsiteY83" fmla="*/ 281286 h 461963"/>
                  <a:gd name="connsiteX84" fmla="*/ 165854 w 862013"/>
                  <a:gd name="connsiteY84" fmla="*/ 281465 h 461963"/>
                  <a:gd name="connsiteX85" fmla="*/ 161925 w 862013"/>
                  <a:gd name="connsiteY85" fmla="*/ 282179 h 461963"/>
                  <a:gd name="connsiteX86" fmla="*/ 166290 w 862013"/>
                  <a:gd name="connsiteY86" fmla="*/ 281286 h 461963"/>
                  <a:gd name="connsiteX87" fmla="*/ 175022 w 862013"/>
                  <a:gd name="connsiteY87" fmla="*/ 279798 h 461963"/>
                  <a:gd name="connsiteX88" fmla="*/ 164108 w 862013"/>
                  <a:gd name="connsiteY88" fmla="*/ 282179 h 461963"/>
                  <a:gd name="connsiteX89" fmla="*/ 165854 w 862013"/>
                  <a:gd name="connsiteY89" fmla="*/ 281465 h 461963"/>
                  <a:gd name="connsiteX90" fmla="*/ 175132 w 862013"/>
                  <a:gd name="connsiteY90" fmla="*/ 270806 h 461963"/>
                  <a:gd name="connsiteX91" fmla="*/ 170583 w 862013"/>
                  <a:gd name="connsiteY91" fmla="*/ 273082 h 461963"/>
                  <a:gd name="connsiteX92" fmla="*/ 166034 w 862013"/>
                  <a:gd name="connsiteY92" fmla="*/ 273082 h 461963"/>
                  <a:gd name="connsiteX93" fmla="*/ 175132 w 862013"/>
                  <a:gd name="connsiteY93" fmla="*/ 270806 h 461963"/>
                  <a:gd name="connsiteX94" fmla="*/ 198239 w 862013"/>
                  <a:gd name="connsiteY94" fmla="*/ 245269 h 461963"/>
                  <a:gd name="connsiteX95" fmla="*/ 202605 w 862013"/>
                  <a:gd name="connsiteY95" fmla="*/ 245269 h 461963"/>
                  <a:gd name="connsiteX96" fmla="*/ 204788 w 862013"/>
                  <a:gd name="connsiteY96" fmla="*/ 247650 h 461963"/>
                  <a:gd name="connsiteX97" fmla="*/ 200422 w 862013"/>
                  <a:gd name="connsiteY97" fmla="*/ 250032 h 461963"/>
                  <a:gd name="connsiteX98" fmla="*/ 196057 w 862013"/>
                  <a:gd name="connsiteY98" fmla="*/ 252413 h 461963"/>
                  <a:gd name="connsiteX99" fmla="*/ 198239 w 862013"/>
                  <a:gd name="connsiteY99" fmla="*/ 245269 h 461963"/>
                  <a:gd name="connsiteX100" fmla="*/ 150642 w 862013"/>
                  <a:gd name="connsiteY100" fmla="*/ 239208 h 461963"/>
                  <a:gd name="connsiteX101" fmla="*/ 164249 w 862013"/>
                  <a:gd name="connsiteY101" fmla="*/ 239208 h 461963"/>
                  <a:gd name="connsiteX102" fmla="*/ 177856 w 862013"/>
                  <a:gd name="connsiteY102" fmla="*/ 246027 h 461963"/>
                  <a:gd name="connsiteX103" fmla="*/ 186928 w 862013"/>
                  <a:gd name="connsiteY103" fmla="*/ 250574 h 461963"/>
                  <a:gd name="connsiteX104" fmla="*/ 168785 w 862013"/>
                  <a:gd name="connsiteY104" fmla="*/ 257393 h 461963"/>
                  <a:gd name="connsiteX105" fmla="*/ 146106 w 862013"/>
                  <a:gd name="connsiteY105" fmla="*/ 255120 h 461963"/>
                  <a:gd name="connsiteX106" fmla="*/ 159714 w 862013"/>
                  <a:gd name="connsiteY106" fmla="*/ 255120 h 461963"/>
                  <a:gd name="connsiteX107" fmla="*/ 161981 w 862013"/>
                  <a:gd name="connsiteY107" fmla="*/ 252847 h 461963"/>
                  <a:gd name="connsiteX108" fmla="*/ 155178 w 862013"/>
                  <a:gd name="connsiteY108" fmla="*/ 252847 h 461963"/>
                  <a:gd name="connsiteX109" fmla="*/ 152910 w 862013"/>
                  <a:gd name="connsiteY109" fmla="*/ 252847 h 461963"/>
                  <a:gd name="connsiteX110" fmla="*/ 139303 w 862013"/>
                  <a:gd name="connsiteY110" fmla="*/ 250574 h 461963"/>
                  <a:gd name="connsiteX111" fmla="*/ 146106 w 862013"/>
                  <a:gd name="connsiteY111" fmla="*/ 250574 h 461963"/>
                  <a:gd name="connsiteX112" fmla="*/ 141571 w 862013"/>
                  <a:gd name="connsiteY112" fmla="*/ 248301 h 461963"/>
                  <a:gd name="connsiteX113" fmla="*/ 152910 w 862013"/>
                  <a:gd name="connsiteY113" fmla="*/ 246027 h 461963"/>
                  <a:gd name="connsiteX114" fmla="*/ 146106 w 862013"/>
                  <a:gd name="connsiteY114" fmla="*/ 243754 h 461963"/>
                  <a:gd name="connsiteX115" fmla="*/ 150642 w 862013"/>
                  <a:gd name="connsiteY115" fmla="*/ 239208 h 461963"/>
                  <a:gd name="connsiteX116" fmla="*/ 148233 w 862013"/>
                  <a:gd name="connsiteY116" fmla="*/ 234554 h 461963"/>
                  <a:gd name="connsiteX117" fmla="*/ 150019 w 862013"/>
                  <a:gd name="connsiteY117" fmla="*/ 234554 h 461963"/>
                  <a:gd name="connsiteX118" fmla="*/ 148233 w 862013"/>
                  <a:gd name="connsiteY118" fmla="*/ 236935 h 461963"/>
                  <a:gd name="connsiteX119" fmla="*/ 148233 w 862013"/>
                  <a:gd name="connsiteY119" fmla="*/ 234554 h 461963"/>
                  <a:gd name="connsiteX120" fmla="*/ 568610 w 862013"/>
                  <a:gd name="connsiteY120" fmla="*/ 220741 h 461963"/>
                  <a:gd name="connsiteX121" fmla="*/ 570884 w 862013"/>
                  <a:gd name="connsiteY121" fmla="*/ 223017 h 461963"/>
                  <a:gd name="connsiteX122" fmla="*/ 561787 w 862013"/>
                  <a:gd name="connsiteY122" fmla="*/ 223017 h 461963"/>
                  <a:gd name="connsiteX123" fmla="*/ 559512 w 862013"/>
                  <a:gd name="connsiteY123" fmla="*/ 232119 h 461963"/>
                  <a:gd name="connsiteX124" fmla="*/ 543591 w 862013"/>
                  <a:gd name="connsiteY124" fmla="*/ 234395 h 461963"/>
                  <a:gd name="connsiteX125" fmla="*/ 554963 w 862013"/>
                  <a:gd name="connsiteY125" fmla="*/ 234395 h 461963"/>
                  <a:gd name="connsiteX126" fmla="*/ 559512 w 862013"/>
                  <a:gd name="connsiteY126" fmla="*/ 236671 h 461963"/>
                  <a:gd name="connsiteX127" fmla="*/ 564061 w 862013"/>
                  <a:gd name="connsiteY127" fmla="*/ 234395 h 461963"/>
                  <a:gd name="connsiteX128" fmla="*/ 567830 w 862013"/>
                  <a:gd name="connsiteY128" fmla="*/ 233869 h 461963"/>
                  <a:gd name="connsiteX129" fmla="*/ 561975 w 862013"/>
                  <a:gd name="connsiteY129" fmla="*/ 234554 h 461963"/>
                  <a:gd name="connsiteX130" fmla="*/ 566499 w 862013"/>
                  <a:gd name="connsiteY130" fmla="*/ 229791 h 461963"/>
                  <a:gd name="connsiteX131" fmla="*/ 568761 w 862013"/>
                  <a:gd name="connsiteY131" fmla="*/ 229791 h 461963"/>
                  <a:gd name="connsiteX132" fmla="*/ 573807 w 862013"/>
                  <a:gd name="connsiteY132" fmla="*/ 227666 h 461963"/>
                  <a:gd name="connsiteX133" fmla="*/ 569119 w 862013"/>
                  <a:gd name="connsiteY133" fmla="*/ 225029 h 461963"/>
                  <a:gd name="connsiteX134" fmla="*/ 578644 w 862013"/>
                  <a:gd name="connsiteY134" fmla="*/ 225029 h 461963"/>
                  <a:gd name="connsiteX135" fmla="*/ 574397 w 862013"/>
                  <a:gd name="connsiteY135" fmla="*/ 227418 h 461963"/>
                  <a:gd name="connsiteX136" fmla="*/ 580072 w 862013"/>
                  <a:gd name="connsiteY136" fmla="*/ 225028 h 461963"/>
                  <a:gd name="connsiteX137" fmla="*/ 580736 w 862013"/>
                  <a:gd name="connsiteY137" fmla="*/ 224912 h 461963"/>
                  <a:gd name="connsiteX138" fmla="*/ 573159 w 862013"/>
                  <a:gd name="connsiteY138" fmla="*/ 223017 h 461963"/>
                  <a:gd name="connsiteX139" fmla="*/ 568610 w 862013"/>
                  <a:gd name="connsiteY139" fmla="*/ 220741 h 461963"/>
                  <a:gd name="connsiteX140" fmla="*/ 161926 w 862013"/>
                  <a:gd name="connsiteY140" fmla="*/ 190500 h 461963"/>
                  <a:gd name="connsiteX141" fmla="*/ 161925 w 862013"/>
                  <a:gd name="connsiteY141" fmla="*/ 190501 h 461963"/>
                  <a:gd name="connsiteX142" fmla="*/ 159544 w 862013"/>
                  <a:gd name="connsiteY142" fmla="*/ 192881 h 461963"/>
                  <a:gd name="connsiteX143" fmla="*/ 157163 w 862013"/>
                  <a:gd name="connsiteY143" fmla="*/ 192881 h 461963"/>
                  <a:gd name="connsiteX144" fmla="*/ 161926 w 862013"/>
                  <a:gd name="connsiteY144" fmla="*/ 190500 h 461963"/>
                  <a:gd name="connsiteX145" fmla="*/ 172839 w 862013"/>
                  <a:gd name="connsiteY145" fmla="*/ 186929 h 461963"/>
                  <a:gd name="connsiteX146" fmla="*/ 175022 w 862013"/>
                  <a:gd name="connsiteY146" fmla="*/ 186929 h 461963"/>
                  <a:gd name="connsiteX147" fmla="*/ 161925 w 862013"/>
                  <a:gd name="connsiteY147" fmla="*/ 190501 h 461963"/>
                  <a:gd name="connsiteX148" fmla="*/ 635105 w 862013"/>
                  <a:gd name="connsiteY148" fmla="*/ 186515 h 461963"/>
                  <a:gd name="connsiteX149" fmla="*/ 641449 w 862013"/>
                  <a:gd name="connsiteY149" fmla="*/ 186796 h 461963"/>
                  <a:gd name="connsiteX150" fmla="*/ 652984 w 862013"/>
                  <a:gd name="connsiteY150" fmla="*/ 186796 h 461963"/>
                  <a:gd name="connsiteX151" fmla="*/ 659904 w 862013"/>
                  <a:gd name="connsiteY151" fmla="*/ 191294 h 461963"/>
                  <a:gd name="connsiteX152" fmla="*/ 662211 w 862013"/>
                  <a:gd name="connsiteY152" fmla="*/ 191294 h 461963"/>
                  <a:gd name="connsiteX153" fmla="*/ 669132 w 862013"/>
                  <a:gd name="connsiteY153" fmla="*/ 195792 h 461963"/>
                  <a:gd name="connsiteX154" fmla="*/ 657597 w 862013"/>
                  <a:gd name="connsiteY154" fmla="*/ 193543 h 461963"/>
                  <a:gd name="connsiteX155" fmla="*/ 659904 w 862013"/>
                  <a:gd name="connsiteY155" fmla="*/ 198041 h 461963"/>
                  <a:gd name="connsiteX156" fmla="*/ 664518 w 862013"/>
                  <a:gd name="connsiteY156" fmla="*/ 198041 h 461963"/>
                  <a:gd name="connsiteX157" fmla="*/ 650677 w 862013"/>
                  <a:gd name="connsiteY157" fmla="*/ 198041 h 461963"/>
                  <a:gd name="connsiteX158" fmla="*/ 632222 w 862013"/>
                  <a:gd name="connsiteY158" fmla="*/ 191294 h 461963"/>
                  <a:gd name="connsiteX159" fmla="*/ 635105 w 862013"/>
                  <a:gd name="connsiteY159" fmla="*/ 186515 h 461963"/>
                  <a:gd name="connsiteX160" fmla="*/ 652193 w 862013"/>
                  <a:gd name="connsiteY160" fmla="*/ 181155 h 461963"/>
                  <a:gd name="connsiteX161" fmla="*/ 671513 w 862013"/>
                  <a:gd name="connsiteY161" fmla="*/ 185977 h 461963"/>
                  <a:gd name="connsiteX162" fmla="*/ 666899 w 862013"/>
                  <a:gd name="connsiteY162" fmla="*/ 185977 h 461963"/>
                  <a:gd name="connsiteX163" fmla="*/ 671513 w 862013"/>
                  <a:gd name="connsiteY163" fmla="*/ 188120 h 461963"/>
                  <a:gd name="connsiteX164" fmla="*/ 659978 w 862013"/>
                  <a:gd name="connsiteY164" fmla="*/ 188120 h 461963"/>
                  <a:gd name="connsiteX165" fmla="*/ 655365 w 862013"/>
                  <a:gd name="connsiteY165" fmla="*/ 185977 h 461963"/>
                  <a:gd name="connsiteX166" fmla="*/ 634603 w 862013"/>
                  <a:gd name="connsiteY166" fmla="*/ 185977 h 461963"/>
                  <a:gd name="connsiteX167" fmla="*/ 652193 w 862013"/>
                  <a:gd name="connsiteY167" fmla="*/ 181155 h 461963"/>
                  <a:gd name="connsiteX168" fmla="*/ 639961 w 862013"/>
                  <a:gd name="connsiteY168" fmla="*/ 174725 h 461963"/>
                  <a:gd name="connsiteX169" fmla="*/ 653654 w 862013"/>
                  <a:gd name="connsiteY169" fmla="*/ 177404 h 461963"/>
                  <a:gd name="connsiteX170" fmla="*/ 628551 w 862013"/>
                  <a:gd name="connsiteY170" fmla="*/ 177404 h 461963"/>
                  <a:gd name="connsiteX171" fmla="*/ 626269 w 862013"/>
                  <a:gd name="connsiteY171" fmla="*/ 177404 h 461963"/>
                  <a:gd name="connsiteX172" fmla="*/ 639961 w 862013"/>
                  <a:gd name="connsiteY172" fmla="*/ 174725 h 461963"/>
                  <a:gd name="connsiteX173" fmla="*/ 171450 w 862013"/>
                  <a:gd name="connsiteY173" fmla="*/ 172641 h 461963"/>
                  <a:gd name="connsiteX174" fmla="*/ 173435 w 862013"/>
                  <a:gd name="connsiteY174" fmla="*/ 172641 h 461963"/>
                  <a:gd name="connsiteX175" fmla="*/ 177404 w 862013"/>
                  <a:gd name="connsiteY175" fmla="*/ 175022 h 461963"/>
                  <a:gd name="connsiteX176" fmla="*/ 171450 w 862013"/>
                  <a:gd name="connsiteY176" fmla="*/ 172641 h 461963"/>
                  <a:gd name="connsiteX177" fmla="*/ 169367 w 862013"/>
                  <a:gd name="connsiteY177" fmla="*/ 164902 h 461963"/>
                  <a:gd name="connsiteX178" fmla="*/ 173832 w 862013"/>
                  <a:gd name="connsiteY178" fmla="*/ 165498 h 461963"/>
                  <a:gd name="connsiteX179" fmla="*/ 169069 w 862013"/>
                  <a:gd name="connsiteY179" fmla="*/ 167879 h 461963"/>
                  <a:gd name="connsiteX180" fmla="*/ 169069 w 862013"/>
                  <a:gd name="connsiteY180" fmla="*/ 167879 h 461963"/>
                  <a:gd name="connsiteX181" fmla="*/ 166688 w 862013"/>
                  <a:gd name="connsiteY181" fmla="*/ 167879 h 461963"/>
                  <a:gd name="connsiteX182" fmla="*/ 169367 w 862013"/>
                  <a:gd name="connsiteY182" fmla="*/ 164902 h 461963"/>
                  <a:gd name="connsiteX183" fmla="*/ 696914 w 862013"/>
                  <a:gd name="connsiteY183" fmla="*/ 154781 h 461963"/>
                  <a:gd name="connsiteX184" fmla="*/ 701478 w 862013"/>
                  <a:gd name="connsiteY184" fmla="*/ 156865 h 461963"/>
                  <a:gd name="connsiteX185" fmla="*/ 706042 w 862013"/>
                  <a:gd name="connsiteY185" fmla="*/ 161032 h 461963"/>
                  <a:gd name="connsiteX186" fmla="*/ 683221 w 862013"/>
                  <a:gd name="connsiteY186" fmla="*/ 158949 h 461963"/>
                  <a:gd name="connsiteX187" fmla="*/ 696914 w 862013"/>
                  <a:gd name="connsiteY187" fmla="*/ 154781 h 461963"/>
                  <a:gd name="connsiteX188" fmla="*/ 708025 w 862013"/>
                  <a:gd name="connsiteY188" fmla="*/ 142875 h 461963"/>
                  <a:gd name="connsiteX189" fmla="*/ 712390 w 862013"/>
                  <a:gd name="connsiteY189" fmla="*/ 145256 h 461963"/>
                  <a:gd name="connsiteX190" fmla="*/ 710208 w 862013"/>
                  <a:gd name="connsiteY190" fmla="*/ 147638 h 461963"/>
                  <a:gd name="connsiteX191" fmla="*/ 716756 w 862013"/>
                  <a:gd name="connsiteY191" fmla="*/ 147638 h 461963"/>
                  <a:gd name="connsiteX192" fmla="*/ 712390 w 862013"/>
                  <a:gd name="connsiteY192" fmla="*/ 150019 h 461963"/>
                  <a:gd name="connsiteX193" fmla="*/ 703659 w 862013"/>
                  <a:gd name="connsiteY193" fmla="*/ 147638 h 461963"/>
                  <a:gd name="connsiteX194" fmla="*/ 708025 w 862013"/>
                  <a:gd name="connsiteY194" fmla="*/ 142875 h 461963"/>
                  <a:gd name="connsiteX195" fmla="*/ 746880 w 862013"/>
                  <a:gd name="connsiteY195" fmla="*/ 136922 h 461963"/>
                  <a:gd name="connsiteX196" fmla="*/ 746880 w 862013"/>
                  <a:gd name="connsiteY196" fmla="*/ 139006 h 461963"/>
                  <a:gd name="connsiteX197" fmla="*/ 742355 w 862013"/>
                  <a:gd name="connsiteY197" fmla="*/ 141090 h 461963"/>
                  <a:gd name="connsiteX198" fmla="*/ 749142 w 862013"/>
                  <a:gd name="connsiteY198" fmla="*/ 143173 h 461963"/>
                  <a:gd name="connsiteX199" fmla="*/ 753666 w 862013"/>
                  <a:gd name="connsiteY199" fmla="*/ 143173 h 461963"/>
                  <a:gd name="connsiteX200" fmla="*/ 744617 w 862013"/>
                  <a:gd name="connsiteY200" fmla="*/ 145257 h 461963"/>
                  <a:gd name="connsiteX201" fmla="*/ 731044 w 862013"/>
                  <a:gd name="connsiteY201" fmla="*/ 145257 h 461963"/>
                  <a:gd name="connsiteX202" fmla="*/ 737831 w 862013"/>
                  <a:gd name="connsiteY202" fmla="*/ 139006 h 461963"/>
                  <a:gd name="connsiteX203" fmla="*/ 742355 w 862013"/>
                  <a:gd name="connsiteY203" fmla="*/ 139006 h 461963"/>
                  <a:gd name="connsiteX204" fmla="*/ 746880 w 862013"/>
                  <a:gd name="connsiteY204" fmla="*/ 136922 h 461963"/>
                  <a:gd name="connsiteX205" fmla="*/ 711995 w 862013"/>
                  <a:gd name="connsiteY205" fmla="*/ 115491 h 461963"/>
                  <a:gd name="connsiteX206" fmla="*/ 706041 w 862013"/>
                  <a:gd name="connsiteY206" fmla="*/ 117872 h 461963"/>
                  <a:gd name="connsiteX207" fmla="*/ 711995 w 862013"/>
                  <a:gd name="connsiteY207" fmla="*/ 115491 h 461963"/>
                  <a:gd name="connsiteX208" fmla="*/ 739379 w 862013"/>
                  <a:gd name="connsiteY208" fmla="*/ 114130 h 461963"/>
                  <a:gd name="connsiteX209" fmla="*/ 741760 w 862013"/>
                  <a:gd name="connsiteY209" fmla="*/ 114130 h 461963"/>
                  <a:gd name="connsiteX210" fmla="*/ 739379 w 862013"/>
                  <a:gd name="connsiteY210" fmla="*/ 122975 h 461963"/>
                  <a:gd name="connsiteX211" fmla="*/ 739379 w 862013"/>
                  <a:gd name="connsiteY211" fmla="*/ 127398 h 461963"/>
                  <a:gd name="connsiteX212" fmla="*/ 734616 w 862013"/>
                  <a:gd name="connsiteY212" fmla="*/ 116342 h 461963"/>
                  <a:gd name="connsiteX213" fmla="*/ 739379 w 862013"/>
                  <a:gd name="connsiteY213" fmla="*/ 114130 h 461963"/>
                  <a:gd name="connsiteX214" fmla="*/ 707232 w 862013"/>
                  <a:gd name="connsiteY214" fmla="*/ 113110 h 461963"/>
                  <a:gd name="connsiteX215" fmla="*/ 705247 w 862013"/>
                  <a:gd name="connsiteY215" fmla="*/ 115491 h 461963"/>
                  <a:gd name="connsiteX216" fmla="*/ 701278 w 862013"/>
                  <a:gd name="connsiteY216" fmla="*/ 115491 h 461963"/>
                  <a:gd name="connsiteX217" fmla="*/ 707232 w 862013"/>
                  <a:gd name="connsiteY217" fmla="*/ 113110 h 461963"/>
                  <a:gd name="connsiteX218" fmla="*/ 744141 w 862013"/>
                  <a:gd name="connsiteY218" fmla="*/ 82154 h 461963"/>
                  <a:gd name="connsiteX219" fmla="*/ 746522 w 862013"/>
                  <a:gd name="connsiteY219" fmla="*/ 82154 h 461963"/>
                  <a:gd name="connsiteX220" fmla="*/ 746522 w 862013"/>
                  <a:gd name="connsiteY220" fmla="*/ 84535 h 461963"/>
                  <a:gd name="connsiteX221" fmla="*/ 741759 w 862013"/>
                  <a:gd name="connsiteY221" fmla="*/ 75010 h 461963"/>
                  <a:gd name="connsiteX222" fmla="*/ 746522 w 862013"/>
                  <a:gd name="connsiteY222" fmla="*/ 75010 h 461963"/>
                  <a:gd name="connsiteX223" fmla="*/ 748903 w 862013"/>
                  <a:gd name="connsiteY223" fmla="*/ 77392 h 461963"/>
                  <a:gd name="connsiteX224" fmla="*/ 741759 w 862013"/>
                  <a:gd name="connsiteY224" fmla="*/ 75010 h 461963"/>
                  <a:gd name="connsiteX225" fmla="*/ 773907 w 862013"/>
                  <a:gd name="connsiteY225" fmla="*/ 67866 h 461963"/>
                  <a:gd name="connsiteX226" fmla="*/ 773907 w 862013"/>
                  <a:gd name="connsiteY226" fmla="*/ 70247 h 461963"/>
                  <a:gd name="connsiteX227" fmla="*/ 766763 w 862013"/>
                  <a:gd name="connsiteY227" fmla="*/ 72629 h 461963"/>
                  <a:gd name="connsiteX228" fmla="*/ 773907 w 862013"/>
                  <a:gd name="connsiteY228" fmla="*/ 67866 h 461963"/>
                  <a:gd name="connsiteX229" fmla="*/ 751759 w 862013"/>
                  <a:gd name="connsiteY229" fmla="*/ 50245 h 461963"/>
                  <a:gd name="connsiteX230" fmla="*/ 739193 w 862013"/>
                  <a:gd name="connsiteY230" fmla="*/ 52341 h 461963"/>
                  <a:gd name="connsiteX231" fmla="*/ 736919 w 862013"/>
                  <a:gd name="connsiteY231" fmla="*/ 56892 h 461963"/>
                  <a:gd name="connsiteX232" fmla="*/ 746017 w 862013"/>
                  <a:gd name="connsiteY232" fmla="*/ 56892 h 461963"/>
                  <a:gd name="connsiteX233" fmla="*/ 750566 w 862013"/>
                  <a:gd name="connsiteY233" fmla="*/ 54616 h 461963"/>
                  <a:gd name="connsiteX234" fmla="*/ 759475 w 862013"/>
                  <a:gd name="connsiteY234" fmla="*/ 52388 h 461963"/>
                  <a:gd name="connsiteX235" fmla="*/ 746522 w 862013"/>
                  <a:gd name="connsiteY235" fmla="*/ 52388 h 461963"/>
                  <a:gd name="connsiteX236" fmla="*/ 769144 w 862013"/>
                  <a:gd name="connsiteY236" fmla="*/ 27385 h 461963"/>
                  <a:gd name="connsiteX237" fmla="*/ 778669 w 862013"/>
                  <a:gd name="connsiteY237" fmla="*/ 27385 h 461963"/>
                  <a:gd name="connsiteX238" fmla="*/ 776288 w 862013"/>
                  <a:gd name="connsiteY238" fmla="*/ 29767 h 461963"/>
                  <a:gd name="connsiteX239" fmla="*/ 769144 w 862013"/>
                  <a:gd name="connsiteY239" fmla="*/ 27385 h 461963"/>
                  <a:gd name="connsiteX240" fmla="*/ 748904 w 862013"/>
                  <a:gd name="connsiteY240" fmla="*/ 27385 h 461963"/>
                  <a:gd name="connsiteX241" fmla="*/ 753666 w 862013"/>
                  <a:gd name="connsiteY241" fmla="*/ 29766 h 461963"/>
                  <a:gd name="connsiteX242" fmla="*/ 744141 w 862013"/>
                  <a:gd name="connsiteY242" fmla="*/ 29766 h 461963"/>
                  <a:gd name="connsiteX243" fmla="*/ 748904 w 862013"/>
                  <a:gd name="connsiteY243" fmla="*/ 27385 h 461963"/>
                  <a:gd name="connsiteX244" fmla="*/ 329803 w 862013"/>
                  <a:gd name="connsiteY244" fmla="*/ 20241 h 461963"/>
                  <a:gd name="connsiteX245" fmla="*/ 341168 w 862013"/>
                  <a:gd name="connsiteY245" fmla="*/ 20241 h 461963"/>
                  <a:gd name="connsiteX246" fmla="*/ 354807 w 862013"/>
                  <a:gd name="connsiteY246" fmla="*/ 25004 h 461963"/>
                  <a:gd name="connsiteX247" fmla="*/ 329803 w 862013"/>
                  <a:gd name="connsiteY247" fmla="*/ 20241 h 461963"/>
                  <a:gd name="connsiteX248" fmla="*/ 751284 w 862013"/>
                  <a:gd name="connsiteY248" fmla="*/ 20241 h 461963"/>
                  <a:gd name="connsiteX249" fmla="*/ 759619 w 862013"/>
                  <a:gd name="connsiteY249" fmla="*/ 25004 h 461963"/>
                  <a:gd name="connsiteX250" fmla="*/ 755452 w 862013"/>
                  <a:gd name="connsiteY250" fmla="*/ 25004 h 461963"/>
                  <a:gd name="connsiteX251" fmla="*/ 751284 w 862013"/>
                  <a:gd name="connsiteY251" fmla="*/ 20241 h 461963"/>
                  <a:gd name="connsiteX252" fmla="*/ 394097 w 862013"/>
                  <a:gd name="connsiteY252" fmla="*/ 15479 h 461963"/>
                  <a:gd name="connsiteX253" fmla="*/ 401241 w 862013"/>
                  <a:gd name="connsiteY253" fmla="*/ 15479 h 461963"/>
                  <a:gd name="connsiteX254" fmla="*/ 398860 w 862013"/>
                  <a:gd name="connsiteY254" fmla="*/ 17860 h 461963"/>
                  <a:gd name="connsiteX255" fmla="*/ 394097 w 862013"/>
                  <a:gd name="connsiteY255" fmla="*/ 15479 h 461963"/>
                  <a:gd name="connsiteX256" fmla="*/ 428030 w 862013"/>
                  <a:gd name="connsiteY256" fmla="*/ 12800 h 461963"/>
                  <a:gd name="connsiteX257" fmla="*/ 446485 w 862013"/>
                  <a:gd name="connsiteY257" fmla="*/ 17860 h 461963"/>
                  <a:gd name="connsiteX258" fmla="*/ 437257 w 862013"/>
                  <a:gd name="connsiteY258" fmla="*/ 20241 h 461963"/>
                  <a:gd name="connsiteX259" fmla="*/ 439564 w 862013"/>
                  <a:gd name="connsiteY259" fmla="*/ 22622 h 461963"/>
                  <a:gd name="connsiteX260" fmla="*/ 423416 w 862013"/>
                  <a:gd name="connsiteY260" fmla="*/ 20241 h 461963"/>
                  <a:gd name="connsiteX261" fmla="*/ 411882 w 862013"/>
                  <a:gd name="connsiteY261" fmla="*/ 15478 h 461963"/>
                  <a:gd name="connsiteX262" fmla="*/ 409575 w 862013"/>
                  <a:gd name="connsiteY262" fmla="*/ 13097 h 461963"/>
                  <a:gd name="connsiteX263" fmla="*/ 428030 w 862013"/>
                  <a:gd name="connsiteY263" fmla="*/ 12800 h 461963"/>
                  <a:gd name="connsiteX264" fmla="*/ 466260 w 862013"/>
                  <a:gd name="connsiteY264" fmla="*/ 11378 h 461963"/>
                  <a:gd name="connsiteX265" fmla="*/ 479907 w 862013"/>
                  <a:gd name="connsiteY265" fmla="*/ 13654 h 461963"/>
                  <a:gd name="connsiteX266" fmla="*/ 486730 w 862013"/>
                  <a:gd name="connsiteY266" fmla="*/ 13654 h 461963"/>
                  <a:gd name="connsiteX267" fmla="*/ 498102 w 862013"/>
                  <a:gd name="connsiteY267" fmla="*/ 13654 h 461963"/>
                  <a:gd name="connsiteX268" fmla="*/ 504926 w 862013"/>
                  <a:gd name="connsiteY268" fmla="*/ 18205 h 461963"/>
                  <a:gd name="connsiteX269" fmla="*/ 504926 w 862013"/>
                  <a:gd name="connsiteY269" fmla="*/ 15930 h 461963"/>
                  <a:gd name="connsiteX270" fmla="*/ 498102 w 862013"/>
                  <a:gd name="connsiteY270" fmla="*/ 11378 h 461963"/>
                  <a:gd name="connsiteX271" fmla="*/ 482181 w 862013"/>
                  <a:gd name="connsiteY271" fmla="*/ 11378 h 461963"/>
                  <a:gd name="connsiteX272" fmla="*/ 423046 w 862013"/>
                  <a:gd name="connsiteY272" fmla="*/ 9103 h 461963"/>
                  <a:gd name="connsiteX273" fmla="*/ 428732 w 862013"/>
                  <a:gd name="connsiteY273" fmla="*/ 10241 h 461963"/>
                  <a:gd name="connsiteX274" fmla="*/ 432144 w 862013"/>
                  <a:gd name="connsiteY274" fmla="*/ 11378 h 461963"/>
                  <a:gd name="connsiteX275" fmla="*/ 423046 w 862013"/>
                  <a:gd name="connsiteY275" fmla="*/ 9103 h 461963"/>
                  <a:gd name="connsiteX276" fmla="*/ 504825 w 862013"/>
                  <a:gd name="connsiteY276" fmla="*/ 7144 h 461963"/>
                  <a:gd name="connsiteX277" fmla="*/ 521494 w 862013"/>
                  <a:gd name="connsiteY277" fmla="*/ 7144 h 461963"/>
                  <a:gd name="connsiteX278" fmla="*/ 516731 w 862013"/>
                  <a:gd name="connsiteY278" fmla="*/ 9525 h 461963"/>
                  <a:gd name="connsiteX279" fmla="*/ 504825 w 862013"/>
                  <a:gd name="connsiteY279" fmla="*/ 7144 h 461963"/>
                  <a:gd name="connsiteX280" fmla="*/ 507207 w 862013"/>
                  <a:gd name="connsiteY280" fmla="*/ 4762 h 461963"/>
                  <a:gd name="connsiteX281" fmla="*/ 529829 w 862013"/>
                  <a:gd name="connsiteY281" fmla="*/ 7144 h 461963"/>
                  <a:gd name="connsiteX282" fmla="*/ 525304 w 862013"/>
                  <a:gd name="connsiteY282" fmla="*/ 7144 h 461963"/>
                  <a:gd name="connsiteX283" fmla="*/ 507207 w 862013"/>
                  <a:gd name="connsiteY283" fmla="*/ 4762 h 461963"/>
                  <a:gd name="connsiteX284" fmla="*/ 586806 w 862013"/>
                  <a:gd name="connsiteY284" fmla="*/ 0 h 461963"/>
                  <a:gd name="connsiteX285" fmla="*/ 593629 w 862013"/>
                  <a:gd name="connsiteY285" fmla="*/ 2276 h 461963"/>
                  <a:gd name="connsiteX286" fmla="*/ 627745 w 862013"/>
                  <a:gd name="connsiteY286" fmla="*/ 2276 h 461963"/>
                  <a:gd name="connsiteX287" fmla="*/ 643667 w 862013"/>
                  <a:gd name="connsiteY287" fmla="*/ 2276 h 461963"/>
                  <a:gd name="connsiteX288" fmla="*/ 652764 w 862013"/>
                  <a:gd name="connsiteY288" fmla="*/ 2276 h 461963"/>
                  <a:gd name="connsiteX289" fmla="*/ 655039 w 862013"/>
                  <a:gd name="connsiteY289" fmla="*/ 2276 h 461963"/>
                  <a:gd name="connsiteX290" fmla="*/ 661862 w 862013"/>
                  <a:gd name="connsiteY290" fmla="*/ 2276 h 461963"/>
                  <a:gd name="connsiteX291" fmla="*/ 695979 w 862013"/>
                  <a:gd name="connsiteY291" fmla="*/ 4551 h 461963"/>
                  <a:gd name="connsiteX292" fmla="*/ 643667 w 862013"/>
                  <a:gd name="connsiteY292" fmla="*/ 6827 h 461963"/>
                  <a:gd name="connsiteX293" fmla="*/ 618648 w 862013"/>
                  <a:gd name="connsiteY293" fmla="*/ 9103 h 461963"/>
                  <a:gd name="connsiteX294" fmla="*/ 595903 w 862013"/>
                  <a:gd name="connsiteY294" fmla="*/ 6827 h 461963"/>
                  <a:gd name="connsiteX295" fmla="*/ 605001 w 862013"/>
                  <a:gd name="connsiteY295" fmla="*/ 9103 h 461963"/>
                  <a:gd name="connsiteX296" fmla="*/ 595903 w 862013"/>
                  <a:gd name="connsiteY296" fmla="*/ 9103 h 461963"/>
                  <a:gd name="connsiteX297" fmla="*/ 593954 w 862013"/>
                  <a:gd name="connsiteY297" fmla="*/ 9753 h 461963"/>
                  <a:gd name="connsiteX298" fmla="*/ 566336 w 862013"/>
                  <a:gd name="connsiteY298" fmla="*/ 11378 h 461963"/>
                  <a:gd name="connsiteX299" fmla="*/ 564061 w 862013"/>
                  <a:gd name="connsiteY299" fmla="*/ 13654 h 461963"/>
                  <a:gd name="connsiteX300" fmla="*/ 582257 w 862013"/>
                  <a:gd name="connsiteY300" fmla="*/ 11378 h 461963"/>
                  <a:gd name="connsiteX301" fmla="*/ 589080 w 862013"/>
                  <a:gd name="connsiteY301" fmla="*/ 11378 h 461963"/>
                  <a:gd name="connsiteX302" fmla="*/ 593954 w 862013"/>
                  <a:gd name="connsiteY302" fmla="*/ 9753 h 461963"/>
                  <a:gd name="connsiteX303" fmla="*/ 605001 w 862013"/>
                  <a:gd name="connsiteY303" fmla="*/ 9103 h 461963"/>
                  <a:gd name="connsiteX304" fmla="*/ 618648 w 862013"/>
                  <a:gd name="connsiteY304" fmla="*/ 9103 h 461963"/>
                  <a:gd name="connsiteX305" fmla="*/ 630020 w 862013"/>
                  <a:gd name="connsiteY305" fmla="*/ 9103 h 461963"/>
                  <a:gd name="connsiteX306" fmla="*/ 670960 w 862013"/>
                  <a:gd name="connsiteY306" fmla="*/ 9103 h 461963"/>
                  <a:gd name="connsiteX307" fmla="*/ 705076 w 862013"/>
                  <a:gd name="connsiteY307" fmla="*/ 9103 h 461963"/>
                  <a:gd name="connsiteX308" fmla="*/ 689155 w 862013"/>
                  <a:gd name="connsiteY308" fmla="*/ 13654 h 461963"/>
                  <a:gd name="connsiteX309" fmla="*/ 716449 w 862013"/>
                  <a:gd name="connsiteY309" fmla="*/ 11378 h 461963"/>
                  <a:gd name="connsiteX310" fmla="*/ 711900 w 862013"/>
                  <a:gd name="connsiteY310" fmla="*/ 13654 h 461963"/>
                  <a:gd name="connsiteX311" fmla="*/ 746017 w 862013"/>
                  <a:gd name="connsiteY311" fmla="*/ 15930 h 461963"/>
                  <a:gd name="connsiteX312" fmla="*/ 732370 w 862013"/>
                  <a:gd name="connsiteY312" fmla="*/ 18205 h 461963"/>
                  <a:gd name="connsiteX313" fmla="*/ 716449 w 862013"/>
                  <a:gd name="connsiteY313" fmla="*/ 20481 h 461963"/>
                  <a:gd name="connsiteX314" fmla="*/ 680058 w 862013"/>
                  <a:gd name="connsiteY314" fmla="*/ 20481 h 461963"/>
                  <a:gd name="connsiteX315" fmla="*/ 643667 w 862013"/>
                  <a:gd name="connsiteY315" fmla="*/ 20481 h 461963"/>
                  <a:gd name="connsiteX316" fmla="*/ 622742 w 862013"/>
                  <a:gd name="connsiteY316" fmla="*/ 20481 h 461963"/>
                  <a:gd name="connsiteX317" fmla="*/ 620922 w 862013"/>
                  <a:gd name="connsiteY317" fmla="*/ 19912 h 461963"/>
                  <a:gd name="connsiteX318" fmla="*/ 611824 w 862013"/>
                  <a:gd name="connsiteY318" fmla="*/ 20481 h 461963"/>
                  <a:gd name="connsiteX319" fmla="*/ 622742 w 862013"/>
                  <a:gd name="connsiteY319" fmla="*/ 20481 h 461963"/>
                  <a:gd name="connsiteX320" fmla="*/ 630020 w 862013"/>
                  <a:gd name="connsiteY320" fmla="*/ 22757 h 461963"/>
                  <a:gd name="connsiteX321" fmla="*/ 602727 w 862013"/>
                  <a:gd name="connsiteY321" fmla="*/ 25032 h 461963"/>
                  <a:gd name="connsiteX322" fmla="*/ 586806 w 862013"/>
                  <a:gd name="connsiteY322" fmla="*/ 29584 h 461963"/>
                  <a:gd name="connsiteX323" fmla="*/ 641392 w 862013"/>
                  <a:gd name="connsiteY323" fmla="*/ 22757 h 461963"/>
                  <a:gd name="connsiteX324" fmla="*/ 668685 w 862013"/>
                  <a:gd name="connsiteY324" fmla="*/ 22757 h 461963"/>
                  <a:gd name="connsiteX325" fmla="*/ 691430 w 862013"/>
                  <a:gd name="connsiteY325" fmla="*/ 25032 h 461963"/>
                  <a:gd name="connsiteX326" fmla="*/ 675509 w 862013"/>
                  <a:gd name="connsiteY326" fmla="*/ 29584 h 461963"/>
                  <a:gd name="connsiteX327" fmla="*/ 657313 w 862013"/>
                  <a:gd name="connsiteY327" fmla="*/ 31859 h 461963"/>
                  <a:gd name="connsiteX328" fmla="*/ 677783 w 862013"/>
                  <a:gd name="connsiteY328" fmla="*/ 29584 h 461963"/>
                  <a:gd name="connsiteX329" fmla="*/ 698253 w 862013"/>
                  <a:gd name="connsiteY329" fmla="*/ 27308 h 461963"/>
                  <a:gd name="connsiteX330" fmla="*/ 709626 w 862013"/>
                  <a:gd name="connsiteY330" fmla="*/ 22757 h 461963"/>
                  <a:gd name="connsiteX331" fmla="*/ 723272 w 862013"/>
                  <a:gd name="connsiteY331" fmla="*/ 22757 h 461963"/>
                  <a:gd name="connsiteX332" fmla="*/ 732370 w 862013"/>
                  <a:gd name="connsiteY332" fmla="*/ 27308 h 461963"/>
                  <a:gd name="connsiteX333" fmla="*/ 725547 w 862013"/>
                  <a:gd name="connsiteY333" fmla="*/ 31859 h 461963"/>
                  <a:gd name="connsiteX334" fmla="*/ 709626 w 862013"/>
                  <a:gd name="connsiteY334" fmla="*/ 36411 h 461963"/>
                  <a:gd name="connsiteX335" fmla="*/ 693704 w 862013"/>
                  <a:gd name="connsiteY335" fmla="*/ 43238 h 461963"/>
                  <a:gd name="connsiteX336" fmla="*/ 691430 w 862013"/>
                  <a:gd name="connsiteY336" fmla="*/ 45514 h 461963"/>
                  <a:gd name="connsiteX337" fmla="*/ 705076 w 862013"/>
                  <a:gd name="connsiteY337" fmla="*/ 40962 h 461963"/>
                  <a:gd name="connsiteX338" fmla="*/ 723272 w 862013"/>
                  <a:gd name="connsiteY338" fmla="*/ 36411 h 461963"/>
                  <a:gd name="connsiteX339" fmla="*/ 757389 w 862013"/>
                  <a:gd name="connsiteY339" fmla="*/ 29584 h 461963"/>
                  <a:gd name="connsiteX340" fmla="*/ 752840 w 862013"/>
                  <a:gd name="connsiteY340" fmla="*/ 31859 h 461963"/>
                  <a:gd name="connsiteX341" fmla="*/ 764212 w 862013"/>
                  <a:gd name="connsiteY341" fmla="*/ 29584 h 461963"/>
                  <a:gd name="connsiteX342" fmla="*/ 773310 w 862013"/>
                  <a:gd name="connsiteY342" fmla="*/ 31859 h 461963"/>
                  <a:gd name="connsiteX343" fmla="*/ 789231 w 862013"/>
                  <a:gd name="connsiteY343" fmla="*/ 29584 h 461963"/>
                  <a:gd name="connsiteX344" fmla="*/ 791505 w 862013"/>
                  <a:gd name="connsiteY344" fmla="*/ 27308 h 461963"/>
                  <a:gd name="connsiteX345" fmla="*/ 791505 w 862013"/>
                  <a:gd name="connsiteY345" fmla="*/ 25032 h 461963"/>
                  <a:gd name="connsiteX346" fmla="*/ 830171 w 862013"/>
                  <a:gd name="connsiteY346" fmla="*/ 25032 h 461963"/>
                  <a:gd name="connsiteX347" fmla="*/ 862013 w 862013"/>
                  <a:gd name="connsiteY347" fmla="*/ 29584 h 461963"/>
                  <a:gd name="connsiteX348" fmla="*/ 841543 w 862013"/>
                  <a:gd name="connsiteY348" fmla="*/ 34135 h 461963"/>
                  <a:gd name="connsiteX349" fmla="*/ 832445 w 862013"/>
                  <a:gd name="connsiteY349" fmla="*/ 36411 h 461963"/>
                  <a:gd name="connsiteX350" fmla="*/ 818799 w 862013"/>
                  <a:gd name="connsiteY350" fmla="*/ 36411 h 461963"/>
                  <a:gd name="connsiteX351" fmla="*/ 823348 w 862013"/>
                  <a:gd name="connsiteY351" fmla="*/ 38687 h 461963"/>
                  <a:gd name="connsiteX352" fmla="*/ 814250 w 862013"/>
                  <a:gd name="connsiteY352" fmla="*/ 40962 h 461963"/>
                  <a:gd name="connsiteX353" fmla="*/ 802878 w 862013"/>
                  <a:gd name="connsiteY353" fmla="*/ 43238 h 461963"/>
                  <a:gd name="connsiteX354" fmla="*/ 780133 w 862013"/>
                  <a:gd name="connsiteY354" fmla="*/ 40962 h 461963"/>
                  <a:gd name="connsiteX355" fmla="*/ 773310 w 862013"/>
                  <a:gd name="connsiteY355" fmla="*/ 45514 h 461963"/>
                  <a:gd name="connsiteX356" fmla="*/ 783829 w 862013"/>
                  <a:gd name="connsiteY356" fmla="*/ 45514 h 461963"/>
                  <a:gd name="connsiteX357" fmla="*/ 802878 w 862013"/>
                  <a:gd name="connsiteY357" fmla="*/ 45514 h 461963"/>
                  <a:gd name="connsiteX358" fmla="*/ 773310 w 862013"/>
                  <a:gd name="connsiteY358" fmla="*/ 52341 h 461963"/>
                  <a:gd name="connsiteX359" fmla="*/ 771036 w 862013"/>
                  <a:gd name="connsiteY359" fmla="*/ 51772 h 461963"/>
                  <a:gd name="connsiteX360" fmla="*/ 769075 w 862013"/>
                  <a:gd name="connsiteY360" fmla="*/ 51870 h 461963"/>
                  <a:gd name="connsiteX361" fmla="*/ 754352 w 862013"/>
                  <a:gd name="connsiteY361" fmla="*/ 50233 h 461963"/>
                  <a:gd name="connsiteX362" fmla="*/ 759565 w 862013"/>
                  <a:gd name="connsiteY362" fmla="*/ 52365 h 461963"/>
                  <a:gd name="connsiteX363" fmla="*/ 759663 w 862013"/>
                  <a:gd name="connsiteY363" fmla="*/ 52341 h 461963"/>
                  <a:gd name="connsiteX364" fmla="*/ 769075 w 862013"/>
                  <a:gd name="connsiteY364" fmla="*/ 51870 h 461963"/>
                  <a:gd name="connsiteX365" fmla="*/ 773310 w 862013"/>
                  <a:gd name="connsiteY365" fmla="*/ 52341 h 461963"/>
                  <a:gd name="connsiteX366" fmla="*/ 782408 w 862013"/>
                  <a:gd name="connsiteY366" fmla="*/ 54616 h 461963"/>
                  <a:gd name="connsiteX367" fmla="*/ 757389 w 862013"/>
                  <a:gd name="connsiteY367" fmla="*/ 59168 h 461963"/>
                  <a:gd name="connsiteX368" fmla="*/ 748291 w 862013"/>
                  <a:gd name="connsiteY368" fmla="*/ 63719 h 461963"/>
                  <a:gd name="connsiteX369" fmla="*/ 748291 w 862013"/>
                  <a:gd name="connsiteY369" fmla="*/ 65995 h 461963"/>
                  <a:gd name="connsiteX370" fmla="*/ 743742 w 862013"/>
                  <a:gd name="connsiteY370" fmla="*/ 68270 h 461963"/>
                  <a:gd name="connsiteX371" fmla="*/ 755114 w 862013"/>
                  <a:gd name="connsiteY371" fmla="*/ 65995 h 461963"/>
                  <a:gd name="connsiteX372" fmla="*/ 750566 w 862013"/>
                  <a:gd name="connsiteY372" fmla="*/ 68270 h 461963"/>
                  <a:gd name="connsiteX373" fmla="*/ 746017 w 862013"/>
                  <a:gd name="connsiteY373" fmla="*/ 70546 h 461963"/>
                  <a:gd name="connsiteX374" fmla="*/ 739193 w 862013"/>
                  <a:gd name="connsiteY374" fmla="*/ 72822 h 461963"/>
                  <a:gd name="connsiteX375" fmla="*/ 730096 w 862013"/>
                  <a:gd name="connsiteY375" fmla="*/ 75097 h 461963"/>
                  <a:gd name="connsiteX376" fmla="*/ 720998 w 862013"/>
                  <a:gd name="connsiteY376" fmla="*/ 75097 h 461963"/>
                  <a:gd name="connsiteX377" fmla="*/ 718723 w 862013"/>
                  <a:gd name="connsiteY377" fmla="*/ 79649 h 461963"/>
                  <a:gd name="connsiteX378" fmla="*/ 723272 w 862013"/>
                  <a:gd name="connsiteY378" fmla="*/ 79649 h 461963"/>
                  <a:gd name="connsiteX379" fmla="*/ 716449 w 862013"/>
                  <a:gd name="connsiteY379" fmla="*/ 84200 h 461963"/>
                  <a:gd name="connsiteX380" fmla="*/ 709626 w 862013"/>
                  <a:gd name="connsiteY380" fmla="*/ 86476 h 461963"/>
                  <a:gd name="connsiteX381" fmla="*/ 714175 w 862013"/>
                  <a:gd name="connsiteY381" fmla="*/ 88751 h 461963"/>
                  <a:gd name="connsiteX382" fmla="*/ 702802 w 862013"/>
                  <a:gd name="connsiteY382" fmla="*/ 95579 h 461963"/>
                  <a:gd name="connsiteX383" fmla="*/ 707351 w 862013"/>
                  <a:gd name="connsiteY383" fmla="*/ 97854 h 461963"/>
                  <a:gd name="connsiteX384" fmla="*/ 716449 w 862013"/>
                  <a:gd name="connsiteY384" fmla="*/ 91027 h 461963"/>
                  <a:gd name="connsiteX385" fmla="*/ 727785 w 862013"/>
                  <a:gd name="connsiteY385" fmla="*/ 91027 h 461963"/>
                  <a:gd name="connsiteX386" fmla="*/ 726282 w 862013"/>
                  <a:gd name="connsiteY386" fmla="*/ 90487 h 461963"/>
                  <a:gd name="connsiteX387" fmla="*/ 741761 w 862013"/>
                  <a:gd name="connsiteY387" fmla="*/ 92869 h 461963"/>
                  <a:gd name="connsiteX388" fmla="*/ 736849 w 862013"/>
                  <a:gd name="connsiteY388" fmla="*/ 92869 h 461963"/>
                  <a:gd name="connsiteX389" fmla="*/ 743742 w 862013"/>
                  <a:gd name="connsiteY389" fmla="*/ 95579 h 461963"/>
                  <a:gd name="connsiteX390" fmla="*/ 716449 w 862013"/>
                  <a:gd name="connsiteY390" fmla="*/ 95579 h 461963"/>
                  <a:gd name="connsiteX391" fmla="*/ 725547 w 862013"/>
                  <a:gd name="connsiteY391" fmla="*/ 97854 h 461963"/>
                  <a:gd name="connsiteX392" fmla="*/ 723272 w 862013"/>
                  <a:gd name="connsiteY392" fmla="*/ 97854 h 461963"/>
                  <a:gd name="connsiteX393" fmla="*/ 722704 w 862013"/>
                  <a:gd name="connsiteY393" fmla="*/ 97854 h 461963"/>
                  <a:gd name="connsiteX394" fmla="*/ 714175 w 862013"/>
                  <a:gd name="connsiteY394" fmla="*/ 97854 h 461963"/>
                  <a:gd name="connsiteX395" fmla="*/ 725282 w 862013"/>
                  <a:gd name="connsiteY395" fmla="*/ 99707 h 461963"/>
                  <a:gd name="connsiteX396" fmla="*/ 718723 w 862013"/>
                  <a:gd name="connsiteY396" fmla="*/ 100130 h 461963"/>
                  <a:gd name="connsiteX397" fmla="*/ 727821 w 862013"/>
                  <a:gd name="connsiteY397" fmla="*/ 100130 h 461963"/>
                  <a:gd name="connsiteX398" fmla="*/ 725282 w 862013"/>
                  <a:gd name="connsiteY398" fmla="*/ 99707 h 461963"/>
                  <a:gd name="connsiteX399" fmla="*/ 727537 w 862013"/>
                  <a:gd name="connsiteY399" fmla="*/ 99561 h 461963"/>
                  <a:gd name="connsiteX400" fmla="*/ 734644 w 862013"/>
                  <a:gd name="connsiteY400" fmla="*/ 102406 h 461963"/>
                  <a:gd name="connsiteX401" fmla="*/ 741468 w 862013"/>
                  <a:gd name="connsiteY401" fmla="*/ 102406 h 461963"/>
                  <a:gd name="connsiteX402" fmla="*/ 750566 w 862013"/>
                  <a:gd name="connsiteY402" fmla="*/ 109233 h 461963"/>
                  <a:gd name="connsiteX403" fmla="*/ 734644 w 862013"/>
                  <a:gd name="connsiteY403" fmla="*/ 109233 h 461963"/>
                  <a:gd name="connsiteX404" fmla="*/ 716449 w 862013"/>
                  <a:gd name="connsiteY404" fmla="*/ 109233 h 461963"/>
                  <a:gd name="connsiteX405" fmla="*/ 711900 w 862013"/>
                  <a:gd name="connsiteY405" fmla="*/ 109233 h 461963"/>
                  <a:gd name="connsiteX406" fmla="*/ 700528 w 862013"/>
                  <a:gd name="connsiteY406" fmla="*/ 109233 h 461963"/>
                  <a:gd name="connsiteX407" fmla="*/ 711900 w 862013"/>
                  <a:gd name="connsiteY407" fmla="*/ 111508 h 461963"/>
                  <a:gd name="connsiteX408" fmla="*/ 698253 w 862013"/>
                  <a:gd name="connsiteY408" fmla="*/ 113784 h 461963"/>
                  <a:gd name="connsiteX409" fmla="*/ 693704 w 862013"/>
                  <a:gd name="connsiteY409" fmla="*/ 111508 h 461963"/>
                  <a:gd name="connsiteX410" fmla="*/ 686881 w 862013"/>
                  <a:gd name="connsiteY410" fmla="*/ 113784 h 461963"/>
                  <a:gd name="connsiteX411" fmla="*/ 689155 w 862013"/>
                  <a:gd name="connsiteY411" fmla="*/ 116060 h 461963"/>
                  <a:gd name="connsiteX412" fmla="*/ 693704 w 862013"/>
                  <a:gd name="connsiteY412" fmla="*/ 116060 h 461963"/>
                  <a:gd name="connsiteX413" fmla="*/ 698253 w 862013"/>
                  <a:gd name="connsiteY413" fmla="*/ 116060 h 461963"/>
                  <a:gd name="connsiteX414" fmla="*/ 693704 w 862013"/>
                  <a:gd name="connsiteY414" fmla="*/ 118335 h 461963"/>
                  <a:gd name="connsiteX415" fmla="*/ 686881 w 862013"/>
                  <a:gd name="connsiteY415" fmla="*/ 118335 h 461963"/>
                  <a:gd name="connsiteX416" fmla="*/ 698253 w 862013"/>
                  <a:gd name="connsiteY416" fmla="*/ 120611 h 461963"/>
                  <a:gd name="connsiteX417" fmla="*/ 695979 w 862013"/>
                  <a:gd name="connsiteY417" fmla="*/ 122887 h 461963"/>
                  <a:gd name="connsiteX418" fmla="*/ 705076 w 862013"/>
                  <a:gd name="connsiteY418" fmla="*/ 120611 h 461963"/>
                  <a:gd name="connsiteX419" fmla="*/ 718723 w 862013"/>
                  <a:gd name="connsiteY419" fmla="*/ 120611 h 461963"/>
                  <a:gd name="connsiteX420" fmla="*/ 720998 w 862013"/>
                  <a:gd name="connsiteY420" fmla="*/ 125162 h 461963"/>
                  <a:gd name="connsiteX421" fmla="*/ 710898 w 862013"/>
                  <a:gd name="connsiteY421" fmla="*/ 126847 h 461963"/>
                  <a:gd name="connsiteX422" fmla="*/ 709341 w 862013"/>
                  <a:gd name="connsiteY422" fmla="*/ 126300 h 461963"/>
                  <a:gd name="connsiteX423" fmla="*/ 691430 w 862013"/>
                  <a:gd name="connsiteY423" fmla="*/ 127438 h 461963"/>
                  <a:gd name="connsiteX424" fmla="*/ 707351 w 862013"/>
                  <a:gd name="connsiteY424" fmla="*/ 127438 h 461963"/>
                  <a:gd name="connsiteX425" fmla="*/ 710898 w 862013"/>
                  <a:gd name="connsiteY425" fmla="*/ 126847 h 461963"/>
                  <a:gd name="connsiteX426" fmla="*/ 725547 w 862013"/>
                  <a:gd name="connsiteY426" fmla="*/ 131989 h 461963"/>
                  <a:gd name="connsiteX427" fmla="*/ 723272 w 862013"/>
                  <a:gd name="connsiteY427" fmla="*/ 131989 h 461963"/>
                  <a:gd name="connsiteX428" fmla="*/ 723272 w 862013"/>
                  <a:gd name="connsiteY428" fmla="*/ 141092 h 461963"/>
                  <a:gd name="connsiteX429" fmla="*/ 714175 w 862013"/>
                  <a:gd name="connsiteY429" fmla="*/ 141092 h 461963"/>
                  <a:gd name="connsiteX430" fmla="*/ 700528 w 862013"/>
                  <a:gd name="connsiteY430" fmla="*/ 138817 h 461963"/>
                  <a:gd name="connsiteX431" fmla="*/ 684606 w 862013"/>
                  <a:gd name="connsiteY431" fmla="*/ 131989 h 461963"/>
                  <a:gd name="connsiteX432" fmla="*/ 693704 w 862013"/>
                  <a:gd name="connsiteY432" fmla="*/ 136541 h 461963"/>
                  <a:gd name="connsiteX433" fmla="*/ 684606 w 862013"/>
                  <a:gd name="connsiteY433" fmla="*/ 136541 h 461963"/>
                  <a:gd name="connsiteX434" fmla="*/ 705076 w 862013"/>
                  <a:gd name="connsiteY434" fmla="*/ 143368 h 461963"/>
                  <a:gd name="connsiteX435" fmla="*/ 702802 w 862013"/>
                  <a:gd name="connsiteY435" fmla="*/ 143368 h 461963"/>
                  <a:gd name="connsiteX436" fmla="*/ 691430 w 862013"/>
                  <a:gd name="connsiteY436" fmla="*/ 143368 h 461963"/>
                  <a:gd name="connsiteX437" fmla="*/ 680058 w 862013"/>
                  <a:gd name="connsiteY437" fmla="*/ 141092 h 461963"/>
                  <a:gd name="connsiteX438" fmla="*/ 689155 w 862013"/>
                  <a:gd name="connsiteY438" fmla="*/ 145644 h 461963"/>
                  <a:gd name="connsiteX439" fmla="*/ 702802 w 862013"/>
                  <a:gd name="connsiteY439" fmla="*/ 143368 h 461963"/>
                  <a:gd name="connsiteX440" fmla="*/ 702802 w 862013"/>
                  <a:gd name="connsiteY440" fmla="*/ 150195 h 461963"/>
                  <a:gd name="connsiteX441" fmla="*/ 695979 w 862013"/>
                  <a:gd name="connsiteY441" fmla="*/ 152471 h 461963"/>
                  <a:gd name="connsiteX442" fmla="*/ 709626 w 862013"/>
                  <a:gd name="connsiteY442" fmla="*/ 152471 h 461963"/>
                  <a:gd name="connsiteX443" fmla="*/ 720998 w 862013"/>
                  <a:gd name="connsiteY443" fmla="*/ 150195 h 461963"/>
                  <a:gd name="connsiteX444" fmla="*/ 725547 w 862013"/>
                  <a:gd name="connsiteY444" fmla="*/ 154746 h 461963"/>
                  <a:gd name="connsiteX445" fmla="*/ 711900 w 862013"/>
                  <a:gd name="connsiteY445" fmla="*/ 159298 h 461963"/>
                  <a:gd name="connsiteX446" fmla="*/ 707351 w 862013"/>
                  <a:gd name="connsiteY446" fmla="*/ 159298 h 461963"/>
                  <a:gd name="connsiteX447" fmla="*/ 702802 w 862013"/>
                  <a:gd name="connsiteY447" fmla="*/ 154746 h 461963"/>
                  <a:gd name="connsiteX448" fmla="*/ 686881 w 862013"/>
                  <a:gd name="connsiteY448" fmla="*/ 154746 h 461963"/>
                  <a:gd name="connsiteX449" fmla="*/ 680058 w 862013"/>
                  <a:gd name="connsiteY449" fmla="*/ 152471 h 461963"/>
                  <a:gd name="connsiteX450" fmla="*/ 682332 w 862013"/>
                  <a:gd name="connsiteY450" fmla="*/ 157022 h 461963"/>
                  <a:gd name="connsiteX451" fmla="*/ 673234 w 862013"/>
                  <a:gd name="connsiteY451" fmla="*/ 159298 h 461963"/>
                  <a:gd name="connsiteX452" fmla="*/ 675509 w 862013"/>
                  <a:gd name="connsiteY452" fmla="*/ 159298 h 461963"/>
                  <a:gd name="connsiteX453" fmla="*/ 670960 w 862013"/>
                  <a:gd name="connsiteY453" fmla="*/ 163849 h 461963"/>
                  <a:gd name="connsiteX454" fmla="*/ 677783 w 862013"/>
                  <a:gd name="connsiteY454" fmla="*/ 170676 h 461963"/>
                  <a:gd name="connsiteX455" fmla="*/ 682332 w 862013"/>
                  <a:gd name="connsiteY455" fmla="*/ 163849 h 461963"/>
                  <a:gd name="connsiteX456" fmla="*/ 700528 w 862013"/>
                  <a:gd name="connsiteY456" fmla="*/ 166125 h 461963"/>
                  <a:gd name="connsiteX457" fmla="*/ 695979 w 862013"/>
                  <a:gd name="connsiteY457" fmla="*/ 170676 h 461963"/>
                  <a:gd name="connsiteX458" fmla="*/ 693704 w 862013"/>
                  <a:gd name="connsiteY458" fmla="*/ 175227 h 461963"/>
                  <a:gd name="connsiteX459" fmla="*/ 677783 w 862013"/>
                  <a:gd name="connsiteY459" fmla="*/ 175227 h 461963"/>
                  <a:gd name="connsiteX460" fmla="*/ 645941 w 862013"/>
                  <a:gd name="connsiteY460" fmla="*/ 172952 h 461963"/>
                  <a:gd name="connsiteX461" fmla="*/ 655039 w 862013"/>
                  <a:gd name="connsiteY461" fmla="*/ 170676 h 461963"/>
                  <a:gd name="connsiteX462" fmla="*/ 641392 w 862013"/>
                  <a:gd name="connsiteY462" fmla="*/ 168400 h 461963"/>
                  <a:gd name="connsiteX463" fmla="*/ 632294 w 862013"/>
                  <a:gd name="connsiteY463" fmla="*/ 170676 h 461963"/>
                  <a:gd name="connsiteX464" fmla="*/ 623197 w 862013"/>
                  <a:gd name="connsiteY464" fmla="*/ 166125 h 461963"/>
                  <a:gd name="connsiteX465" fmla="*/ 634569 w 862013"/>
                  <a:gd name="connsiteY465" fmla="*/ 172952 h 461963"/>
                  <a:gd name="connsiteX466" fmla="*/ 623197 w 862013"/>
                  <a:gd name="connsiteY466" fmla="*/ 175227 h 461963"/>
                  <a:gd name="connsiteX467" fmla="*/ 614099 w 862013"/>
                  <a:gd name="connsiteY467" fmla="*/ 179779 h 461963"/>
                  <a:gd name="connsiteX468" fmla="*/ 604148 w 862013"/>
                  <a:gd name="connsiteY468" fmla="*/ 177788 h 461963"/>
                  <a:gd name="connsiteX469" fmla="*/ 605001 w 862013"/>
                  <a:gd name="connsiteY469" fmla="*/ 177503 h 461963"/>
                  <a:gd name="connsiteX470" fmla="*/ 600026 w 862013"/>
                  <a:gd name="connsiteY470" fmla="*/ 176507 h 461963"/>
                  <a:gd name="connsiteX471" fmla="*/ 597325 w 862013"/>
                  <a:gd name="connsiteY471" fmla="*/ 175512 h 461963"/>
                  <a:gd name="connsiteX472" fmla="*/ 593629 w 862013"/>
                  <a:gd name="connsiteY472" fmla="*/ 175227 h 461963"/>
                  <a:gd name="connsiteX473" fmla="*/ 600026 w 862013"/>
                  <a:gd name="connsiteY473" fmla="*/ 176507 h 461963"/>
                  <a:gd name="connsiteX474" fmla="*/ 602727 w 862013"/>
                  <a:gd name="connsiteY474" fmla="*/ 177503 h 461963"/>
                  <a:gd name="connsiteX475" fmla="*/ 604148 w 862013"/>
                  <a:gd name="connsiteY475" fmla="*/ 177788 h 461963"/>
                  <a:gd name="connsiteX476" fmla="*/ 598178 w 862013"/>
                  <a:gd name="connsiteY476" fmla="*/ 179779 h 461963"/>
                  <a:gd name="connsiteX477" fmla="*/ 589080 w 862013"/>
                  <a:gd name="connsiteY477" fmla="*/ 179779 h 461963"/>
                  <a:gd name="connsiteX478" fmla="*/ 589080 w 862013"/>
                  <a:gd name="connsiteY478" fmla="*/ 184330 h 461963"/>
                  <a:gd name="connsiteX479" fmla="*/ 593629 w 862013"/>
                  <a:gd name="connsiteY479" fmla="*/ 182054 h 461963"/>
                  <a:gd name="connsiteX480" fmla="*/ 605001 w 862013"/>
                  <a:gd name="connsiteY480" fmla="*/ 179779 h 461963"/>
                  <a:gd name="connsiteX481" fmla="*/ 616373 w 862013"/>
                  <a:gd name="connsiteY481" fmla="*/ 182054 h 461963"/>
                  <a:gd name="connsiteX482" fmla="*/ 625471 w 862013"/>
                  <a:gd name="connsiteY482" fmla="*/ 182054 h 461963"/>
                  <a:gd name="connsiteX483" fmla="*/ 616373 w 862013"/>
                  <a:gd name="connsiteY483" fmla="*/ 186606 h 461963"/>
                  <a:gd name="connsiteX484" fmla="*/ 607275 w 862013"/>
                  <a:gd name="connsiteY484" fmla="*/ 188881 h 461963"/>
                  <a:gd name="connsiteX485" fmla="*/ 600452 w 862013"/>
                  <a:gd name="connsiteY485" fmla="*/ 186606 h 461963"/>
                  <a:gd name="connsiteX486" fmla="*/ 589080 w 862013"/>
                  <a:gd name="connsiteY486" fmla="*/ 186606 h 461963"/>
                  <a:gd name="connsiteX487" fmla="*/ 602727 w 862013"/>
                  <a:gd name="connsiteY487" fmla="*/ 188881 h 461963"/>
                  <a:gd name="connsiteX488" fmla="*/ 605001 w 862013"/>
                  <a:gd name="connsiteY488" fmla="*/ 188881 h 461963"/>
                  <a:gd name="connsiteX489" fmla="*/ 602727 w 862013"/>
                  <a:gd name="connsiteY489" fmla="*/ 191157 h 461963"/>
                  <a:gd name="connsiteX490" fmla="*/ 627745 w 862013"/>
                  <a:gd name="connsiteY490" fmla="*/ 191157 h 461963"/>
                  <a:gd name="connsiteX491" fmla="*/ 609550 w 862013"/>
                  <a:gd name="connsiteY491" fmla="*/ 195709 h 461963"/>
                  <a:gd name="connsiteX492" fmla="*/ 616373 w 862013"/>
                  <a:gd name="connsiteY492" fmla="*/ 195709 h 461963"/>
                  <a:gd name="connsiteX493" fmla="*/ 614099 w 862013"/>
                  <a:gd name="connsiteY493" fmla="*/ 200260 h 461963"/>
                  <a:gd name="connsiteX494" fmla="*/ 627745 w 862013"/>
                  <a:gd name="connsiteY494" fmla="*/ 195709 h 461963"/>
                  <a:gd name="connsiteX495" fmla="*/ 639118 w 862013"/>
                  <a:gd name="connsiteY495" fmla="*/ 197984 h 461963"/>
                  <a:gd name="connsiteX496" fmla="*/ 645941 w 862013"/>
                  <a:gd name="connsiteY496" fmla="*/ 202536 h 461963"/>
                  <a:gd name="connsiteX497" fmla="*/ 655039 w 862013"/>
                  <a:gd name="connsiteY497" fmla="*/ 204811 h 461963"/>
                  <a:gd name="connsiteX498" fmla="*/ 645941 w 862013"/>
                  <a:gd name="connsiteY498" fmla="*/ 211638 h 461963"/>
                  <a:gd name="connsiteX499" fmla="*/ 655039 w 862013"/>
                  <a:gd name="connsiteY499" fmla="*/ 209363 h 461963"/>
                  <a:gd name="connsiteX500" fmla="*/ 652764 w 862013"/>
                  <a:gd name="connsiteY500" fmla="*/ 211638 h 461963"/>
                  <a:gd name="connsiteX501" fmla="*/ 664137 w 862013"/>
                  <a:gd name="connsiteY501" fmla="*/ 209363 h 461963"/>
                  <a:gd name="connsiteX502" fmla="*/ 652764 w 862013"/>
                  <a:gd name="connsiteY502" fmla="*/ 218465 h 461963"/>
                  <a:gd name="connsiteX503" fmla="*/ 666411 w 862013"/>
                  <a:gd name="connsiteY503" fmla="*/ 216190 h 461963"/>
                  <a:gd name="connsiteX504" fmla="*/ 661862 w 862013"/>
                  <a:gd name="connsiteY504" fmla="*/ 218465 h 461963"/>
                  <a:gd name="connsiteX505" fmla="*/ 664137 w 862013"/>
                  <a:gd name="connsiteY505" fmla="*/ 220741 h 461963"/>
                  <a:gd name="connsiteX506" fmla="*/ 661104 w 862013"/>
                  <a:gd name="connsiteY506" fmla="*/ 221500 h 461963"/>
                  <a:gd name="connsiteX507" fmla="*/ 661862 w 862013"/>
                  <a:gd name="connsiteY507" fmla="*/ 220741 h 461963"/>
                  <a:gd name="connsiteX508" fmla="*/ 655039 w 862013"/>
                  <a:gd name="connsiteY508" fmla="*/ 223017 h 461963"/>
                  <a:gd name="connsiteX509" fmla="*/ 661104 w 862013"/>
                  <a:gd name="connsiteY509" fmla="*/ 221500 h 461963"/>
                  <a:gd name="connsiteX510" fmla="*/ 659588 w 862013"/>
                  <a:gd name="connsiteY510" fmla="*/ 223017 h 461963"/>
                  <a:gd name="connsiteX511" fmla="*/ 664137 w 862013"/>
                  <a:gd name="connsiteY511" fmla="*/ 223017 h 461963"/>
                  <a:gd name="connsiteX512" fmla="*/ 659588 w 862013"/>
                  <a:gd name="connsiteY512" fmla="*/ 227568 h 461963"/>
                  <a:gd name="connsiteX513" fmla="*/ 664137 w 862013"/>
                  <a:gd name="connsiteY513" fmla="*/ 229844 h 461963"/>
                  <a:gd name="connsiteX514" fmla="*/ 659588 w 862013"/>
                  <a:gd name="connsiteY514" fmla="*/ 232119 h 461963"/>
                  <a:gd name="connsiteX515" fmla="*/ 655039 w 862013"/>
                  <a:gd name="connsiteY515" fmla="*/ 234395 h 461963"/>
                  <a:gd name="connsiteX516" fmla="*/ 650490 w 862013"/>
                  <a:gd name="connsiteY516" fmla="*/ 227568 h 461963"/>
                  <a:gd name="connsiteX517" fmla="*/ 645941 w 862013"/>
                  <a:gd name="connsiteY517" fmla="*/ 234395 h 461963"/>
                  <a:gd name="connsiteX518" fmla="*/ 632294 w 862013"/>
                  <a:gd name="connsiteY518" fmla="*/ 234395 h 461963"/>
                  <a:gd name="connsiteX519" fmla="*/ 623197 w 862013"/>
                  <a:gd name="connsiteY519" fmla="*/ 225292 h 461963"/>
                  <a:gd name="connsiteX520" fmla="*/ 616373 w 862013"/>
                  <a:gd name="connsiteY520" fmla="*/ 216190 h 461963"/>
                  <a:gd name="connsiteX521" fmla="*/ 600452 w 862013"/>
                  <a:gd name="connsiteY521" fmla="*/ 211638 h 461963"/>
                  <a:gd name="connsiteX522" fmla="*/ 593629 w 862013"/>
                  <a:gd name="connsiteY522" fmla="*/ 211638 h 461963"/>
                  <a:gd name="connsiteX523" fmla="*/ 589080 w 862013"/>
                  <a:gd name="connsiteY523" fmla="*/ 211638 h 461963"/>
                  <a:gd name="connsiteX524" fmla="*/ 579982 w 862013"/>
                  <a:gd name="connsiteY524" fmla="*/ 207087 h 461963"/>
                  <a:gd name="connsiteX525" fmla="*/ 566336 w 862013"/>
                  <a:gd name="connsiteY525" fmla="*/ 200260 h 461963"/>
                  <a:gd name="connsiteX526" fmla="*/ 566336 w 862013"/>
                  <a:gd name="connsiteY526" fmla="*/ 204811 h 461963"/>
                  <a:gd name="connsiteX527" fmla="*/ 575433 w 862013"/>
                  <a:gd name="connsiteY527" fmla="*/ 204811 h 461963"/>
                  <a:gd name="connsiteX528" fmla="*/ 582257 w 862013"/>
                  <a:gd name="connsiteY528" fmla="*/ 209363 h 461963"/>
                  <a:gd name="connsiteX529" fmla="*/ 574978 w 862013"/>
                  <a:gd name="connsiteY529" fmla="*/ 211638 h 461963"/>
                  <a:gd name="connsiteX530" fmla="*/ 564061 w 862013"/>
                  <a:gd name="connsiteY530" fmla="*/ 211638 h 461963"/>
                  <a:gd name="connsiteX531" fmla="*/ 573159 w 862013"/>
                  <a:gd name="connsiteY531" fmla="*/ 212207 h 461963"/>
                  <a:gd name="connsiteX532" fmla="*/ 574978 w 862013"/>
                  <a:gd name="connsiteY532" fmla="*/ 211638 h 461963"/>
                  <a:gd name="connsiteX533" fmla="*/ 577708 w 862013"/>
                  <a:gd name="connsiteY533" fmla="*/ 211638 h 461963"/>
                  <a:gd name="connsiteX534" fmla="*/ 582257 w 862013"/>
                  <a:gd name="connsiteY534" fmla="*/ 213914 h 461963"/>
                  <a:gd name="connsiteX535" fmla="*/ 595903 w 862013"/>
                  <a:gd name="connsiteY535" fmla="*/ 213914 h 461963"/>
                  <a:gd name="connsiteX536" fmla="*/ 602727 w 862013"/>
                  <a:gd name="connsiteY536" fmla="*/ 213914 h 461963"/>
                  <a:gd name="connsiteX537" fmla="*/ 607275 w 862013"/>
                  <a:gd name="connsiteY537" fmla="*/ 216190 h 461963"/>
                  <a:gd name="connsiteX538" fmla="*/ 602727 w 862013"/>
                  <a:gd name="connsiteY538" fmla="*/ 218465 h 461963"/>
                  <a:gd name="connsiteX539" fmla="*/ 595064 w 862013"/>
                  <a:gd name="connsiteY539" fmla="*/ 222647 h 461963"/>
                  <a:gd name="connsiteX540" fmla="*/ 602694 w 862013"/>
                  <a:gd name="connsiteY540" fmla="*/ 222647 h 461963"/>
                  <a:gd name="connsiteX541" fmla="*/ 602694 w 862013"/>
                  <a:gd name="connsiteY541" fmla="*/ 227410 h 461963"/>
                  <a:gd name="connsiteX542" fmla="*/ 604957 w 862013"/>
                  <a:gd name="connsiteY542" fmla="*/ 229791 h 461963"/>
                  <a:gd name="connsiteX543" fmla="*/ 582335 w 862013"/>
                  <a:gd name="connsiteY543" fmla="*/ 232172 h 461963"/>
                  <a:gd name="connsiteX544" fmla="*/ 576972 w 862013"/>
                  <a:gd name="connsiteY544" fmla="*/ 232800 h 461963"/>
                  <a:gd name="connsiteX545" fmla="*/ 586806 w 862013"/>
                  <a:gd name="connsiteY545" fmla="*/ 234395 h 461963"/>
                  <a:gd name="connsiteX546" fmla="*/ 577708 w 862013"/>
                  <a:gd name="connsiteY546" fmla="*/ 236671 h 461963"/>
                  <a:gd name="connsiteX547" fmla="*/ 568610 w 862013"/>
                  <a:gd name="connsiteY547" fmla="*/ 238946 h 461963"/>
                  <a:gd name="connsiteX548" fmla="*/ 550414 w 862013"/>
                  <a:gd name="connsiteY548" fmla="*/ 241222 h 461963"/>
                  <a:gd name="connsiteX549" fmla="*/ 564061 w 862013"/>
                  <a:gd name="connsiteY549" fmla="*/ 243498 h 461963"/>
                  <a:gd name="connsiteX550" fmla="*/ 573159 w 862013"/>
                  <a:gd name="connsiteY550" fmla="*/ 241222 h 461963"/>
                  <a:gd name="connsiteX551" fmla="*/ 591354 w 862013"/>
                  <a:gd name="connsiteY551" fmla="*/ 238946 h 461963"/>
                  <a:gd name="connsiteX552" fmla="*/ 605001 w 862013"/>
                  <a:gd name="connsiteY552" fmla="*/ 236671 h 461963"/>
                  <a:gd name="connsiteX553" fmla="*/ 602727 w 862013"/>
                  <a:gd name="connsiteY553" fmla="*/ 238946 h 461963"/>
                  <a:gd name="connsiteX554" fmla="*/ 614099 w 862013"/>
                  <a:gd name="connsiteY554" fmla="*/ 238946 h 461963"/>
                  <a:gd name="connsiteX555" fmla="*/ 625471 w 862013"/>
                  <a:gd name="connsiteY555" fmla="*/ 241222 h 461963"/>
                  <a:gd name="connsiteX556" fmla="*/ 641392 w 862013"/>
                  <a:gd name="connsiteY556" fmla="*/ 241222 h 461963"/>
                  <a:gd name="connsiteX557" fmla="*/ 650490 w 862013"/>
                  <a:gd name="connsiteY557" fmla="*/ 243498 h 461963"/>
                  <a:gd name="connsiteX558" fmla="*/ 632294 w 862013"/>
                  <a:gd name="connsiteY558" fmla="*/ 245773 h 461963"/>
                  <a:gd name="connsiteX559" fmla="*/ 636843 w 862013"/>
                  <a:gd name="connsiteY559" fmla="*/ 248049 h 461963"/>
                  <a:gd name="connsiteX560" fmla="*/ 630020 w 862013"/>
                  <a:gd name="connsiteY560" fmla="*/ 245773 h 461963"/>
                  <a:gd name="connsiteX561" fmla="*/ 620922 w 862013"/>
                  <a:gd name="connsiteY561" fmla="*/ 248049 h 461963"/>
                  <a:gd name="connsiteX562" fmla="*/ 623197 w 862013"/>
                  <a:gd name="connsiteY562" fmla="*/ 252601 h 461963"/>
                  <a:gd name="connsiteX563" fmla="*/ 614099 w 862013"/>
                  <a:gd name="connsiteY563" fmla="*/ 252601 h 461963"/>
                  <a:gd name="connsiteX564" fmla="*/ 611824 w 862013"/>
                  <a:gd name="connsiteY564" fmla="*/ 257152 h 461963"/>
                  <a:gd name="connsiteX565" fmla="*/ 605001 w 862013"/>
                  <a:gd name="connsiteY565" fmla="*/ 254876 h 461963"/>
                  <a:gd name="connsiteX566" fmla="*/ 607275 w 862013"/>
                  <a:gd name="connsiteY566" fmla="*/ 259428 h 461963"/>
                  <a:gd name="connsiteX567" fmla="*/ 598178 w 862013"/>
                  <a:gd name="connsiteY567" fmla="*/ 259428 h 461963"/>
                  <a:gd name="connsiteX568" fmla="*/ 598178 w 862013"/>
                  <a:gd name="connsiteY568" fmla="*/ 261703 h 461963"/>
                  <a:gd name="connsiteX569" fmla="*/ 595903 w 862013"/>
                  <a:gd name="connsiteY569" fmla="*/ 263979 h 461963"/>
                  <a:gd name="connsiteX570" fmla="*/ 591354 w 862013"/>
                  <a:gd name="connsiteY570" fmla="*/ 263979 h 461963"/>
                  <a:gd name="connsiteX571" fmla="*/ 579982 w 862013"/>
                  <a:gd name="connsiteY571" fmla="*/ 268530 h 461963"/>
                  <a:gd name="connsiteX572" fmla="*/ 575433 w 862013"/>
                  <a:gd name="connsiteY572" fmla="*/ 270806 h 461963"/>
                  <a:gd name="connsiteX573" fmla="*/ 568610 w 862013"/>
                  <a:gd name="connsiteY573" fmla="*/ 270806 h 461963"/>
                  <a:gd name="connsiteX574" fmla="*/ 559512 w 862013"/>
                  <a:gd name="connsiteY574" fmla="*/ 273082 h 461963"/>
                  <a:gd name="connsiteX575" fmla="*/ 550414 w 862013"/>
                  <a:gd name="connsiteY575" fmla="*/ 273082 h 461963"/>
                  <a:gd name="connsiteX576" fmla="*/ 545866 w 862013"/>
                  <a:gd name="connsiteY576" fmla="*/ 275357 h 461963"/>
                  <a:gd name="connsiteX577" fmla="*/ 541317 w 862013"/>
                  <a:gd name="connsiteY577" fmla="*/ 275357 h 461963"/>
                  <a:gd name="connsiteX578" fmla="*/ 529945 w 862013"/>
                  <a:gd name="connsiteY578" fmla="*/ 277633 h 461963"/>
                  <a:gd name="connsiteX579" fmla="*/ 520847 w 862013"/>
                  <a:gd name="connsiteY579" fmla="*/ 279909 h 461963"/>
                  <a:gd name="connsiteX580" fmla="*/ 516298 w 862013"/>
                  <a:gd name="connsiteY580" fmla="*/ 277633 h 461963"/>
                  <a:gd name="connsiteX581" fmla="*/ 511749 w 862013"/>
                  <a:gd name="connsiteY581" fmla="*/ 279909 h 461963"/>
                  <a:gd name="connsiteX582" fmla="*/ 514023 w 862013"/>
                  <a:gd name="connsiteY582" fmla="*/ 282184 h 461963"/>
                  <a:gd name="connsiteX583" fmla="*/ 509475 w 862013"/>
                  <a:gd name="connsiteY583" fmla="*/ 282184 h 461963"/>
                  <a:gd name="connsiteX584" fmla="*/ 504926 w 862013"/>
                  <a:gd name="connsiteY584" fmla="*/ 279909 h 461963"/>
                  <a:gd name="connsiteX585" fmla="*/ 507200 w 862013"/>
                  <a:gd name="connsiteY585" fmla="*/ 282184 h 461963"/>
                  <a:gd name="connsiteX586" fmla="*/ 493553 w 862013"/>
                  <a:gd name="connsiteY586" fmla="*/ 284460 h 461963"/>
                  <a:gd name="connsiteX587" fmla="*/ 491279 w 862013"/>
                  <a:gd name="connsiteY587" fmla="*/ 279909 h 461963"/>
                  <a:gd name="connsiteX588" fmla="*/ 484456 w 862013"/>
                  <a:gd name="connsiteY588" fmla="*/ 275357 h 461963"/>
                  <a:gd name="connsiteX589" fmla="*/ 479907 w 862013"/>
                  <a:gd name="connsiteY589" fmla="*/ 273082 h 461963"/>
                  <a:gd name="connsiteX590" fmla="*/ 477632 w 862013"/>
                  <a:gd name="connsiteY590" fmla="*/ 275357 h 461963"/>
                  <a:gd name="connsiteX591" fmla="*/ 482181 w 862013"/>
                  <a:gd name="connsiteY591" fmla="*/ 279909 h 461963"/>
                  <a:gd name="connsiteX592" fmla="*/ 477632 w 862013"/>
                  <a:gd name="connsiteY592" fmla="*/ 279909 h 461963"/>
                  <a:gd name="connsiteX593" fmla="*/ 482181 w 862013"/>
                  <a:gd name="connsiteY593" fmla="*/ 284460 h 461963"/>
                  <a:gd name="connsiteX594" fmla="*/ 479907 w 862013"/>
                  <a:gd name="connsiteY594" fmla="*/ 286736 h 461963"/>
                  <a:gd name="connsiteX595" fmla="*/ 473084 w 862013"/>
                  <a:gd name="connsiteY595" fmla="*/ 289011 h 461963"/>
                  <a:gd name="connsiteX596" fmla="*/ 461711 w 862013"/>
                  <a:gd name="connsiteY596" fmla="*/ 291287 h 461963"/>
                  <a:gd name="connsiteX597" fmla="*/ 457162 w 862013"/>
                  <a:gd name="connsiteY597" fmla="*/ 293563 h 461963"/>
                  <a:gd name="connsiteX598" fmla="*/ 452614 w 862013"/>
                  <a:gd name="connsiteY598" fmla="*/ 298114 h 461963"/>
                  <a:gd name="connsiteX599" fmla="*/ 452614 w 862013"/>
                  <a:gd name="connsiteY599" fmla="*/ 302665 h 461963"/>
                  <a:gd name="connsiteX600" fmla="*/ 445790 w 862013"/>
                  <a:gd name="connsiteY600" fmla="*/ 307217 h 461963"/>
                  <a:gd name="connsiteX601" fmla="*/ 441241 w 862013"/>
                  <a:gd name="connsiteY601" fmla="*/ 311768 h 461963"/>
                  <a:gd name="connsiteX602" fmla="*/ 434418 w 862013"/>
                  <a:gd name="connsiteY602" fmla="*/ 314044 h 461963"/>
                  <a:gd name="connsiteX603" fmla="*/ 434418 w 862013"/>
                  <a:gd name="connsiteY603" fmla="*/ 311768 h 461963"/>
                  <a:gd name="connsiteX604" fmla="*/ 432144 w 862013"/>
                  <a:gd name="connsiteY604" fmla="*/ 316320 h 461963"/>
                  <a:gd name="connsiteX605" fmla="*/ 420771 w 862013"/>
                  <a:gd name="connsiteY605" fmla="*/ 318595 h 461963"/>
                  <a:gd name="connsiteX606" fmla="*/ 418497 w 862013"/>
                  <a:gd name="connsiteY606" fmla="*/ 323147 h 461963"/>
                  <a:gd name="connsiteX607" fmla="*/ 413948 w 862013"/>
                  <a:gd name="connsiteY607" fmla="*/ 320871 h 461963"/>
                  <a:gd name="connsiteX608" fmla="*/ 409399 w 862013"/>
                  <a:gd name="connsiteY608" fmla="*/ 318595 h 461963"/>
                  <a:gd name="connsiteX609" fmla="*/ 411674 w 862013"/>
                  <a:gd name="connsiteY609" fmla="*/ 323147 h 461963"/>
                  <a:gd name="connsiteX610" fmla="*/ 402576 w 862013"/>
                  <a:gd name="connsiteY610" fmla="*/ 327698 h 461963"/>
                  <a:gd name="connsiteX611" fmla="*/ 395753 w 862013"/>
                  <a:gd name="connsiteY611" fmla="*/ 329974 h 461963"/>
                  <a:gd name="connsiteX612" fmla="*/ 393478 w 862013"/>
                  <a:gd name="connsiteY612" fmla="*/ 325422 h 461963"/>
                  <a:gd name="connsiteX613" fmla="*/ 384380 w 862013"/>
                  <a:gd name="connsiteY613" fmla="*/ 329974 h 461963"/>
                  <a:gd name="connsiteX614" fmla="*/ 386655 w 862013"/>
                  <a:gd name="connsiteY614" fmla="*/ 325422 h 461963"/>
                  <a:gd name="connsiteX615" fmla="*/ 382106 w 862013"/>
                  <a:gd name="connsiteY615" fmla="*/ 329974 h 461963"/>
                  <a:gd name="connsiteX616" fmla="*/ 375529 w 862013"/>
                  <a:gd name="connsiteY616" fmla="*/ 329974 h 461963"/>
                  <a:gd name="connsiteX617" fmla="*/ 379810 w 862013"/>
                  <a:gd name="connsiteY617" fmla="*/ 332186 h 461963"/>
                  <a:gd name="connsiteX618" fmla="*/ 375444 w 862013"/>
                  <a:gd name="connsiteY618" fmla="*/ 334567 h 461963"/>
                  <a:gd name="connsiteX619" fmla="*/ 371079 w 862013"/>
                  <a:gd name="connsiteY619" fmla="*/ 336948 h 461963"/>
                  <a:gd name="connsiteX620" fmla="*/ 371079 w 862013"/>
                  <a:gd name="connsiteY620" fmla="*/ 332186 h 461963"/>
                  <a:gd name="connsiteX621" fmla="*/ 374007 w 862013"/>
                  <a:gd name="connsiteY621" fmla="*/ 329974 h 461963"/>
                  <a:gd name="connsiteX622" fmla="*/ 373008 w 862013"/>
                  <a:gd name="connsiteY622" fmla="*/ 329974 h 461963"/>
                  <a:gd name="connsiteX623" fmla="*/ 386655 w 862013"/>
                  <a:gd name="connsiteY623" fmla="*/ 320871 h 461963"/>
                  <a:gd name="connsiteX624" fmla="*/ 370734 w 862013"/>
                  <a:gd name="connsiteY624" fmla="*/ 318595 h 461963"/>
                  <a:gd name="connsiteX625" fmla="*/ 375283 w 862013"/>
                  <a:gd name="connsiteY625" fmla="*/ 320871 h 461963"/>
                  <a:gd name="connsiteX626" fmla="*/ 370734 w 862013"/>
                  <a:gd name="connsiteY626" fmla="*/ 325422 h 461963"/>
                  <a:gd name="connsiteX627" fmla="*/ 370734 w 862013"/>
                  <a:gd name="connsiteY627" fmla="*/ 327698 h 461963"/>
                  <a:gd name="connsiteX628" fmla="*/ 363910 w 862013"/>
                  <a:gd name="connsiteY628" fmla="*/ 325422 h 461963"/>
                  <a:gd name="connsiteX629" fmla="*/ 366185 w 862013"/>
                  <a:gd name="connsiteY629" fmla="*/ 329974 h 461963"/>
                  <a:gd name="connsiteX630" fmla="*/ 359361 w 862013"/>
                  <a:gd name="connsiteY630" fmla="*/ 334525 h 461963"/>
                  <a:gd name="connsiteX631" fmla="*/ 354813 w 862013"/>
                  <a:gd name="connsiteY631" fmla="*/ 334525 h 461963"/>
                  <a:gd name="connsiteX632" fmla="*/ 357087 w 862013"/>
                  <a:gd name="connsiteY632" fmla="*/ 336801 h 461963"/>
                  <a:gd name="connsiteX633" fmla="*/ 345715 w 862013"/>
                  <a:gd name="connsiteY633" fmla="*/ 332249 h 461963"/>
                  <a:gd name="connsiteX634" fmla="*/ 343440 w 862013"/>
                  <a:gd name="connsiteY634" fmla="*/ 336801 h 461963"/>
                  <a:gd name="connsiteX635" fmla="*/ 341166 w 862013"/>
                  <a:gd name="connsiteY635" fmla="*/ 334525 h 461963"/>
                  <a:gd name="connsiteX636" fmla="*/ 336617 w 862013"/>
                  <a:gd name="connsiteY636" fmla="*/ 336801 h 461963"/>
                  <a:gd name="connsiteX637" fmla="*/ 332068 w 862013"/>
                  <a:gd name="connsiteY637" fmla="*/ 339076 h 461963"/>
                  <a:gd name="connsiteX638" fmla="*/ 336617 w 862013"/>
                  <a:gd name="connsiteY638" fmla="*/ 339076 h 461963"/>
                  <a:gd name="connsiteX639" fmla="*/ 334343 w 862013"/>
                  <a:gd name="connsiteY639" fmla="*/ 341352 h 461963"/>
                  <a:gd name="connsiteX640" fmla="*/ 334343 w 862013"/>
                  <a:gd name="connsiteY640" fmla="*/ 343628 h 461963"/>
                  <a:gd name="connsiteX641" fmla="*/ 327519 w 862013"/>
                  <a:gd name="connsiteY641" fmla="*/ 345903 h 461963"/>
                  <a:gd name="connsiteX642" fmla="*/ 322970 w 862013"/>
                  <a:gd name="connsiteY642" fmla="*/ 348179 h 461963"/>
                  <a:gd name="connsiteX643" fmla="*/ 320696 w 862013"/>
                  <a:gd name="connsiteY643" fmla="*/ 345903 h 461963"/>
                  <a:gd name="connsiteX644" fmla="*/ 311598 w 862013"/>
                  <a:gd name="connsiteY644" fmla="*/ 348179 h 461963"/>
                  <a:gd name="connsiteX645" fmla="*/ 309324 w 862013"/>
                  <a:gd name="connsiteY645" fmla="*/ 350455 h 461963"/>
                  <a:gd name="connsiteX646" fmla="*/ 313873 w 862013"/>
                  <a:gd name="connsiteY646" fmla="*/ 359557 h 461963"/>
                  <a:gd name="connsiteX647" fmla="*/ 316147 w 862013"/>
                  <a:gd name="connsiteY647" fmla="*/ 361833 h 461963"/>
                  <a:gd name="connsiteX648" fmla="*/ 309324 w 862013"/>
                  <a:gd name="connsiteY648" fmla="*/ 361833 h 461963"/>
                  <a:gd name="connsiteX649" fmla="*/ 297952 w 862013"/>
                  <a:gd name="connsiteY649" fmla="*/ 364109 h 461963"/>
                  <a:gd name="connsiteX650" fmla="*/ 309324 w 862013"/>
                  <a:gd name="connsiteY650" fmla="*/ 366385 h 461963"/>
                  <a:gd name="connsiteX651" fmla="*/ 307049 w 862013"/>
                  <a:gd name="connsiteY651" fmla="*/ 370936 h 461963"/>
                  <a:gd name="connsiteX652" fmla="*/ 309324 w 862013"/>
                  <a:gd name="connsiteY652" fmla="*/ 377763 h 461963"/>
                  <a:gd name="connsiteX653" fmla="*/ 300226 w 862013"/>
                  <a:gd name="connsiteY653" fmla="*/ 375487 h 461963"/>
                  <a:gd name="connsiteX654" fmla="*/ 291128 w 862013"/>
                  <a:gd name="connsiteY654" fmla="*/ 375487 h 461963"/>
                  <a:gd name="connsiteX655" fmla="*/ 304775 w 862013"/>
                  <a:gd name="connsiteY655" fmla="*/ 380039 h 461963"/>
                  <a:gd name="connsiteX656" fmla="*/ 300226 w 862013"/>
                  <a:gd name="connsiteY656" fmla="*/ 380039 h 461963"/>
                  <a:gd name="connsiteX657" fmla="*/ 295677 w 862013"/>
                  <a:gd name="connsiteY657" fmla="*/ 380039 h 461963"/>
                  <a:gd name="connsiteX658" fmla="*/ 293403 w 862013"/>
                  <a:gd name="connsiteY658" fmla="*/ 380039 h 461963"/>
                  <a:gd name="connsiteX659" fmla="*/ 291128 w 862013"/>
                  <a:gd name="connsiteY659" fmla="*/ 382314 h 461963"/>
                  <a:gd name="connsiteX660" fmla="*/ 295677 w 862013"/>
                  <a:gd name="connsiteY660" fmla="*/ 384590 h 461963"/>
                  <a:gd name="connsiteX661" fmla="*/ 288854 w 862013"/>
                  <a:gd name="connsiteY661" fmla="*/ 382314 h 461963"/>
                  <a:gd name="connsiteX662" fmla="*/ 295677 w 862013"/>
                  <a:gd name="connsiteY662" fmla="*/ 386866 h 461963"/>
                  <a:gd name="connsiteX663" fmla="*/ 284305 w 862013"/>
                  <a:gd name="connsiteY663" fmla="*/ 382314 h 461963"/>
                  <a:gd name="connsiteX664" fmla="*/ 288854 w 862013"/>
                  <a:gd name="connsiteY664" fmla="*/ 389141 h 461963"/>
                  <a:gd name="connsiteX665" fmla="*/ 282030 w 862013"/>
                  <a:gd name="connsiteY665" fmla="*/ 386866 h 461963"/>
                  <a:gd name="connsiteX666" fmla="*/ 284305 w 862013"/>
                  <a:gd name="connsiteY666" fmla="*/ 391417 h 461963"/>
                  <a:gd name="connsiteX667" fmla="*/ 277482 w 862013"/>
                  <a:gd name="connsiteY667" fmla="*/ 386866 h 461963"/>
                  <a:gd name="connsiteX668" fmla="*/ 284305 w 862013"/>
                  <a:gd name="connsiteY668" fmla="*/ 393693 h 461963"/>
                  <a:gd name="connsiteX669" fmla="*/ 277482 w 862013"/>
                  <a:gd name="connsiteY669" fmla="*/ 395968 h 461963"/>
                  <a:gd name="connsiteX670" fmla="*/ 275207 w 862013"/>
                  <a:gd name="connsiteY670" fmla="*/ 398244 h 461963"/>
                  <a:gd name="connsiteX671" fmla="*/ 268384 w 862013"/>
                  <a:gd name="connsiteY671" fmla="*/ 398244 h 461963"/>
                  <a:gd name="connsiteX672" fmla="*/ 275207 w 862013"/>
                  <a:gd name="connsiteY672" fmla="*/ 395968 h 461963"/>
                  <a:gd name="connsiteX673" fmla="*/ 275128 w 862013"/>
                  <a:gd name="connsiteY673" fmla="*/ 395942 h 461963"/>
                  <a:gd name="connsiteX674" fmla="*/ 268384 w 862013"/>
                  <a:gd name="connsiteY674" fmla="*/ 393693 h 461963"/>
                  <a:gd name="connsiteX675" fmla="*/ 268384 w 862013"/>
                  <a:gd name="connsiteY675" fmla="*/ 395968 h 461963"/>
                  <a:gd name="connsiteX676" fmla="*/ 268384 w 862013"/>
                  <a:gd name="connsiteY676" fmla="*/ 398244 h 461963"/>
                  <a:gd name="connsiteX677" fmla="*/ 263835 w 862013"/>
                  <a:gd name="connsiteY677" fmla="*/ 398244 h 461963"/>
                  <a:gd name="connsiteX678" fmla="*/ 257012 w 862013"/>
                  <a:gd name="connsiteY678" fmla="*/ 395968 h 461963"/>
                  <a:gd name="connsiteX679" fmla="*/ 263835 w 862013"/>
                  <a:gd name="connsiteY679" fmla="*/ 400520 h 461963"/>
                  <a:gd name="connsiteX680" fmla="*/ 266109 w 862013"/>
                  <a:gd name="connsiteY680" fmla="*/ 402795 h 461963"/>
                  <a:gd name="connsiteX681" fmla="*/ 270658 w 862013"/>
                  <a:gd name="connsiteY681" fmla="*/ 405071 h 461963"/>
                  <a:gd name="connsiteX682" fmla="*/ 257012 w 862013"/>
                  <a:gd name="connsiteY682" fmla="*/ 402795 h 461963"/>
                  <a:gd name="connsiteX683" fmla="*/ 266109 w 862013"/>
                  <a:gd name="connsiteY683" fmla="*/ 407347 h 461963"/>
                  <a:gd name="connsiteX684" fmla="*/ 261561 w 862013"/>
                  <a:gd name="connsiteY684" fmla="*/ 414174 h 461963"/>
                  <a:gd name="connsiteX685" fmla="*/ 266109 w 862013"/>
                  <a:gd name="connsiteY685" fmla="*/ 414174 h 461963"/>
                  <a:gd name="connsiteX686" fmla="*/ 263835 w 862013"/>
                  <a:gd name="connsiteY686" fmla="*/ 416449 h 461963"/>
                  <a:gd name="connsiteX687" fmla="*/ 261845 w 862013"/>
                  <a:gd name="connsiteY687" fmla="*/ 419294 h 461963"/>
                  <a:gd name="connsiteX688" fmla="*/ 261055 w 862013"/>
                  <a:gd name="connsiteY688" fmla="*/ 419231 h 461963"/>
                  <a:gd name="connsiteX689" fmla="*/ 261561 w 862013"/>
                  <a:gd name="connsiteY689" fmla="*/ 418725 h 461963"/>
                  <a:gd name="connsiteX690" fmla="*/ 254737 w 862013"/>
                  <a:gd name="connsiteY690" fmla="*/ 418725 h 461963"/>
                  <a:gd name="connsiteX691" fmla="*/ 261055 w 862013"/>
                  <a:gd name="connsiteY691" fmla="*/ 419231 h 461963"/>
                  <a:gd name="connsiteX692" fmla="*/ 257012 w 862013"/>
                  <a:gd name="connsiteY692" fmla="*/ 423277 h 461963"/>
                  <a:gd name="connsiteX693" fmla="*/ 243365 w 862013"/>
                  <a:gd name="connsiteY693" fmla="*/ 427828 h 461963"/>
                  <a:gd name="connsiteX694" fmla="*/ 247914 w 862013"/>
                  <a:gd name="connsiteY694" fmla="*/ 430104 h 461963"/>
                  <a:gd name="connsiteX695" fmla="*/ 243365 w 862013"/>
                  <a:gd name="connsiteY695" fmla="*/ 430104 h 461963"/>
                  <a:gd name="connsiteX696" fmla="*/ 250188 w 862013"/>
                  <a:gd name="connsiteY696" fmla="*/ 432379 h 461963"/>
                  <a:gd name="connsiteX697" fmla="*/ 236542 w 862013"/>
                  <a:gd name="connsiteY697" fmla="*/ 432379 h 461963"/>
                  <a:gd name="connsiteX698" fmla="*/ 250188 w 862013"/>
                  <a:gd name="connsiteY698" fmla="*/ 434655 h 461963"/>
                  <a:gd name="connsiteX699" fmla="*/ 243985 w 862013"/>
                  <a:gd name="connsiteY699" fmla="*/ 438793 h 461963"/>
                  <a:gd name="connsiteX700" fmla="*/ 236542 w 862013"/>
                  <a:gd name="connsiteY700" fmla="*/ 436931 h 461963"/>
                  <a:gd name="connsiteX701" fmla="*/ 243365 w 862013"/>
                  <a:gd name="connsiteY701" fmla="*/ 439206 h 461963"/>
                  <a:gd name="connsiteX702" fmla="*/ 236542 w 862013"/>
                  <a:gd name="connsiteY702" fmla="*/ 439206 h 461963"/>
                  <a:gd name="connsiteX703" fmla="*/ 243365 w 862013"/>
                  <a:gd name="connsiteY703" fmla="*/ 441482 h 461963"/>
                  <a:gd name="connsiteX704" fmla="*/ 236542 w 862013"/>
                  <a:gd name="connsiteY704" fmla="*/ 443758 h 461963"/>
                  <a:gd name="connsiteX705" fmla="*/ 238816 w 862013"/>
                  <a:gd name="connsiteY705" fmla="*/ 443758 h 461963"/>
                  <a:gd name="connsiteX706" fmla="*/ 243365 w 862013"/>
                  <a:gd name="connsiteY706" fmla="*/ 446033 h 461963"/>
                  <a:gd name="connsiteX707" fmla="*/ 234267 w 862013"/>
                  <a:gd name="connsiteY707" fmla="*/ 446033 h 461963"/>
                  <a:gd name="connsiteX708" fmla="*/ 229718 w 862013"/>
                  <a:gd name="connsiteY708" fmla="*/ 443758 h 461963"/>
                  <a:gd name="connsiteX709" fmla="*/ 220621 w 862013"/>
                  <a:gd name="connsiteY709" fmla="*/ 443758 h 461963"/>
                  <a:gd name="connsiteX710" fmla="*/ 231993 w 862013"/>
                  <a:gd name="connsiteY710" fmla="*/ 448309 h 461963"/>
                  <a:gd name="connsiteX711" fmla="*/ 227444 w 862013"/>
                  <a:gd name="connsiteY711" fmla="*/ 450585 h 461963"/>
                  <a:gd name="connsiteX712" fmla="*/ 234267 w 862013"/>
                  <a:gd name="connsiteY712" fmla="*/ 448309 h 461963"/>
                  <a:gd name="connsiteX713" fmla="*/ 236542 w 862013"/>
                  <a:gd name="connsiteY713" fmla="*/ 452860 h 461963"/>
                  <a:gd name="connsiteX714" fmla="*/ 231993 w 862013"/>
                  <a:gd name="connsiteY714" fmla="*/ 452860 h 461963"/>
                  <a:gd name="connsiteX715" fmla="*/ 234267 w 862013"/>
                  <a:gd name="connsiteY715" fmla="*/ 455136 h 461963"/>
                  <a:gd name="connsiteX716" fmla="*/ 228581 w 862013"/>
                  <a:gd name="connsiteY716" fmla="*/ 455136 h 461963"/>
                  <a:gd name="connsiteX717" fmla="*/ 228198 w 862013"/>
                  <a:gd name="connsiteY717" fmla="*/ 455136 h 461963"/>
                  <a:gd name="connsiteX718" fmla="*/ 232172 w 862013"/>
                  <a:gd name="connsiteY718" fmla="*/ 457201 h 461963"/>
                  <a:gd name="connsiteX719" fmla="*/ 231149 w 862013"/>
                  <a:gd name="connsiteY719" fmla="*/ 457201 h 461963"/>
                  <a:gd name="connsiteX720" fmla="*/ 231993 w 862013"/>
                  <a:gd name="connsiteY720" fmla="*/ 457412 h 461963"/>
                  <a:gd name="connsiteX721" fmla="*/ 229791 w 862013"/>
                  <a:gd name="connsiteY721" fmla="*/ 457412 h 461963"/>
                  <a:gd name="connsiteX722" fmla="*/ 229578 w 862013"/>
                  <a:gd name="connsiteY722" fmla="*/ 457412 h 461963"/>
                  <a:gd name="connsiteX723" fmla="*/ 227409 w 862013"/>
                  <a:gd name="connsiteY723" fmla="*/ 459581 h 461963"/>
                  <a:gd name="connsiteX724" fmla="*/ 227409 w 862013"/>
                  <a:gd name="connsiteY724" fmla="*/ 457634 h 461963"/>
                  <a:gd name="connsiteX725" fmla="*/ 225351 w 862013"/>
                  <a:gd name="connsiteY725" fmla="*/ 459879 h 461963"/>
                  <a:gd name="connsiteX726" fmla="*/ 224120 w 862013"/>
                  <a:gd name="connsiteY726" fmla="*/ 459074 h 461963"/>
                  <a:gd name="connsiteX727" fmla="*/ 222895 w 862013"/>
                  <a:gd name="connsiteY727" fmla="*/ 459687 h 461963"/>
                  <a:gd name="connsiteX728" fmla="*/ 222895 w 862013"/>
                  <a:gd name="connsiteY728" fmla="*/ 458272 h 461963"/>
                  <a:gd name="connsiteX729" fmla="*/ 221258 w 862013"/>
                  <a:gd name="connsiteY729" fmla="*/ 457201 h 461963"/>
                  <a:gd name="connsiteX730" fmla="*/ 222473 w 862013"/>
                  <a:gd name="connsiteY730" fmla="*/ 457201 h 461963"/>
                  <a:gd name="connsiteX731" fmla="*/ 218346 w 862013"/>
                  <a:gd name="connsiteY731" fmla="*/ 455136 h 461963"/>
                  <a:gd name="connsiteX732" fmla="*/ 219656 w 862013"/>
                  <a:gd name="connsiteY732" fmla="*/ 455136 h 461963"/>
                  <a:gd name="connsiteX733" fmla="*/ 219075 w 862013"/>
                  <a:gd name="connsiteY733" fmla="*/ 454819 h 461963"/>
                  <a:gd name="connsiteX734" fmla="*/ 221819 w 862013"/>
                  <a:gd name="connsiteY734" fmla="*/ 454598 h 461963"/>
                  <a:gd name="connsiteX735" fmla="*/ 218346 w 862013"/>
                  <a:gd name="connsiteY735" fmla="*/ 452860 h 461963"/>
                  <a:gd name="connsiteX736" fmla="*/ 220621 w 862013"/>
                  <a:gd name="connsiteY736" fmla="*/ 450585 h 461963"/>
                  <a:gd name="connsiteX737" fmla="*/ 216072 w 862013"/>
                  <a:gd name="connsiteY737" fmla="*/ 450585 h 461963"/>
                  <a:gd name="connsiteX738" fmla="*/ 211523 w 862013"/>
                  <a:gd name="connsiteY738" fmla="*/ 455136 h 461963"/>
                  <a:gd name="connsiteX739" fmla="*/ 206974 w 862013"/>
                  <a:gd name="connsiteY739" fmla="*/ 455136 h 461963"/>
                  <a:gd name="connsiteX740" fmla="*/ 204700 w 862013"/>
                  <a:gd name="connsiteY740" fmla="*/ 455136 h 461963"/>
                  <a:gd name="connsiteX741" fmla="*/ 200151 w 862013"/>
                  <a:gd name="connsiteY741" fmla="*/ 455136 h 461963"/>
                  <a:gd name="connsiteX742" fmla="*/ 206974 w 862013"/>
                  <a:gd name="connsiteY742" fmla="*/ 448309 h 461963"/>
                  <a:gd name="connsiteX743" fmla="*/ 213797 w 862013"/>
                  <a:gd name="connsiteY743" fmla="*/ 441482 h 461963"/>
                  <a:gd name="connsiteX744" fmla="*/ 200151 w 862013"/>
                  <a:gd name="connsiteY744" fmla="*/ 448309 h 461963"/>
                  <a:gd name="connsiteX745" fmla="*/ 204700 w 862013"/>
                  <a:gd name="connsiteY745" fmla="*/ 443758 h 461963"/>
                  <a:gd name="connsiteX746" fmla="*/ 195602 w 862013"/>
                  <a:gd name="connsiteY746" fmla="*/ 448309 h 461963"/>
                  <a:gd name="connsiteX747" fmla="*/ 195602 w 862013"/>
                  <a:gd name="connsiteY747" fmla="*/ 443758 h 461963"/>
                  <a:gd name="connsiteX748" fmla="*/ 200151 w 862013"/>
                  <a:gd name="connsiteY748" fmla="*/ 439206 h 461963"/>
                  <a:gd name="connsiteX749" fmla="*/ 204700 w 862013"/>
                  <a:gd name="connsiteY749" fmla="*/ 436931 h 461963"/>
                  <a:gd name="connsiteX750" fmla="*/ 193327 w 862013"/>
                  <a:gd name="connsiteY750" fmla="*/ 441482 h 461963"/>
                  <a:gd name="connsiteX751" fmla="*/ 195602 w 862013"/>
                  <a:gd name="connsiteY751" fmla="*/ 439206 h 461963"/>
                  <a:gd name="connsiteX752" fmla="*/ 191906 w 862013"/>
                  <a:gd name="connsiteY752" fmla="*/ 441197 h 461963"/>
                  <a:gd name="connsiteX753" fmla="*/ 190178 w 862013"/>
                  <a:gd name="connsiteY753" fmla="*/ 441288 h 461963"/>
                  <a:gd name="connsiteX754" fmla="*/ 186504 w 862013"/>
                  <a:gd name="connsiteY754" fmla="*/ 441482 h 461963"/>
                  <a:gd name="connsiteX755" fmla="*/ 193327 w 862013"/>
                  <a:gd name="connsiteY755" fmla="*/ 439206 h 461963"/>
                  <a:gd name="connsiteX756" fmla="*/ 188778 w 862013"/>
                  <a:gd name="connsiteY756" fmla="*/ 439206 h 461963"/>
                  <a:gd name="connsiteX757" fmla="*/ 209248 w 862013"/>
                  <a:gd name="connsiteY757" fmla="*/ 432379 h 461963"/>
                  <a:gd name="connsiteX758" fmla="*/ 204700 w 862013"/>
                  <a:gd name="connsiteY758" fmla="*/ 430104 h 461963"/>
                  <a:gd name="connsiteX759" fmla="*/ 193327 w 862013"/>
                  <a:gd name="connsiteY759" fmla="*/ 436931 h 461963"/>
                  <a:gd name="connsiteX760" fmla="*/ 200151 w 862013"/>
                  <a:gd name="connsiteY760" fmla="*/ 432379 h 461963"/>
                  <a:gd name="connsiteX761" fmla="*/ 197876 w 862013"/>
                  <a:gd name="connsiteY761" fmla="*/ 430104 h 461963"/>
                  <a:gd name="connsiteX762" fmla="*/ 200151 w 862013"/>
                  <a:gd name="connsiteY762" fmla="*/ 430104 h 461963"/>
                  <a:gd name="connsiteX763" fmla="*/ 193327 w 862013"/>
                  <a:gd name="connsiteY763" fmla="*/ 430104 h 461963"/>
                  <a:gd name="connsiteX764" fmla="*/ 188778 w 862013"/>
                  <a:gd name="connsiteY764" fmla="*/ 434655 h 461963"/>
                  <a:gd name="connsiteX765" fmla="*/ 188778 w 862013"/>
                  <a:gd name="connsiteY765" fmla="*/ 436931 h 461963"/>
                  <a:gd name="connsiteX766" fmla="*/ 177406 w 862013"/>
                  <a:gd name="connsiteY766" fmla="*/ 436931 h 461963"/>
                  <a:gd name="connsiteX767" fmla="*/ 163760 w 862013"/>
                  <a:gd name="connsiteY767" fmla="*/ 436931 h 461963"/>
                  <a:gd name="connsiteX768" fmla="*/ 162338 w 862013"/>
                  <a:gd name="connsiteY768" fmla="*/ 437215 h 461963"/>
                  <a:gd name="connsiteX769" fmla="*/ 161485 w 862013"/>
                  <a:gd name="connsiteY769" fmla="*/ 436931 h 461963"/>
                  <a:gd name="connsiteX770" fmla="*/ 152387 w 862013"/>
                  <a:gd name="connsiteY770" fmla="*/ 436931 h 461963"/>
                  <a:gd name="connsiteX771" fmla="*/ 163760 w 862013"/>
                  <a:gd name="connsiteY771" fmla="*/ 432379 h 461963"/>
                  <a:gd name="connsiteX772" fmla="*/ 156936 w 862013"/>
                  <a:gd name="connsiteY772" fmla="*/ 432379 h 461963"/>
                  <a:gd name="connsiteX773" fmla="*/ 163760 w 862013"/>
                  <a:gd name="connsiteY773" fmla="*/ 427828 h 461963"/>
                  <a:gd name="connsiteX774" fmla="*/ 154662 w 862013"/>
                  <a:gd name="connsiteY774" fmla="*/ 432379 h 461963"/>
                  <a:gd name="connsiteX775" fmla="*/ 156936 w 862013"/>
                  <a:gd name="connsiteY775" fmla="*/ 430104 h 461963"/>
                  <a:gd name="connsiteX776" fmla="*/ 152387 w 862013"/>
                  <a:gd name="connsiteY776" fmla="*/ 430104 h 461963"/>
                  <a:gd name="connsiteX777" fmla="*/ 156936 w 862013"/>
                  <a:gd name="connsiteY777" fmla="*/ 427828 h 461963"/>
                  <a:gd name="connsiteX778" fmla="*/ 145564 w 862013"/>
                  <a:gd name="connsiteY778" fmla="*/ 427828 h 461963"/>
                  <a:gd name="connsiteX779" fmla="*/ 151340 w 862013"/>
                  <a:gd name="connsiteY779" fmla="*/ 424801 h 461963"/>
                  <a:gd name="connsiteX780" fmla="*/ 159211 w 862013"/>
                  <a:gd name="connsiteY780" fmla="*/ 423277 h 461963"/>
                  <a:gd name="connsiteX781" fmla="*/ 151535 w 862013"/>
                  <a:gd name="connsiteY781" fmla="*/ 424699 h 461963"/>
                  <a:gd name="connsiteX782" fmla="*/ 151340 w 862013"/>
                  <a:gd name="connsiteY782" fmla="*/ 424801 h 461963"/>
                  <a:gd name="connsiteX783" fmla="*/ 150397 w 862013"/>
                  <a:gd name="connsiteY783" fmla="*/ 424983 h 461963"/>
                  <a:gd name="connsiteX784" fmla="*/ 143290 w 862013"/>
                  <a:gd name="connsiteY784" fmla="*/ 423277 h 461963"/>
                  <a:gd name="connsiteX785" fmla="*/ 154662 w 862013"/>
                  <a:gd name="connsiteY785" fmla="*/ 421001 h 461963"/>
                  <a:gd name="connsiteX786" fmla="*/ 147839 w 862013"/>
                  <a:gd name="connsiteY786" fmla="*/ 421001 h 461963"/>
                  <a:gd name="connsiteX787" fmla="*/ 152387 w 862013"/>
                  <a:gd name="connsiteY787" fmla="*/ 418725 h 461963"/>
                  <a:gd name="connsiteX788" fmla="*/ 147839 w 862013"/>
                  <a:gd name="connsiteY788" fmla="*/ 418725 h 461963"/>
                  <a:gd name="connsiteX789" fmla="*/ 154662 w 862013"/>
                  <a:gd name="connsiteY789" fmla="*/ 414174 h 461963"/>
                  <a:gd name="connsiteX790" fmla="*/ 143290 w 862013"/>
                  <a:gd name="connsiteY790" fmla="*/ 418725 h 461963"/>
                  <a:gd name="connsiteX791" fmla="*/ 145564 w 862013"/>
                  <a:gd name="connsiteY791" fmla="*/ 416449 h 461963"/>
                  <a:gd name="connsiteX792" fmla="*/ 147839 w 862013"/>
                  <a:gd name="connsiteY792" fmla="*/ 414174 h 461963"/>
                  <a:gd name="connsiteX793" fmla="*/ 154662 w 862013"/>
                  <a:gd name="connsiteY793" fmla="*/ 411898 h 461963"/>
                  <a:gd name="connsiteX794" fmla="*/ 152387 w 862013"/>
                  <a:gd name="connsiteY794" fmla="*/ 409622 h 461963"/>
                  <a:gd name="connsiteX795" fmla="*/ 147839 w 862013"/>
                  <a:gd name="connsiteY795" fmla="*/ 414174 h 461963"/>
                  <a:gd name="connsiteX796" fmla="*/ 141015 w 862013"/>
                  <a:gd name="connsiteY796" fmla="*/ 414174 h 461963"/>
                  <a:gd name="connsiteX797" fmla="*/ 141015 w 862013"/>
                  <a:gd name="connsiteY797" fmla="*/ 411898 h 461963"/>
                  <a:gd name="connsiteX798" fmla="*/ 147839 w 862013"/>
                  <a:gd name="connsiteY798" fmla="*/ 411898 h 461963"/>
                  <a:gd name="connsiteX799" fmla="*/ 143290 w 862013"/>
                  <a:gd name="connsiteY799" fmla="*/ 409622 h 461963"/>
                  <a:gd name="connsiteX800" fmla="*/ 147839 w 862013"/>
                  <a:gd name="connsiteY800" fmla="*/ 409622 h 461963"/>
                  <a:gd name="connsiteX801" fmla="*/ 134192 w 862013"/>
                  <a:gd name="connsiteY801" fmla="*/ 402795 h 461963"/>
                  <a:gd name="connsiteX802" fmla="*/ 145564 w 862013"/>
                  <a:gd name="connsiteY802" fmla="*/ 393693 h 461963"/>
                  <a:gd name="connsiteX803" fmla="*/ 136466 w 862013"/>
                  <a:gd name="connsiteY803" fmla="*/ 398244 h 461963"/>
                  <a:gd name="connsiteX804" fmla="*/ 143290 w 862013"/>
                  <a:gd name="connsiteY804" fmla="*/ 391417 h 461963"/>
                  <a:gd name="connsiteX805" fmla="*/ 136466 w 862013"/>
                  <a:gd name="connsiteY805" fmla="*/ 395968 h 461963"/>
                  <a:gd name="connsiteX806" fmla="*/ 141015 w 862013"/>
                  <a:gd name="connsiteY806" fmla="*/ 391417 h 461963"/>
                  <a:gd name="connsiteX807" fmla="*/ 136466 w 862013"/>
                  <a:gd name="connsiteY807" fmla="*/ 389141 h 461963"/>
                  <a:gd name="connsiteX808" fmla="*/ 143290 w 862013"/>
                  <a:gd name="connsiteY808" fmla="*/ 386866 h 461963"/>
                  <a:gd name="connsiteX809" fmla="*/ 136466 w 862013"/>
                  <a:gd name="connsiteY809" fmla="*/ 386866 h 461963"/>
                  <a:gd name="connsiteX810" fmla="*/ 134540 w 862013"/>
                  <a:gd name="connsiteY810" fmla="*/ 387310 h 461963"/>
                  <a:gd name="connsiteX811" fmla="*/ 132770 w 862013"/>
                  <a:gd name="connsiteY811" fmla="*/ 387719 h 461963"/>
                  <a:gd name="connsiteX812" fmla="*/ 134192 w 862013"/>
                  <a:gd name="connsiteY812" fmla="*/ 386866 h 461963"/>
                  <a:gd name="connsiteX813" fmla="*/ 129643 w 862013"/>
                  <a:gd name="connsiteY813" fmla="*/ 384590 h 461963"/>
                  <a:gd name="connsiteX814" fmla="*/ 134192 w 862013"/>
                  <a:gd name="connsiteY814" fmla="*/ 383831 h 461963"/>
                  <a:gd name="connsiteX815" fmla="*/ 136466 w 862013"/>
                  <a:gd name="connsiteY815" fmla="*/ 384590 h 461963"/>
                  <a:gd name="connsiteX816" fmla="*/ 143290 w 862013"/>
                  <a:gd name="connsiteY816" fmla="*/ 382314 h 461963"/>
                  <a:gd name="connsiteX817" fmla="*/ 134192 w 862013"/>
                  <a:gd name="connsiteY817" fmla="*/ 383831 h 461963"/>
                  <a:gd name="connsiteX818" fmla="*/ 129643 w 862013"/>
                  <a:gd name="connsiteY818" fmla="*/ 382314 h 461963"/>
                  <a:gd name="connsiteX819" fmla="*/ 138741 w 862013"/>
                  <a:gd name="connsiteY819" fmla="*/ 380039 h 461963"/>
                  <a:gd name="connsiteX820" fmla="*/ 131917 w 862013"/>
                  <a:gd name="connsiteY820" fmla="*/ 380039 h 461963"/>
                  <a:gd name="connsiteX821" fmla="*/ 136309 w 862013"/>
                  <a:gd name="connsiteY821" fmla="*/ 377292 h 461963"/>
                  <a:gd name="connsiteX822" fmla="*/ 141015 w 862013"/>
                  <a:gd name="connsiteY822" fmla="*/ 377763 h 461963"/>
                  <a:gd name="connsiteX823" fmla="*/ 136466 w 862013"/>
                  <a:gd name="connsiteY823" fmla="*/ 377194 h 461963"/>
                  <a:gd name="connsiteX824" fmla="*/ 136309 w 862013"/>
                  <a:gd name="connsiteY824" fmla="*/ 377292 h 461963"/>
                  <a:gd name="connsiteX825" fmla="*/ 135329 w 862013"/>
                  <a:gd name="connsiteY825" fmla="*/ 377194 h 461963"/>
                  <a:gd name="connsiteX826" fmla="*/ 129643 w 862013"/>
                  <a:gd name="connsiteY826" fmla="*/ 380039 h 461963"/>
                  <a:gd name="connsiteX827" fmla="*/ 127369 w 862013"/>
                  <a:gd name="connsiteY827" fmla="*/ 375487 h 461963"/>
                  <a:gd name="connsiteX828" fmla="*/ 131917 w 862013"/>
                  <a:gd name="connsiteY828" fmla="*/ 373212 h 461963"/>
                  <a:gd name="connsiteX829" fmla="*/ 138741 w 862013"/>
                  <a:gd name="connsiteY829" fmla="*/ 370936 h 461963"/>
                  <a:gd name="connsiteX830" fmla="*/ 129643 w 862013"/>
                  <a:gd name="connsiteY830" fmla="*/ 373212 h 461963"/>
                  <a:gd name="connsiteX831" fmla="*/ 129643 w 862013"/>
                  <a:gd name="connsiteY831" fmla="*/ 368660 h 461963"/>
                  <a:gd name="connsiteX832" fmla="*/ 138401 w 862013"/>
                  <a:gd name="connsiteY832" fmla="*/ 367200 h 461963"/>
                  <a:gd name="connsiteX833" fmla="*/ 141868 w 862013"/>
                  <a:gd name="connsiteY833" fmla="*/ 367522 h 461963"/>
                  <a:gd name="connsiteX834" fmla="*/ 143972 w 862013"/>
                  <a:gd name="connsiteY834" fmla="*/ 366385 h 461963"/>
                  <a:gd name="connsiteX835" fmla="*/ 147839 w 862013"/>
                  <a:gd name="connsiteY835" fmla="*/ 366385 h 461963"/>
                  <a:gd name="connsiteX836" fmla="*/ 152387 w 862013"/>
                  <a:gd name="connsiteY836" fmla="*/ 361833 h 461963"/>
                  <a:gd name="connsiteX837" fmla="*/ 143972 w 862013"/>
                  <a:gd name="connsiteY837" fmla="*/ 366385 h 461963"/>
                  <a:gd name="connsiteX838" fmla="*/ 143290 w 862013"/>
                  <a:gd name="connsiteY838" fmla="*/ 366385 h 461963"/>
                  <a:gd name="connsiteX839" fmla="*/ 138401 w 862013"/>
                  <a:gd name="connsiteY839" fmla="*/ 367200 h 461963"/>
                  <a:gd name="connsiteX840" fmla="*/ 129643 w 862013"/>
                  <a:gd name="connsiteY840" fmla="*/ 366385 h 461963"/>
                  <a:gd name="connsiteX841" fmla="*/ 143290 w 862013"/>
                  <a:gd name="connsiteY841" fmla="*/ 364109 h 461963"/>
                  <a:gd name="connsiteX842" fmla="*/ 143021 w 862013"/>
                  <a:gd name="connsiteY842" fmla="*/ 362229 h 461963"/>
                  <a:gd name="connsiteX843" fmla="*/ 136922 w 862013"/>
                  <a:gd name="connsiteY843" fmla="*/ 365523 h 461963"/>
                  <a:gd name="connsiteX844" fmla="*/ 148828 w 862013"/>
                  <a:gd name="connsiteY844" fmla="*/ 359093 h 461963"/>
                  <a:gd name="connsiteX845" fmla="*/ 143255 w 862013"/>
                  <a:gd name="connsiteY845" fmla="*/ 362103 h 461963"/>
                  <a:gd name="connsiteX846" fmla="*/ 147839 w 862013"/>
                  <a:gd name="connsiteY846" fmla="*/ 361833 h 461963"/>
                  <a:gd name="connsiteX847" fmla="*/ 156936 w 862013"/>
                  <a:gd name="connsiteY847" fmla="*/ 359557 h 461963"/>
                  <a:gd name="connsiteX848" fmla="*/ 163760 w 862013"/>
                  <a:gd name="connsiteY848" fmla="*/ 361833 h 461963"/>
                  <a:gd name="connsiteX849" fmla="*/ 161485 w 862013"/>
                  <a:gd name="connsiteY849" fmla="*/ 355006 h 461963"/>
                  <a:gd name="connsiteX850" fmla="*/ 163760 w 862013"/>
                  <a:gd name="connsiteY850" fmla="*/ 350455 h 461963"/>
                  <a:gd name="connsiteX851" fmla="*/ 154662 w 862013"/>
                  <a:gd name="connsiteY851" fmla="*/ 350455 h 461963"/>
                  <a:gd name="connsiteX852" fmla="*/ 156936 w 862013"/>
                  <a:gd name="connsiteY852" fmla="*/ 343628 h 461963"/>
                  <a:gd name="connsiteX853" fmla="*/ 152387 w 862013"/>
                  <a:gd name="connsiteY853" fmla="*/ 343628 h 461963"/>
                  <a:gd name="connsiteX854" fmla="*/ 152387 w 862013"/>
                  <a:gd name="connsiteY854" fmla="*/ 348179 h 461963"/>
                  <a:gd name="connsiteX855" fmla="*/ 152387 w 862013"/>
                  <a:gd name="connsiteY855" fmla="*/ 350455 h 461963"/>
                  <a:gd name="connsiteX856" fmla="*/ 141015 w 862013"/>
                  <a:gd name="connsiteY856" fmla="*/ 357282 h 461963"/>
                  <a:gd name="connsiteX857" fmla="*/ 145564 w 862013"/>
                  <a:gd name="connsiteY857" fmla="*/ 352730 h 461963"/>
                  <a:gd name="connsiteX858" fmla="*/ 125094 w 862013"/>
                  <a:gd name="connsiteY858" fmla="*/ 366385 h 461963"/>
                  <a:gd name="connsiteX859" fmla="*/ 127369 w 862013"/>
                  <a:gd name="connsiteY859" fmla="*/ 355006 h 461963"/>
                  <a:gd name="connsiteX860" fmla="*/ 143290 w 862013"/>
                  <a:gd name="connsiteY860" fmla="*/ 348179 h 461963"/>
                  <a:gd name="connsiteX861" fmla="*/ 136466 w 862013"/>
                  <a:gd name="connsiteY861" fmla="*/ 350455 h 461963"/>
                  <a:gd name="connsiteX862" fmla="*/ 138741 w 862013"/>
                  <a:gd name="connsiteY862" fmla="*/ 348179 h 461963"/>
                  <a:gd name="connsiteX863" fmla="*/ 129643 w 862013"/>
                  <a:gd name="connsiteY863" fmla="*/ 352730 h 461963"/>
                  <a:gd name="connsiteX864" fmla="*/ 129643 w 862013"/>
                  <a:gd name="connsiteY864" fmla="*/ 350455 h 461963"/>
                  <a:gd name="connsiteX865" fmla="*/ 131917 w 862013"/>
                  <a:gd name="connsiteY865" fmla="*/ 350455 h 461963"/>
                  <a:gd name="connsiteX866" fmla="*/ 134192 w 862013"/>
                  <a:gd name="connsiteY866" fmla="*/ 341352 h 461963"/>
                  <a:gd name="connsiteX867" fmla="*/ 131917 w 862013"/>
                  <a:gd name="connsiteY867" fmla="*/ 343628 h 461963"/>
                  <a:gd name="connsiteX868" fmla="*/ 131917 w 862013"/>
                  <a:gd name="connsiteY868" fmla="*/ 341352 h 461963"/>
                  <a:gd name="connsiteX869" fmla="*/ 125094 w 862013"/>
                  <a:gd name="connsiteY869" fmla="*/ 343628 h 461963"/>
                  <a:gd name="connsiteX870" fmla="*/ 129643 w 862013"/>
                  <a:gd name="connsiteY870" fmla="*/ 341352 h 461963"/>
                  <a:gd name="connsiteX871" fmla="*/ 134192 w 862013"/>
                  <a:gd name="connsiteY871" fmla="*/ 339076 h 461963"/>
                  <a:gd name="connsiteX872" fmla="*/ 143290 w 862013"/>
                  <a:gd name="connsiteY872" fmla="*/ 334525 h 461963"/>
                  <a:gd name="connsiteX873" fmla="*/ 163760 w 862013"/>
                  <a:gd name="connsiteY873" fmla="*/ 334525 h 461963"/>
                  <a:gd name="connsiteX874" fmla="*/ 161485 w 862013"/>
                  <a:gd name="connsiteY874" fmla="*/ 332249 h 461963"/>
                  <a:gd name="connsiteX875" fmla="*/ 150113 w 862013"/>
                  <a:gd name="connsiteY875" fmla="*/ 332249 h 461963"/>
                  <a:gd name="connsiteX876" fmla="*/ 141015 w 862013"/>
                  <a:gd name="connsiteY876" fmla="*/ 334525 h 461963"/>
                  <a:gd name="connsiteX877" fmla="*/ 131917 w 862013"/>
                  <a:gd name="connsiteY877" fmla="*/ 339076 h 461963"/>
                  <a:gd name="connsiteX878" fmla="*/ 129643 w 862013"/>
                  <a:gd name="connsiteY878" fmla="*/ 339076 h 461963"/>
                  <a:gd name="connsiteX879" fmla="*/ 127369 w 862013"/>
                  <a:gd name="connsiteY879" fmla="*/ 336801 h 461963"/>
                  <a:gd name="connsiteX880" fmla="*/ 131917 w 862013"/>
                  <a:gd name="connsiteY880" fmla="*/ 334525 h 461963"/>
                  <a:gd name="connsiteX881" fmla="*/ 125094 w 862013"/>
                  <a:gd name="connsiteY881" fmla="*/ 336801 h 461963"/>
                  <a:gd name="connsiteX882" fmla="*/ 127369 w 862013"/>
                  <a:gd name="connsiteY882" fmla="*/ 334525 h 461963"/>
                  <a:gd name="connsiteX883" fmla="*/ 129643 w 862013"/>
                  <a:gd name="connsiteY883" fmla="*/ 332249 h 461963"/>
                  <a:gd name="connsiteX884" fmla="*/ 125094 w 862013"/>
                  <a:gd name="connsiteY884" fmla="*/ 332249 h 461963"/>
                  <a:gd name="connsiteX885" fmla="*/ 122820 w 862013"/>
                  <a:gd name="connsiteY885" fmla="*/ 332249 h 461963"/>
                  <a:gd name="connsiteX886" fmla="*/ 131917 w 862013"/>
                  <a:gd name="connsiteY886" fmla="*/ 329974 h 461963"/>
                  <a:gd name="connsiteX887" fmla="*/ 136466 w 862013"/>
                  <a:gd name="connsiteY887" fmla="*/ 329974 h 461963"/>
                  <a:gd name="connsiteX888" fmla="*/ 143290 w 862013"/>
                  <a:gd name="connsiteY888" fmla="*/ 327698 h 461963"/>
                  <a:gd name="connsiteX889" fmla="*/ 147839 w 862013"/>
                  <a:gd name="connsiteY889" fmla="*/ 325422 h 461963"/>
                  <a:gd name="connsiteX890" fmla="*/ 138741 w 862013"/>
                  <a:gd name="connsiteY890" fmla="*/ 327698 h 461963"/>
                  <a:gd name="connsiteX891" fmla="*/ 134192 w 862013"/>
                  <a:gd name="connsiteY891" fmla="*/ 327698 h 461963"/>
                  <a:gd name="connsiteX892" fmla="*/ 122820 w 862013"/>
                  <a:gd name="connsiteY892" fmla="*/ 327698 h 461963"/>
                  <a:gd name="connsiteX893" fmla="*/ 129643 w 862013"/>
                  <a:gd name="connsiteY893" fmla="*/ 325422 h 461963"/>
                  <a:gd name="connsiteX894" fmla="*/ 120545 w 862013"/>
                  <a:gd name="connsiteY894" fmla="*/ 327698 h 461963"/>
                  <a:gd name="connsiteX895" fmla="*/ 125094 w 862013"/>
                  <a:gd name="connsiteY895" fmla="*/ 325422 h 461963"/>
                  <a:gd name="connsiteX896" fmla="*/ 120545 w 862013"/>
                  <a:gd name="connsiteY896" fmla="*/ 325422 h 461963"/>
                  <a:gd name="connsiteX897" fmla="*/ 134192 w 862013"/>
                  <a:gd name="connsiteY897" fmla="*/ 320871 h 461963"/>
                  <a:gd name="connsiteX898" fmla="*/ 150113 w 862013"/>
                  <a:gd name="connsiteY898" fmla="*/ 316320 h 461963"/>
                  <a:gd name="connsiteX899" fmla="*/ 163760 w 862013"/>
                  <a:gd name="connsiteY899" fmla="*/ 309493 h 461963"/>
                  <a:gd name="connsiteX900" fmla="*/ 177406 w 862013"/>
                  <a:gd name="connsiteY900" fmla="*/ 309493 h 461963"/>
                  <a:gd name="connsiteX901" fmla="*/ 171558 w 862013"/>
                  <a:gd name="connsiteY901" fmla="*/ 307542 h 461963"/>
                  <a:gd name="connsiteX902" fmla="*/ 172858 w 862013"/>
                  <a:gd name="connsiteY902" fmla="*/ 307217 h 461963"/>
                  <a:gd name="connsiteX903" fmla="*/ 179681 w 862013"/>
                  <a:gd name="connsiteY903" fmla="*/ 307217 h 461963"/>
                  <a:gd name="connsiteX904" fmla="*/ 184230 w 862013"/>
                  <a:gd name="connsiteY904" fmla="*/ 304941 h 461963"/>
                  <a:gd name="connsiteX905" fmla="*/ 181955 w 862013"/>
                  <a:gd name="connsiteY905" fmla="*/ 304941 h 461963"/>
                  <a:gd name="connsiteX906" fmla="*/ 172858 w 862013"/>
                  <a:gd name="connsiteY906" fmla="*/ 307217 h 461963"/>
                  <a:gd name="connsiteX907" fmla="*/ 170583 w 862013"/>
                  <a:gd name="connsiteY907" fmla="*/ 307217 h 461963"/>
                  <a:gd name="connsiteX908" fmla="*/ 171558 w 862013"/>
                  <a:gd name="connsiteY908" fmla="*/ 307542 h 461963"/>
                  <a:gd name="connsiteX909" fmla="*/ 163760 w 862013"/>
                  <a:gd name="connsiteY909" fmla="*/ 309493 h 461963"/>
                  <a:gd name="connsiteX910" fmla="*/ 147839 w 862013"/>
                  <a:gd name="connsiteY910" fmla="*/ 314044 h 461963"/>
                  <a:gd name="connsiteX911" fmla="*/ 143290 w 862013"/>
                  <a:gd name="connsiteY911" fmla="*/ 316320 h 461963"/>
                  <a:gd name="connsiteX912" fmla="*/ 127369 w 862013"/>
                  <a:gd name="connsiteY912" fmla="*/ 314044 h 461963"/>
                  <a:gd name="connsiteX913" fmla="*/ 141015 w 862013"/>
                  <a:gd name="connsiteY913" fmla="*/ 311768 h 461963"/>
                  <a:gd name="connsiteX914" fmla="*/ 134192 w 862013"/>
                  <a:gd name="connsiteY914" fmla="*/ 311768 h 461963"/>
                  <a:gd name="connsiteX915" fmla="*/ 141015 w 862013"/>
                  <a:gd name="connsiteY915" fmla="*/ 309493 h 461963"/>
                  <a:gd name="connsiteX916" fmla="*/ 143290 w 862013"/>
                  <a:gd name="connsiteY916" fmla="*/ 309493 h 461963"/>
                  <a:gd name="connsiteX917" fmla="*/ 147839 w 862013"/>
                  <a:gd name="connsiteY917" fmla="*/ 309493 h 461963"/>
                  <a:gd name="connsiteX918" fmla="*/ 147839 w 862013"/>
                  <a:gd name="connsiteY918" fmla="*/ 307217 h 461963"/>
                  <a:gd name="connsiteX919" fmla="*/ 127369 w 862013"/>
                  <a:gd name="connsiteY919" fmla="*/ 309493 h 461963"/>
                  <a:gd name="connsiteX920" fmla="*/ 138741 w 862013"/>
                  <a:gd name="connsiteY920" fmla="*/ 307217 h 461963"/>
                  <a:gd name="connsiteX921" fmla="*/ 125094 w 862013"/>
                  <a:gd name="connsiteY921" fmla="*/ 307217 h 461963"/>
                  <a:gd name="connsiteX922" fmla="*/ 134192 w 862013"/>
                  <a:gd name="connsiteY922" fmla="*/ 304941 h 461963"/>
                  <a:gd name="connsiteX923" fmla="*/ 127369 w 862013"/>
                  <a:gd name="connsiteY923" fmla="*/ 304941 h 461963"/>
                  <a:gd name="connsiteX924" fmla="*/ 134192 w 862013"/>
                  <a:gd name="connsiteY924" fmla="*/ 302665 h 461963"/>
                  <a:gd name="connsiteX925" fmla="*/ 125094 w 862013"/>
                  <a:gd name="connsiteY925" fmla="*/ 302665 h 461963"/>
                  <a:gd name="connsiteX926" fmla="*/ 134192 w 862013"/>
                  <a:gd name="connsiteY926" fmla="*/ 300390 h 461963"/>
                  <a:gd name="connsiteX927" fmla="*/ 136466 w 862013"/>
                  <a:gd name="connsiteY927" fmla="*/ 300390 h 461963"/>
                  <a:gd name="connsiteX928" fmla="*/ 145564 w 862013"/>
                  <a:gd name="connsiteY928" fmla="*/ 300390 h 461963"/>
                  <a:gd name="connsiteX929" fmla="*/ 159211 w 862013"/>
                  <a:gd name="connsiteY929" fmla="*/ 298114 h 461963"/>
                  <a:gd name="connsiteX930" fmla="*/ 168308 w 862013"/>
                  <a:gd name="connsiteY930" fmla="*/ 302665 h 461963"/>
                  <a:gd name="connsiteX931" fmla="*/ 181955 w 862013"/>
                  <a:gd name="connsiteY931" fmla="*/ 302665 h 461963"/>
                  <a:gd name="connsiteX932" fmla="*/ 166034 w 862013"/>
                  <a:gd name="connsiteY932" fmla="*/ 298114 h 461963"/>
                  <a:gd name="connsiteX933" fmla="*/ 159211 w 862013"/>
                  <a:gd name="connsiteY933" fmla="*/ 298114 h 461963"/>
                  <a:gd name="connsiteX934" fmla="*/ 145564 w 862013"/>
                  <a:gd name="connsiteY934" fmla="*/ 298114 h 461963"/>
                  <a:gd name="connsiteX935" fmla="*/ 136466 w 862013"/>
                  <a:gd name="connsiteY935" fmla="*/ 298114 h 461963"/>
                  <a:gd name="connsiteX936" fmla="*/ 127369 w 862013"/>
                  <a:gd name="connsiteY936" fmla="*/ 300390 h 461963"/>
                  <a:gd name="connsiteX937" fmla="*/ 134950 w 862013"/>
                  <a:gd name="connsiteY937" fmla="*/ 294700 h 461963"/>
                  <a:gd name="connsiteX938" fmla="*/ 137982 w 862013"/>
                  <a:gd name="connsiteY938" fmla="*/ 293563 h 461963"/>
                  <a:gd name="connsiteX939" fmla="*/ 143290 w 862013"/>
                  <a:gd name="connsiteY939" fmla="*/ 293563 h 461963"/>
                  <a:gd name="connsiteX940" fmla="*/ 145848 w 862013"/>
                  <a:gd name="connsiteY940" fmla="*/ 291572 h 461963"/>
                  <a:gd name="connsiteX941" fmla="*/ 143875 w 862013"/>
                  <a:gd name="connsiteY941" fmla="*/ 291352 h 461963"/>
                  <a:gd name="connsiteX942" fmla="*/ 144654 w 862013"/>
                  <a:gd name="connsiteY942" fmla="*/ 291059 h 461963"/>
                  <a:gd name="connsiteX943" fmla="*/ 150113 w 862013"/>
                  <a:gd name="connsiteY943" fmla="*/ 290149 h 461963"/>
                  <a:gd name="connsiteX944" fmla="*/ 150113 w 862013"/>
                  <a:gd name="connsiteY944" fmla="*/ 289011 h 461963"/>
                  <a:gd name="connsiteX945" fmla="*/ 167171 w 862013"/>
                  <a:gd name="connsiteY945" fmla="*/ 290718 h 461963"/>
                  <a:gd name="connsiteX946" fmla="*/ 172857 w 862013"/>
                  <a:gd name="connsiteY946" fmla="*/ 291287 h 461963"/>
                  <a:gd name="connsiteX947" fmla="*/ 188778 w 862013"/>
                  <a:gd name="connsiteY947" fmla="*/ 295838 h 461963"/>
                  <a:gd name="connsiteX948" fmla="*/ 179681 w 862013"/>
                  <a:gd name="connsiteY948" fmla="*/ 293563 h 461963"/>
                  <a:gd name="connsiteX949" fmla="*/ 188778 w 862013"/>
                  <a:gd name="connsiteY949" fmla="*/ 291287 h 461963"/>
                  <a:gd name="connsiteX950" fmla="*/ 172857 w 862013"/>
                  <a:gd name="connsiteY950" fmla="*/ 291287 h 461963"/>
                  <a:gd name="connsiteX951" fmla="*/ 191053 w 862013"/>
                  <a:gd name="connsiteY951" fmla="*/ 289011 h 461963"/>
                  <a:gd name="connsiteX952" fmla="*/ 184230 w 862013"/>
                  <a:gd name="connsiteY952" fmla="*/ 286736 h 461963"/>
                  <a:gd name="connsiteX953" fmla="*/ 184230 w 862013"/>
                  <a:gd name="connsiteY953" fmla="*/ 289011 h 461963"/>
                  <a:gd name="connsiteX954" fmla="*/ 175132 w 862013"/>
                  <a:gd name="connsiteY954" fmla="*/ 286736 h 461963"/>
                  <a:gd name="connsiteX955" fmla="*/ 172857 w 862013"/>
                  <a:gd name="connsiteY955" fmla="*/ 286736 h 461963"/>
                  <a:gd name="connsiteX956" fmla="*/ 172857 w 862013"/>
                  <a:gd name="connsiteY956" fmla="*/ 289011 h 461963"/>
                  <a:gd name="connsiteX957" fmla="*/ 167171 w 862013"/>
                  <a:gd name="connsiteY957" fmla="*/ 290718 h 461963"/>
                  <a:gd name="connsiteX958" fmla="*/ 168308 w 862013"/>
                  <a:gd name="connsiteY958" fmla="*/ 289011 h 461963"/>
                  <a:gd name="connsiteX959" fmla="*/ 159211 w 862013"/>
                  <a:gd name="connsiteY959" fmla="*/ 289011 h 461963"/>
                  <a:gd name="connsiteX960" fmla="*/ 170583 w 862013"/>
                  <a:gd name="connsiteY960" fmla="*/ 284460 h 461963"/>
                  <a:gd name="connsiteX961" fmla="*/ 175132 w 862013"/>
                  <a:gd name="connsiteY961" fmla="*/ 284460 h 461963"/>
                  <a:gd name="connsiteX962" fmla="*/ 193327 w 862013"/>
                  <a:gd name="connsiteY962" fmla="*/ 286736 h 461963"/>
                  <a:gd name="connsiteX963" fmla="*/ 177406 w 862013"/>
                  <a:gd name="connsiteY963" fmla="*/ 282184 h 461963"/>
                  <a:gd name="connsiteX964" fmla="*/ 181955 w 862013"/>
                  <a:gd name="connsiteY964" fmla="*/ 282184 h 461963"/>
                  <a:gd name="connsiteX965" fmla="*/ 179681 w 862013"/>
                  <a:gd name="connsiteY965" fmla="*/ 279909 h 461963"/>
                  <a:gd name="connsiteX966" fmla="*/ 181955 w 862013"/>
                  <a:gd name="connsiteY966" fmla="*/ 277633 h 461963"/>
                  <a:gd name="connsiteX967" fmla="*/ 188778 w 862013"/>
                  <a:gd name="connsiteY967" fmla="*/ 275357 h 461963"/>
                  <a:gd name="connsiteX968" fmla="*/ 175132 w 862013"/>
                  <a:gd name="connsiteY968" fmla="*/ 275357 h 461963"/>
                  <a:gd name="connsiteX969" fmla="*/ 179681 w 862013"/>
                  <a:gd name="connsiteY969" fmla="*/ 277633 h 461963"/>
                  <a:gd name="connsiteX970" fmla="*/ 168308 w 862013"/>
                  <a:gd name="connsiteY970" fmla="*/ 279909 h 461963"/>
                  <a:gd name="connsiteX971" fmla="*/ 154662 w 862013"/>
                  <a:gd name="connsiteY971" fmla="*/ 279909 h 461963"/>
                  <a:gd name="connsiteX972" fmla="*/ 159211 w 862013"/>
                  <a:gd name="connsiteY972" fmla="*/ 277633 h 461963"/>
                  <a:gd name="connsiteX973" fmla="*/ 147839 w 862013"/>
                  <a:gd name="connsiteY973" fmla="*/ 279909 h 461963"/>
                  <a:gd name="connsiteX974" fmla="*/ 156936 w 862013"/>
                  <a:gd name="connsiteY974" fmla="*/ 277633 h 461963"/>
                  <a:gd name="connsiteX975" fmla="*/ 161485 w 862013"/>
                  <a:gd name="connsiteY975" fmla="*/ 275357 h 461963"/>
                  <a:gd name="connsiteX976" fmla="*/ 170583 w 862013"/>
                  <a:gd name="connsiteY976" fmla="*/ 273082 h 461963"/>
                  <a:gd name="connsiteX977" fmla="*/ 179681 w 862013"/>
                  <a:gd name="connsiteY977" fmla="*/ 273082 h 461963"/>
                  <a:gd name="connsiteX978" fmla="*/ 188778 w 862013"/>
                  <a:gd name="connsiteY978" fmla="*/ 273082 h 461963"/>
                  <a:gd name="connsiteX979" fmla="*/ 193327 w 862013"/>
                  <a:gd name="connsiteY979" fmla="*/ 268530 h 461963"/>
                  <a:gd name="connsiteX980" fmla="*/ 184230 w 862013"/>
                  <a:gd name="connsiteY980" fmla="*/ 268530 h 461963"/>
                  <a:gd name="connsiteX981" fmla="*/ 191053 w 862013"/>
                  <a:gd name="connsiteY981" fmla="*/ 266255 h 461963"/>
                  <a:gd name="connsiteX982" fmla="*/ 195602 w 862013"/>
                  <a:gd name="connsiteY982" fmla="*/ 261703 h 461963"/>
                  <a:gd name="connsiteX983" fmla="*/ 193327 w 862013"/>
                  <a:gd name="connsiteY983" fmla="*/ 263979 h 461963"/>
                  <a:gd name="connsiteX984" fmla="*/ 200151 w 862013"/>
                  <a:gd name="connsiteY984" fmla="*/ 266255 h 461963"/>
                  <a:gd name="connsiteX985" fmla="*/ 204700 w 862013"/>
                  <a:gd name="connsiteY985" fmla="*/ 263979 h 461963"/>
                  <a:gd name="connsiteX986" fmla="*/ 200151 w 862013"/>
                  <a:gd name="connsiteY986" fmla="*/ 261703 h 461963"/>
                  <a:gd name="connsiteX987" fmla="*/ 206974 w 862013"/>
                  <a:gd name="connsiteY987" fmla="*/ 261703 h 461963"/>
                  <a:gd name="connsiteX988" fmla="*/ 202425 w 862013"/>
                  <a:gd name="connsiteY988" fmla="*/ 257152 h 461963"/>
                  <a:gd name="connsiteX989" fmla="*/ 193327 w 862013"/>
                  <a:gd name="connsiteY989" fmla="*/ 259428 h 461963"/>
                  <a:gd name="connsiteX990" fmla="*/ 209248 w 862013"/>
                  <a:gd name="connsiteY990" fmla="*/ 254876 h 461963"/>
                  <a:gd name="connsiteX991" fmla="*/ 200151 w 862013"/>
                  <a:gd name="connsiteY991" fmla="*/ 254876 h 461963"/>
                  <a:gd name="connsiteX992" fmla="*/ 206974 w 862013"/>
                  <a:gd name="connsiteY992" fmla="*/ 252601 h 461963"/>
                  <a:gd name="connsiteX993" fmla="*/ 204700 w 862013"/>
                  <a:gd name="connsiteY993" fmla="*/ 250325 h 461963"/>
                  <a:gd name="connsiteX994" fmla="*/ 211523 w 862013"/>
                  <a:gd name="connsiteY994" fmla="*/ 248049 h 461963"/>
                  <a:gd name="connsiteX995" fmla="*/ 209248 w 862013"/>
                  <a:gd name="connsiteY995" fmla="*/ 245773 h 461963"/>
                  <a:gd name="connsiteX996" fmla="*/ 216072 w 862013"/>
                  <a:gd name="connsiteY996" fmla="*/ 243498 h 461963"/>
                  <a:gd name="connsiteX997" fmla="*/ 202425 w 862013"/>
                  <a:gd name="connsiteY997" fmla="*/ 243498 h 461963"/>
                  <a:gd name="connsiteX998" fmla="*/ 197876 w 862013"/>
                  <a:gd name="connsiteY998" fmla="*/ 243498 h 461963"/>
                  <a:gd name="connsiteX999" fmla="*/ 195602 w 862013"/>
                  <a:gd name="connsiteY999" fmla="*/ 243498 h 461963"/>
                  <a:gd name="connsiteX1000" fmla="*/ 193327 w 862013"/>
                  <a:gd name="connsiteY1000" fmla="*/ 243498 h 461963"/>
                  <a:gd name="connsiteX1001" fmla="*/ 179681 w 862013"/>
                  <a:gd name="connsiteY1001" fmla="*/ 238946 h 461963"/>
                  <a:gd name="connsiteX1002" fmla="*/ 163760 w 862013"/>
                  <a:gd name="connsiteY1002" fmla="*/ 236671 h 461963"/>
                  <a:gd name="connsiteX1003" fmla="*/ 154662 w 862013"/>
                  <a:gd name="connsiteY1003" fmla="*/ 229844 h 461963"/>
                  <a:gd name="connsiteX1004" fmla="*/ 172857 w 862013"/>
                  <a:gd name="connsiteY1004" fmla="*/ 227568 h 461963"/>
                  <a:gd name="connsiteX1005" fmla="*/ 188778 w 862013"/>
                  <a:gd name="connsiteY1005" fmla="*/ 229844 h 461963"/>
                  <a:gd name="connsiteX1006" fmla="*/ 204700 w 862013"/>
                  <a:gd name="connsiteY1006" fmla="*/ 236671 h 461963"/>
                  <a:gd name="connsiteX1007" fmla="*/ 213797 w 862013"/>
                  <a:gd name="connsiteY1007" fmla="*/ 236671 h 461963"/>
                  <a:gd name="connsiteX1008" fmla="*/ 216072 w 862013"/>
                  <a:gd name="connsiteY1008" fmla="*/ 232119 h 461963"/>
                  <a:gd name="connsiteX1009" fmla="*/ 206974 w 862013"/>
                  <a:gd name="connsiteY1009" fmla="*/ 234395 h 461963"/>
                  <a:gd name="connsiteX1010" fmla="*/ 204700 w 862013"/>
                  <a:gd name="connsiteY1010" fmla="*/ 232119 h 461963"/>
                  <a:gd name="connsiteX1011" fmla="*/ 213797 w 862013"/>
                  <a:gd name="connsiteY1011" fmla="*/ 232119 h 461963"/>
                  <a:gd name="connsiteX1012" fmla="*/ 211523 w 862013"/>
                  <a:gd name="connsiteY1012" fmla="*/ 229844 h 461963"/>
                  <a:gd name="connsiteX1013" fmla="*/ 216072 w 862013"/>
                  <a:gd name="connsiteY1013" fmla="*/ 229844 h 461963"/>
                  <a:gd name="connsiteX1014" fmla="*/ 204700 w 862013"/>
                  <a:gd name="connsiteY1014" fmla="*/ 227568 h 461963"/>
                  <a:gd name="connsiteX1015" fmla="*/ 213797 w 862013"/>
                  <a:gd name="connsiteY1015" fmla="*/ 227568 h 461963"/>
                  <a:gd name="connsiteX1016" fmla="*/ 216072 w 862013"/>
                  <a:gd name="connsiteY1016" fmla="*/ 225292 h 461963"/>
                  <a:gd name="connsiteX1017" fmla="*/ 209248 w 862013"/>
                  <a:gd name="connsiteY1017" fmla="*/ 225292 h 461963"/>
                  <a:gd name="connsiteX1018" fmla="*/ 202353 w 862013"/>
                  <a:gd name="connsiteY1018" fmla="*/ 223568 h 461963"/>
                  <a:gd name="connsiteX1019" fmla="*/ 204788 w 862013"/>
                  <a:gd name="connsiteY1019" fmla="*/ 225029 h 461963"/>
                  <a:gd name="connsiteX1020" fmla="*/ 198834 w 862013"/>
                  <a:gd name="connsiteY1020" fmla="*/ 225029 h 461963"/>
                  <a:gd name="connsiteX1021" fmla="*/ 200448 w 862013"/>
                  <a:gd name="connsiteY1021" fmla="*/ 223091 h 461963"/>
                  <a:gd name="connsiteX1022" fmla="*/ 200151 w 862013"/>
                  <a:gd name="connsiteY1022" fmla="*/ 223017 h 461963"/>
                  <a:gd name="connsiteX1023" fmla="*/ 200511 w 862013"/>
                  <a:gd name="connsiteY1023" fmla="*/ 223017 h 461963"/>
                  <a:gd name="connsiteX1024" fmla="*/ 200819 w 862013"/>
                  <a:gd name="connsiteY1024" fmla="*/ 222647 h 461963"/>
                  <a:gd name="connsiteX1025" fmla="*/ 201435 w 862013"/>
                  <a:gd name="connsiteY1025" fmla="*/ 223017 h 461963"/>
                  <a:gd name="connsiteX1026" fmla="*/ 208111 w 862013"/>
                  <a:gd name="connsiteY1026" fmla="*/ 223017 h 461963"/>
                  <a:gd name="connsiteX1027" fmla="*/ 216072 w 862013"/>
                  <a:gd name="connsiteY1027" fmla="*/ 223017 h 461963"/>
                  <a:gd name="connsiteX1028" fmla="*/ 211523 w 862013"/>
                  <a:gd name="connsiteY1028" fmla="*/ 220741 h 461963"/>
                  <a:gd name="connsiteX1029" fmla="*/ 197876 w 862013"/>
                  <a:gd name="connsiteY1029" fmla="*/ 220741 h 461963"/>
                  <a:gd name="connsiteX1030" fmla="*/ 206974 w 862013"/>
                  <a:gd name="connsiteY1030" fmla="*/ 218465 h 461963"/>
                  <a:gd name="connsiteX1031" fmla="*/ 209248 w 862013"/>
                  <a:gd name="connsiteY1031" fmla="*/ 216190 h 461963"/>
                  <a:gd name="connsiteX1032" fmla="*/ 193327 w 862013"/>
                  <a:gd name="connsiteY1032" fmla="*/ 218465 h 461963"/>
                  <a:gd name="connsiteX1033" fmla="*/ 204075 w 862013"/>
                  <a:gd name="connsiteY1033" fmla="*/ 214164 h 461963"/>
                  <a:gd name="connsiteX1034" fmla="*/ 216072 w 862013"/>
                  <a:gd name="connsiteY1034" fmla="*/ 213914 h 461963"/>
                  <a:gd name="connsiteX1035" fmla="*/ 204700 w 862013"/>
                  <a:gd name="connsiteY1035" fmla="*/ 213914 h 461963"/>
                  <a:gd name="connsiteX1036" fmla="*/ 204075 w 862013"/>
                  <a:gd name="connsiteY1036" fmla="*/ 214164 h 461963"/>
                  <a:gd name="connsiteX1037" fmla="*/ 202425 w 862013"/>
                  <a:gd name="connsiteY1037" fmla="*/ 214198 h 461963"/>
                  <a:gd name="connsiteX1038" fmla="*/ 193477 w 862013"/>
                  <a:gd name="connsiteY1038" fmla="*/ 215504 h 461963"/>
                  <a:gd name="connsiteX1039" fmla="*/ 196454 w 862013"/>
                  <a:gd name="connsiteY1039" fmla="*/ 215504 h 461963"/>
                  <a:gd name="connsiteX1040" fmla="*/ 186929 w 862013"/>
                  <a:gd name="connsiteY1040" fmla="*/ 215504 h 461963"/>
                  <a:gd name="connsiteX1041" fmla="*/ 191291 w 862013"/>
                  <a:gd name="connsiteY1041" fmla="*/ 215504 h 461963"/>
                  <a:gd name="connsiteX1042" fmla="*/ 201288 w 862013"/>
                  <a:gd name="connsiteY1042" fmla="*/ 212776 h 461963"/>
                  <a:gd name="connsiteX1043" fmla="*/ 213797 w 862013"/>
                  <a:gd name="connsiteY1043" fmla="*/ 209363 h 461963"/>
                  <a:gd name="connsiteX1044" fmla="*/ 202425 w 862013"/>
                  <a:gd name="connsiteY1044" fmla="*/ 211638 h 461963"/>
                  <a:gd name="connsiteX1045" fmla="*/ 194437 w 862013"/>
                  <a:gd name="connsiteY1045" fmla="*/ 210306 h 461963"/>
                  <a:gd name="connsiteX1046" fmla="*/ 186928 w 862013"/>
                  <a:gd name="connsiteY1046" fmla="*/ 213122 h 461963"/>
                  <a:gd name="connsiteX1047" fmla="*/ 186928 w 862013"/>
                  <a:gd name="connsiteY1047" fmla="*/ 209550 h 461963"/>
                  <a:gd name="connsiteX1048" fmla="*/ 189903 w 862013"/>
                  <a:gd name="connsiteY1048" fmla="*/ 209550 h 461963"/>
                  <a:gd name="connsiteX1049" fmla="*/ 188778 w 862013"/>
                  <a:gd name="connsiteY1049" fmla="*/ 209363 h 461963"/>
                  <a:gd name="connsiteX1050" fmla="*/ 200151 w 862013"/>
                  <a:gd name="connsiteY1050" fmla="*/ 204811 h 461963"/>
                  <a:gd name="connsiteX1051" fmla="*/ 188778 w 862013"/>
                  <a:gd name="connsiteY1051" fmla="*/ 207087 h 461963"/>
                  <a:gd name="connsiteX1052" fmla="*/ 188611 w 862013"/>
                  <a:gd name="connsiteY1052" fmla="*/ 204908 h 461963"/>
                  <a:gd name="connsiteX1053" fmla="*/ 188778 w 862013"/>
                  <a:gd name="connsiteY1053" fmla="*/ 204811 h 461963"/>
                  <a:gd name="connsiteX1054" fmla="*/ 188551 w 862013"/>
                  <a:gd name="connsiteY1054" fmla="*/ 204129 h 461963"/>
                  <a:gd name="connsiteX1055" fmla="*/ 188210 w 862013"/>
                  <a:gd name="connsiteY1055" fmla="*/ 199691 h 461963"/>
                  <a:gd name="connsiteX1056" fmla="*/ 191053 w 862013"/>
                  <a:gd name="connsiteY1056" fmla="*/ 195709 h 461963"/>
                  <a:gd name="connsiteX1057" fmla="*/ 186504 w 862013"/>
                  <a:gd name="connsiteY1057" fmla="*/ 197984 h 461963"/>
                  <a:gd name="connsiteX1058" fmla="*/ 188551 w 862013"/>
                  <a:gd name="connsiteY1058" fmla="*/ 204129 h 461963"/>
                  <a:gd name="connsiteX1059" fmla="*/ 188611 w 862013"/>
                  <a:gd name="connsiteY1059" fmla="*/ 204908 h 461963"/>
                  <a:gd name="connsiteX1060" fmla="*/ 183377 w 862013"/>
                  <a:gd name="connsiteY1060" fmla="*/ 207940 h 461963"/>
                  <a:gd name="connsiteX1061" fmla="*/ 179681 w 862013"/>
                  <a:gd name="connsiteY1061" fmla="*/ 209363 h 461963"/>
                  <a:gd name="connsiteX1062" fmla="*/ 175132 w 862013"/>
                  <a:gd name="connsiteY1062" fmla="*/ 209363 h 461963"/>
                  <a:gd name="connsiteX1063" fmla="*/ 172857 w 862013"/>
                  <a:gd name="connsiteY1063" fmla="*/ 213914 h 461963"/>
                  <a:gd name="connsiteX1064" fmla="*/ 168308 w 862013"/>
                  <a:gd name="connsiteY1064" fmla="*/ 216190 h 461963"/>
                  <a:gd name="connsiteX1065" fmla="*/ 154662 w 862013"/>
                  <a:gd name="connsiteY1065" fmla="*/ 213914 h 461963"/>
                  <a:gd name="connsiteX1066" fmla="*/ 152387 w 862013"/>
                  <a:gd name="connsiteY1066" fmla="*/ 213914 h 461963"/>
                  <a:gd name="connsiteX1067" fmla="*/ 147839 w 862013"/>
                  <a:gd name="connsiteY1067" fmla="*/ 209363 h 461963"/>
                  <a:gd name="connsiteX1068" fmla="*/ 161485 w 862013"/>
                  <a:gd name="connsiteY1068" fmla="*/ 204811 h 461963"/>
                  <a:gd name="connsiteX1069" fmla="*/ 162480 w 862013"/>
                  <a:gd name="connsiteY1069" fmla="*/ 204527 h 461963"/>
                  <a:gd name="connsiteX1070" fmla="*/ 168024 w 862013"/>
                  <a:gd name="connsiteY1070" fmla="*/ 204242 h 461963"/>
                  <a:gd name="connsiteX1071" fmla="*/ 177406 w 862013"/>
                  <a:gd name="connsiteY1071" fmla="*/ 200260 h 461963"/>
                  <a:gd name="connsiteX1072" fmla="*/ 162480 w 862013"/>
                  <a:gd name="connsiteY1072" fmla="*/ 204527 h 461963"/>
                  <a:gd name="connsiteX1073" fmla="*/ 156936 w 862013"/>
                  <a:gd name="connsiteY1073" fmla="*/ 204811 h 461963"/>
                  <a:gd name="connsiteX1074" fmla="*/ 166034 w 862013"/>
                  <a:gd name="connsiteY1074" fmla="*/ 200260 h 461963"/>
                  <a:gd name="connsiteX1075" fmla="*/ 175132 w 862013"/>
                  <a:gd name="connsiteY1075" fmla="*/ 195709 h 461963"/>
                  <a:gd name="connsiteX1076" fmla="*/ 161485 w 862013"/>
                  <a:gd name="connsiteY1076" fmla="*/ 193433 h 461963"/>
                  <a:gd name="connsiteX1077" fmla="*/ 181955 w 862013"/>
                  <a:gd name="connsiteY1077" fmla="*/ 193433 h 461963"/>
                  <a:gd name="connsiteX1078" fmla="*/ 172857 w 862013"/>
                  <a:gd name="connsiteY1078" fmla="*/ 191157 h 461963"/>
                  <a:gd name="connsiteX1079" fmla="*/ 181955 w 862013"/>
                  <a:gd name="connsiteY1079" fmla="*/ 186606 h 461963"/>
                  <a:gd name="connsiteX1080" fmla="*/ 177406 w 862013"/>
                  <a:gd name="connsiteY1080" fmla="*/ 188881 h 461963"/>
                  <a:gd name="connsiteX1081" fmla="*/ 179681 w 862013"/>
                  <a:gd name="connsiteY1081" fmla="*/ 182054 h 461963"/>
                  <a:gd name="connsiteX1082" fmla="*/ 170583 w 862013"/>
                  <a:gd name="connsiteY1082" fmla="*/ 182054 h 461963"/>
                  <a:gd name="connsiteX1083" fmla="*/ 177406 w 862013"/>
                  <a:gd name="connsiteY1083" fmla="*/ 179779 h 461963"/>
                  <a:gd name="connsiteX1084" fmla="*/ 181955 w 862013"/>
                  <a:gd name="connsiteY1084" fmla="*/ 177503 h 461963"/>
                  <a:gd name="connsiteX1085" fmla="*/ 175132 w 862013"/>
                  <a:gd name="connsiteY1085" fmla="*/ 170676 h 461963"/>
                  <a:gd name="connsiteX1086" fmla="*/ 179681 w 862013"/>
                  <a:gd name="connsiteY1086" fmla="*/ 168400 h 461963"/>
                  <a:gd name="connsiteX1087" fmla="*/ 179681 w 862013"/>
                  <a:gd name="connsiteY1087" fmla="*/ 166125 h 461963"/>
                  <a:gd name="connsiteX1088" fmla="*/ 177406 w 862013"/>
                  <a:gd name="connsiteY1088" fmla="*/ 163849 h 461963"/>
                  <a:gd name="connsiteX1089" fmla="*/ 172857 w 862013"/>
                  <a:gd name="connsiteY1089" fmla="*/ 161573 h 461963"/>
                  <a:gd name="connsiteX1090" fmla="*/ 177406 w 862013"/>
                  <a:gd name="connsiteY1090" fmla="*/ 159298 h 461963"/>
                  <a:gd name="connsiteX1091" fmla="*/ 172857 w 862013"/>
                  <a:gd name="connsiteY1091" fmla="*/ 157022 h 461963"/>
                  <a:gd name="connsiteX1092" fmla="*/ 177406 w 862013"/>
                  <a:gd name="connsiteY1092" fmla="*/ 157022 h 461963"/>
                  <a:gd name="connsiteX1093" fmla="*/ 172857 w 862013"/>
                  <a:gd name="connsiteY1093" fmla="*/ 154746 h 461963"/>
                  <a:gd name="connsiteX1094" fmla="*/ 179681 w 862013"/>
                  <a:gd name="connsiteY1094" fmla="*/ 152471 h 461963"/>
                  <a:gd name="connsiteX1095" fmla="*/ 170583 w 862013"/>
                  <a:gd name="connsiteY1095" fmla="*/ 152471 h 461963"/>
                  <a:gd name="connsiteX1096" fmla="*/ 175132 w 862013"/>
                  <a:gd name="connsiteY1096" fmla="*/ 147919 h 461963"/>
                  <a:gd name="connsiteX1097" fmla="*/ 161485 w 862013"/>
                  <a:gd name="connsiteY1097" fmla="*/ 143368 h 461963"/>
                  <a:gd name="connsiteX1098" fmla="*/ 163760 w 862013"/>
                  <a:gd name="connsiteY1098" fmla="*/ 141092 h 461963"/>
                  <a:gd name="connsiteX1099" fmla="*/ 163760 w 862013"/>
                  <a:gd name="connsiteY1099" fmla="*/ 136541 h 461963"/>
                  <a:gd name="connsiteX1100" fmla="*/ 156936 w 862013"/>
                  <a:gd name="connsiteY1100" fmla="*/ 138817 h 461963"/>
                  <a:gd name="connsiteX1101" fmla="*/ 163760 w 862013"/>
                  <a:gd name="connsiteY1101" fmla="*/ 134265 h 461963"/>
                  <a:gd name="connsiteX1102" fmla="*/ 163760 w 862013"/>
                  <a:gd name="connsiteY1102" fmla="*/ 131989 h 461963"/>
                  <a:gd name="connsiteX1103" fmla="*/ 159211 w 862013"/>
                  <a:gd name="connsiteY1103" fmla="*/ 131989 h 461963"/>
                  <a:gd name="connsiteX1104" fmla="*/ 156936 w 862013"/>
                  <a:gd name="connsiteY1104" fmla="*/ 129714 h 461963"/>
                  <a:gd name="connsiteX1105" fmla="*/ 147839 w 862013"/>
                  <a:gd name="connsiteY1105" fmla="*/ 129714 h 461963"/>
                  <a:gd name="connsiteX1106" fmla="*/ 150113 w 862013"/>
                  <a:gd name="connsiteY1106" fmla="*/ 127438 h 461963"/>
                  <a:gd name="connsiteX1107" fmla="*/ 145564 w 862013"/>
                  <a:gd name="connsiteY1107" fmla="*/ 127438 h 461963"/>
                  <a:gd name="connsiteX1108" fmla="*/ 136466 w 862013"/>
                  <a:gd name="connsiteY1108" fmla="*/ 125162 h 461963"/>
                  <a:gd name="connsiteX1109" fmla="*/ 136466 w 862013"/>
                  <a:gd name="connsiteY1109" fmla="*/ 122887 h 461963"/>
                  <a:gd name="connsiteX1110" fmla="*/ 122820 w 862013"/>
                  <a:gd name="connsiteY1110" fmla="*/ 122887 h 461963"/>
                  <a:gd name="connsiteX1111" fmla="*/ 111447 w 862013"/>
                  <a:gd name="connsiteY1111" fmla="*/ 122887 h 461963"/>
                  <a:gd name="connsiteX1112" fmla="*/ 90977 w 862013"/>
                  <a:gd name="connsiteY1112" fmla="*/ 122887 h 461963"/>
                  <a:gd name="connsiteX1113" fmla="*/ 84154 w 862013"/>
                  <a:gd name="connsiteY1113" fmla="*/ 120611 h 461963"/>
                  <a:gd name="connsiteX1114" fmla="*/ 81880 w 862013"/>
                  <a:gd name="connsiteY1114" fmla="*/ 122887 h 461963"/>
                  <a:gd name="connsiteX1115" fmla="*/ 79605 w 862013"/>
                  <a:gd name="connsiteY1115" fmla="*/ 122887 h 461963"/>
                  <a:gd name="connsiteX1116" fmla="*/ 72782 w 862013"/>
                  <a:gd name="connsiteY1116" fmla="*/ 122887 h 461963"/>
                  <a:gd name="connsiteX1117" fmla="*/ 65959 w 862013"/>
                  <a:gd name="connsiteY1117" fmla="*/ 125162 h 461963"/>
                  <a:gd name="connsiteX1118" fmla="*/ 70508 w 862013"/>
                  <a:gd name="connsiteY1118" fmla="*/ 122887 h 461963"/>
                  <a:gd name="connsiteX1119" fmla="*/ 54586 w 862013"/>
                  <a:gd name="connsiteY1119" fmla="*/ 125162 h 461963"/>
                  <a:gd name="connsiteX1120" fmla="*/ 45489 w 862013"/>
                  <a:gd name="connsiteY1120" fmla="*/ 122887 h 461963"/>
                  <a:gd name="connsiteX1121" fmla="*/ 52312 w 862013"/>
                  <a:gd name="connsiteY1121" fmla="*/ 127438 h 461963"/>
                  <a:gd name="connsiteX1122" fmla="*/ 36391 w 862013"/>
                  <a:gd name="connsiteY1122" fmla="*/ 125162 h 461963"/>
                  <a:gd name="connsiteX1123" fmla="*/ 29568 w 862013"/>
                  <a:gd name="connsiteY1123" fmla="*/ 125162 h 461963"/>
                  <a:gd name="connsiteX1124" fmla="*/ 29568 w 862013"/>
                  <a:gd name="connsiteY1124" fmla="*/ 122887 h 461963"/>
                  <a:gd name="connsiteX1125" fmla="*/ 15921 w 862013"/>
                  <a:gd name="connsiteY1125" fmla="*/ 118335 h 461963"/>
                  <a:gd name="connsiteX1126" fmla="*/ 34116 w 862013"/>
                  <a:gd name="connsiteY1126" fmla="*/ 116060 h 461963"/>
                  <a:gd name="connsiteX1127" fmla="*/ 43214 w 862013"/>
                  <a:gd name="connsiteY1127" fmla="*/ 113784 h 461963"/>
                  <a:gd name="connsiteX1128" fmla="*/ 18195 w 862013"/>
                  <a:gd name="connsiteY1128" fmla="*/ 111508 h 461963"/>
                  <a:gd name="connsiteX1129" fmla="*/ 27293 w 862013"/>
                  <a:gd name="connsiteY1129" fmla="*/ 106957 h 461963"/>
                  <a:gd name="connsiteX1130" fmla="*/ 6823 w 862013"/>
                  <a:gd name="connsiteY1130" fmla="*/ 109233 h 461963"/>
                  <a:gd name="connsiteX1131" fmla="*/ 4549 w 862013"/>
                  <a:gd name="connsiteY1131" fmla="*/ 109233 h 461963"/>
                  <a:gd name="connsiteX1132" fmla="*/ 77331 w 862013"/>
                  <a:gd name="connsiteY1132" fmla="*/ 104681 h 461963"/>
                  <a:gd name="connsiteX1133" fmla="*/ 56861 w 862013"/>
                  <a:gd name="connsiteY1133" fmla="*/ 104681 h 461963"/>
                  <a:gd name="connsiteX1134" fmla="*/ 40940 w 862013"/>
                  <a:gd name="connsiteY1134" fmla="*/ 102406 h 461963"/>
                  <a:gd name="connsiteX1135" fmla="*/ 61410 w 862013"/>
                  <a:gd name="connsiteY1135" fmla="*/ 100130 h 461963"/>
                  <a:gd name="connsiteX1136" fmla="*/ 77331 w 862013"/>
                  <a:gd name="connsiteY1136" fmla="*/ 102406 h 461963"/>
                  <a:gd name="connsiteX1137" fmla="*/ 77331 w 862013"/>
                  <a:gd name="connsiteY1137" fmla="*/ 100130 h 461963"/>
                  <a:gd name="connsiteX1138" fmla="*/ 79378 w 862013"/>
                  <a:gd name="connsiteY1138" fmla="*/ 99618 h 461963"/>
                  <a:gd name="connsiteX1139" fmla="*/ 77390 w 862013"/>
                  <a:gd name="connsiteY1139" fmla="*/ 97631 h 461963"/>
                  <a:gd name="connsiteX1140" fmla="*/ 77391 w 862013"/>
                  <a:gd name="connsiteY1140" fmla="*/ 97631 h 461963"/>
                  <a:gd name="connsiteX1141" fmla="*/ 82153 w 862013"/>
                  <a:gd name="connsiteY1141" fmla="*/ 97631 h 461963"/>
                  <a:gd name="connsiteX1142" fmla="*/ 79176 w 862013"/>
                  <a:gd name="connsiteY1142" fmla="*/ 98821 h 461963"/>
                  <a:gd name="connsiteX1143" fmla="*/ 79553 w 862013"/>
                  <a:gd name="connsiteY1143" fmla="*/ 99574 h 461963"/>
                  <a:gd name="connsiteX1144" fmla="*/ 86429 w 862013"/>
                  <a:gd name="connsiteY1144" fmla="*/ 97854 h 461963"/>
                  <a:gd name="connsiteX1145" fmla="*/ 72782 w 862013"/>
                  <a:gd name="connsiteY1145" fmla="*/ 95579 h 461963"/>
                  <a:gd name="connsiteX1146" fmla="*/ 56861 w 862013"/>
                  <a:gd name="connsiteY1146" fmla="*/ 97854 h 461963"/>
                  <a:gd name="connsiteX1147" fmla="*/ 50038 w 862013"/>
                  <a:gd name="connsiteY1147" fmla="*/ 97854 h 461963"/>
                  <a:gd name="connsiteX1148" fmla="*/ 45489 w 862013"/>
                  <a:gd name="connsiteY1148" fmla="*/ 100130 h 461963"/>
                  <a:gd name="connsiteX1149" fmla="*/ 27293 w 862013"/>
                  <a:gd name="connsiteY1149" fmla="*/ 97854 h 461963"/>
                  <a:gd name="connsiteX1150" fmla="*/ 40940 w 862013"/>
                  <a:gd name="connsiteY1150" fmla="*/ 95579 h 461963"/>
                  <a:gd name="connsiteX1151" fmla="*/ 25019 w 862013"/>
                  <a:gd name="connsiteY1151" fmla="*/ 95579 h 461963"/>
                  <a:gd name="connsiteX1152" fmla="*/ 36391 w 862013"/>
                  <a:gd name="connsiteY1152" fmla="*/ 93303 h 461963"/>
                  <a:gd name="connsiteX1153" fmla="*/ 15921 w 862013"/>
                  <a:gd name="connsiteY1153" fmla="*/ 93303 h 461963"/>
                  <a:gd name="connsiteX1154" fmla="*/ 20470 w 862013"/>
                  <a:gd name="connsiteY1154" fmla="*/ 91027 h 461963"/>
                  <a:gd name="connsiteX1155" fmla="*/ 9098 w 862013"/>
                  <a:gd name="connsiteY1155" fmla="*/ 91027 h 461963"/>
                  <a:gd name="connsiteX1156" fmla="*/ 0 w 862013"/>
                  <a:gd name="connsiteY1156" fmla="*/ 86476 h 461963"/>
                  <a:gd name="connsiteX1157" fmla="*/ 6823 w 862013"/>
                  <a:gd name="connsiteY1157" fmla="*/ 84200 h 461963"/>
                  <a:gd name="connsiteX1158" fmla="*/ 13647 w 862013"/>
                  <a:gd name="connsiteY1158" fmla="*/ 79649 h 461963"/>
                  <a:gd name="connsiteX1159" fmla="*/ 25019 w 862013"/>
                  <a:gd name="connsiteY1159" fmla="*/ 79649 h 461963"/>
                  <a:gd name="connsiteX1160" fmla="*/ 38665 w 862013"/>
                  <a:gd name="connsiteY1160" fmla="*/ 79649 h 461963"/>
                  <a:gd name="connsiteX1161" fmla="*/ 45489 w 862013"/>
                  <a:gd name="connsiteY1161" fmla="*/ 77373 h 461963"/>
                  <a:gd name="connsiteX1162" fmla="*/ 54586 w 862013"/>
                  <a:gd name="connsiteY1162" fmla="*/ 75097 h 461963"/>
                  <a:gd name="connsiteX1163" fmla="*/ 63684 w 862013"/>
                  <a:gd name="connsiteY1163" fmla="*/ 75097 h 461963"/>
                  <a:gd name="connsiteX1164" fmla="*/ 68233 w 862013"/>
                  <a:gd name="connsiteY1164" fmla="*/ 72822 h 461963"/>
                  <a:gd name="connsiteX1165" fmla="*/ 86429 w 862013"/>
                  <a:gd name="connsiteY1165" fmla="*/ 70546 h 461963"/>
                  <a:gd name="connsiteX1166" fmla="*/ 102350 w 862013"/>
                  <a:gd name="connsiteY1166" fmla="*/ 70546 h 461963"/>
                  <a:gd name="connsiteX1167" fmla="*/ 125094 w 862013"/>
                  <a:gd name="connsiteY1167" fmla="*/ 65995 h 461963"/>
                  <a:gd name="connsiteX1168" fmla="*/ 136466 w 862013"/>
                  <a:gd name="connsiteY1168" fmla="*/ 63719 h 461963"/>
                  <a:gd name="connsiteX1169" fmla="*/ 141015 w 862013"/>
                  <a:gd name="connsiteY1169" fmla="*/ 56892 h 461963"/>
                  <a:gd name="connsiteX1170" fmla="*/ 161485 w 862013"/>
                  <a:gd name="connsiteY1170" fmla="*/ 52341 h 461963"/>
                  <a:gd name="connsiteX1171" fmla="*/ 134192 w 862013"/>
                  <a:gd name="connsiteY1171" fmla="*/ 54616 h 461963"/>
                  <a:gd name="connsiteX1172" fmla="*/ 122820 w 862013"/>
                  <a:gd name="connsiteY1172" fmla="*/ 54616 h 461963"/>
                  <a:gd name="connsiteX1173" fmla="*/ 113722 w 862013"/>
                  <a:gd name="connsiteY1173" fmla="*/ 52341 h 461963"/>
                  <a:gd name="connsiteX1174" fmla="*/ 127369 w 862013"/>
                  <a:gd name="connsiteY1174" fmla="*/ 47789 h 461963"/>
                  <a:gd name="connsiteX1175" fmla="*/ 145564 w 862013"/>
                  <a:gd name="connsiteY1175" fmla="*/ 43238 h 461963"/>
                  <a:gd name="connsiteX1176" fmla="*/ 170583 w 862013"/>
                  <a:gd name="connsiteY1176" fmla="*/ 38687 h 461963"/>
                  <a:gd name="connsiteX1177" fmla="*/ 181955 w 862013"/>
                  <a:gd name="connsiteY1177" fmla="*/ 36411 h 461963"/>
                  <a:gd name="connsiteX1178" fmla="*/ 186504 w 862013"/>
                  <a:gd name="connsiteY1178" fmla="*/ 43238 h 461963"/>
                  <a:gd name="connsiteX1179" fmla="*/ 184230 w 862013"/>
                  <a:gd name="connsiteY1179" fmla="*/ 36411 h 461963"/>
                  <a:gd name="connsiteX1180" fmla="*/ 195602 w 862013"/>
                  <a:gd name="connsiteY1180" fmla="*/ 36411 h 461963"/>
                  <a:gd name="connsiteX1181" fmla="*/ 216072 w 862013"/>
                  <a:gd name="connsiteY1181" fmla="*/ 36411 h 461963"/>
                  <a:gd name="connsiteX1182" fmla="*/ 213797 w 862013"/>
                  <a:gd name="connsiteY1182" fmla="*/ 34135 h 461963"/>
                  <a:gd name="connsiteX1183" fmla="*/ 222895 w 862013"/>
                  <a:gd name="connsiteY1183" fmla="*/ 31859 h 461963"/>
                  <a:gd name="connsiteX1184" fmla="*/ 227444 w 862013"/>
                  <a:gd name="connsiteY1184" fmla="*/ 25032 h 461963"/>
                  <a:gd name="connsiteX1185" fmla="*/ 245639 w 862013"/>
                  <a:gd name="connsiteY1185" fmla="*/ 25032 h 461963"/>
                  <a:gd name="connsiteX1186" fmla="*/ 252463 w 862013"/>
                  <a:gd name="connsiteY1186" fmla="*/ 27308 h 461963"/>
                  <a:gd name="connsiteX1187" fmla="*/ 257012 w 862013"/>
                  <a:gd name="connsiteY1187" fmla="*/ 29584 h 461963"/>
                  <a:gd name="connsiteX1188" fmla="*/ 275207 w 862013"/>
                  <a:gd name="connsiteY1188" fmla="*/ 31859 h 461963"/>
                  <a:gd name="connsiteX1189" fmla="*/ 266109 w 862013"/>
                  <a:gd name="connsiteY1189" fmla="*/ 29584 h 461963"/>
                  <a:gd name="connsiteX1190" fmla="*/ 259286 w 862013"/>
                  <a:gd name="connsiteY1190" fmla="*/ 27308 h 461963"/>
                  <a:gd name="connsiteX1191" fmla="*/ 254737 w 862013"/>
                  <a:gd name="connsiteY1191" fmla="*/ 25032 h 461963"/>
                  <a:gd name="connsiteX1192" fmla="*/ 247914 w 862013"/>
                  <a:gd name="connsiteY1192" fmla="*/ 22757 h 461963"/>
                  <a:gd name="connsiteX1193" fmla="*/ 282030 w 862013"/>
                  <a:gd name="connsiteY1193" fmla="*/ 20481 h 461963"/>
                  <a:gd name="connsiteX1194" fmla="*/ 293403 w 862013"/>
                  <a:gd name="connsiteY1194" fmla="*/ 20481 h 461963"/>
                  <a:gd name="connsiteX1195" fmla="*/ 302500 w 862013"/>
                  <a:gd name="connsiteY1195" fmla="*/ 20481 h 461963"/>
                  <a:gd name="connsiteX1196" fmla="*/ 325245 w 862013"/>
                  <a:gd name="connsiteY1196" fmla="*/ 22757 h 461963"/>
                  <a:gd name="connsiteX1197" fmla="*/ 316147 w 862013"/>
                  <a:gd name="connsiteY1197" fmla="*/ 29584 h 461963"/>
                  <a:gd name="connsiteX1198" fmla="*/ 327519 w 862013"/>
                  <a:gd name="connsiteY1198" fmla="*/ 27308 h 461963"/>
                  <a:gd name="connsiteX1199" fmla="*/ 334343 w 862013"/>
                  <a:gd name="connsiteY1199" fmla="*/ 22757 h 461963"/>
                  <a:gd name="connsiteX1200" fmla="*/ 338892 w 862013"/>
                  <a:gd name="connsiteY1200" fmla="*/ 22757 h 461963"/>
                  <a:gd name="connsiteX1201" fmla="*/ 357087 w 862013"/>
                  <a:gd name="connsiteY1201" fmla="*/ 27308 h 461963"/>
                  <a:gd name="connsiteX1202" fmla="*/ 368459 w 862013"/>
                  <a:gd name="connsiteY1202" fmla="*/ 29584 h 461963"/>
                  <a:gd name="connsiteX1203" fmla="*/ 357087 w 862013"/>
                  <a:gd name="connsiteY1203" fmla="*/ 25032 h 461963"/>
                  <a:gd name="connsiteX1204" fmla="*/ 377557 w 862013"/>
                  <a:gd name="connsiteY1204" fmla="*/ 25032 h 461963"/>
                  <a:gd name="connsiteX1205" fmla="*/ 366185 w 862013"/>
                  <a:gd name="connsiteY1205" fmla="*/ 20481 h 461963"/>
                  <a:gd name="connsiteX1206" fmla="*/ 361636 w 862013"/>
                  <a:gd name="connsiteY1206" fmla="*/ 15930 h 461963"/>
                  <a:gd name="connsiteX1207" fmla="*/ 386655 w 862013"/>
                  <a:gd name="connsiteY1207" fmla="*/ 15930 h 461963"/>
                  <a:gd name="connsiteX1208" fmla="*/ 404850 w 862013"/>
                  <a:gd name="connsiteY1208" fmla="*/ 20481 h 461963"/>
                  <a:gd name="connsiteX1209" fmla="*/ 423046 w 862013"/>
                  <a:gd name="connsiteY1209" fmla="*/ 25032 h 461963"/>
                  <a:gd name="connsiteX1210" fmla="*/ 436692 w 862013"/>
                  <a:gd name="connsiteY1210" fmla="*/ 25032 h 461963"/>
                  <a:gd name="connsiteX1211" fmla="*/ 443516 w 862013"/>
                  <a:gd name="connsiteY1211" fmla="*/ 22757 h 461963"/>
                  <a:gd name="connsiteX1212" fmla="*/ 445790 w 862013"/>
                  <a:gd name="connsiteY1212" fmla="*/ 18205 h 461963"/>
                  <a:gd name="connsiteX1213" fmla="*/ 452614 w 862013"/>
                  <a:gd name="connsiteY1213" fmla="*/ 20481 h 461963"/>
                  <a:gd name="connsiteX1214" fmla="*/ 473084 w 862013"/>
                  <a:gd name="connsiteY1214" fmla="*/ 20481 h 461963"/>
                  <a:gd name="connsiteX1215" fmla="*/ 454888 w 862013"/>
                  <a:gd name="connsiteY1215" fmla="*/ 18205 h 461963"/>
                  <a:gd name="connsiteX1216" fmla="*/ 450339 w 862013"/>
                  <a:gd name="connsiteY1216" fmla="*/ 15930 h 461963"/>
                  <a:gd name="connsiteX1217" fmla="*/ 445790 w 862013"/>
                  <a:gd name="connsiteY1217" fmla="*/ 15930 h 461963"/>
                  <a:gd name="connsiteX1218" fmla="*/ 434418 w 862013"/>
                  <a:gd name="connsiteY1218" fmla="*/ 13654 h 461963"/>
                  <a:gd name="connsiteX1219" fmla="*/ 450339 w 862013"/>
                  <a:gd name="connsiteY1219" fmla="*/ 11378 h 461963"/>
                  <a:gd name="connsiteX1220" fmla="*/ 446075 w 862013"/>
                  <a:gd name="connsiteY1220" fmla="*/ 11378 h 461963"/>
                  <a:gd name="connsiteX1221" fmla="*/ 445790 w 862013"/>
                  <a:gd name="connsiteY1221" fmla="*/ 11378 h 461963"/>
                  <a:gd name="connsiteX1222" fmla="*/ 441241 w 862013"/>
                  <a:gd name="connsiteY1222" fmla="*/ 11378 h 461963"/>
                  <a:gd name="connsiteX1223" fmla="*/ 434418 w 862013"/>
                  <a:gd name="connsiteY1223" fmla="*/ 11378 h 461963"/>
                  <a:gd name="connsiteX1224" fmla="*/ 428732 w 862013"/>
                  <a:gd name="connsiteY1224" fmla="*/ 10241 h 461963"/>
                  <a:gd name="connsiteX1225" fmla="*/ 425320 w 862013"/>
                  <a:gd name="connsiteY1225" fmla="*/ 9103 h 461963"/>
                  <a:gd name="connsiteX1226" fmla="*/ 443516 w 862013"/>
                  <a:gd name="connsiteY1226" fmla="*/ 9103 h 461963"/>
                  <a:gd name="connsiteX1227" fmla="*/ 457162 w 862013"/>
                  <a:gd name="connsiteY1227" fmla="*/ 11378 h 461963"/>
                  <a:gd name="connsiteX1228" fmla="*/ 441241 w 862013"/>
                  <a:gd name="connsiteY1228" fmla="*/ 6827 h 461963"/>
                  <a:gd name="connsiteX1229" fmla="*/ 459437 w 862013"/>
                  <a:gd name="connsiteY1229" fmla="*/ 6827 h 461963"/>
                  <a:gd name="connsiteX1230" fmla="*/ 463986 w 862013"/>
                  <a:gd name="connsiteY1230" fmla="*/ 6827 h 461963"/>
                  <a:gd name="connsiteX1231" fmla="*/ 470809 w 862013"/>
                  <a:gd name="connsiteY1231" fmla="*/ 6827 h 461963"/>
                  <a:gd name="connsiteX1232" fmla="*/ 482181 w 862013"/>
                  <a:gd name="connsiteY1232" fmla="*/ 4551 h 461963"/>
                  <a:gd name="connsiteX1233" fmla="*/ 486730 w 862013"/>
                  <a:gd name="connsiteY1233" fmla="*/ 6827 h 461963"/>
                  <a:gd name="connsiteX1234" fmla="*/ 509475 w 862013"/>
                  <a:gd name="connsiteY1234" fmla="*/ 9103 h 461963"/>
                  <a:gd name="connsiteX1235" fmla="*/ 520847 w 862013"/>
                  <a:gd name="connsiteY1235" fmla="*/ 11378 h 461963"/>
                  <a:gd name="connsiteX1236" fmla="*/ 527670 w 862013"/>
                  <a:gd name="connsiteY1236" fmla="*/ 11378 h 461963"/>
                  <a:gd name="connsiteX1237" fmla="*/ 520847 w 862013"/>
                  <a:gd name="connsiteY1237" fmla="*/ 9103 h 461963"/>
                  <a:gd name="connsiteX1238" fmla="*/ 527670 w 862013"/>
                  <a:gd name="connsiteY1238" fmla="*/ 9103 h 461963"/>
                  <a:gd name="connsiteX1239" fmla="*/ 550414 w 862013"/>
                  <a:gd name="connsiteY1239" fmla="*/ 6827 h 461963"/>
                  <a:gd name="connsiteX1240" fmla="*/ 529945 w 862013"/>
                  <a:gd name="connsiteY1240" fmla="*/ 2276 h 461963"/>
                  <a:gd name="connsiteX1241" fmla="*/ 545866 w 862013"/>
                  <a:gd name="connsiteY1241" fmla="*/ 2276 h 461963"/>
                  <a:gd name="connsiteX1242" fmla="*/ 559512 w 862013"/>
                  <a:gd name="connsiteY1242" fmla="*/ 4551 h 461963"/>
                  <a:gd name="connsiteX1243" fmla="*/ 554963 w 862013"/>
                  <a:gd name="connsiteY1243" fmla="*/ 2276 h 461963"/>
                  <a:gd name="connsiteX1244" fmla="*/ 579982 w 862013"/>
                  <a:gd name="connsiteY1244" fmla="*/ 2276 h 461963"/>
                  <a:gd name="connsiteX1245" fmla="*/ 586806 w 862013"/>
                  <a:gd name="connsiteY1245" fmla="*/ 0 h 461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Lst>
                <a:rect l="l" t="t" r="r" b="b"/>
                <a:pathLst>
                  <a:path w="862013" h="461963">
                    <a:moveTo>
                      <a:pt x="223838" y="459582"/>
                    </a:moveTo>
                    <a:cubicBezTo>
                      <a:pt x="221457" y="461963"/>
                      <a:pt x="221457" y="461963"/>
                      <a:pt x="219075" y="461963"/>
                    </a:cubicBezTo>
                    <a:lnTo>
                      <a:pt x="219075" y="460772"/>
                    </a:lnTo>
                    <a:close/>
                    <a:moveTo>
                      <a:pt x="219075" y="459582"/>
                    </a:moveTo>
                    <a:lnTo>
                      <a:pt x="219075" y="460772"/>
                    </a:lnTo>
                    <a:lnTo>
                      <a:pt x="214313" y="461963"/>
                    </a:lnTo>
                    <a:cubicBezTo>
                      <a:pt x="216694" y="461963"/>
                      <a:pt x="219075" y="461963"/>
                      <a:pt x="219075" y="459582"/>
                    </a:cubicBezTo>
                    <a:close/>
                    <a:moveTo>
                      <a:pt x="214313" y="457200"/>
                    </a:moveTo>
                    <a:cubicBezTo>
                      <a:pt x="216695" y="457200"/>
                      <a:pt x="216695" y="457200"/>
                      <a:pt x="219076" y="457200"/>
                    </a:cubicBezTo>
                    <a:cubicBezTo>
                      <a:pt x="216695" y="459582"/>
                      <a:pt x="214313" y="461963"/>
                      <a:pt x="211932" y="459582"/>
                    </a:cubicBezTo>
                    <a:cubicBezTo>
                      <a:pt x="211932" y="459582"/>
                      <a:pt x="211932" y="459582"/>
                      <a:pt x="214313" y="457200"/>
                    </a:cubicBezTo>
                    <a:close/>
                    <a:moveTo>
                      <a:pt x="243985" y="438793"/>
                    </a:moveTo>
                    <a:lnTo>
                      <a:pt x="244778" y="438991"/>
                    </a:lnTo>
                    <a:lnTo>
                      <a:pt x="245639" y="439206"/>
                    </a:lnTo>
                    <a:lnTo>
                      <a:pt x="244347" y="439206"/>
                    </a:lnTo>
                    <a:lnTo>
                      <a:pt x="243365" y="439206"/>
                    </a:lnTo>
                    <a:close/>
                    <a:moveTo>
                      <a:pt x="162338" y="437215"/>
                    </a:moveTo>
                    <a:lnTo>
                      <a:pt x="168308" y="439206"/>
                    </a:lnTo>
                    <a:cubicBezTo>
                      <a:pt x="166034" y="441482"/>
                      <a:pt x="156936" y="439206"/>
                      <a:pt x="152387" y="439206"/>
                    </a:cubicBezTo>
                    <a:close/>
                    <a:moveTo>
                      <a:pt x="189309" y="436960"/>
                    </a:moveTo>
                    <a:cubicBezTo>
                      <a:pt x="189309" y="436960"/>
                      <a:pt x="189309" y="436960"/>
                      <a:pt x="189309" y="438746"/>
                    </a:cubicBezTo>
                    <a:cubicBezTo>
                      <a:pt x="184546" y="438746"/>
                      <a:pt x="182165" y="438746"/>
                      <a:pt x="177403" y="440532"/>
                    </a:cubicBezTo>
                    <a:cubicBezTo>
                      <a:pt x="179784" y="438746"/>
                      <a:pt x="184546" y="436960"/>
                      <a:pt x="189309" y="436960"/>
                    </a:cubicBezTo>
                    <a:close/>
                    <a:moveTo>
                      <a:pt x="309265" y="363513"/>
                    </a:moveTo>
                    <a:cubicBezTo>
                      <a:pt x="310753" y="363290"/>
                      <a:pt x="311944" y="363736"/>
                      <a:pt x="311944" y="365522"/>
                    </a:cubicBezTo>
                    <a:cubicBezTo>
                      <a:pt x="309563" y="365522"/>
                      <a:pt x="307181" y="365522"/>
                      <a:pt x="304800" y="365522"/>
                    </a:cubicBezTo>
                    <a:cubicBezTo>
                      <a:pt x="305991" y="364629"/>
                      <a:pt x="307777" y="363736"/>
                      <a:pt x="309265" y="363513"/>
                    </a:cubicBezTo>
                    <a:close/>
                    <a:moveTo>
                      <a:pt x="152387" y="355006"/>
                    </a:moveTo>
                    <a:cubicBezTo>
                      <a:pt x="156936" y="352730"/>
                      <a:pt x="154662" y="357282"/>
                      <a:pt x="156936" y="359557"/>
                    </a:cubicBezTo>
                    <a:cubicBezTo>
                      <a:pt x="154662" y="359557"/>
                      <a:pt x="147839" y="359557"/>
                      <a:pt x="152387" y="357282"/>
                    </a:cubicBezTo>
                    <a:cubicBezTo>
                      <a:pt x="150113" y="357282"/>
                      <a:pt x="150113" y="357282"/>
                      <a:pt x="147839" y="357282"/>
                    </a:cubicBezTo>
                    <a:cubicBezTo>
                      <a:pt x="147839" y="355006"/>
                      <a:pt x="156936" y="355006"/>
                      <a:pt x="152387" y="355006"/>
                    </a:cubicBezTo>
                    <a:close/>
                    <a:moveTo>
                      <a:pt x="319088" y="350044"/>
                    </a:moveTo>
                    <a:cubicBezTo>
                      <a:pt x="321469" y="352425"/>
                      <a:pt x="321469" y="357188"/>
                      <a:pt x="319088" y="357188"/>
                    </a:cubicBezTo>
                    <a:cubicBezTo>
                      <a:pt x="321469" y="357188"/>
                      <a:pt x="321469" y="359569"/>
                      <a:pt x="321469" y="359569"/>
                    </a:cubicBezTo>
                    <a:cubicBezTo>
                      <a:pt x="316706" y="359569"/>
                      <a:pt x="316706" y="354807"/>
                      <a:pt x="314325" y="352425"/>
                    </a:cubicBezTo>
                    <a:cubicBezTo>
                      <a:pt x="314325" y="350044"/>
                      <a:pt x="319088" y="350044"/>
                      <a:pt x="319088" y="350044"/>
                    </a:cubicBezTo>
                    <a:close/>
                    <a:moveTo>
                      <a:pt x="336947" y="340519"/>
                    </a:moveTo>
                    <a:cubicBezTo>
                      <a:pt x="336947" y="340519"/>
                      <a:pt x="339328" y="340519"/>
                      <a:pt x="341710" y="340519"/>
                    </a:cubicBezTo>
                    <a:cubicBezTo>
                      <a:pt x="341710" y="340519"/>
                      <a:pt x="341710" y="340519"/>
                      <a:pt x="339328" y="342900"/>
                    </a:cubicBezTo>
                    <a:cubicBezTo>
                      <a:pt x="339328" y="342900"/>
                      <a:pt x="339328" y="342900"/>
                      <a:pt x="336947" y="340519"/>
                    </a:cubicBezTo>
                    <a:close/>
                    <a:moveTo>
                      <a:pt x="379809" y="334567"/>
                    </a:moveTo>
                    <a:cubicBezTo>
                      <a:pt x="382190" y="332185"/>
                      <a:pt x="384572" y="332185"/>
                      <a:pt x="384572" y="334567"/>
                    </a:cubicBezTo>
                    <a:cubicBezTo>
                      <a:pt x="384572" y="334567"/>
                      <a:pt x="384572" y="334567"/>
                      <a:pt x="382190" y="336948"/>
                    </a:cubicBezTo>
                    <a:cubicBezTo>
                      <a:pt x="382190" y="336948"/>
                      <a:pt x="382190" y="336948"/>
                      <a:pt x="379809" y="334567"/>
                    </a:cubicBezTo>
                    <a:close/>
                    <a:moveTo>
                      <a:pt x="125094" y="316320"/>
                    </a:moveTo>
                    <a:cubicBezTo>
                      <a:pt x="127369" y="316320"/>
                      <a:pt x="131917" y="316320"/>
                      <a:pt x="127369" y="316320"/>
                    </a:cubicBezTo>
                    <a:lnTo>
                      <a:pt x="143290" y="316320"/>
                    </a:lnTo>
                    <a:lnTo>
                      <a:pt x="134192" y="320871"/>
                    </a:lnTo>
                    <a:cubicBezTo>
                      <a:pt x="129643" y="323147"/>
                      <a:pt x="122820" y="325422"/>
                      <a:pt x="118271" y="323147"/>
                    </a:cubicBezTo>
                    <a:cubicBezTo>
                      <a:pt x="120545" y="320871"/>
                      <a:pt x="125094" y="320871"/>
                      <a:pt x="127369" y="320871"/>
                    </a:cubicBezTo>
                    <a:cubicBezTo>
                      <a:pt x="127369" y="320871"/>
                      <a:pt x="115996" y="320871"/>
                      <a:pt x="120545" y="318595"/>
                    </a:cubicBezTo>
                    <a:cubicBezTo>
                      <a:pt x="122820" y="318595"/>
                      <a:pt x="122820" y="316320"/>
                      <a:pt x="125094" y="316320"/>
                    </a:cubicBezTo>
                    <a:close/>
                    <a:moveTo>
                      <a:pt x="160982" y="286595"/>
                    </a:moveTo>
                    <a:lnTo>
                      <a:pt x="161485" y="286736"/>
                    </a:lnTo>
                    <a:lnTo>
                      <a:pt x="160887" y="286616"/>
                    </a:lnTo>
                    <a:close/>
                    <a:moveTo>
                      <a:pt x="149712" y="284594"/>
                    </a:moveTo>
                    <a:lnTo>
                      <a:pt x="150987" y="284635"/>
                    </a:lnTo>
                    <a:lnTo>
                      <a:pt x="160887" y="286616"/>
                    </a:lnTo>
                    <a:lnTo>
                      <a:pt x="150113" y="289011"/>
                    </a:lnTo>
                    <a:lnTo>
                      <a:pt x="144654" y="291059"/>
                    </a:lnTo>
                    <a:lnTo>
                      <a:pt x="143290" y="291287"/>
                    </a:lnTo>
                    <a:lnTo>
                      <a:pt x="143875" y="291352"/>
                    </a:lnTo>
                    <a:lnTo>
                      <a:pt x="137982" y="293563"/>
                    </a:lnTo>
                    <a:lnTo>
                      <a:pt x="136466" y="293563"/>
                    </a:lnTo>
                    <a:lnTo>
                      <a:pt x="134950" y="294700"/>
                    </a:lnTo>
                    <a:lnTo>
                      <a:pt x="131917" y="295838"/>
                    </a:lnTo>
                    <a:cubicBezTo>
                      <a:pt x="131917" y="291287"/>
                      <a:pt x="138741" y="293563"/>
                      <a:pt x="136466" y="289011"/>
                    </a:cubicBezTo>
                    <a:cubicBezTo>
                      <a:pt x="134192" y="286736"/>
                      <a:pt x="145564" y="293563"/>
                      <a:pt x="141015" y="286736"/>
                    </a:cubicBezTo>
                    <a:cubicBezTo>
                      <a:pt x="143290" y="289011"/>
                      <a:pt x="147839" y="286736"/>
                      <a:pt x="143290" y="286736"/>
                    </a:cubicBezTo>
                    <a:close/>
                    <a:moveTo>
                      <a:pt x="145564" y="284460"/>
                    </a:moveTo>
                    <a:cubicBezTo>
                      <a:pt x="147839" y="284460"/>
                      <a:pt x="147839" y="284460"/>
                      <a:pt x="150113" y="284460"/>
                    </a:cubicBezTo>
                    <a:lnTo>
                      <a:pt x="149712" y="284594"/>
                    </a:lnTo>
                    <a:close/>
                    <a:moveTo>
                      <a:pt x="145564" y="282184"/>
                    </a:moveTo>
                    <a:cubicBezTo>
                      <a:pt x="150113" y="279909"/>
                      <a:pt x="154662" y="282184"/>
                      <a:pt x="159211" y="284460"/>
                    </a:cubicBezTo>
                    <a:cubicBezTo>
                      <a:pt x="159211" y="282184"/>
                      <a:pt x="156936" y="282184"/>
                      <a:pt x="154662" y="282184"/>
                    </a:cubicBezTo>
                    <a:cubicBezTo>
                      <a:pt x="159211" y="279909"/>
                      <a:pt x="161485" y="282184"/>
                      <a:pt x="166034" y="284460"/>
                    </a:cubicBezTo>
                    <a:lnTo>
                      <a:pt x="170583" y="284460"/>
                    </a:lnTo>
                    <a:lnTo>
                      <a:pt x="160982" y="286595"/>
                    </a:lnTo>
                    <a:lnTo>
                      <a:pt x="154378" y="284744"/>
                    </a:lnTo>
                    <a:lnTo>
                      <a:pt x="150987" y="284635"/>
                    </a:lnTo>
                    <a:lnTo>
                      <a:pt x="150113" y="284460"/>
                    </a:lnTo>
                    <a:cubicBezTo>
                      <a:pt x="147839" y="282184"/>
                      <a:pt x="147839" y="282184"/>
                      <a:pt x="145564" y="282184"/>
                    </a:cubicBezTo>
                    <a:close/>
                    <a:moveTo>
                      <a:pt x="166290" y="281286"/>
                    </a:moveTo>
                    <a:lnTo>
                      <a:pt x="165854" y="281465"/>
                    </a:lnTo>
                    <a:lnTo>
                      <a:pt x="161925" y="282179"/>
                    </a:lnTo>
                    <a:cubicBezTo>
                      <a:pt x="163016" y="282179"/>
                      <a:pt x="165199" y="281584"/>
                      <a:pt x="166290" y="281286"/>
                    </a:cubicBezTo>
                    <a:close/>
                    <a:moveTo>
                      <a:pt x="175022" y="279798"/>
                    </a:moveTo>
                    <a:cubicBezTo>
                      <a:pt x="172839" y="282179"/>
                      <a:pt x="168473" y="282179"/>
                      <a:pt x="164108" y="282179"/>
                    </a:cubicBezTo>
                    <a:lnTo>
                      <a:pt x="165854" y="281465"/>
                    </a:lnTo>
                    <a:close/>
                    <a:moveTo>
                      <a:pt x="175132" y="270806"/>
                    </a:moveTo>
                    <a:cubicBezTo>
                      <a:pt x="172857" y="273082"/>
                      <a:pt x="172857" y="273082"/>
                      <a:pt x="170583" y="273082"/>
                    </a:cubicBezTo>
                    <a:cubicBezTo>
                      <a:pt x="168308" y="273082"/>
                      <a:pt x="168308" y="273082"/>
                      <a:pt x="166034" y="273082"/>
                    </a:cubicBezTo>
                    <a:cubicBezTo>
                      <a:pt x="168308" y="270806"/>
                      <a:pt x="172857" y="273082"/>
                      <a:pt x="175132" y="270806"/>
                    </a:cubicBezTo>
                    <a:close/>
                    <a:moveTo>
                      <a:pt x="198239" y="245269"/>
                    </a:moveTo>
                    <a:cubicBezTo>
                      <a:pt x="200422" y="245269"/>
                      <a:pt x="200422" y="245269"/>
                      <a:pt x="202605" y="245269"/>
                    </a:cubicBezTo>
                    <a:cubicBezTo>
                      <a:pt x="202605" y="245269"/>
                      <a:pt x="204788" y="245269"/>
                      <a:pt x="204788" y="247650"/>
                    </a:cubicBezTo>
                    <a:cubicBezTo>
                      <a:pt x="204788" y="247650"/>
                      <a:pt x="200422" y="247650"/>
                      <a:pt x="200422" y="250032"/>
                    </a:cubicBezTo>
                    <a:cubicBezTo>
                      <a:pt x="198239" y="252413"/>
                      <a:pt x="196057" y="254794"/>
                      <a:pt x="196057" y="252413"/>
                    </a:cubicBezTo>
                    <a:cubicBezTo>
                      <a:pt x="191691" y="250032"/>
                      <a:pt x="202605" y="245269"/>
                      <a:pt x="198239" y="245269"/>
                    </a:cubicBezTo>
                    <a:close/>
                    <a:moveTo>
                      <a:pt x="150642" y="239208"/>
                    </a:moveTo>
                    <a:cubicBezTo>
                      <a:pt x="155178" y="236935"/>
                      <a:pt x="159714" y="239208"/>
                      <a:pt x="164249" y="239208"/>
                    </a:cubicBezTo>
                    <a:cubicBezTo>
                      <a:pt x="171053" y="239208"/>
                      <a:pt x="173321" y="243754"/>
                      <a:pt x="177856" y="246027"/>
                    </a:cubicBezTo>
                    <a:cubicBezTo>
                      <a:pt x="180124" y="246027"/>
                      <a:pt x="186928" y="246027"/>
                      <a:pt x="186928" y="250574"/>
                    </a:cubicBezTo>
                    <a:cubicBezTo>
                      <a:pt x="186928" y="255120"/>
                      <a:pt x="173321" y="257393"/>
                      <a:pt x="168785" y="257393"/>
                    </a:cubicBezTo>
                    <a:cubicBezTo>
                      <a:pt x="166517" y="257393"/>
                      <a:pt x="146106" y="261939"/>
                      <a:pt x="146106" y="255120"/>
                    </a:cubicBezTo>
                    <a:cubicBezTo>
                      <a:pt x="150642" y="255120"/>
                      <a:pt x="155178" y="255120"/>
                      <a:pt x="159714" y="255120"/>
                    </a:cubicBezTo>
                    <a:cubicBezTo>
                      <a:pt x="155178" y="255120"/>
                      <a:pt x="159714" y="252847"/>
                      <a:pt x="161981" y="252847"/>
                    </a:cubicBezTo>
                    <a:cubicBezTo>
                      <a:pt x="159714" y="252847"/>
                      <a:pt x="150642" y="257393"/>
                      <a:pt x="155178" y="252847"/>
                    </a:cubicBezTo>
                    <a:cubicBezTo>
                      <a:pt x="155178" y="255120"/>
                      <a:pt x="148374" y="255120"/>
                      <a:pt x="152910" y="252847"/>
                    </a:cubicBezTo>
                    <a:cubicBezTo>
                      <a:pt x="148374" y="252847"/>
                      <a:pt x="141571" y="252847"/>
                      <a:pt x="139303" y="250574"/>
                    </a:cubicBezTo>
                    <a:cubicBezTo>
                      <a:pt x="141571" y="248301"/>
                      <a:pt x="143839" y="250574"/>
                      <a:pt x="146106" y="250574"/>
                    </a:cubicBezTo>
                    <a:cubicBezTo>
                      <a:pt x="146106" y="248301"/>
                      <a:pt x="143839" y="248301"/>
                      <a:pt x="141571" y="248301"/>
                    </a:cubicBezTo>
                    <a:cubicBezTo>
                      <a:pt x="143839" y="243754"/>
                      <a:pt x="148374" y="246027"/>
                      <a:pt x="152910" y="246027"/>
                    </a:cubicBezTo>
                    <a:cubicBezTo>
                      <a:pt x="150642" y="243754"/>
                      <a:pt x="148374" y="243754"/>
                      <a:pt x="146106" y="243754"/>
                    </a:cubicBezTo>
                    <a:cubicBezTo>
                      <a:pt x="141571" y="241481"/>
                      <a:pt x="148374" y="239208"/>
                      <a:pt x="150642" y="239208"/>
                    </a:cubicBezTo>
                    <a:close/>
                    <a:moveTo>
                      <a:pt x="148233" y="234554"/>
                    </a:moveTo>
                    <a:cubicBezTo>
                      <a:pt x="148233" y="234554"/>
                      <a:pt x="148233" y="234554"/>
                      <a:pt x="150019" y="234554"/>
                    </a:cubicBezTo>
                    <a:cubicBezTo>
                      <a:pt x="150019" y="234554"/>
                      <a:pt x="150019" y="234554"/>
                      <a:pt x="148233" y="236935"/>
                    </a:cubicBezTo>
                    <a:cubicBezTo>
                      <a:pt x="146447" y="234554"/>
                      <a:pt x="146447" y="234554"/>
                      <a:pt x="148233" y="234554"/>
                    </a:cubicBezTo>
                    <a:close/>
                    <a:moveTo>
                      <a:pt x="568610" y="220741"/>
                    </a:moveTo>
                    <a:cubicBezTo>
                      <a:pt x="568610" y="223017"/>
                      <a:pt x="570884" y="223017"/>
                      <a:pt x="570884" y="223017"/>
                    </a:cubicBezTo>
                    <a:cubicBezTo>
                      <a:pt x="568610" y="225292"/>
                      <a:pt x="564061" y="225292"/>
                      <a:pt x="561787" y="223017"/>
                    </a:cubicBezTo>
                    <a:cubicBezTo>
                      <a:pt x="568610" y="227568"/>
                      <a:pt x="561787" y="227568"/>
                      <a:pt x="559512" y="232119"/>
                    </a:cubicBezTo>
                    <a:cubicBezTo>
                      <a:pt x="554963" y="234395"/>
                      <a:pt x="548140" y="234395"/>
                      <a:pt x="543591" y="234395"/>
                    </a:cubicBezTo>
                    <a:cubicBezTo>
                      <a:pt x="545866" y="236671"/>
                      <a:pt x="552689" y="234395"/>
                      <a:pt x="554963" y="234395"/>
                    </a:cubicBezTo>
                    <a:cubicBezTo>
                      <a:pt x="557238" y="232119"/>
                      <a:pt x="557238" y="236671"/>
                      <a:pt x="559512" y="236671"/>
                    </a:cubicBezTo>
                    <a:cubicBezTo>
                      <a:pt x="561787" y="236671"/>
                      <a:pt x="561787" y="236671"/>
                      <a:pt x="564061" y="234395"/>
                    </a:cubicBezTo>
                    <a:lnTo>
                      <a:pt x="567830" y="233869"/>
                    </a:lnTo>
                    <a:lnTo>
                      <a:pt x="561975" y="234554"/>
                    </a:lnTo>
                    <a:cubicBezTo>
                      <a:pt x="564237" y="234554"/>
                      <a:pt x="564237" y="232172"/>
                      <a:pt x="566499" y="229791"/>
                    </a:cubicBezTo>
                    <a:cubicBezTo>
                      <a:pt x="566499" y="229791"/>
                      <a:pt x="568761" y="229791"/>
                      <a:pt x="568761" y="229791"/>
                    </a:cubicBezTo>
                    <a:lnTo>
                      <a:pt x="573807" y="227666"/>
                    </a:lnTo>
                    <a:lnTo>
                      <a:pt x="569119" y="225029"/>
                    </a:lnTo>
                    <a:cubicBezTo>
                      <a:pt x="571500" y="225029"/>
                      <a:pt x="573881" y="225029"/>
                      <a:pt x="578644" y="225029"/>
                    </a:cubicBezTo>
                    <a:lnTo>
                      <a:pt x="574397" y="227418"/>
                    </a:lnTo>
                    <a:lnTo>
                      <a:pt x="580072" y="225028"/>
                    </a:lnTo>
                    <a:lnTo>
                      <a:pt x="580736" y="224912"/>
                    </a:lnTo>
                    <a:lnTo>
                      <a:pt x="573159" y="223017"/>
                    </a:lnTo>
                    <a:cubicBezTo>
                      <a:pt x="573159" y="223017"/>
                      <a:pt x="570884" y="220741"/>
                      <a:pt x="568610" y="220741"/>
                    </a:cubicBezTo>
                    <a:close/>
                    <a:moveTo>
                      <a:pt x="161926" y="190500"/>
                    </a:moveTo>
                    <a:lnTo>
                      <a:pt x="161925" y="190501"/>
                    </a:lnTo>
                    <a:lnTo>
                      <a:pt x="159544" y="192881"/>
                    </a:lnTo>
                    <a:cubicBezTo>
                      <a:pt x="159544" y="192881"/>
                      <a:pt x="159544" y="192881"/>
                      <a:pt x="157163" y="192881"/>
                    </a:cubicBezTo>
                    <a:cubicBezTo>
                      <a:pt x="159544" y="190500"/>
                      <a:pt x="161926" y="190500"/>
                      <a:pt x="161926" y="190500"/>
                    </a:cubicBezTo>
                    <a:close/>
                    <a:moveTo>
                      <a:pt x="172839" y="186929"/>
                    </a:moveTo>
                    <a:cubicBezTo>
                      <a:pt x="172839" y="186929"/>
                      <a:pt x="172839" y="186929"/>
                      <a:pt x="175022" y="186929"/>
                    </a:cubicBezTo>
                    <a:lnTo>
                      <a:pt x="161925" y="190501"/>
                    </a:lnTo>
                    <a:close/>
                    <a:moveTo>
                      <a:pt x="635105" y="186515"/>
                    </a:moveTo>
                    <a:cubicBezTo>
                      <a:pt x="636836" y="186234"/>
                      <a:pt x="639142" y="186796"/>
                      <a:pt x="641449" y="186796"/>
                    </a:cubicBezTo>
                    <a:cubicBezTo>
                      <a:pt x="643756" y="186796"/>
                      <a:pt x="650677" y="186796"/>
                      <a:pt x="652984" y="186796"/>
                    </a:cubicBezTo>
                    <a:cubicBezTo>
                      <a:pt x="655291" y="189045"/>
                      <a:pt x="657597" y="189045"/>
                      <a:pt x="659904" y="191294"/>
                    </a:cubicBezTo>
                    <a:cubicBezTo>
                      <a:pt x="659904" y="191294"/>
                      <a:pt x="659904" y="191294"/>
                      <a:pt x="662211" y="191294"/>
                    </a:cubicBezTo>
                    <a:cubicBezTo>
                      <a:pt x="662211" y="191294"/>
                      <a:pt x="669132" y="193543"/>
                      <a:pt x="669132" y="195792"/>
                    </a:cubicBezTo>
                    <a:cubicBezTo>
                      <a:pt x="664518" y="195792"/>
                      <a:pt x="659904" y="195792"/>
                      <a:pt x="657597" y="193543"/>
                    </a:cubicBezTo>
                    <a:cubicBezTo>
                      <a:pt x="657597" y="195792"/>
                      <a:pt x="657597" y="198041"/>
                      <a:pt x="659904" y="198041"/>
                    </a:cubicBezTo>
                    <a:cubicBezTo>
                      <a:pt x="662211" y="198041"/>
                      <a:pt x="662211" y="198041"/>
                      <a:pt x="664518" y="198041"/>
                    </a:cubicBezTo>
                    <a:cubicBezTo>
                      <a:pt x="662211" y="204788"/>
                      <a:pt x="652984" y="198041"/>
                      <a:pt x="650677" y="198041"/>
                    </a:cubicBezTo>
                    <a:cubicBezTo>
                      <a:pt x="646063" y="195792"/>
                      <a:pt x="632222" y="193543"/>
                      <a:pt x="632222" y="191294"/>
                    </a:cubicBezTo>
                    <a:cubicBezTo>
                      <a:pt x="632222" y="187921"/>
                      <a:pt x="633375" y="186796"/>
                      <a:pt x="635105" y="186515"/>
                    </a:cubicBezTo>
                    <a:close/>
                    <a:moveTo>
                      <a:pt x="652193" y="181155"/>
                    </a:moveTo>
                    <a:cubicBezTo>
                      <a:pt x="659979" y="181690"/>
                      <a:pt x="668053" y="183834"/>
                      <a:pt x="671513" y="185977"/>
                    </a:cubicBezTo>
                    <a:cubicBezTo>
                      <a:pt x="671513" y="185977"/>
                      <a:pt x="669206" y="185977"/>
                      <a:pt x="666899" y="185977"/>
                    </a:cubicBezTo>
                    <a:cubicBezTo>
                      <a:pt x="669206" y="185977"/>
                      <a:pt x="671513" y="188120"/>
                      <a:pt x="671513" y="188120"/>
                    </a:cubicBezTo>
                    <a:cubicBezTo>
                      <a:pt x="666899" y="188120"/>
                      <a:pt x="664592" y="188120"/>
                      <a:pt x="659978" y="188120"/>
                    </a:cubicBezTo>
                    <a:cubicBezTo>
                      <a:pt x="657672" y="188120"/>
                      <a:pt x="655365" y="185977"/>
                      <a:pt x="655365" y="185977"/>
                    </a:cubicBezTo>
                    <a:cubicBezTo>
                      <a:pt x="648444" y="183834"/>
                      <a:pt x="639217" y="183834"/>
                      <a:pt x="634603" y="185977"/>
                    </a:cubicBezTo>
                    <a:cubicBezTo>
                      <a:pt x="636910" y="181690"/>
                      <a:pt x="644407" y="180619"/>
                      <a:pt x="652193" y="181155"/>
                    </a:cubicBezTo>
                    <a:close/>
                    <a:moveTo>
                      <a:pt x="639961" y="174725"/>
                    </a:moveTo>
                    <a:cubicBezTo>
                      <a:pt x="645096" y="175618"/>
                      <a:pt x="650231" y="177404"/>
                      <a:pt x="653654" y="177404"/>
                    </a:cubicBezTo>
                    <a:cubicBezTo>
                      <a:pt x="646808" y="182166"/>
                      <a:pt x="637679" y="175022"/>
                      <a:pt x="628551" y="177404"/>
                    </a:cubicBezTo>
                    <a:cubicBezTo>
                      <a:pt x="628551" y="177404"/>
                      <a:pt x="626269" y="177404"/>
                      <a:pt x="626269" y="177404"/>
                    </a:cubicBezTo>
                    <a:cubicBezTo>
                      <a:pt x="629692" y="173832"/>
                      <a:pt x="634827" y="173832"/>
                      <a:pt x="639961" y="174725"/>
                    </a:cubicBezTo>
                    <a:close/>
                    <a:moveTo>
                      <a:pt x="171450" y="172641"/>
                    </a:moveTo>
                    <a:cubicBezTo>
                      <a:pt x="171450" y="172641"/>
                      <a:pt x="171450" y="172641"/>
                      <a:pt x="173435" y="172641"/>
                    </a:cubicBezTo>
                    <a:cubicBezTo>
                      <a:pt x="173435" y="172641"/>
                      <a:pt x="175419" y="172641"/>
                      <a:pt x="177404" y="175022"/>
                    </a:cubicBezTo>
                    <a:cubicBezTo>
                      <a:pt x="175419" y="175022"/>
                      <a:pt x="173435" y="172641"/>
                      <a:pt x="171450" y="172641"/>
                    </a:cubicBezTo>
                    <a:close/>
                    <a:moveTo>
                      <a:pt x="169367" y="164902"/>
                    </a:moveTo>
                    <a:cubicBezTo>
                      <a:pt x="170855" y="164902"/>
                      <a:pt x="172641" y="165498"/>
                      <a:pt x="173832" y="165498"/>
                    </a:cubicBezTo>
                    <a:cubicBezTo>
                      <a:pt x="173832" y="167879"/>
                      <a:pt x="171451" y="167879"/>
                      <a:pt x="169069" y="167879"/>
                    </a:cubicBezTo>
                    <a:lnTo>
                      <a:pt x="169069" y="167879"/>
                    </a:lnTo>
                    <a:lnTo>
                      <a:pt x="166688" y="167879"/>
                    </a:lnTo>
                    <a:cubicBezTo>
                      <a:pt x="166688" y="165498"/>
                      <a:pt x="167879" y="164902"/>
                      <a:pt x="169367" y="164902"/>
                    </a:cubicBezTo>
                    <a:close/>
                    <a:moveTo>
                      <a:pt x="696914" y="154781"/>
                    </a:moveTo>
                    <a:cubicBezTo>
                      <a:pt x="696914" y="156865"/>
                      <a:pt x="699196" y="154781"/>
                      <a:pt x="701478" y="156865"/>
                    </a:cubicBezTo>
                    <a:cubicBezTo>
                      <a:pt x="703760" y="156865"/>
                      <a:pt x="703760" y="158949"/>
                      <a:pt x="706042" y="161032"/>
                    </a:cubicBezTo>
                    <a:cubicBezTo>
                      <a:pt x="699196" y="161032"/>
                      <a:pt x="687785" y="163116"/>
                      <a:pt x="683221" y="158949"/>
                    </a:cubicBezTo>
                    <a:cubicBezTo>
                      <a:pt x="678657" y="156865"/>
                      <a:pt x="694631" y="154781"/>
                      <a:pt x="696914" y="154781"/>
                    </a:cubicBezTo>
                    <a:close/>
                    <a:moveTo>
                      <a:pt x="708025" y="142875"/>
                    </a:moveTo>
                    <a:cubicBezTo>
                      <a:pt x="708025" y="142875"/>
                      <a:pt x="712390" y="142875"/>
                      <a:pt x="712390" y="145256"/>
                    </a:cubicBezTo>
                    <a:cubicBezTo>
                      <a:pt x="712390" y="145256"/>
                      <a:pt x="712390" y="145256"/>
                      <a:pt x="710208" y="147638"/>
                    </a:cubicBezTo>
                    <a:cubicBezTo>
                      <a:pt x="712390" y="145256"/>
                      <a:pt x="714573" y="145256"/>
                      <a:pt x="716756" y="147638"/>
                    </a:cubicBezTo>
                    <a:cubicBezTo>
                      <a:pt x="714573" y="147638"/>
                      <a:pt x="712390" y="150019"/>
                      <a:pt x="712390" y="150019"/>
                    </a:cubicBezTo>
                    <a:cubicBezTo>
                      <a:pt x="708025" y="152400"/>
                      <a:pt x="705842" y="150019"/>
                      <a:pt x="703659" y="147638"/>
                    </a:cubicBezTo>
                    <a:cubicBezTo>
                      <a:pt x="705842" y="147638"/>
                      <a:pt x="705842" y="145256"/>
                      <a:pt x="708025" y="142875"/>
                    </a:cubicBezTo>
                    <a:close/>
                    <a:moveTo>
                      <a:pt x="746880" y="136922"/>
                    </a:moveTo>
                    <a:cubicBezTo>
                      <a:pt x="746880" y="136922"/>
                      <a:pt x="746880" y="136922"/>
                      <a:pt x="746880" y="139006"/>
                    </a:cubicBezTo>
                    <a:cubicBezTo>
                      <a:pt x="746880" y="139006"/>
                      <a:pt x="744617" y="141090"/>
                      <a:pt x="742355" y="141090"/>
                    </a:cubicBezTo>
                    <a:cubicBezTo>
                      <a:pt x="744617" y="143173"/>
                      <a:pt x="746880" y="143173"/>
                      <a:pt x="749142" y="143173"/>
                    </a:cubicBezTo>
                    <a:cubicBezTo>
                      <a:pt x="751404" y="143173"/>
                      <a:pt x="751404" y="141090"/>
                      <a:pt x="753666" y="143173"/>
                    </a:cubicBezTo>
                    <a:cubicBezTo>
                      <a:pt x="751404" y="145257"/>
                      <a:pt x="749142" y="145257"/>
                      <a:pt x="744617" y="145257"/>
                    </a:cubicBezTo>
                    <a:cubicBezTo>
                      <a:pt x="740093" y="143173"/>
                      <a:pt x="735569" y="143173"/>
                      <a:pt x="731044" y="145257"/>
                    </a:cubicBezTo>
                    <a:cubicBezTo>
                      <a:pt x="731044" y="141090"/>
                      <a:pt x="733306" y="139006"/>
                      <a:pt x="737831" y="139006"/>
                    </a:cubicBezTo>
                    <a:cubicBezTo>
                      <a:pt x="737831" y="139006"/>
                      <a:pt x="740093" y="139006"/>
                      <a:pt x="742355" y="139006"/>
                    </a:cubicBezTo>
                    <a:cubicBezTo>
                      <a:pt x="744617" y="139006"/>
                      <a:pt x="744617" y="136922"/>
                      <a:pt x="746880" y="136922"/>
                    </a:cubicBezTo>
                    <a:close/>
                    <a:moveTo>
                      <a:pt x="711995" y="115491"/>
                    </a:moveTo>
                    <a:cubicBezTo>
                      <a:pt x="711995" y="120254"/>
                      <a:pt x="708026" y="117872"/>
                      <a:pt x="706041" y="117872"/>
                    </a:cubicBezTo>
                    <a:cubicBezTo>
                      <a:pt x="708026" y="117872"/>
                      <a:pt x="710010" y="115491"/>
                      <a:pt x="711995" y="115491"/>
                    </a:cubicBezTo>
                    <a:close/>
                    <a:moveTo>
                      <a:pt x="739379" y="114130"/>
                    </a:moveTo>
                    <a:lnTo>
                      <a:pt x="741760" y="114130"/>
                    </a:lnTo>
                    <a:cubicBezTo>
                      <a:pt x="741760" y="116342"/>
                      <a:pt x="741760" y="122975"/>
                      <a:pt x="739379" y="122975"/>
                    </a:cubicBezTo>
                    <a:cubicBezTo>
                      <a:pt x="739379" y="125187"/>
                      <a:pt x="739379" y="125187"/>
                      <a:pt x="739379" y="127398"/>
                    </a:cubicBezTo>
                    <a:cubicBezTo>
                      <a:pt x="736997" y="125187"/>
                      <a:pt x="734616" y="118553"/>
                      <a:pt x="734616" y="116342"/>
                    </a:cubicBezTo>
                    <a:cubicBezTo>
                      <a:pt x="734616" y="116342"/>
                      <a:pt x="739379" y="116342"/>
                      <a:pt x="739379" y="114130"/>
                    </a:cubicBezTo>
                    <a:close/>
                    <a:moveTo>
                      <a:pt x="707232" y="113110"/>
                    </a:moveTo>
                    <a:cubicBezTo>
                      <a:pt x="707232" y="113110"/>
                      <a:pt x="707232" y="113110"/>
                      <a:pt x="705247" y="115491"/>
                    </a:cubicBezTo>
                    <a:cubicBezTo>
                      <a:pt x="705247" y="115491"/>
                      <a:pt x="703263" y="115491"/>
                      <a:pt x="701278" y="115491"/>
                    </a:cubicBezTo>
                    <a:cubicBezTo>
                      <a:pt x="703263" y="113110"/>
                      <a:pt x="705247" y="113110"/>
                      <a:pt x="707232" y="113110"/>
                    </a:cubicBezTo>
                    <a:close/>
                    <a:moveTo>
                      <a:pt x="744141" y="82154"/>
                    </a:moveTo>
                    <a:lnTo>
                      <a:pt x="746522" y="82154"/>
                    </a:lnTo>
                    <a:lnTo>
                      <a:pt x="746522" y="84535"/>
                    </a:lnTo>
                    <a:close/>
                    <a:moveTo>
                      <a:pt x="741759" y="75010"/>
                    </a:moveTo>
                    <a:lnTo>
                      <a:pt x="746522" y="75010"/>
                    </a:lnTo>
                    <a:cubicBezTo>
                      <a:pt x="746522" y="75010"/>
                      <a:pt x="746522" y="75010"/>
                      <a:pt x="748903" y="77392"/>
                    </a:cubicBezTo>
                    <a:cubicBezTo>
                      <a:pt x="746522" y="77392"/>
                      <a:pt x="744140" y="77392"/>
                      <a:pt x="741759" y="75010"/>
                    </a:cubicBezTo>
                    <a:close/>
                    <a:moveTo>
                      <a:pt x="773907" y="67866"/>
                    </a:moveTo>
                    <a:cubicBezTo>
                      <a:pt x="773907" y="67866"/>
                      <a:pt x="773907" y="67866"/>
                      <a:pt x="773907" y="70247"/>
                    </a:cubicBezTo>
                    <a:cubicBezTo>
                      <a:pt x="771526" y="70247"/>
                      <a:pt x="769144" y="70247"/>
                      <a:pt x="766763" y="72629"/>
                    </a:cubicBezTo>
                    <a:cubicBezTo>
                      <a:pt x="766763" y="70247"/>
                      <a:pt x="771526" y="67866"/>
                      <a:pt x="773907" y="67866"/>
                    </a:cubicBezTo>
                    <a:close/>
                    <a:moveTo>
                      <a:pt x="751759" y="50245"/>
                    </a:moveTo>
                    <a:lnTo>
                      <a:pt x="739193" y="52341"/>
                    </a:lnTo>
                    <a:cubicBezTo>
                      <a:pt x="743742" y="54616"/>
                      <a:pt x="736919" y="54616"/>
                      <a:pt x="736919" y="56892"/>
                    </a:cubicBezTo>
                    <a:cubicBezTo>
                      <a:pt x="739193" y="56892"/>
                      <a:pt x="741468" y="59168"/>
                      <a:pt x="746017" y="56892"/>
                    </a:cubicBezTo>
                    <a:cubicBezTo>
                      <a:pt x="739193" y="59168"/>
                      <a:pt x="748291" y="54616"/>
                      <a:pt x="750566" y="54616"/>
                    </a:cubicBezTo>
                    <a:lnTo>
                      <a:pt x="759475" y="52388"/>
                    </a:lnTo>
                    <a:lnTo>
                      <a:pt x="746522" y="52388"/>
                    </a:lnTo>
                    <a:close/>
                    <a:moveTo>
                      <a:pt x="769144" y="27385"/>
                    </a:moveTo>
                    <a:cubicBezTo>
                      <a:pt x="771525" y="25004"/>
                      <a:pt x="776288" y="27385"/>
                      <a:pt x="778669" y="27385"/>
                    </a:cubicBezTo>
                    <a:cubicBezTo>
                      <a:pt x="778669" y="27385"/>
                      <a:pt x="778669" y="27385"/>
                      <a:pt x="776288" y="29767"/>
                    </a:cubicBezTo>
                    <a:cubicBezTo>
                      <a:pt x="773907" y="29767"/>
                      <a:pt x="771525" y="27385"/>
                      <a:pt x="769144" y="27385"/>
                    </a:cubicBezTo>
                    <a:close/>
                    <a:moveTo>
                      <a:pt x="748904" y="27385"/>
                    </a:moveTo>
                    <a:cubicBezTo>
                      <a:pt x="751285" y="27385"/>
                      <a:pt x="753666" y="27385"/>
                      <a:pt x="753666" y="29766"/>
                    </a:cubicBezTo>
                    <a:cubicBezTo>
                      <a:pt x="751285" y="29766"/>
                      <a:pt x="748904" y="29766"/>
                      <a:pt x="744141" y="29766"/>
                    </a:cubicBezTo>
                    <a:cubicBezTo>
                      <a:pt x="746522" y="29766"/>
                      <a:pt x="748904" y="29766"/>
                      <a:pt x="748904" y="27385"/>
                    </a:cubicBezTo>
                    <a:close/>
                    <a:moveTo>
                      <a:pt x="329803" y="20241"/>
                    </a:moveTo>
                    <a:cubicBezTo>
                      <a:pt x="332076" y="17860"/>
                      <a:pt x="338895" y="17860"/>
                      <a:pt x="341168" y="20241"/>
                    </a:cubicBezTo>
                    <a:cubicBezTo>
                      <a:pt x="345715" y="22623"/>
                      <a:pt x="350261" y="20241"/>
                      <a:pt x="354807" y="25004"/>
                    </a:cubicBezTo>
                    <a:cubicBezTo>
                      <a:pt x="347988" y="25004"/>
                      <a:pt x="334349" y="25004"/>
                      <a:pt x="329803" y="20241"/>
                    </a:cubicBezTo>
                    <a:close/>
                    <a:moveTo>
                      <a:pt x="751284" y="20241"/>
                    </a:moveTo>
                    <a:cubicBezTo>
                      <a:pt x="755452" y="20241"/>
                      <a:pt x="757535" y="22622"/>
                      <a:pt x="759619" y="25004"/>
                    </a:cubicBezTo>
                    <a:cubicBezTo>
                      <a:pt x="759619" y="25004"/>
                      <a:pt x="757535" y="25004"/>
                      <a:pt x="755452" y="25004"/>
                    </a:cubicBezTo>
                    <a:cubicBezTo>
                      <a:pt x="755452" y="25004"/>
                      <a:pt x="751284" y="25004"/>
                      <a:pt x="751284" y="20241"/>
                    </a:cubicBezTo>
                    <a:close/>
                    <a:moveTo>
                      <a:pt x="394097" y="15479"/>
                    </a:moveTo>
                    <a:cubicBezTo>
                      <a:pt x="396478" y="15479"/>
                      <a:pt x="398860" y="15479"/>
                      <a:pt x="401241" y="15479"/>
                    </a:cubicBezTo>
                    <a:cubicBezTo>
                      <a:pt x="401241" y="17860"/>
                      <a:pt x="398860" y="17860"/>
                      <a:pt x="398860" y="17860"/>
                    </a:cubicBezTo>
                    <a:cubicBezTo>
                      <a:pt x="396478" y="15479"/>
                      <a:pt x="394097" y="15479"/>
                      <a:pt x="394097" y="15479"/>
                    </a:cubicBezTo>
                    <a:close/>
                    <a:moveTo>
                      <a:pt x="428030" y="12800"/>
                    </a:moveTo>
                    <a:cubicBezTo>
                      <a:pt x="434951" y="13097"/>
                      <a:pt x="441871" y="14288"/>
                      <a:pt x="446485" y="17860"/>
                    </a:cubicBezTo>
                    <a:cubicBezTo>
                      <a:pt x="441871" y="17860"/>
                      <a:pt x="439564" y="20241"/>
                      <a:pt x="437257" y="20241"/>
                    </a:cubicBezTo>
                    <a:cubicBezTo>
                      <a:pt x="437257" y="20241"/>
                      <a:pt x="437257" y="20241"/>
                      <a:pt x="439564" y="22622"/>
                    </a:cubicBezTo>
                    <a:cubicBezTo>
                      <a:pt x="434950" y="22622"/>
                      <a:pt x="428030" y="20241"/>
                      <a:pt x="423416" y="20241"/>
                    </a:cubicBezTo>
                    <a:cubicBezTo>
                      <a:pt x="421109" y="20241"/>
                      <a:pt x="414189" y="20241"/>
                      <a:pt x="411882" y="15478"/>
                    </a:cubicBezTo>
                    <a:cubicBezTo>
                      <a:pt x="411882" y="15478"/>
                      <a:pt x="409575" y="15478"/>
                      <a:pt x="409575" y="13097"/>
                    </a:cubicBezTo>
                    <a:cubicBezTo>
                      <a:pt x="414189" y="13097"/>
                      <a:pt x="421109" y="12502"/>
                      <a:pt x="428030" y="12800"/>
                    </a:cubicBezTo>
                    <a:close/>
                    <a:moveTo>
                      <a:pt x="466260" y="11378"/>
                    </a:moveTo>
                    <a:cubicBezTo>
                      <a:pt x="470809" y="11378"/>
                      <a:pt x="475358" y="11378"/>
                      <a:pt x="479907" y="13654"/>
                    </a:cubicBezTo>
                    <a:cubicBezTo>
                      <a:pt x="482181" y="13654"/>
                      <a:pt x="484456" y="20481"/>
                      <a:pt x="486730" y="13654"/>
                    </a:cubicBezTo>
                    <a:lnTo>
                      <a:pt x="498102" y="13654"/>
                    </a:lnTo>
                    <a:cubicBezTo>
                      <a:pt x="500377" y="15930"/>
                      <a:pt x="502651" y="15930"/>
                      <a:pt x="504926" y="18205"/>
                    </a:cubicBezTo>
                    <a:cubicBezTo>
                      <a:pt x="504926" y="18205"/>
                      <a:pt x="509475" y="15930"/>
                      <a:pt x="504926" y="15930"/>
                    </a:cubicBezTo>
                    <a:cubicBezTo>
                      <a:pt x="511749" y="13654"/>
                      <a:pt x="498102" y="11378"/>
                      <a:pt x="498102" y="11378"/>
                    </a:cubicBezTo>
                    <a:cubicBezTo>
                      <a:pt x="491279" y="11378"/>
                      <a:pt x="486730" y="11378"/>
                      <a:pt x="482181" y="11378"/>
                    </a:cubicBezTo>
                    <a:close/>
                    <a:moveTo>
                      <a:pt x="423046" y="9103"/>
                    </a:moveTo>
                    <a:lnTo>
                      <a:pt x="428732" y="10241"/>
                    </a:lnTo>
                    <a:lnTo>
                      <a:pt x="432144" y="11378"/>
                    </a:lnTo>
                    <a:cubicBezTo>
                      <a:pt x="429869" y="11378"/>
                      <a:pt x="427595" y="9103"/>
                      <a:pt x="423046" y="9103"/>
                    </a:cubicBezTo>
                    <a:close/>
                    <a:moveTo>
                      <a:pt x="504825" y="7144"/>
                    </a:moveTo>
                    <a:cubicBezTo>
                      <a:pt x="509587" y="7144"/>
                      <a:pt x="516731" y="7144"/>
                      <a:pt x="521494" y="7144"/>
                    </a:cubicBezTo>
                    <a:cubicBezTo>
                      <a:pt x="519113" y="9525"/>
                      <a:pt x="516731" y="9525"/>
                      <a:pt x="516731" y="9525"/>
                    </a:cubicBezTo>
                    <a:cubicBezTo>
                      <a:pt x="511969" y="9525"/>
                      <a:pt x="509587" y="9525"/>
                      <a:pt x="504825" y="7144"/>
                    </a:cubicBezTo>
                    <a:close/>
                    <a:moveTo>
                      <a:pt x="507207" y="4762"/>
                    </a:moveTo>
                    <a:cubicBezTo>
                      <a:pt x="511731" y="2381"/>
                      <a:pt x="523042" y="7144"/>
                      <a:pt x="529829" y="7144"/>
                    </a:cubicBezTo>
                    <a:cubicBezTo>
                      <a:pt x="527567" y="7144"/>
                      <a:pt x="525304" y="7144"/>
                      <a:pt x="525304" y="7144"/>
                    </a:cubicBezTo>
                    <a:cubicBezTo>
                      <a:pt x="518518" y="7144"/>
                      <a:pt x="511731" y="4762"/>
                      <a:pt x="507207" y="4762"/>
                    </a:cubicBezTo>
                    <a:close/>
                    <a:moveTo>
                      <a:pt x="586806" y="0"/>
                    </a:moveTo>
                    <a:cubicBezTo>
                      <a:pt x="589080" y="2276"/>
                      <a:pt x="591354" y="4551"/>
                      <a:pt x="593629" y="2276"/>
                    </a:cubicBezTo>
                    <a:lnTo>
                      <a:pt x="627745" y="2276"/>
                    </a:lnTo>
                    <a:cubicBezTo>
                      <a:pt x="632294" y="2276"/>
                      <a:pt x="639118" y="2276"/>
                      <a:pt x="643667" y="2276"/>
                    </a:cubicBezTo>
                    <a:cubicBezTo>
                      <a:pt x="648215" y="2276"/>
                      <a:pt x="650490" y="2276"/>
                      <a:pt x="652764" y="2276"/>
                    </a:cubicBezTo>
                    <a:lnTo>
                      <a:pt x="655039" y="2276"/>
                    </a:lnTo>
                    <a:cubicBezTo>
                      <a:pt x="657313" y="2276"/>
                      <a:pt x="668685" y="4551"/>
                      <a:pt x="661862" y="2276"/>
                    </a:cubicBezTo>
                    <a:cubicBezTo>
                      <a:pt x="673234" y="2276"/>
                      <a:pt x="684606" y="0"/>
                      <a:pt x="695979" y="4551"/>
                    </a:cubicBezTo>
                    <a:cubicBezTo>
                      <a:pt x="677783" y="6827"/>
                      <a:pt x="659588" y="6827"/>
                      <a:pt x="643667" y="6827"/>
                    </a:cubicBezTo>
                    <a:cubicBezTo>
                      <a:pt x="634569" y="6827"/>
                      <a:pt x="627745" y="6827"/>
                      <a:pt x="618648" y="9103"/>
                    </a:cubicBezTo>
                    <a:cubicBezTo>
                      <a:pt x="611824" y="9103"/>
                      <a:pt x="605001" y="6827"/>
                      <a:pt x="595903" y="6827"/>
                    </a:cubicBezTo>
                    <a:cubicBezTo>
                      <a:pt x="600452" y="6827"/>
                      <a:pt x="602727" y="6827"/>
                      <a:pt x="605001" y="9103"/>
                    </a:cubicBezTo>
                    <a:lnTo>
                      <a:pt x="595903" y="9103"/>
                    </a:lnTo>
                    <a:lnTo>
                      <a:pt x="593954" y="9753"/>
                    </a:lnTo>
                    <a:lnTo>
                      <a:pt x="566336" y="11378"/>
                    </a:lnTo>
                    <a:cubicBezTo>
                      <a:pt x="573159" y="11378"/>
                      <a:pt x="566336" y="11378"/>
                      <a:pt x="564061" y="13654"/>
                    </a:cubicBezTo>
                    <a:cubicBezTo>
                      <a:pt x="570884" y="13654"/>
                      <a:pt x="575433" y="11378"/>
                      <a:pt x="582257" y="11378"/>
                    </a:cubicBezTo>
                    <a:cubicBezTo>
                      <a:pt x="582257" y="11378"/>
                      <a:pt x="586806" y="11378"/>
                      <a:pt x="589080" y="11378"/>
                    </a:cubicBezTo>
                    <a:lnTo>
                      <a:pt x="593954" y="9753"/>
                    </a:lnTo>
                    <a:lnTo>
                      <a:pt x="605001" y="9103"/>
                    </a:lnTo>
                    <a:lnTo>
                      <a:pt x="618648" y="9103"/>
                    </a:lnTo>
                    <a:lnTo>
                      <a:pt x="630020" y="9103"/>
                    </a:lnTo>
                    <a:cubicBezTo>
                      <a:pt x="643667" y="6827"/>
                      <a:pt x="657313" y="9103"/>
                      <a:pt x="670960" y="9103"/>
                    </a:cubicBezTo>
                    <a:cubicBezTo>
                      <a:pt x="682332" y="9103"/>
                      <a:pt x="693704" y="4551"/>
                      <a:pt x="705076" y="9103"/>
                    </a:cubicBezTo>
                    <a:cubicBezTo>
                      <a:pt x="700528" y="11378"/>
                      <a:pt x="693704" y="11378"/>
                      <a:pt x="689155" y="13654"/>
                    </a:cubicBezTo>
                    <a:cubicBezTo>
                      <a:pt x="698253" y="13654"/>
                      <a:pt x="707351" y="9103"/>
                      <a:pt x="716449" y="11378"/>
                    </a:cubicBezTo>
                    <a:cubicBezTo>
                      <a:pt x="714175" y="11378"/>
                      <a:pt x="714175" y="11378"/>
                      <a:pt x="711900" y="13654"/>
                    </a:cubicBezTo>
                    <a:cubicBezTo>
                      <a:pt x="723272" y="11378"/>
                      <a:pt x="736919" y="9103"/>
                      <a:pt x="746017" y="15930"/>
                    </a:cubicBezTo>
                    <a:cubicBezTo>
                      <a:pt x="741468" y="15930"/>
                      <a:pt x="736919" y="15930"/>
                      <a:pt x="732370" y="18205"/>
                    </a:cubicBezTo>
                    <a:cubicBezTo>
                      <a:pt x="727821" y="20481"/>
                      <a:pt x="720998" y="20481"/>
                      <a:pt x="716449" y="20481"/>
                    </a:cubicBezTo>
                    <a:cubicBezTo>
                      <a:pt x="702802" y="20481"/>
                      <a:pt x="691430" y="20481"/>
                      <a:pt x="680058" y="20481"/>
                    </a:cubicBezTo>
                    <a:cubicBezTo>
                      <a:pt x="668685" y="20481"/>
                      <a:pt x="655039" y="20481"/>
                      <a:pt x="643667" y="20481"/>
                    </a:cubicBezTo>
                    <a:lnTo>
                      <a:pt x="622742" y="20481"/>
                    </a:lnTo>
                    <a:lnTo>
                      <a:pt x="620922" y="19912"/>
                    </a:lnTo>
                    <a:cubicBezTo>
                      <a:pt x="617511" y="19912"/>
                      <a:pt x="614099" y="20481"/>
                      <a:pt x="611824" y="20481"/>
                    </a:cubicBezTo>
                    <a:lnTo>
                      <a:pt x="622742" y="20481"/>
                    </a:lnTo>
                    <a:lnTo>
                      <a:pt x="630020" y="22757"/>
                    </a:lnTo>
                    <a:cubicBezTo>
                      <a:pt x="620922" y="25032"/>
                      <a:pt x="611824" y="25032"/>
                      <a:pt x="602727" y="25032"/>
                    </a:cubicBezTo>
                    <a:cubicBezTo>
                      <a:pt x="600452" y="25032"/>
                      <a:pt x="589080" y="22757"/>
                      <a:pt x="586806" y="29584"/>
                    </a:cubicBezTo>
                    <a:cubicBezTo>
                      <a:pt x="605001" y="27308"/>
                      <a:pt x="623197" y="25032"/>
                      <a:pt x="641392" y="22757"/>
                    </a:cubicBezTo>
                    <a:cubicBezTo>
                      <a:pt x="650490" y="22757"/>
                      <a:pt x="659588" y="22757"/>
                      <a:pt x="668685" y="22757"/>
                    </a:cubicBezTo>
                    <a:cubicBezTo>
                      <a:pt x="675509" y="22757"/>
                      <a:pt x="686881" y="20481"/>
                      <a:pt x="691430" y="25032"/>
                    </a:cubicBezTo>
                    <a:cubicBezTo>
                      <a:pt x="686881" y="29584"/>
                      <a:pt x="680058" y="29584"/>
                      <a:pt x="675509" y="29584"/>
                    </a:cubicBezTo>
                    <a:cubicBezTo>
                      <a:pt x="668685" y="29584"/>
                      <a:pt x="661862" y="29584"/>
                      <a:pt x="657313" y="31859"/>
                    </a:cubicBezTo>
                    <a:cubicBezTo>
                      <a:pt x="664137" y="34135"/>
                      <a:pt x="670960" y="31859"/>
                      <a:pt x="677783" y="29584"/>
                    </a:cubicBezTo>
                    <a:cubicBezTo>
                      <a:pt x="684606" y="29584"/>
                      <a:pt x="691430" y="29584"/>
                      <a:pt x="698253" y="27308"/>
                    </a:cubicBezTo>
                    <a:cubicBezTo>
                      <a:pt x="702802" y="27308"/>
                      <a:pt x="705076" y="25032"/>
                      <a:pt x="709626" y="22757"/>
                    </a:cubicBezTo>
                    <a:cubicBezTo>
                      <a:pt x="714175" y="22757"/>
                      <a:pt x="718723" y="22757"/>
                      <a:pt x="723272" y="22757"/>
                    </a:cubicBezTo>
                    <a:cubicBezTo>
                      <a:pt x="725547" y="22757"/>
                      <a:pt x="734644" y="22757"/>
                      <a:pt x="732370" y="27308"/>
                    </a:cubicBezTo>
                    <a:cubicBezTo>
                      <a:pt x="730096" y="29584"/>
                      <a:pt x="727821" y="31859"/>
                      <a:pt x="725547" y="31859"/>
                    </a:cubicBezTo>
                    <a:cubicBezTo>
                      <a:pt x="720998" y="34135"/>
                      <a:pt x="714175" y="36411"/>
                      <a:pt x="709626" y="36411"/>
                    </a:cubicBezTo>
                    <a:cubicBezTo>
                      <a:pt x="705076" y="38687"/>
                      <a:pt x="698253" y="43238"/>
                      <a:pt x="693704" y="43238"/>
                    </a:cubicBezTo>
                    <a:cubicBezTo>
                      <a:pt x="698253" y="43238"/>
                      <a:pt x="691430" y="45514"/>
                      <a:pt x="691430" y="45514"/>
                    </a:cubicBezTo>
                    <a:cubicBezTo>
                      <a:pt x="695979" y="45514"/>
                      <a:pt x="700528" y="43238"/>
                      <a:pt x="705076" y="40962"/>
                    </a:cubicBezTo>
                    <a:cubicBezTo>
                      <a:pt x="711900" y="38687"/>
                      <a:pt x="716449" y="38687"/>
                      <a:pt x="723272" y="36411"/>
                    </a:cubicBezTo>
                    <a:cubicBezTo>
                      <a:pt x="734644" y="34135"/>
                      <a:pt x="746017" y="29584"/>
                      <a:pt x="757389" y="29584"/>
                    </a:cubicBezTo>
                    <a:cubicBezTo>
                      <a:pt x="755114" y="29584"/>
                      <a:pt x="752840" y="29584"/>
                      <a:pt x="752840" y="31859"/>
                    </a:cubicBezTo>
                    <a:cubicBezTo>
                      <a:pt x="757389" y="31859"/>
                      <a:pt x="761938" y="29584"/>
                      <a:pt x="764212" y="29584"/>
                    </a:cubicBezTo>
                    <a:cubicBezTo>
                      <a:pt x="768761" y="29584"/>
                      <a:pt x="771036" y="31859"/>
                      <a:pt x="773310" y="31859"/>
                    </a:cubicBezTo>
                    <a:cubicBezTo>
                      <a:pt x="777859" y="31859"/>
                      <a:pt x="784682" y="31859"/>
                      <a:pt x="789231" y="29584"/>
                    </a:cubicBezTo>
                    <a:cubicBezTo>
                      <a:pt x="782408" y="29584"/>
                      <a:pt x="791505" y="27308"/>
                      <a:pt x="791505" y="27308"/>
                    </a:cubicBezTo>
                    <a:cubicBezTo>
                      <a:pt x="791505" y="27308"/>
                      <a:pt x="791505" y="27308"/>
                      <a:pt x="791505" y="25032"/>
                    </a:cubicBezTo>
                    <a:cubicBezTo>
                      <a:pt x="805152" y="25032"/>
                      <a:pt x="816524" y="25032"/>
                      <a:pt x="830171" y="25032"/>
                    </a:cubicBezTo>
                    <a:cubicBezTo>
                      <a:pt x="841543" y="25032"/>
                      <a:pt x="850641" y="29584"/>
                      <a:pt x="862013" y="29584"/>
                    </a:cubicBezTo>
                    <a:cubicBezTo>
                      <a:pt x="857464" y="34135"/>
                      <a:pt x="848367" y="34135"/>
                      <a:pt x="841543" y="34135"/>
                    </a:cubicBezTo>
                    <a:cubicBezTo>
                      <a:pt x="839269" y="34135"/>
                      <a:pt x="834720" y="36411"/>
                      <a:pt x="832445" y="36411"/>
                    </a:cubicBezTo>
                    <a:cubicBezTo>
                      <a:pt x="827897" y="36411"/>
                      <a:pt x="823348" y="36411"/>
                      <a:pt x="818799" y="36411"/>
                    </a:cubicBezTo>
                    <a:cubicBezTo>
                      <a:pt x="821073" y="38687"/>
                      <a:pt x="821073" y="38687"/>
                      <a:pt x="823348" y="38687"/>
                    </a:cubicBezTo>
                    <a:cubicBezTo>
                      <a:pt x="821073" y="40962"/>
                      <a:pt x="816524" y="40962"/>
                      <a:pt x="814250" y="40962"/>
                    </a:cubicBezTo>
                    <a:cubicBezTo>
                      <a:pt x="809701" y="40962"/>
                      <a:pt x="807427" y="43238"/>
                      <a:pt x="802878" y="43238"/>
                    </a:cubicBezTo>
                    <a:cubicBezTo>
                      <a:pt x="796054" y="43238"/>
                      <a:pt x="786957" y="40962"/>
                      <a:pt x="780133" y="40962"/>
                    </a:cubicBezTo>
                    <a:lnTo>
                      <a:pt x="773310" y="45514"/>
                    </a:lnTo>
                    <a:lnTo>
                      <a:pt x="783829" y="45514"/>
                    </a:lnTo>
                    <a:cubicBezTo>
                      <a:pt x="789800" y="44945"/>
                      <a:pt x="796054" y="44376"/>
                      <a:pt x="802878" y="45514"/>
                    </a:cubicBezTo>
                    <a:lnTo>
                      <a:pt x="773310" y="52341"/>
                    </a:lnTo>
                    <a:lnTo>
                      <a:pt x="771036" y="51772"/>
                    </a:lnTo>
                    <a:lnTo>
                      <a:pt x="769075" y="51870"/>
                    </a:lnTo>
                    <a:lnTo>
                      <a:pt x="754352" y="50233"/>
                    </a:lnTo>
                    <a:lnTo>
                      <a:pt x="759565" y="52365"/>
                    </a:lnTo>
                    <a:lnTo>
                      <a:pt x="759663" y="52341"/>
                    </a:lnTo>
                    <a:lnTo>
                      <a:pt x="769075" y="51870"/>
                    </a:lnTo>
                    <a:lnTo>
                      <a:pt x="773310" y="52341"/>
                    </a:lnTo>
                    <a:lnTo>
                      <a:pt x="782408" y="54616"/>
                    </a:lnTo>
                    <a:cubicBezTo>
                      <a:pt x="773310" y="56892"/>
                      <a:pt x="766487" y="59168"/>
                      <a:pt x="757389" y="59168"/>
                    </a:cubicBezTo>
                    <a:cubicBezTo>
                      <a:pt x="752840" y="59168"/>
                      <a:pt x="750566" y="61443"/>
                      <a:pt x="748291" y="63719"/>
                    </a:cubicBezTo>
                    <a:cubicBezTo>
                      <a:pt x="746017" y="63719"/>
                      <a:pt x="748291" y="63719"/>
                      <a:pt x="748291" y="65995"/>
                    </a:cubicBezTo>
                    <a:cubicBezTo>
                      <a:pt x="746017" y="65995"/>
                      <a:pt x="746017" y="68270"/>
                      <a:pt x="743742" y="68270"/>
                    </a:cubicBezTo>
                    <a:cubicBezTo>
                      <a:pt x="746017" y="68270"/>
                      <a:pt x="750566" y="65995"/>
                      <a:pt x="755114" y="65995"/>
                    </a:cubicBezTo>
                    <a:cubicBezTo>
                      <a:pt x="752840" y="68270"/>
                      <a:pt x="752840" y="65995"/>
                      <a:pt x="750566" y="68270"/>
                    </a:cubicBezTo>
                    <a:cubicBezTo>
                      <a:pt x="748291" y="68270"/>
                      <a:pt x="746017" y="70546"/>
                      <a:pt x="746017" y="70546"/>
                    </a:cubicBezTo>
                    <a:cubicBezTo>
                      <a:pt x="743742" y="70546"/>
                      <a:pt x="741468" y="70546"/>
                      <a:pt x="739193" y="72822"/>
                    </a:cubicBezTo>
                    <a:cubicBezTo>
                      <a:pt x="736919" y="75097"/>
                      <a:pt x="734644" y="75097"/>
                      <a:pt x="730096" y="75097"/>
                    </a:cubicBezTo>
                    <a:cubicBezTo>
                      <a:pt x="727821" y="72822"/>
                      <a:pt x="725547" y="75097"/>
                      <a:pt x="720998" y="75097"/>
                    </a:cubicBezTo>
                    <a:cubicBezTo>
                      <a:pt x="727821" y="75097"/>
                      <a:pt x="718723" y="77373"/>
                      <a:pt x="718723" y="79649"/>
                    </a:cubicBezTo>
                    <a:cubicBezTo>
                      <a:pt x="718723" y="77373"/>
                      <a:pt x="720998" y="77373"/>
                      <a:pt x="723272" y="79649"/>
                    </a:cubicBezTo>
                    <a:cubicBezTo>
                      <a:pt x="720998" y="79649"/>
                      <a:pt x="716449" y="81924"/>
                      <a:pt x="716449" y="84200"/>
                    </a:cubicBezTo>
                    <a:cubicBezTo>
                      <a:pt x="716449" y="88751"/>
                      <a:pt x="711900" y="86476"/>
                      <a:pt x="709626" y="86476"/>
                    </a:cubicBezTo>
                    <a:cubicBezTo>
                      <a:pt x="709626" y="88751"/>
                      <a:pt x="711900" y="88751"/>
                      <a:pt x="714175" y="88751"/>
                    </a:cubicBezTo>
                    <a:cubicBezTo>
                      <a:pt x="709626" y="88751"/>
                      <a:pt x="705076" y="91027"/>
                      <a:pt x="702802" y="95579"/>
                    </a:cubicBezTo>
                    <a:cubicBezTo>
                      <a:pt x="702802" y="95579"/>
                      <a:pt x="711900" y="95579"/>
                      <a:pt x="707351" y="97854"/>
                    </a:cubicBezTo>
                    <a:cubicBezTo>
                      <a:pt x="709626" y="97854"/>
                      <a:pt x="711900" y="93303"/>
                      <a:pt x="716449" y="91027"/>
                    </a:cubicBezTo>
                    <a:lnTo>
                      <a:pt x="727785" y="91027"/>
                    </a:lnTo>
                    <a:lnTo>
                      <a:pt x="726282" y="90487"/>
                    </a:lnTo>
                    <a:cubicBezTo>
                      <a:pt x="730705" y="88106"/>
                      <a:pt x="737339" y="88106"/>
                      <a:pt x="741761" y="92869"/>
                    </a:cubicBezTo>
                    <a:lnTo>
                      <a:pt x="736849" y="92869"/>
                    </a:lnTo>
                    <a:lnTo>
                      <a:pt x="743742" y="95579"/>
                    </a:lnTo>
                    <a:cubicBezTo>
                      <a:pt x="734644" y="97854"/>
                      <a:pt x="725547" y="93303"/>
                      <a:pt x="716449" y="95579"/>
                    </a:cubicBezTo>
                    <a:cubicBezTo>
                      <a:pt x="720998" y="95579"/>
                      <a:pt x="723272" y="95579"/>
                      <a:pt x="725547" y="97854"/>
                    </a:cubicBezTo>
                    <a:lnTo>
                      <a:pt x="723272" y="97854"/>
                    </a:lnTo>
                    <a:cubicBezTo>
                      <a:pt x="720998" y="97854"/>
                      <a:pt x="721566" y="97854"/>
                      <a:pt x="722704" y="97854"/>
                    </a:cubicBezTo>
                    <a:lnTo>
                      <a:pt x="714175" y="97854"/>
                    </a:lnTo>
                    <a:lnTo>
                      <a:pt x="725282" y="99707"/>
                    </a:lnTo>
                    <a:lnTo>
                      <a:pt x="718723" y="100130"/>
                    </a:lnTo>
                    <a:cubicBezTo>
                      <a:pt x="723272" y="100130"/>
                      <a:pt x="725547" y="100130"/>
                      <a:pt x="727821" y="100130"/>
                    </a:cubicBezTo>
                    <a:lnTo>
                      <a:pt x="725282" y="99707"/>
                    </a:lnTo>
                    <a:lnTo>
                      <a:pt x="727537" y="99561"/>
                    </a:lnTo>
                    <a:cubicBezTo>
                      <a:pt x="730664" y="99561"/>
                      <a:pt x="733507" y="100130"/>
                      <a:pt x="734644" y="102406"/>
                    </a:cubicBezTo>
                    <a:cubicBezTo>
                      <a:pt x="734644" y="102406"/>
                      <a:pt x="736919" y="104681"/>
                      <a:pt x="741468" y="102406"/>
                    </a:cubicBezTo>
                    <a:cubicBezTo>
                      <a:pt x="746017" y="100130"/>
                      <a:pt x="757389" y="104681"/>
                      <a:pt x="750566" y="109233"/>
                    </a:cubicBezTo>
                    <a:cubicBezTo>
                      <a:pt x="746017" y="113784"/>
                      <a:pt x="736919" y="111508"/>
                      <a:pt x="734644" y="109233"/>
                    </a:cubicBezTo>
                    <a:lnTo>
                      <a:pt x="716449" y="109233"/>
                    </a:lnTo>
                    <a:lnTo>
                      <a:pt x="711900" y="109233"/>
                    </a:lnTo>
                    <a:lnTo>
                      <a:pt x="700528" y="109233"/>
                    </a:lnTo>
                    <a:cubicBezTo>
                      <a:pt x="705076" y="111508"/>
                      <a:pt x="707351" y="109233"/>
                      <a:pt x="711900" y="111508"/>
                    </a:cubicBezTo>
                    <a:cubicBezTo>
                      <a:pt x="707351" y="111508"/>
                      <a:pt x="702802" y="116060"/>
                      <a:pt x="698253" y="113784"/>
                    </a:cubicBezTo>
                    <a:cubicBezTo>
                      <a:pt x="695979" y="113784"/>
                      <a:pt x="695979" y="109233"/>
                      <a:pt x="693704" y="111508"/>
                    </a:cubicBezTo>
                    <a:cubicBezTo>
                      <a:pt x="691430" y="111508"/>
                      <a:pt x="686881" y="113784"/>
                      <a:pt x="686881" y="113784"/>
                    </a:cubicBezTo>
                    <a:cubicBezTo>
                      <a:pt x="686881" y="113784"/>
                      <a:pt x="689155" y="116060"/>
                      <a:pt x="689155" y="116060"/>
                    </a:cubicBezTo>
                    <a:cubicBezTo>
                      <a:pt x="691430" y="113784"/>
                      <a:pt x="698253" y="116060"/>
                      <a:pt x="693704" y="116060"/>
                    </a:cubicBezTo>
                    <a:cubicBezTo>
                      <a:pt x="695979" y="116060"/>
                      <a:pt x="695979" y="116060"/>
                      <a:pt x="698253" y="116060"/>
                    </a:cubicBezTo>
                    <a:cubicBezTo>
                      <a:pt x="695979" y="116060"/>
                      <a:pt x="695979" y="118335"/>
                      <a:pt x="693704" y="118335"/>
                    </a:cubicBezTo>
                    <a:lnTo>
                      <a:pt x="686881" y="118335"/>
                    </a:lnTo>
                    <a:cubicBezTo>
                      <a:pt x="691430" y="118335"/>
                      <a:pt x="695979" y="118335"/>
                      <a:pt x="698253" y="120611"/>
                    </a:cubicBezTo>
                    <a:cubicBezTo>
                      <a:pt x="698253" y="120611"/>
                      <a:pt x="698253" y="120611"/>
                      <a:pt x="695979" y="122887"/>
                    </a:cubicBezTo>
                    <a:cubicBezTo>
                      <a:pt x="700528" y="122887"/>
                      <a:pt x="702802" y="120611"/>
                      <a:pt x="705076" y="120611"/>
                    </a:cubicBezTo>
                    <a:cubicBezTo>
                      <a:pt x="709626" y="120611"/>
                      <a:pt x="714175" y="122887"/>
                      <a:pt x="718723" y="120611"/>
                    </a:cubicBezTo>
                    <a:cubicBezTo>
                      <a:pt x="723272" y="120611"/>
                      <a:pt x="725547" y="125162"/>
                      <a:pt x="720998" y="125162"/>
                    </a:cubicBezTo>
                    <a:lnTo>
                      <a:pt x="710898" y="126847"/>
                    </a:lnTo>
                    <a:lnTo>
                      <a:pt x="709341" y="126300"/>
                    </a:lnTo>
                    <a:cubicBezTo>
                      <a:pt x="703371" y="126300"/>
                      <a:pt x="697116" y="127438"/>
                      <a:pt x="691430" y="127438"/>
                    </a:cubicBezTo>
                    <a:cubicBezTo>
                      <a:pt x="698253" y="127438"/>
                      <a:pt x="702802" y="127438"/>
                      <a:pt x="707351" y="127438"/>
                    </a:cubicBezTo>
                    <a:lnTo>
                      <a:pt x="710898" y="126847"/>
                    </a:lnTo>
                    <a:lnTo>
                      <a:pt x="725547" y="131989"/>
                    </a:lnTo>
                    <a:cubicBezTo>
                      <a:pt x="725547" y="131989"/>
                      <a:pt x="725547" y="131989"/>
                      <a:pt x="723272" y="131989"/>
                    </a:cubicBezTo>
                    <a:cubicBezTo>
                      <a:pt x="725547" y="134265"/>
                      <a:pt x="725547" y="138817"/>
                      <a:pt x="723272" y="141092"/>
                    </a:cubicBezTo>
                    <a:cubicBezTo>
                      <a:pt x="720998" y="143368"/>
                      <a:pt x="716449" y="143368"/>
                      <a:pt x="714175" y="141092"/>
                    </a:cubicBezTo>
                    <a:cubicBezTo>
                      <a:pt x="716449" y="136541"/>
                      <a:pt x="702802" y="138817"/>
                      <a:pt x="700528" y="138817"/>
                    </a:cubicBezTo>
                    <a:cubicBezTo>
                      <a:pt x="695979" y="136541"/>
                      <a:pt x="691430" y="131989"/>
                      <a:pt x="684606" y="131989"/>
                    </a:cubicBezTo>
                    <a:cubicBezTo>
                      <a:pt x="686881" y="134265"/>
                      <a:pt x="691430" y="134265"/>
                      <a:pt x="693704" y="136541"/>
                    </a:cubicBezTo>
                    <a:cubicBezTo>
                      <a:pt x="691430" y="136541"/>
                      <a:pt x="686881" y="136541"/>
                      <a:pt x="684606" y="136541"/>
                    </a:cubicBezTo>
                    <a:cubicBezTo>
                      <a:pt x="691430" y="138817"/>
                      <a:pt x="700528" y="136541"/>
                      <a:pt x="705076" y="143368"/>
                    </a:cubicBezTo>
                    <a:lnTo>
                      <a:pt x="702802" y="143368"/>
                    </a:lnTo>
                    <a:lnTo>
                      <a:pt x="691430" y="143368"/>
                    </a:lnTo>
                    <a:cubicBezTo>
                      <a:pt x="684606" y="145644"/>
                      <a:pt x="684606" y="143368"/>
                      <a:pt x="680058" y="141092"/>
                    </a:cubicBezTo>
                    <a:cubicBezTo>
                      <a:pt x="684606" y="143368"/>
                      <a:pt x="684606" y="145644"/>
                      <a:pt x="689155" y="145644"/>
                    </a:cubicBezTo>
                    <a:cubicBezTo>
                      <a:pt x="693704" y="145644"/>
                      <a:pt x="698253" y="143368"/>
                      <a:pt x="702802" y="143368"/>
                    </a:cubicBezTo>
                    <a:cubicBezTo>
                      <a:pt x="702802" y="145644"/>
                      <a:pt x="698253" y="147919"/>
                      <a:pt x="702802" y="150195"/>
                    </a:cubicBezTo>
                    <a:cubicBezTo>
                      <a:pt x="700528" y="152471"/>
                      <a:pt x="698253" y="152471"/>
                      <a:pt x="695979" y="152471"/>
                    </a:cubicBezTo>
                    <a:cubicBezTo>
                      <a:pt x="700528" y="152471"/>
                      <a:pt x="705076" y="150195"/>
                      <a:pt x="709626" y="152471"/>
                    </a:cubicBezTo>
                    <a:cubicBezTo>
                      <a:pt x="711900" y="152471"/>
                      <a:pt x="716449" y="150195"/>
                      <a:pt x="720998" y="150195"/>
                    </a:cubicBezTo>
                    <a:cubicBezTo>
                      <a:pt x="720998" y="154746"/>
                      <a:pt x="723272" y="154746"/>
                      <a:pt x="725547" y="154746"/>
                    </a:cubicBezTo>
                    <a:cubicBezTo>
                      <a:pt x="720998" y="157022"/>
                      <a:pt x="716449" y="159298"/>
                      <a:pt x="711900" y="159298"/>
                    </a:cubicBezTo>
                    <a:cubicBezTo>
                      <a:pt x="711900" y="159298"/>
                      <a:pt x="709626" y="159298"/>
                      <a:pt x="707351" y="159298"/>
                    </a:cubicBezTo>
                    <a:cubicBezTo>
                      <a:pt x="705076" y="159298"/>
                      <a:pt x="705076" y="154746"/>
                      <a:pt x="702802" y="154746"/>
                    </a:cubicBezTo>
                    <a:cubicBezTo>
                      <a:pt x="698253" y="154746"/>
                      <a:pt x="691430" y="154746"/>
                      <a:pt x="686881" y="154746"/>
                    </a:cubicBezTo>
                    <a:cubicBezTo>
                      <a:pt x="684606" y="154746"/>
                      <a:pt x="682332" y="152471"/>
                      <a:pt x="680058" y="152471"/>
                    </a:cubicBezTo>
                    <a:cubicBezTo>
                      <a:pt x="680058" y="152471"/>
                      <a:pt x="682332" y="154746"/>
                      <a:pt x="682332" y="157022"/>
                    </a:cubicBezTo>
                    <a:cubicBezTo>
                      <a:pt x="680058" y="159298"/>
                      <a:pt x="675509" y="159298"/>
                      <a:pt x="673234" y="159298"/>
                    </a:cubicBezTo>
                    <a:cubicBezTo>
                      <a:pt x="673234" y="159298"/>
                      <a:pt x="675509" y="159298"/>
                      <a:pt x="675509" y="159298"/>
                    </a:cubicBezTo>
                    <a:cubicBezTo>
                      <a:pt x="675509" y="163849"/>
                      <a:pt x="673234" y="161573"/>
                      <a:pt x="670960" y="163849"/>
                    </a:cubicBezTo>
                    <a:cubicBezTo>
                      <a:pt x="675509" y="163849"/>
                      <a:pt x="677783" y="163849"/>
                      <a:pt x="677783" y="170676"/>
                    </a:cubicBezTo>
                    <a:cubicBezTo>
                      <a:pt x="682332" y="170676"/>
                      <a:pt x="675509" y="163849"/>
                      <a:pt x="682332" y="163849"/>
                    </a:cubicBezTo>
                    <a:cubicBezTo>
                      <a:pt x="689155" y="163849"/>
                      <a:pt x="693704" y="166125"/>
                      <a:pt x="700528" y="166125"/>
                    </a:cubicBezTo>
                    <a:cubicBezTo>
                      <a:pt x="700528" y="168400"/>
                      <a:pt x="698253" y="170676"/>
                      <a:pt x="695979" y="170676"/>
                    </a:cubicBezTo>
                    <a:cubicBezTo>
                      <a:pt x="695979" y="175227"/>
                      <a:pt x="698253" y="175227"/>
                      <a:pt x="693704" y="175227"/>
                    </a:cubicBezTo>
                    <a:cubicBezTo>
                      <a:pt x="686881" y="175227"/>
                      <a:pt x="682332" y="172952"/>
                      <a:pt x="677783" y="175227"/>
                    </a:cubicBezTo>
                    <a:cubicBezTo>
                      <a:pt x="666411" y="182054"/>
                      <a:pt x="657313" y="177503"/>
                      <a:pt x="645941" y="172952"/>
                    </a:cubicBezTo>
                    <a:cubicBezTo>
                      <a:pt x="645941" y="168400"/>
                      <a:pt x="652764" y="170676"/>
                      <a:pt x="655039" y="170676"/>
                    </a:cubicBezTo>
                    <a:cubicBezTo>
                      <a:pt x="650490" y="168400"/>
                      <a:pt x="645941" y="166125"/>
                      <a:pt x="641392" y="168400"/>
                    </a:cubicBezTo>
                    <a:cubicBezTo>
                      <a:pt x="639118" y="170676"/>
                      <a:pt x="634569" y="175227"/>
                      <a:pt x="632294" y="170676"/>
                    </a:cubicBezTo>
                    <a:cubicBezTo>
                      <a:pt x="630020" y="170676"/>
                      <a:pt x="625471" y="163849"/>
                      <a:pt x="623197" y="166125"/>
                    </a:cubicBezTo>
                    <a:cubicBezTo>
                      <a:pt x="625471" y="168400"/>
                      <a:pt x="630020" y="170676"/>
                      <a:pt x="634569" y="172952"/>
                    </a:cubicBezTo>
                    <a:cubicBezTo>
                      <a:pt x="630020" y="175227"/>
                      <a:pt x="627745" y="172952"/>
                      <a:pt x="623197" y="175227"/>
                    </a:cubicBezTo>
                    <a:cubicBezTo>
                      <a:pt x="620922" y="177503"/>
                      <a:pt x="618648" y="179779"/>
                      <a:pt x="614099" y="179779"/>
                    </a:cubicBezTo>
                    <a:lnTo>
                      <a:pt x="604148" y="177788"/>
                    </a:lnTo>
                    <a:lnTo>
                      <a:pt x="605001" y="177503"/>
                    </a:lnTo>
                    <a:lnTo>
                      <a:pt x="600026" y="176507"/>
                    </a:lnTo>
                    <a:lnTo>
                      <a:pt x="597325" y="175512"/>
                    </a:lnTo>
                    <a:cubicBezTo>
                      <a:pt x="595903" y="174658"/>
                      <a:pt x="594766" y="174090"/>
                      <a:pt x="593629" y="175227"/>
                    </a:cubicBezTo>
                    <a:lnTo>
                      <a:pt x="600026" y="176507"/>
                    </a:lnTo>
                    <a:lnTo>
                      <a:pt x="602727" y="177503"/>
                    </a:lnTo>
                    <a:lnTo>
                      <a:pt x="604148" y="177788"/>
                    </a:lnTo>
                    <a:lnTo>
                      <a:pt x="598178" y="179779"/>
                    </a:lnTo>
                    <a:cubicBezTo>
                      <a:pt x="593629" y="179779"/>
                      <a:pt x="591354" y="179779"/>
                      <a:pt x="589080" y="179779"/>
                    </a:cubicBezTo>
                    <a:cubicBezTo>
                      <a:pt x="591354" y="179779"/>
                      <a:pt x="591354" y="184330"/>
                      <a:pt x="589080" y="184330"/>
                    </a:cubicBezTo>
                    <a:cubicBezTo>
                      <a:pt x="591354" y="184330"/>
                      <a:pt x="591354" y="182054"/>
                      <a:pt x="593629" y="182054"/>
                    </a:cubicBezTo>
                    <a:cubicBezTo>
                      <a:pt x="598178" y="179779"/>
                      <a:pt x="600452" y="182054"/>
                      <a:pt x="605001" y="179779"/>
                    </a:cubicBezTo>
                    <a:cubicBezTo>
                      <a:pt x="609550" y="179779"/>
                      <a:pt x="614099" y="179779"/>
                      <a:pt x="616373" y="182054"/>
                    </a:cubicBezTo>
                    <a:cubicBezTo>
                      <a:pt x="620922" y="182054"/>
                      <a:pt x="623197" y="182054"/>
                      <a:pt x="625471" y="182054"/>
                    </a:cubicBezTo>
                    <a:cubicBezTo>
                      <a:pt x="623197" y="186606"/>
                      <a:pt x="620922" y="184330"/>
                      <a:pt x="616373" y="186606"/>
                    </a:cubicBezTo>
                    <a:cubicBezTo>
                      <a:pt x="614099" y="186606"/>
                      <a:pt x="611824" y="186606"/>
                      <a:pt x="607275" y="188881"/>
                    </a:cubicBezTo>
                    <a:cubicBezTo>
                      <a:pt x="605001" y="188881"/>
                      <a:pt x="602727" y="186606"/>
                      <a:pt x="600452" y="186606"/>
                    </a:cubicBezTo>
                    <a:cubicBezTo>
                      <a:pt x="595903" y="186606"/>
                      <a:pt x="593629" y="186606"/>
                      <a:pt x="589080" y="186606"/>
                    </a:cubicBezTo>
                    <a:cubicBezTo>
                      <a:pt x="593629" y="188881"/>
                      <a:pt x="598178" y="186606"/>
                      <a:pt x="602727" y="188881"/>
                    </a:cubicBezTo>
                    <a:lnTo>
                      <a:pt x="605001" y="188881"/>
                    </a:lnTo>
                    <a:cubicBezTo>
                      <a:pt x="605001" y="188881"/>
                      <a:pt x="605001" y="188881"/>
                      <a:pt x="602727" y="191157"/>
                    </a:cubicBezTo>
                    <a:cubicBezTo>
                      <a:pt x="607275" y="188881"/>
                      <a:pt x="625471" y="182054"/>
                      <a:pt x="627745" y="191157"/>
                    </a:cubicBezTo>
                    <a:cubicBezTo>
                      <a:pt x="627745" y="195709"/>
                      <a:pt x="611824" y="195709"/>
                      <a:pt x="609550" y="195709"/>
                    </a:cubicBezTo>
                    <a:cubicBezTo>
                      <a:pt x="611824" y="195709"/>
                      <a:pt x="614099" y="195709"/>
                      <a:pt x="616373" y="195709"/>
                    </a:cubicBezTo>
                    <a:cubicBezTo>
                      <a:pt x="616373" y="197984"/>
                      <a:pt x="614099" y="197984"/>
                      <a:pt x="614099" y="200260"/>
                    </a:cubicBezTo>
                    <a:cubicBezTo>
                      <a:pt x="618648" y="197984"/>
                      <a:pt x="620922" y="193433"/>
                      <a:pt x="627745" y="195709"/>
                    </a:cubicBezTo>
                    <a:cubicBezTo>
                      <a:pt x="630020" y="195709"/>
                      <a:pt x="636843" y="200260"/>
                      <a:pt x="639118" y="197984"/>
                    </a:cubicBezTo>
                    <a:cubicBezTo>
                      <a:pt x="639118" y="202536"/>
                      <a:pt x="643667" y="200260"/>
                      <a:pt x="645941" y="202536"/>
                    </a:cubicBezTo>
                    <a:cubicBezTo>
                      <a:pt x="648215" y="204811"/>
                      <a:pt x="652764" y="202536"/>
                      <a:pt x="655039" y="204811"/>
                    </a:cubicBezTo>
                    <a:cubicBezTo>
                      <a:pt x="652764" y="207087"/>
                      <a:pt x="648215" y="207087"/>
                      <a:pt x="645941" y="211638"/>
                    </a:cubicBezTo>
                    <a:cubicBezTo>
                      <a:pt x="648215" y="209363"/>
                      <a:pt x="652764" y="207087"/>
                      <a:pt x="655039" y="209363"/>
                    </a:cubicBezTo>
                    <a:cubicBezTo>
                      <a:pt x="652764" y="209363"/>
                      <a:pt x="652764" y="209363"/>
                      <a:pt x="652764" y="211638"/>
                    </a:cubicBezTo>
                    <a:cubicBezTo>
                      <a:pt x="657313" y="209363"/>
                      <a:pt x="659588" y="209363"/>
                      <a:pt x="664137" y="209363"/>
                    </a:cubicBezTo>
                    <a:cubicBezTo>
                      <a:pt x="657313" y="209363"/>
                      <a:pt x="652764" y="211638"/>
                      <a:pt x="652764" y="218465"/>
                    </a:cubicBezTo>
                    <a:cubicBezTo>
                      <a:pt x="657313" y="213914"/>
                      <a:pt x="659588" y="213914"/>
                      <a:pt x="666411" y="216190"/>
                    </a:cubicBezTo>
                    <a:cubicBezTo>
                      <a:pt x="664137" y="218465"/>
                      <a:pt x="661862" y="218465"/>
                      <a:pt x="661862" y="218465"/>
                    </a:cubicBezTo>
                    <a:cubicBezTo>
                      <a:pt x="664137" y="218465"/>
                      <a:pt x="664137" y="218465"/>
                      <a:pt x="664137" y="220741"/>
                    </a:cubicBezTo>
                    <a:lnTo>
                      <a:pt x="661104" y="221500"/>
                    </a:lnTo>
                    <a:lnTo>
                      <a:pt x="661862" y="220741"/>
                    </a:lnTo>
                    <a:cubicBezTo>
                      <a:pt x="659588" y="223017"/>
                      <a:pt x="657313" y="223017"/>
                      <a:pt x="655039" y="223017"/>
                    </a:cubicBezTo>
                    <a:lnTo>
                      <a:pt x="661104" y="221500"/>
                    </a:lnTo>
                    <a:lnTo>
                      <a:pt x="659588" y="223017"/>
                    </a:lnTo>
                    <a:cubicBezTo>
                      <a:pt x="661862" y="223017"/>
                      <a:pt x="661862" y="223017"/>
                      <a:pt x="664137" y="223017"/>
                    </a:cubicBezTo>
                    <a:cubicBezTo>
                      <a:pt x="661862" y="225292"/>
                      <a:pt x="661862" y="227568"/>
                      <a:pt x="659588" y="227568"/>
                    </a:cubicBezTo>
                    <a:cubicBezTo>
                      <a:pt x="659588" y="227568"/>
                      <a:pt x="661862" y="227568"/>
                      <a:pt x="664137" y="229844"/>
                    </a:cubicBezTo>
                    <a:cubicBezTo>
                      <a:pt x="661862" y="227568"/>
                      <a:pt x="659588" y="229844"/>
                      <a:pt x="659588" y="232119"/>
                    </a:cubicBezTo>
                    <a:cubicBezTo>
                      <a:pt x="666411" y="229844"/>
                      <a:pt x="657313" y="238946"/>
                      <a:pt x="655039" y="234395"/>
                    </a:cubicBezTo>
                    <a:cubicBezTo>
                      <a:pt x="655039" y="232119"/>
                      <a:pt x="645941" y="236671"/>
                      <a:pt x="650490" y="227568"/>
                    </a:cubicBezTo>
                    <a:cubicBezTo>
                      <a:pt x="645941" y="225292"/>
                      <a:pt x="648215" y="232119"/>
                      <a:pt x="645941" y="234395"/>
                    </a:cubicBezTo>
                    <a:cubicBezTo>
                      <a:pt x="643667" y="236671"/>
                      <a:pt x="636843" y="234395"/>
                      <a:pt x="632294" y="234395"/>
                    </a:cubicBezTo>
                    <a:cubicBezTo>
                      <a:pt x="627745" y="232119"/>
                      <a:pt x="623197" y="232119"/>
                      <a:pt x="623197" y="225292"/>
                    </a:cubicBezTo>
                    <a:cubicBezTo>
                      <a:pt x="625471" y="220741"/>
                      <a:pt x="620922" y="216190"/>
                      <a:pt x="616373" y="216190"/>
                    </a:cubicBezTo>
                    <a:cubicBezTo>
                      <a:pt x="611824" y="216190"/>
                      <a:pt x="607275" y="211638"/>
                      <a:pt x="600452" y="211638"/>
                    </a:cubicBezTo>
                    <a:cubicBezTo>
                      <a:pt x="598178" y="211638"/>
                      <a:pt x="595903" y="211638"/>
                      <a:pt x="593629" y="211638"/>
                    </a:cubicBezTo>
                    <a:cubicBezTo>
                      <a:pt x="593629" y="211638"/>
                      <a:pt x="591354" y="211638"/>
                      <a:pt x="589080" y="211638"/>
                    </a:cubicBezTo>
                    <a:cubicBezTo>
                      <a:pt x="586806" y="213914"/>
                      <a:pt x="582257" y="207087"/>
                      <a:pt x="579982" y="207087"/>
                    </a:cubicBezTo>
                    <a:cubicBezTo>
                      <a:pt x="575433" y="202536"/>
                      <a:pt x="570884" y="202536"/>
                      <a:pt x="566336" y="200260"/>
                    </a:cubicBezTo>
                    <a:cubicBezTo>
                      <a:pt x="568610" y="202536"/>
                      <a:pt x="568610" y="202536"/>
                      <a:pt x="566336" y="204811"/>
                    </a:cubicBezTo>
                    <a:cubicBezTo>
                      <a:pt x="568610" y="204811"/>
                      <a:pt x="573159" y="204811"/>
                      <a:pt x="575433" y="204811"/>
                    </a:cubicBezTo>
                    <a:cubicBezTo>
                      <a:pt x="570884" y="204811"/>
                      <a:pt x="579982" y="209363"/>
                      <a:pt x="582257" y="209363"/>
                    </a:cubicBezTo>
                    <a:lnTo>
                      <a:pt x="574978" y="211638"/>
                    </a:lnTo>
                    <a:lnTo>
                      <a:pt x="564061" y="211638"/>
                    </a:lnTo>
                    <a:cubicBezTo>
                      <a:pt x="566336" y="211638"/>
                      <a:pt x="569747" y="212207"/>
                      <a:pt x="573159" y="212207"/>
                    </a:cubicBezTo>
                    <a:lnTo>
                      <a:pt x="574978" y="211638"/>
                    </a:lnTo>
                    <a:lnTo>
                      <a:pt x="577708" y="211638"/>
                    </a:lnTo>
                    <a:cubicBezTo>
                      <a:pt x="577708" y="211638"/>
                      <a:pt x="586806" y="211638"/>
                      <a:pt x="582257" y="213914"/>
                    </a:cubicBezTo>
                    <a:cubicBezTo>
                      <a:pt x="586806" y="213914"/>
                      <a:pt x="591354" y="213914"/>
                      <a:pt x="595903" y="213914"/>
                    </a:cubicBezTo>
                    <a:cubicBezTo>
                      <a:pt x="598178" y="213914"/>
                      <a:pt x="600452" y="213914"/>
                      <a:pt x="602727" y="213914"/>
                    </a:cubicBezTo>
                    <a:cubicBezTo>
                      <a:pt x="605001" y="213914"/>
                      <a:pt x="607275" y="216190"/>
                      <a:pt x="607275" y="216190"/>
                    </a:cubicBezTo>
                    <a:cubicBezTo>
                      <a:pt x="607275" y="220741"/>
                      <a:pt x="605001" y="218465"/>
                      <a:pt x="602727" y="218465"/>
                    </a:cubicBezTo>
                    <a:lnTo>
                      <a:pt x="595064" y="222647"/>
                    </a:lnTo>
                    <a:lnTo>
                      <a:pt x="602694" y="222647"/>
                    </a:lnTo>
                    <a:cubicBezTo>
                      <a:pt x="604957" y="222647"/>
                      <a:pt x="607219" y="227410"/>
                      <a:pt x="602694" y="227410"/>
                    </a:cubicBezTo>
                    <a:cubicBezTo>
                      <a:pt x="602694" y="227410"/>
                      <a:pt x="602694" y="227410"/>
                      <a:pt x="604957" y="229791"/>
                    </a:cubicBezTo>
                    <a:cubicBezTo>
                      <a:pt x="598170" y="232172"/>
                      <a:pt x="589121" y="232172"/>
                      <a:pt x="582335" y="232172"/>
                    </a:cubicBezTo>
                    <a:lnTo>
                      <a:pt x="576972" y="232800"/>
                    </a:lnTo>
                    <a:lnTo>
                      <a:pt x="586806" y="234395"/>
                    </a:lnTo>
                    <a:cubicBezTo>
                      <a:pt x="584531" y="238946"/>
                      <a:pt x="579982" y="236671"/>
                      <a:pt x="577708" y="236671"/>
                    </a:cubicBezTo>
                    <a:cubicBezTo>
                      <a:pt x="573159" y="236671"/>
                      <a:pt x="570884" y="238946"/>
                      <a:pt x="568610" y="238946"/>
                    </a:cubicBezTo>
                    <a:cubicBezTo>
                      <a:pt x="564061" y="241222"/>
                      <a:pt x="554963" y="243498"/>
                      <a:pt x="550414" y="241222"/>
                    </a:cubicBezTo>
                    <a:cubicBezTo>
                      <a:pt x="554963" y="243498"/>
                      <a:pt x="561787" y="243498"/>
                      <a:pt x="564061" y="243498"/>
                    </a:cubicBezTo>
                    <a:cubicBezTo>
                      <a:pt x="568610" y="241222"/>
                      <a:pt x="568610" y="245773"/>
                      <a:pt x="573159" y="241222"/>
                    </a:cubicBezTo>
                    <a:cubicBezTo>
                      <a:pt x="577708" y="236671"/>
                      <a:pt x="584531" y="238946"/>
                      <a:pt x="591354" y="238946"/>
                    </a:cubicBezTo>
                    <a:cubicBezTo>
                      <a:pt x="595903" y="236671"/>
                      <a:pt x="600452" y="234395"/>
                      <a:pt x="605001" y="236671"/>
                    </a:cubicBezTo>
                    <a:cubicBezTo>
                      <a:pt x="605001" y="236671"/>
                      <a:pt x="605001" y="236671"/>
                      <a:pt x="602727" y="238946"/>
                    </a:cubicBezTo>
                    <a:cubicBezTo>
                      <a:pt x="607275" y="236671"/>
                      <a:pt x="609550" y="236671"/>
                      <a:pt x="614099" y="238946"/>
                    </a:cubicBezTo>
                    <a:cubicBezTo>
                      <a:pt x="618648" y="241222"/>
                      <a:pt x="623197" y="238946"/>
                      <a:pt x="625471" y="241222"/>
                    </a:cubicBezTo>
                    <a:cubicBezTo>
                      <a:pt x="630020" y="241222"/>
                      <a:pt x="636843" y="243498"/>
                      <a:pt x="641392" y="241222"/>
                    </a:cubicBezTo>
                    <a:cubicBezTo>
                      <a:pt x="643667" y="241222"/>
                      <a:pt x="648215" y="241222"/>
                      <a:pt x="650490" y="243498"/>
                    </a:cubicBezTo>
                    <a:cubicBezTo>
                      <a:pt x="645941" y="245773"/>
                      <a:pt x="636843" y="245773"/>
                      <a:pt x="632294" y="245773"/>
                    </a:cubicBezTo>
                    <a:cubicBezTo>
                      <a:pt x="634569" y="245773"/>
                      <a:pt x="634569" y="245773"/>
                      <a:pt x="636843" y="248049"/>
                    </a:cubicBezTo>
                    <a:cubicBezTo>
                      <a:pt x="634569" y="248049"/>
                      <a:pt x="632294" y="248049"/>
                      <a:pt x="630020" y="245773"/>
                    </a:cubicBezTo>
                    <a:cubicBezTo>
                      <a:pt x="632294" y="250325"/>
                      <a:pt x="623197" y="248049"/>
                      <a:pt x="620922" y="248049"/>
                    </a:cubicBezTo>
                    <a:cubicBezTo>
                      <a:pt x="625471" y="248049"/>
                      <a:pt x="625471" y="250325"/>
                      <a:pt x="623197" y="252601"/>
                    </a:cubicBezTo>
                    <a:cubicBezTo>
                      <a:pt x="620922" y="254876"/>
                      <a:pt x="616373" y="252601"/>
                      <a:pt x="614099" y="252601"/>
                    </a:cubicBezTo>
                    <a:cubicBezTo>
                      <a:pt x="620922" y="252601"/>
                      <a:pt x="614099" y="254876"/>
                      <a:pt x="611824" y="257152"/>
                    </a:cubicBezTo>
                    <a:cubicBezTo>
                      <a:pt x="609550" y="257152"/>
                      <a:pt x="607275" y="257152"/>
                      <a:pt x="605001" y="254876"/>
                    </a:cubicBezTo>
                    <a:cubicBezTo>
                      <a:pt x="609550" y="259428"/>
                      <a:pt x="602727" y="257152"/>
                      <a:pt x="607275" y="259428"/>
                    </a:cubicBezTo>
                    <a:cubicBezTo>
                      <a:pt x="605001" y="259428"/>
                      <a:pt x="600452" y="257152"/>
                      <a:pt x="598178" y="259428"/>
                    </a:cubicBezTo>
                    <a:cubicBezTo>
                      <a:pt x="602727" y="259428"/>
                      <a:pt x="600452" y="261703"/>
                      <a:pt x="598178" y="261703"/>
                    </a:cubicBezTo>
                    <a:cubicBezTo>
                      <a:pt x="595903" y="261703"/>
                      <a:pt x="595903" y="259428"/>
                      <a:pt x="595903" y="263979"/>
                    </a:cubicBezTo>
                    <a:cubicBezTo>
                      <a:pt x="593629" y="261703"/>
                      <a:pt x="586806" y="263979"/>
                      <a:pt x="591354" y="263979"/>
                    </a:cubicBezTo>
                    <a:cubicBezTo>
                      <a:pt x="586806" y="263979"/>
                      <a:pt x="584531" y="268530"/>
                      <a:pt x="579982" y="268530"/>
                    </a:cubicBezTo>
                    <a:cubicBezTo>
                      <a:pt x="577708" y="268530"/>
                      <a:pt x="577708" y="270806"/>
                      <a:pt x="575433" y="270806"/>
                    </a:cubicBezTo>
                    <a:cubicBezTo>
                      <a:pt x="573159" y="270806"/>
                      <a:pt x="570884" y="270806"/>
                      <a:pt x="568610" y="270806"/>
                    </a:cubicBezTo>
                    <a:cubicBezTo>
                      <a:pt x="564061" y="273082"/>
                      <a:pt x="561787" y="273082"/>
                      <a:pt x="559512" y="273082"/>
                    </a:cubicBezTo>
                    <a:cubicBezTo>
                      <a:pt x="557238" y="273082"/>
                      <a:pt x="550414" y="275357"/>
                      <a:pt x="550414" y="273082"/>
                    </a:cubicBezTo>
                    <a:cubicBezTo>
                      <a:pt x="550414" y="275357"/>
                      <a:pt x="548140" y="275357"/>
                      <a:pt x="545866" y="275357"/>
                    </a:cubicBezTo>
                    <a:cubicBezTo>
                      <a:pt x="543591" y="275357"/>
                      <a:pt x="543591" y="275357"/>
                      <a:pt x="541317" y="275357"/>
                    </a:cubicBezTo>
                    <a:cubicBezTo>
                      <a:pt x="536768" y="277633"/>
                      <a:pt x="534493" y="277633"/>
                      <a:pt x="529945" y="277633"/>
                    </a:cubicBezTo>
                    <a:cubicBezTo>
                      <a:pt x="532219" y="279909"/>
                      <a:pt x="523121" y="279909"/>
                      <a:pt x="520847" y="279909"/>
                    </a:cubicBezTo>
                    <a:cubicBezTo>
                      <a:pt x="520847" y="279909"/>
                      <a:pt x="516298" y="275357"/>
                      <a:pt x="516298" y="277633"/>
                    </a:cubicBezTo>
                    <a:cubicBezTo>
                      <a:pt x="516298" y="279909"/>
                      <a:pt x="514023" y="279909"/>
                      <a:pt x="511749" y="279909"/>
                    </a:cubicBezTo>
                    <a:cubicBezTo>
                      <a:pt x="514023" y="279909"/>
                      <a:pt x="514023" y="279909"/>
                      <a:pt x="514023" y="282184"/>
                    </a:cubicBezTo>
                    <a:cubicBezTo>
                      <a:pt x="511749" y="282184"/>
                      <a:pt x="511749" y="282184"/>
                      <a:pt x="509475" y="282184"/>
                    </a:cubicBezTo>
                    <a:cubicBezTo>
                      <a:pt x="507200" y="282184"/>
                      <a:pt x="507200" y="279909"/>
                      <a:pt x="504926" y="279909"/>
                    </a:cubicBezTo>
                    <a:cubicBezTo>
                      <a:pt x="504926" y="279909"/>
                      <a:pt x="507200" y="282184"/>
                      <a:pt x="507200" y="282184"/>
                    </a:cubicBezTo>
                    <a:cubicBezTo>
                      <a:pt x="502651" y="284460"/>
                      <a:pt x="498102" y="284460"/>
                      <a:pt x="493553" y="284460"/>
                    </a:cubicBezTo>
                    <a:cubicBezTo>
                      <a:pt x="489005" y="284460"/>
                      <a:pt x="486730" y="279909"/>
                      <a:pt x="491279" y="279909"/>
                    </a:cubicBezTo>
                    <a:cubicBezTo>
                      <a:pt x="486730" y="279909"/>
                      <a:pt x="484456" y="279909"/>
                      <a:pt x="484456" y="275357"/>
                    </a:cubicBezTo>
                    <a:cubicBezTo>
                      <a:pt x="479907" y="277633"/>
                      <a:pt x="479907" y="273082"/>
                      <a:pt x="479907" y="273082"/>
                    </a:cubicBezTo>
                    <a:cubicBezTo>
                      <a:pt x="479907" y="275357"/>
                      <a:pt x="477632" y="273082"/>
                      <a:pt x="477632" y="275357"/>
                    </a:cubicBezTo>
                    <a:cubicBezTo>
                      <a:pt x="477632" y="277633"/>
                      <a:pt x="479907" y="277633"/>
                      <a:pt x="482181" y="279909"/>
                    </a:cubicBezTo>
                    <a:cubicBezTo>
                      <a:pt x="479907" y="279909"/>
                      <a:pt x="479907" y="279909"/>
                      <a:pt x="477632" y="279909"/>
                    </a:cubicBezTo>
                    <a:cubicBezTo>
                      <a:pt x="479907" y="282184"/>
                      <a:pt x="482181" y="279909"/>
                      <a:pt x="482181" y="284460"/>
                    </a:cubicBezTo>
                    <a:cubicBezTo>
                      <a:pt x="479907" y="282184"/>
                      <a:pt x="479907" y="286736"/>
                      <a:pt x="479907" y="286736"/>
                    </a:cubicBezTo>
                    <a:cubicBezTo>
                      <a:pt x="479907" y="289011"/>
                      <a:pt x="475358" y="286736"/>
                      <a:pt x="473084" y="289011"/>
                    </a:cubicBezTo>
                    <a:cubicBezTo>
                      <a:pt x="470809" y="289011"/>
                      <a:pt x="463986" y="291287"/>
                      <a:pt x="461711" y="291287"/>
                    </a:cubicBezTo>
                    <a:cubicBezTo>
                      <a:pt x="459437" y="293563"/>
                      <a:pt x="459437" y="295838"/>
                      <a:pt x="457162" y="293563"/>
                    </a:cubicBezTo>
                    <a:cubicBezTo>
                      <a:pt x="457162" y="295838"/>
                      <a:pt x="454888" y="298114"/>
                      <a:pt x="452614" y="298114"/>
                    </a:cubicBezTo>
                    <a:cubicBezTo>
                      <a:pt x="454888" y="300390"/>
                      <a:pt x="452614" y="300390"/>
                      <a:pt x="452614" y="302665"/>
                    </a:cubicBezTo>
                    <a:cubicBezTo>
                      <a:pt x="450339" y="304941"/>
                      <a:pt x="441241" y="304941"/>
                      <a:pt x="445790" y="307217"/>
                    </a:cubicBezTo>
                    <a:cubicBezTo>
                      <a:pt x="441241" y="304941"/>
                      <a:pt x="441241" y="309493"/>
                      <a:pt x="441241" y="311768"/>
                    </a:cubicBezTo>
                    <a:cubicBezTo>
                      <a:pt x="438967" y="309493"/>
                      <a:pt x="436692" y="314044"/>
                      <a:pt x="434418" y="314044"/>
                    </a:cubicBezTo>
                    <a:cubicBezTo>
                      <a:pt x="436692" y="309493"/>
                      <a:pt x="432144" y="316320"/>
                      <a:pt x="434418" y="311768"/>
                    </a:cubicBezTo>
                    <a:cubicBezTo>
                      <a:pt x="432144" y="311768"/>
                      <a:pt x="432144" y="314044"/>
                      <a:pt x="432144" y="316320"/>
                    </a:cubicBezTo>
                    <a:cubicBezTo>
                      <a:pt x="429869" y="316320"/>
                      <a:pt x="418497" y="323147"/>
                      <a:pt x="420771" y="318595"/>
                    </a:cubicBezTo>
                    <a:cubicBezTo>
                      <a:pt x="418497" y="318595"/>
                      <a:pt x="418497" y="320871"/>
                      <a:pt x="418497" y="323147"/>
                    </a:cubicBezTo>
                    <a:cubicBezTo>
                      <a:pt x="416222" y="320871"/>
                      <a:pt x="413948" y="320871"/>
                      <a:pt x="413948" y="320871"/>
                    </a:cubicBezTo>
                    <a:cubicBezTo>
                      <a:pt x="411674" y="320871"/>
                      <a:pt x="411674" y="316320"/>
                      <a:pt x="409399" y="318595"/>
                    </a:cubicBezTo>
                    <a:cubicBezTo>
                      <a:pt x="411674" y="318595"/>
                      <a:pt x="409399" y="323147"/>
                      <a:pt x="411674" y="323147"/>
                    </a:cubicBezTo>
                    <a:cubicBezTo>
                      <a:pt x="407125" y="325422"/>
                      <a:pt x="407125" y="323147"/>
                      <a:pt x="402576" y="327698"/>
                    </a:cubicBezTo>
                    <a:cubicBezTo>
                      <a:pt x="400301" y="327698"/>
                      <a:pt x="398027" y="327698"/>
                      <a:pt x="395753" y="329974"/>
                    </a:cubicBezTo>
                    <a:cubicBezTo>
                      <a:pt x="395753" y="327698"/>
                      <a:pt x="395753" y="325422"/>
                      <a:pt x="393478" y="325422"/>
                    </a:cubicBezTo>
                    <a:cubicBezTo>
                      <a:pt x="393478" y="329974"/>
                      <a:pt x="386655" y="327698"/>
                      <a:pt x="384380" y="329974"/>
                    </a:cubicBezTo>
                    <a:cubicBezTo>
                      <a:pt x="384380" y="329974"/>
                      <a:pt x="384380" y="327698"/>
                      <a:pt x="386655" y="325422"/>
                    </a:cubicBezTo>
                    <a:cubicBezTo>
                      <a:pt x="382106" y="325422"/>
                      <a:pt x="384380" y="329974"/>
                      <a:pt x="382106" y="329974"/>
                    </a:cubicBezTo>
                    <a:lnTo>
                      <a:pt x="375529" y="329974"/>
                    </a:lnTo>
                    <a:lnTo>
                      <a:pt x="379810" y="332186"/>
                    </a:lnTo>
                    <a:cubicBezTo>
                      <a:pt x="375444" y="332186"/>
                      <a:pt x="379810" y="334567"/>
                      <a:pt x="375444" y="334567"/>
                    </a:cubicBezTo>
                    <a:cubicBezTo>
                      <a:pt x="375444" y="334567"/>
                      <a:pt x="371079" y="334567"/>
                      <a:pt x="371079" y="336948"/>
                    </a:cubicBezTo>
                    <a:cubicBezTo>
                      <a:pt x="366713" y="336948"/>
                      <a:pt x="368896" y="332186"/>
                      <a:pt x="371079" y="332186"/>
                    </a:cubicBezTo>
                    <a:lnTo>
                      <a:pt x="374007" y="329974"/>
                    </a:lnTo>
                    <a:lnTo>
                      <a:pt x="373008" y="329974"/>
                    </a:lnTo>
                    <a:cubicBezTo>
                      <a:pt x="373008" y="325422"/>
                      <a:pt x="382106" y="320871"/>
                      <a:pt x="386655" y="320871"/>
                    </a:cubicBezTo>
                    <a:cubicBezTo>
                      <a:pt x="382106" y="320871"/>
                      <a:pt x="375283" y="318595"/>
                      <a:pt x="370734" y="318595"/>
                    </a:cubicBezTo>
                    <a:cubicBezTo>
                      <a:pt x="373008" y="320871"/>
                      <a:pt x="373008" y="320871"/>
                      <a:pt x="375283" y="320871"/>
                    </a:cubicBezTo>
                    <a:cubicBezTo>
                      <a:pt x="373008" y="320871"/>
                      <a:pt x="373008" y="323147"/>
                      <a:pt x="370734" y="325422"/>
                    </a:cubicBezTo>
                    <a:cubicBezTo>
                      <a:pt x="368459" y="325422"/>
                      <a:pt x="370734" y="325422"/>
                      <a:pt x="370734" y="327698"/>
                    </a:cubicBezTo>
                    <a:cubicBezTo>
                      <a:pt x="368459" y="329974"/>
                      <a:pt x="363910" y="329974"/>
                      <a:pt x="363910" y="325422"/>
                    </a:cubicBezTo>
                    <a:cubicBezTo>
                      <a:pt x="361636" y="329974"/>
                      <a:pt x="363910" y="329974"/>
                      <a:pt x="366185" y="329974"/>
                    </a:cubicBezTo>
                    <a:cubicBezTo>
                      <a:pt x="363910" y="334525"/>
                      <a:pt x="361636" y="332249"/>
                      <a:pt x="359361" y="334525"/>
                    </a:cubicBezTo>
                    <a:cubicBezTo>
                      <a:pt x="359361" y="332249"/>
                      <a:pt x="357087" y="334525"/>
                      <a:pt x="354813" y="334525"/>
                    </a:cubicBezTo>
                    <a:cubicBezTo>
                      <a:pt x="354813" y="334525"/>
                      <a:pt x="354813" y="334525"/>
                      <a:pt x="357087" y="336801"/>
                    </a:cubicBezTo>
                    <a:cubicBezTo>
                      <a:pt x="352538" y="336801"/>
                      <a:pt x="350264" y="334525"/>
                      <a:pt x="345715" y="332249"/>
                    </a:cubicBezTo>
                    <a:cubicBezTo>
                      <a:pt x="347989" y="334525"/>
                      <a:pt x="345715" y="336801"/>
                      <a:pt x="343440" y="336801"/>
                    </a:cubicBezTo>
                    <a:cubicBezTo>
                      <a:pt x="341166" y="336801"/>
                      <a:pt x="341166" y="334525"/>
                      <a:pt x="341166" y="334525"/>
                    </a:cubicBezTo>
                    <a:cubicBezTo>
                      <a:pt x="338892" y="334525"/>
                      <a:pt x="338892" y="336801"/>
                      <a:pt x="336617" y="336801"/>
                    </a:cubicBezTo>
                    <a:cubicBezTo>
                      <a:pt x="334343" y="336801"/>
                      <a:pt x="332068" y="334525"/>
                      <a:pt x="332068" y="339076"/>
                    </a:cubicBezTo>
                    <a:cubicBezTo>
                      <a:pt x="332068" y="339076"/>
                      <a:pt x="334343" y="339076"/>
                      <a:pt x="336617" y="339076"/>
                    </a:cubicBezTo>
                    <a:cubicBezTo>
                      <a:pt x="336617" y="339076"/>
                      <a:pt x="336617" y="339076"/>
                      <a:pt x="334343" y="341352"/>
                    </a:cubicBezTo>
                    <a:cubicBezTo>
                      <a:pt x="334343" y="341352"/>
                      <a:pt x="334343" y="341352"/>
                      <a:pt x="334343" y="343628"/>
                    </a:cubicBezTo>
                    <a:cubicBezTo>
                      <a:pt x="332068" y="341352"/>
                      <a:pt x="332068" y="345903"/>
                      <a:pt x="327519" y="345903"/>
                    </a:cubicBezTo>
                    <a:cubicBezTo>
                      <a:pt x="332068" y="348179"/>
                      <a:pt x="325245" y="348179"/>
                      <a:pt x="322970" y="348179"/>
                    </a:cubicBezTo>
                    <a:cubicBezTo>
                      <a:pt x="322970" y="348179"/>
                      <a:pt x="320696" y="345903"/>
                      <a:pt x="320696" y="345903"/>
                    </a:cubicBezTo>
                    <a:cubicBezTo>
                      <a:pt x="318422" y="345903"/>
                      <a:pt x="313873" y="345903"/>
                      <a:pt x="311598" y="348179"/>
                    </a:cubicBezTo>
                    <a:cubicBezTo>
                      <a:pt x="311598" y="348179"/>
                      <a:pt x="311598" y="350455"/>
                      <a:pt x="309324" y="350455"/>
                    </a:cubicBezTo>
                    <a:cubicBezTo>
                      <a:pt x="311598" y="352730"/>
                      <a:pt x="318422" y="355006"/>
                      <a:pt x="313873" y="359557"/>
                    </a:cubicBezTo>
                    <a:cubicBezTo>
                      <a:pt x="316147" y="359557"/>
                      <a:pt x="316147" y="361833"/>
                      <a:pt x="316147" y="361833"/>
                    </a:cubicBezTo>
                    <a:cubicBezTo>
                      <a:pt x="313873" y="364109"/>
                      <a:pt x="311598" y="361833"/>
                      <a:pt x="309324" y="361833"/>
                    </a:cubicBezTo>
                    <a:cubicBezTo>
                      <a:pt x="304775" y="364109"/>
                      <a:pt x="300226" y="361833"/>
                      <a:pt x="297952" y="364109"/>
                    </a:cubicBezTo>
                    <a:cubicBezTo>
                      <a:pt x="300226" y="368660"/>
                      <a:pt x="304775" y="366385"/>
                      <a:pt x="309324" y="366385"/>
                    </a:cubicBezTo>
                    <a:cubicBezTo>
                      <a:pt x="313873" y="366385"/>
                      <a:pt x="311598" y="370936"/>
                      <a:pt x="307049" y="370936"/>
                    </a:cubicBezTo>
                    <a:cubicBezTo>
                      <a:pt x="311598" y="373212"/>
                      <a:pt x="309324" y="375487"/>
                      <a:pt x="309324" y="377763"/>
                    </a:cubicBezTo>
                    <a:cubicBezTo>
                      <a:pt x="307049" y="375487"/>
                      <a:pt x="302500" y="377763"/>
                      <a:pt x="300226" y="375487"/>
                    </a:cubicBezTo>
                    <a:cubicBezTo>
                      <a:pt x="297952" y="375487"/>
                      <a:pt x="293403" y="373212"/>
                      <a:pt x="291128" y="375487"/>
                    </a:cubicBezTo>
                    <a:cubicBezTo>
                      <a:pt x="295677" y="375487"/>
                      <a:pt x="302500" y="375487"/>
                      <a:pt x="304775" y="380039"/>
                    </a:cubicBezTo>
                    <a:cubicBezTo>
                      <a:pt x="302500" y="380039"/>
                      <a:pt x="300226" y="380039"/>
                      <a:pt x="300226" y="380039"/>
                    </a:cubicBezTo>
                    <a:cubicBezTo>
                      <a:pt x="297952" y="382314"/>
                      <a:pt x="297952" y="382314"/>
                      <a:pt x="295677" y="380039"/>
                    </a:cubicBezTo>
                    <a:cubicBezTo>
                      <a:pt x="300226" y="384590"/>
                      <a:pt x="293403" y="382314"/>
                      <a:pt x="293403" y="380039"/>
                    </a:cubicBezTo>
                    <a:cubicBezTo>
                      <a:pt x="293403" y="382314"/>
                      <a:pt x="293403" y="382314"/>
                      <a:pt x="291128" y="382314"/>
                    </a:cubicBezTo>
                    <a:cubicBezTo>
                      <a:pt x="293403" y="382314"/>
                      <a:pt x="293403" y="384590"/>
                      <a:pt x="295677" y="384590"/>
                    </a:cubicBezTo>
                    <a:cubicBezTo>
                      <a:pt x="293403" y="384590"/>
                      <a:pt x="291128" y="382314"/>
                      <a:pt x="288854" y="382314"/>
                    </a:cubicBezTo>
                    <a:cubicBezTo>
                      <a:pt x="291128" y="382314"/>
                      <a:pt x="295677" y="386866"/>
                      <a:pt x="295677" y="386866"/>
                    </a:cubicBezTo>
                    <a:cubicBezTo>
                      <a:pt x="293403" y="389141"/>
                      <a:pt x="286579" y="382314"/>
                      <a:pt x="284305" y="382314"/>
                    </a:cubicBezTo>
                    <a:cubicBezTo>
                      <a:pt x="284305" y="386866"/>
                      <a:pt x="291128" y="384590"/>
                      <a:pt x="288854" y="389141"/>
                    </a:cubicBezTo>
                    <a:cubicBezTo>
                      <a:pt x="288854" y="391417"/>
                      <a:pt x="284305" y="386866"/>
                      <a:pt x="282030" y="386866"/>
                    </a:cubicBezTo>
                    <a:cubicBezTo>
                      <a:pt x="284305" y="386866"/>
                      <a:pt x="284305" y="389141"/>
                      <a:pt x="284305" y="391417"/>
                    </a:cubicBezTo>
                    <a:cubicBezTo>
                      <a:pt x="282030" y="391417"/>
                      <a:pt x="277482" y="389141"/>
                      <a:pt x="277482" y="386866"/>
                    </a:cubicBezTo>
                    <a:cubicBezTo>
                      <a:pt x="275207" y="393693"/>
                      <a:pt x="284305" y="389141"/>
                      <a:pt x="284305" y="393693"/>
                    </a:cubicBezTo>
                    <a:cubicBezTo>
                      <a:pt x="282030" y="393693"/>
                      <a:pt x="279756" y="395968"/>
                      <a:pt x="277482" y="395968"/>
                    </a:cubicBezTo>
                    <a:cubicBezTo>
                      <a:pt x="272933" y="395968"/>
                      <a:pt x="279756" y="395968"/>
                      <a:pt x="275207" y="398244"/>
                    </a:cubicBezTo>
                    <a:cubicBezTo>
                      <a:pt x="272933" y="398244"/>
                      <a:pt x="270658" y="398244"/>
                      <a:pt x="268384" y="398244"/>
                    </a:cubicBezTo>
                    <a:cubicBezTo>
                      <a:pt x="270658" y="395968"/>
                      <a:pt x="272933" y="395968"/>
                      <a:pt x="275207" y="395968"/>
                    </a:cubicBezTo>
                    <a:lnTo>
                      <a:pt x="275128" y="395942"/>
                    </a:lnTo>
                    <a:lnTo>
                      <a:pt x="268384" y="393693"/>
                    </a:lnTo>
                    <a:cubicBezTo>
                      <a:pt x="270658" y="395968"/>
                      <a:pt x="270658" y="395968"/>
                      <a:pt x="268384" y="395968"/>
                    </a:cubicBezTo>
                    <a:cubicBezTo>
                      <a:pt x="268384" y="395968"/>
                      <a:pt x="268384" y="395968"/>
                      <a:pt x="268384" y="398244"/>
                    </a:cubicBezTo>
                    <a:cubicBezTo>
                      <a:pt x="266109" y="398244"/>
                      <a:pt x="266109" y="398244"/>
                      <a:pt x="263835" y="398244"/>
                    </a:cubicBezTo>
                    <a:cubicBezTo>
                      <a:pt x="261561" y="398244"/>
                      <a:pt x="259286" y="398244"/>
                      <a:pt x="257012" y="395968"/>
                    </a:cubicBezTo>
                    <a:cubicBezTo>
                      <a:pt x="259286" y="398244"/>
                      <a:pt x="261561" y="400520"/>
                      <a:pt x="263835" y="400520"/>
                    </a:cubicBezTo>
                    <a:cubicBezTo>
                      <a:pt x="268384" y="400520"/>
                      <a:pt x="270658" y="402795"/>
                      <a:pt x="266109" y="402795"/>
                    </a:cubicBezTo>
                    <a:cubicBezTo>
                      <a:pt x="268384" y="402795"/>
                      <a:pt x="268384" y="405071"/>
                      <a:pt x="270658" y="405071"/>
                    </a:cubicBezTo>
                    <a:cubicBezTo>
                      <a:pt x="266109" y="407347"/>
                      <a:pt x="261561" y="402795"/>
                      <a:pt x="257012" y="402795"/>
                    </a:cubicBezTo>
                    <a:cubicBezTo>
                      <a:pt x="259286" y="402795"/>
                      <a:pt x="266109" y="405071"/>
                      <a:pt x="266109" y="407347"/>
                    </a:cubicBezTo>
                    <a:cubicBezTo>
                      <a:pt x="268384" y="409622"/>
                      <a:pt x="263835" y="411898"/>
                      <a:pt x="261561" y="414174"/>
                    </a:cubicBezTo>
                    <a:cubicBezTo>
                      <a:pt x="261561" y="414174"/>
                      <a:pt x="263835" y="414174"/>
                      <a:pt x="266109" y="414174"/>
                    </a:cubicBezTo>
                    <a:cubicBezTo>
                      <a:pt x="266109" y="414174"/>
                      <a:pt x="266109" y="416449"/>
                      <a:pt x="263835" y="416449"/>
                    </a:cubicBezTo>
                    <a:cubicBezTo>
                      <a:pt x="266109" y="418725"/>
                      <a:pt x="264404" y="419294"/>
                      <a:pt x="261845" y="419294"/>
                    </a:cubicBezTo>
                    <a:lnTo>
                      <a:pt x="261055" y="419231"/>
                    </a:lnTo>
                    <a:lnTo>
                      <a:pt x="261561" y="418725"/>
                    </a:lnTo>
                    <a:cubicBezTo>
                      <a:pt x="259286" y="421001"/>
                      <a:pt x="257012" y="421001"/>
                      <a:pt x="254737" y="418725"/>
                    </a:cubicBezTo>
                    <a:lnTo>
                      <a:pt x="261055" y="419231"/>
                    </a:lnTo>
                    <a:lnTo>
                      <a:pt x="257012" y="423277"/>
                    </a:lnTo>
                    <a:cubicBezTo>
                      <a:pt x="257012" y="430104"/>
                      <a:pt x="247914" y="427828"/>
                      <a:pt x="243365" y="427828"/>
                    </a:cubicBezTo>
                    <a:cubicBezTo>
                      <a:pt x="245639" y="427828"/>
                      <a:pt x="252463" y="430104"/>
                      <a:pt x="247914" y="430104"/>
                    </a:cubicBezTo>
                    <a:lnTo>
                      <a:pt x="243365" y="430104"/>
                    </a:lnTo>
                    <a:cubicBezTo>
                      <a:pt x="245639" y="432379"/>
                      <a:pt x="247914" y="432379"/>
                      <a:pt x="250188" y="432379"/>
                    </a:cubicBezTo>
                    <a:cubicBezTo>
                      <a:pt x="245639" y="434655"/>
                      <a:pt x="241091" y="432379"/>
                      <a:pt x="236542" y="432379"/>
                    </a:cubicBezTo>
                    <a:cubicBezTo>
                      <a:pt x="238816" y="434655"/>
                      <a:pt x="245639" y="434655"/>
                      <a:pt x="250188" y="434655"/>
                    </a:cubicBezTo>
                    <a:lnTo>
                      <a:pt x="243985" y="438793"/>
                    </a:lnTo>
                    <a:lnTo>
                      <a:pt x="236542" y="436931"/>
                    </a:lnTo>
                    <a:cubicBezTo>
                      <a:pt x="238816" y="436931"/>
                      <a:pt x="241091" y="439206"/>
                      <a:pt x="243365" y="439206"/>
                    </a:cubicBezTo>
                    <a:lnTo>
                      <a:pt x="236542" y="439206"/>
                    </a:lnTo>
                    <a:cubicBezTo>
                      <a:pt x="238816" y="441482"/>
                      <a:pt x="241091" y="439206"/>
                      <a:pt x="243365" y="441482"/>
                    </a:cubicBezTo>
                    <a:cubicBezTo>
                      <a:pt x="243365" y="443758"/>
                      <a:pt x="238816" y="443758"/>
                      <a:pt x="236542" y="443758"/>
                    </a:cubicBezTo>
                    <a:lnTo>
                      <a:pt x="238816" y="443758"/>
                    </a:lnTo>
                    <a:cubicBezTo>
                      <a:pt x="241091" y="443758"/>
                      <a:pt x="241091" y="446033"/>
                      <a:pt x="243365" y="446033"/>
                    </a:cubicBezTo>
                    <a:cubicBezTo>
                      <a:pt x="241091" y="446033"/>
                      <a:pt x="236542" y="446033"/>
                      <a:pt x="234267" y="446033"/>
                    </a:cubicBezTo>
                    <a:cubicBezTo>
                      <a:pt x="241091" y="448309"/>
                      <a:pt x="229718" y="448309"/>
                      <a:pt x="229718" y="443758"/>
                    </a:cubicBezTo>
                    <a:cubicBezTo>
                      <a:pt x="227444" y="446033"/>
                      <a:pt x="225169" y="446033"/>
                      <a:pt x="220621" y="443758"/>
                    </a:cubicBezTo>
                    <a:cubicBezTo>
                      <a:pt x="225169" y="446033"/>
                      <a:pt x="229718" y="446033"/>
                      <a:pt x="231993" y="448309"/>
                    </a:cubicBezTo>
                    <a:cubicBezTo>
                      <a:pt x="231993" y="448309"/>
                      <a:pt x="229718" y="450585"/>
                      <a:pt x="227444" y="450585"/>
                    </a:cubicBezTo>
                    <a:cubicBezTo>
                      <a:pt x="229718" y="450585"/>
                      <a:pt x="231993" y="448309"/>
                      <a:pt x="234267" y="448309"/>
                    </a:cubicBezTo>
                    <a:cubicBezTo>
                      <a:pt x="229718" y="450585"/>
                      <a:pt x="234267" y="450585"/>
                      <a:pt x="236542" y="452860"/>
                    </a:cubicBezTo>
                    <a:cubicBezTo>
                      <a:pt x="234267" y="452860"/>
                      <a:pt x="234267" y="452860"/>
                      <a:pt x="231993" y="452860"/>
                    </a:cubicBezTo>
                    <a:cubicBezTo>
                      <a:pt x="234267" y="452860"/>
                      <a:pt x="234267" y="452860"/>
                      <a:pt x="234267" y="455136"/>
                    </a:cubicBezTo>
                    <a:cubicBezTo>
                      <a:pt x="231993" y="456274"/>
                      <a:pt x="230287" y="455705"/>
                      <a:pt x="228581" y="455136"/>
                    </a:cubicBezTo>
                    <a:lnTo>
                      <a:pt x="228198" y="455136"/>
                    </a:lnTo>
                    <a:lnTo>
                      <a:pt x="232172" y="457201"/>
                    </a:lnTo>
                    <a:lnTo>
                      <a:pt x="231149" y="457201"/>
                    </a:lnTo>
                    <a:lnTo>
                      <a:pt x="231993" y="457412"/>
                    </a:lnTo>
                    <a:lnTo>
                      <a:pt x="229791" y="457412"/>
                    </a:lnTo>
                    <a:lnTo>
                      <a:pt x="229578" y="457412"/>
                    </a:lnTo>
                    <a:lnTo>
                      <a:pt x="227409" y="459581"/>
                    </a:lnTo>
                    <a:lnTo>
                      <a:pt x="227409" y="457634"/>
                    </a:lnTo>
                    <a:lnTo>
                      <a:pt x="225351" y="459879"/>
                    </a:lnTo>
                    <a:lnTo>
                      <a:pt x="224120" y="459074"/>
                    </a:lnTo>
                    <a:lnTo>
                      <a:pt x="222895" y="459687"/>
                    </a:lnTo>
                    <a:lnTo>
                      <a:pt x="222895" y="458272"/>
                    </a:lnTo>
                    <a:lnTo>
                      <a:pt x="221258" y="457201"/>
                    </a:lnTo>
                    <a:lnTo>
                      <a:pt x="222473" y="457201"/>
                    </a:lnTo>
                    <a:lnTo>
                      <a:pt x="218346" y="455136"/>
                    </a:lnTo>
                    <a:lnTo>
                      <a:pt x="219656" y="455136"/>
                    </a:lnTo>
                    <a:lnTo>
                      <a:pt x="219075" y="454819"/>
                    </a:lnTo>
                    <a:lnTo>
                      <a:pt x="221819" y="454598"/>
                    </a:lnTo>
                    <a:lnTo>
                      <a:pt x="218346" y="452860"/>
                    </a:lnTo>
                    <a:cubicBezTo>
                      <a:pt x="218346" y="452860"/>
                      <a:pt x="220621" y="450585"/>
                      <a:pt x="220621" y="450585"/>
                    </a:cubicBezTo>
                    <a:cubicBezTo>
                      <a:pt x="220621" y="452860"/>
                      <a:pt x="218346" y="452860"/>
                      <a:pt x="216072" y="450585"/>
                    </a:cubicBezTo>
                    <a:cubicBezTo>
                      <a:pt x="216072" y="452860"/>
                      <a:pt x="213797" y="452860"/>
                      <a:pt x="211523" y="455136"/>
                    </a:cubicBezTo>
                    <a:cubicBezTo>
                      <a:pt x="211523" y="455136"/>
                      <a:pt x="204700" y="461963"/>
                      <a:pt x="206974" y="455136"/>
                    </a:cubicBezTo>
                    <a:cubicBezTo>
                      <a:pt x="206974" y="457412"/>
                      <a:pt x="204700" y="459687"/>
                      <a:pt x="204700" y="455136"/>
                    </a:cubicBezTo>
                    <a:cubicBezTo>
                      <a:pt x="202425" y="457412"/>
                      <a:pt x="200151" y="457412"/>
                      <a:pt x="200151" y="455136"/>
                    </a:cubicBezTo>
                    <a:cubicBezTo>
                      <a:pt x="200151" y="450585"/>
                      <a:pt x="204700" y="450585"/>
                      <a:pt x="206974" y="448309"/>
                    </a:cubicBezTo>
                    <a:cubicBezTo>
                      <a:pt x="209248" y="446033"/>
                      <a:pt x="209248" y="443758"/>
                      <a:pt x="213797" y="441482"/>
                    </a:cubicBezTo>
                    <a:cubicBezTo>
                      <a:pt x="206974" y="443758"/>
                      <a:pt x="204700" y="448309"/>
                      <a:pt x="200151" y="448309"/>
                    </a:cubicBezTo>
                    <a:cubicBezTo>
                      <a:pt x="202425" y="446033"/>
                      <a:pt x="202425" y="446033"/>
                      <a:pt x="204700" y="443758"/>
                    </a:cubicBezTo>
                    <a:cubicBezTo>
                      <a:pt x="200151" y="443758"/>
                      <a:pt x="197876" y="446033"/>
                      <a:pt x="195602" y="448309"/>
                    </a:cubicBezTo>
                    <a:cubicBezTo>
                      <a:pt x="195602" y="443758"/>
                      <a:pt x="191053" y="446033"/>
                      <a:pt x="195602" y="443758"/>
                    </a:cubicBezTo>
                    <a:cubicBezTo>
                      <a:pt x="191053" y="443758"/>
                      <a:pt x="197876" y="439206"/>
                      <a:pt x="200151" y="439206"/>
                    </a:cubicBezTo>
                    <a:cubicBezTo>
                      <a:pt x="202425" y="439206"/>
                      <a:pt x="206974" y="439206"/>
                      <a:pt x="204700" y="436931"/>
                    </a:cubicBezTo>
                    <a:cubicBezTo>
                      <a:pt x="200151" y="439206"/>
                      <a:pt x="197876" y="441482"/>
                      <a:pt x="193327" y="441482"/>
                    </a:cubicBezTo>
                    <a:cubicBezTo>
                      <a:pt x="193327" y="441482"/>
                      <a:pt x="193327" y="441482"/>
                      <a:pt x="195602" y="439206"/>
                    </a:cubicBezTo>
                    <a:cubicBezTo>
                      <a:pt x="194465" y="439206"/>
                      <a:pt x="193327" y="440344"/>
                      <a:pt x="191906" y="441197"/>
                    </a:cubicBezTo>
                    <a:lnTo>
                      <a:pt x="190178" y="441288"/>
                    </a:lnTo>
                    <a:lnTo>
                      <a:pt x="186504" y="441482"/>
                    </a:lnTo>
                    <a:cubicBezTo>
                      <a:pt x="188778" y="439206"/>
                      <a:pt x="191053" y="439206"/>
                      <a:pt x="193327" y="439206"/>
                    </a:cubicBezTo>
                    <a:cubicBezTo>
                      <a:pt x="191053" y="439206"/>
                      <a:pt x="191053" y="439206"/>
                      <a:pt x="188778" y="439206"/>
                    </a:cubicBezTo>
                    <a:cubicBezTo>
                      <a:pt x="195602" y="434655"/>
                      <a:pt x="204700" y="436931"/>
                      <a:pt x="209248" y="432379"/>
                    </a:cubicBezTo>
                    <a:cubicBezTo>
                      <a:pt x="206974" y="432379"/>
                      <a:pt x="204700" y="434655"/>
                      <a:pt x="204700" y="430104"/>
                    </a:cubicBezTo>
                    <a:cubicBezTo>
                      <a:pt x="202425" y="436931"/>
                      <a:pt x="195602" y="434655"/>
                      <a:pt x="193327" y="436931"/>
                    </a:cubicBezTo>
                    <a:cubicBezTo>
                      <a:pt x="193327" y="434655"/>
                      <a:pt x="197876" y="434655"/>
                      <a:pt x="200151" y="432379"/>
                    </a:cubicBezTo>
                    <a:cubicBezTo>
                      <a:pt x="200151" y="432379"/>
                      <a:pt x="200151" y="432379"/>
                      <a:pt x="197876" y="430104"/>
                    </a:cubicBezTo>
                    <a:cubicBezTo>
                      <a:pt x="197876" y="430104"/>
                      <a:pt x="197876" y="430104"/>
                      <a:pt x="200151" y="430104"/>
                    </a:cubicBezTo>
                    <a:cubicBezTo>
                      <a:pt x="197876" y="427828"/>
                      <a:pt x="195602" y="432379"/>
                      <a:pt x="193327" y="430104"/>
                    </a:cubicBezTo>
                    <a:cubicBezTo>
                      <a:pt x="197876" y="430104"/>
                      <a:pt x="191053" y="434655"/>
                      <a:pt x="188778" y="434655"/>
                    </a:cubicBezTo>
                    <a:cubicBezTo>
                      <a:pt x="191053" y="434655"/>
                      <a:pt x="191053" y="436931"/>
                      <a:pt x="188778" y="436931"/>
                    </a:cubicBezTo>
                    <a:cubicBezTo>
                      <a:pt x="188778" y="432379"/>
                      <a:pt x="181955" y="436931"/>
                      <a:pt x="177406" y="436931"/>
                    </a:cubicBezTo>
                    <a:lnTo>
                      <a:pt x="163760" y="436931"/>
                    </a:lnTo>
                    <a:lnTo>
                      <a:pt x="162338" y="437215"/>
                    </a:lnTo>
                    <a:lnTo>
                      <a:pt x="161485" y="436931"/>
                    </a:lnTo>
                    <a:lnTo>
                      <a:pt x="152387" y="436931"/>
                    </a:lnTo>
                    <a:cubicBezTo>
                      <a:pt x="154662" y="434655"/>
                      <a:pt x="161485" y="436931"/>
                      <a:pt x="163760" y="432379"/>
                    </a:cubicBezTo>
                    <a:cubicBezTo>
                      <a:pt x="161485" y="432379"/>
                      <a:pt x="159211" y="434655"/>
                      <a:pt x="156936" y="432379"/>
                    </a:cubicBezTo>
                    <a:cubicBezTo>
                      <a:pt x="159211" y="430104"/>
                      <a:pt x="161485" y="427828"/>
                      <a:pt x="163760" y="427828"/>
                    </a:cubicBezTo>
                    <a:cubicBezTo>
                      <a:pt x="159211" y="427828"/>
                      <a:pt x="156936" y="432379"/>
                      <a:pt x="154662" y="432379"/>
                    </a:cubicBezTo>
                    <a:cubicBezTo>
                      <a:pt x="154662" y="432379"/>
                      <a:pt x="154662" y="432379"/>
                      <a:pt x="156936" y="430104"/>
                    </a:cubicBezTo>
                    <a:cubicBezTo>
                      <a:pt x="154662" y="432379"/>
                      <a:pt x="150113" y="432379"/>
                      <a:pt x="152387" y="430104"/>
                    </a:cubicBezTo>
                    <a:cubicBezTo>
                      <a:pt x="152387" y="430104"/>
                      <a:pt x="154662" y="430104"/>
                      <a:pt x="156936" y="427828"/>
                    </a:cubicBezTo>
                    <a:cubicBezTo>
                      <a:pt x="152387" y="427828"/>
                      <a:pt x="147839" y="425552"/>
                      <a:pt x="145564" y="427828"/>
                    </a:cubicBezTo>
                    <a:lnTo>
                      <a:pt x="151340" y="424801"/>
                    </a:lnTo>
                    <a:lnTo>
                      <a:pt x="159211" y="423277"/>
                    </a:lnTo>
                    <a:cubicBezTo>
                      <a:pt x="156936" y="424414"/>
                      <a:pt x="154093" y="424414"/>
                      <a:pt x="151535" y="424699"/>
                    </a:cubicBezTo>
                    <a:lnTo>
                      <a:pt x="151340" y="424801"/>
                    </a:lnTo>
                    <a:lnTo>
                      <a:pt x="150397" y="424983"/>
                    </a:lnTo>
                    <a:cubicBezTo>
                      <a:pt x="147839" y="425552"/>
                      <a:pt x="145564" y="425552"/>
                      <a:pt x="143290" y="423277"/>
                    </a:cubicBezTo>
                    <a:cubicBezTo>
                      <a:pt x="145564" y="421001"/>
                      <a:pt x="150113" y="423277"/>
                      <a:pt x="154662" y="421001"/>
                    </a:cubicBezTo>
                    <a:cubicBezTo>
                      <a:pt x="152387" y="421001"/>
                      <a:pt x="150113" y="423277"/>
                      <a:pt x="147839" y="421001"/>
                    </a:cubicBezTo>
                    <a:cubicBezTo>
                      <a:pt x="147839" y="421001"/>
                      <a:pt x="150113" y="418725"/>
                      <a:pt x="152387" y="418725"/>
                    </a:cubicBezTo>
                    <a:cubicBezTo>
                      <a:pt x="150113" y="418725"/>
                      <a:pt x="147839" y="418725"/>
                      <a:pt x="147839" y="418725"/>
                    </a:cubicBezTo>
                    <a:cubicBezTo>
                      <a:pt x="147839" y="416449"/>
                      <a:pt x="152387" y="414174"/>
                      <a:pt x="154662" y="414174"/>
                    </a:cubicBezTo>
                    <a:cubicBezTo>
                      <a:pt x="150113" y="411898"/>
                      <a:pt x="147839" y="418725"/>
                      <a:pt x="143290" y="418725"/>
                    </a:cubicBezTo>
                    <a:cubicBezTo>
                      <a:pt x="143290" y="418725"/>
                      <a:pt x="143290" y="418725"/>
                      <a:pt x="145564" y="416449"/>
                    </a:cubicBezTo>
                    <a:cubicBezTo>
                      <a:pt x="141015" y="421001"/>
                      <a:pt x="145564" y="414174"/>
                      <a:pt x="147839" y="414174"/>
                    </a:cubicBezTo>
                    <a:cubicBezTo>
                      <a:pt x="150113" y="411898"/>
                      <a:pt x="152387" y="411898"/>
                      <a:pt x="154662" y="411898"/>
                    </a:cubicBezTo>
                    <a:cubicBezTo>
                      <a:pt x="152387" y="411898"/>
                      <a:pt x="152387" y="411898"/>
                      <a:pt x="152387" y="409622"/>
                    </a:cubicBezTo>
                    <a:cubicBezTo>
                      <a:pt x="150113" y="409622"/>
                      <a:pt x="150113" y="411898"/>
                      <a:pt x="147839" y="414174"/>
                    </a:cubicBezTo>
                    <a:cubicBezTo>
                      <a:pt x="145564" y="414174"/>
                      <a:pt x="143290" y="414174"/>
                      <a:pt x="141015" y="414174"/>
                    </a:cubicBezTo>
                    <a:cubicBezTo>
                      <a:pt x="143290" y="411898"/>
                      <a:pt x="143290" y="411898"/>
                      <a:pt x="141015" y="411898"/>
                    </a:cubicBezTo>
                    <a:cubicBezTo>
                      <a:pt x="143290" y="409622"/>
                      <a:pt x="145564" y="411898"/>
                      <a:pt x="147839" y="411898"/>
                    </a:cubicBezTo>
                    <a:cubicBezTo>
                      <a:pt x="145564" y="409622"/>
                      <a:pt x="145564" y="409622"/>
                      <a:pt x="143290" y="409622"/>
                    </a:cubicBezTo>
                    <a:cubicBezTo>
                      <a:pt x="143290" y="409622"/>
                      <a:pt x="145564" y="407347"/>
                      <a:pt x="147839" y="409622"/>
                    </a:cubicBezTo>
                    <a:cubicBezTo>
                      <a:pt x="145564" y="407347"/>
                      <a:pt x="131917" y="407347"/>
                      <a:pt x="134192" y="402795"/>
                    </a:cubicBezTo>
                    <a:cubicBezTo>
                      <a:pt x="136466" y="398244"/>
                      <a:pt x="141015" y="395968"/>
                      <a:pt x="145564" y="393693"/>
                    </a:cubicBezTo>
                    <a:cubicBezTo>
                      <a:pt x="143290" y="395968"/>
                      <a:pt x="141015" y="398244"/>
                      <a:pt x="136466" y="398244"/>
                    </a:cubicBezTo>
                    <a:cubicBezTo>
                      <a:pt x="138741" y="395968"/>
                      <a:pt x="141015" y="393693"/>
                      <a:pt x="143290" y="391417"/>
                    </a:cubicBezTo>
                    <a:cubicBezTo>
                      <a:pt x="141015" y="391417"/>
                      <a:pt x="138741" y="393693"/>
                      <a:pt x="136466" y="395968"/>
                    </a:cubicBezTo>
                    <a:cubicBezTo>
                      <a:pt x="138741" y="393693"/>
                      <a:pt x="138741" y="393693"/>
                      <a:pt x="141015" y="391417"/>
                    </a:cubicBezTo>
                    <a:cubicBezTo>
                      <a:pt x="138741" y="393693"/>
                      <a:pt x="134192" y="391417"/>
                      <a:pt x="136466" y="389141"/>
                    </a:cubicBezTo>
                    <a:cubicBezTo>
                      <a:pt x="136466" y="389141"/>
                      <a:pt x="143290" y="386866"/>
                      <a:pt x="143290" y="386866"/>
                    </a:cubicBezTo>
                    <a:cubicBezTo>
                      <a:pt x="141015" y="386866"/>
                      <a:pt x="138741" y="386866"/>
                      <a:pt x="136466" y="386866"/>
                    </a:cubicBezTo>
                    <a:lnTo>
                      <a:pt x="134540" y="387310"/>
                    </a:lnTo>
                    <a:lnTo>
                      <a:pt x="132770" y="387719"/>
                    </a:lnTo>
                    <a:cubicBezTo>
                      <a:pt x="131349" y="388003"/>
                      <a:pt x="130780" y="388003"/>
                      <a:pt x="134192" y="386866"/>
                    </a:cubicBezTo>
                    <a:cubicBezTo>
                      <a:pt x="131917" y="386866"/>
                      <a:pt x="127369" y="386866"/>
                      <a:pt x="129643" y="384590"/>
                    </a:cubicBezTo>
                    <a:lnTo>
                      <a:pt x="134192" y="383831"/>
                    </a:lnTo>
                    <a:lnTo>
                      <a:pt x="136466" y="384590"/>
                    </a:lnTo>
                    <a:cubicBezTo>
                      <a:pt x="138741" y="384590"/>
                      <a:pt x="141015" y="382314"/>
                      <a:pt x="143290" y="382314"/>
                    </a:cubicBezTo>
                    <a:lnTo>
                      <a:pt x="134192" y="383831"/>
                    </a:lnTo>
                    <a:lnTo>
                      <a:pt x="129643" y="382314"/>
                    </a:lnTo>
                    <a:cubicBezTo>
                      <a:pt x="131917" y="380039"/>
                      <a:pt x="134192" y="380039"/>
                      <a:pt x="138741" y="380039"/>
                    </a:cubicBezTo>
                    <a:cubicBezTo>
                      <a:pt x="136466" y="380039"/>
                      <a:pt x="134192" y="380039"/>
                      <a:pt x="131917" y="380039"/>
                    </a:cubicBezTo>
                    <a:lnTo>
                      <a:pt x="136309" y="377292"/>
                    </a:lnTo>
                    <a:lnTo>
                      <a:pt x="141015" y="377763"/>
                    </a:lnTo>
                    <a:cubicBezTo>
                      <a:pt x="139878" y="377763"/>
                      <a:pt x="138172" y="377194"/>
                      <a:pt x="136466" y="377194"/>
                    </a:cubicBezTo>
                    <a:lnTo>
                      <a:pt x="136309" y="377292"/>
                    </a:lnTo>
                    <a:lnTo>
                      <a:pt x="135329" y="377194"/>
                    </a:lnTo>
                    <a:cubicBezTo>
                      <a:pt x="133055" y="377194"/>
                      <a:pt x="130780" y="377763"/>
                      <a:pt x="129643" y="380039"/>
                    </a:cubicBezTo>
                    <a:cubicBezTo>
                      <a:pt x="129643" y="377763"/>
                      <a:pt x="125094" y="377763"/>
                      <a:pt x="127369" y="375487"/>
                    </a:cubicBezTo>
                    <a:cubicBezTo>
                      <a:pt x="122820" y="377763"/>
                      <a:pt x="131917" y="375487"/>
                      <a:pt x="131917" y="373212"/>
                    </a:cubicBezTo>
                    <a:cubicBezTo>
                      <a:pt x="134192" y="373212"/>
                      <a:pt x="136466" y="373212"/>
                      <a:pt x="138741" y="370936"/>
                    </a:cubicBezTo>
                    <a:cubicBezTo>
                      <a:pt x="136466" y="373212"/>
                      <a:pt x="131917" y="373212"/>
                      <a:pt x="129643" y="373212"/>
                    </a:cubicBezTo>
                    <a:cubicBezTo>
                      <a:pt x="131917" y="370936"/>
                      <a:pt x="131917" y="368660"/>
                      <a:pt x="129643" y="368660"/>
                    </a:cubicBezTo>
                    <a:lnTo>
                      <a:pt x="138401" y="367200"/>
                    </a:lnTo>
                    <a:lnTo>
                      <a:pt x="141868" y="367522"/>
                    </a:lnTo>
                    <a:lnTo>
                      <a:pt x="143972" y="366385"/>
                    </a:lnTo>
                    <a:lnTo>
                      <a:pt x="147839" y="366385"/>
                    </a:lnTo>
                    <a:cubicBezTo>
                      <a:pt x="150113" y="364109"/>
                      <a:pt x="150113" y="364109"/>
                      <a:pt x="152387" y="361833"/>
                    </a:cubicBezTo>
                    <a:lnTo>
                      <a:pt x="143972" y="366385"/>
                    </a:lnTo>
                    <a:lnTo>
                      <a:pt x="143290" y="366385"/>
                    </a:lnTo>
                    <a:lnTo>
                      <a:pt x="138401" y="367200"/>
                    </a:lnTo>
                    <a:lnTo>
                      <a:pt x="129643" y="366385"/>
                    </a:lnTo>
                    <a:cubicBezTo>
                      <a:pt x="134192" y="364109"/>
                      <a:pt x="138741" y="368660"/>
                      <a:pt x="143290" y="364109"/>
                    </a:cubicBezTo>
                    <a:lnTo>
                      <a:pt x="143021" y="362229"/>
                    </a:lnTo>
                    <a:lnTo>
                      <a:pt x="136922" y="365523"/>
                    </a:lnTo>
                    <a:cubicBezTo>
                      <a:pt x="139303" y="363380"/>
                      <a:pt x="144065" y="354807"/>
                      <a:pt x="148828" y="359093"/>
                    </a:cubicBezTo>
                    <a:lnTo>
                      <a:pt x="143255" y="362103"/>
                    </a:lnTo>
                    <a:lnTo>
                      <a:pt x="147839" y="361833"/>
                    </a:lnTo>
                    <a:cubicBezTo>
                      <a:pt x="150113" y="361833"/>
                      <a:pt x="154662" y="361833"/>
                      <a:pt x="156936" y="359557"/>
                    </a:cubicBezTo>
                    <a:cubicBezTo>
                      <a:pt x="159211" y="361833"/>
                      <a:pt x="161485" y="361833"/>
                      <a:pt x="163760" y="361833"/>
                    </a:cubicBezTo>
                    <a:cubicBezTo>
                      <a:pt x="166034" y="359557"/>
                      <a:pt x="154662" y="359557"/>
                      <a:pt x="161485" y="355006"/>
                    </a:cubicBezTo>
                    <a:cubicBezTo>
                      <a:pt x="156936" y="357282"/>
                      <a:pt x="163760" y="352730"/>
                      <a:pt x="163760" y="350455"/>
                    </a:cubicBezTo>
                    <a:cubicBezTo>
                      <a:pt x="161485" y="352730"/>
                      <a:pt x="154662" y="355006"/>
                      <a:pt x="154662" y="350455"/>
                    </a:cubicBezTo>
                    <a:cubicBezTo>
                      <a:pt x="152387" y="348179"/>
                      <a:pt x="152387" y="343628"/>
                      <a:pt x="156936" y="343628"/>
                    </a:cubicBezTo>
                    <a:cubicBezTo>
                      <a:pt x="154662" y="345903"/>
                      <a:pt x="152387" y="345903"/>
                      <a:pt x="152387" y="343628"/>
                    </a:cubicBezTo>
                    <a:cubicBezTo>
                      <a:pt x="152387" y="343628"/>
                      <a:pt x="150113" y="348179"/>
                      <a:pt x="152387" y="348179"/>
                    </a:cubicBezTo>
                    <a:cubicBezTo>
                      <a:pt x="154662" y="348179"/>
                      <a:pt x="152387" y="348179"/>
                      <a:pt x="152387" y="350455"/>
                    </a:cubicBezTo>
                    <a:cubicBezTo>
                      <a:pt x="152387" y="355006"/>
                      <a:pt x="145564" y="357282"/>
                      <a:pt x="141015" y="357282"/>
                    </a:cubicBezTo>
                    <a:cubicBezTo>
                      <a:pt x="143290" y="355006"/>
                      <a:pt x="143290" y="355006"/>
                      <a:pt x="145564" y="352730"/>
                    </a:cubicBezTo>
                    <a:cubicBezTo>
                      <a:pt x="136466" y="350455"/>
                      <a:pt x="131917" y="366385"/>
                      <a:pt x="125094" y="366385"/>
                    </a:cubicBezTo>
                    <a:cubicBezTo>
                      <a:pt x="125094" y="364109"/>
                      <a:pt x="127369" y="355006"/>
                      <a:pt x="127369" y="355006"/>
                    </a:cubicBezTo>
                    <a:cubicBezTo>
                      <a:pt x="131917" y="352730"/>
                      <a:pt x="138741" y="350455"/>
                      <a:pt x="143290" y="348179"/>
                    </a:cubicBezTo>
                    <a:cubicBezTo>
                      <a:pt x="141015" y="348179"/>
                      <a:pt x="138741" y="350455"/>
                      <a:pt x="136466" y="350455"/>
                    </a:cubicBezTo>
                    <a:cubicBezTo>
                      <a:pt x="136466" y="350455"/>
                      <a:pt x="136466" y="350455"/>
                      <a:pt x="138741" y="348179"/>
                    </a:cubicBezTo>
                    <a:cubicBezTo>
                      <a:pt x="136466" y="345903"/>
                      <a:pt x="131917" y="352730"/>
                      <a:pt x="129643" y="352730"/>
                    </a:cubicBezTo>
                    <a:cubicBezTo>
                      <a:pt x="134192" y="350455"/>
                      <a:pt x="127369" y="352730"/>
                      <a:pt x="129643" y="350455"/>
                    </a:cubicBezTo>
                    <a:cubicBezTo>
                      <a:pt x="129643" y="350455"/>
                      <a:pt x="129643" y="350455"/>
                      <a:pt x="131917" y="350455"/>
                    </a:cubicBezTo>
                    <a:cubicBezTo>
                      <a:pt x="129643" y="345903"/>
                      <a:pt x="131917" y="343628"/>
                      <a:pt x="134192" y="341352"/>
                    </a:cubicBezTo>
                    <a:cubicBezTo>
                      <a:pt x="134192" y="343628"/>
                      <a:pt x="131917" y="343628"/>
                      <a:pt x="131917" y="343628"/>
                    </a:cubicBezTo>
                    <a:cubicBezTo>
                      <a:pt x="131917" y="343628"/>
                      <a:pt x="131917" y="343628"/>
                      <a:pt x="131917" y="341352"/>
                    </a:cubicBezTo>
                    <a:cubicBezTo>
                      <a:pt x="129643" y="341352"/>
                      <a:pt x="127369" y="343628"/>
                      <a:pt x="125094" y="343628"/>
                    </a:cubicBezTo>
                    <a:cubicBezTo>
                      <a:pt x="127369" y="343628"/>
                      <a:pt x="127369" y="341352"/>
                      <a:pt x="129643" y="341352"/>
                    </a:cubicBezTo>
                    <a:cubicBezTo>
                      <a:pt x="131917" y="339076"/>
                      <a:pt x="131917" y="339076"/>
                      <a:pt x="134192" y="339076"/>
                    </a:cubicBezTo>
                    <a:cubicBezTo>
                      <a:pt x="136466" y="336801"/>
                      <a:pt x="141015" y="336801"/>
                      <a:pt x="143290" y="334525"/>
                    </a:cubicBezTo>
                    <a:cubicBezTo>
                      <a:pt x="150113" y="329974"/>
                      <a:pt x="156936" y="334525"/>
                      <a:pt x="163760" y="334525"/>
                    </a:cubicBezTo>
                    <a:cubicBezTo>
                      <a:pt x="161485" y="334525"/>
                      <a:pt x="161485" y="334525"/>
                      <a:pt x="161485" y="332249"/>
                    </a:cubicBezTo>
                    <a:cubicBezTo>
                      <a:pt x="156936" y="332249"/>
                      <a:pt x="154662" y="329974"/>
                      <a:pt x="150113" y="332249"/>
                    </a:cubicBezTo>
                    <a:cubicBezTo>
                      <a:pt x="147839" y="332249"/>
                      <a:pt x="143290" y="334525"/>
                      <a:pt x="141015" y="334525"/>
                    </a:cubicBezTo>
                    <a:cubicBezTo>
                      <a:pt x="138741" y="336801"/>
                      <a:pt x="136466" y="339076"/>
                      <a:pt x="131917" y="339076"/>
                    </a:cubicBezTo>
                    <a:cubicBezTo>
                      <a:pt x="131917" y="339076"/>
                      <a:pt x="129643" y="339076"/>
                      <a:pt x="129643" y="339076"/>
                    </a:cubicBezTo>
                    <a:cubicBezTo>
                      <a:pt x="131917" y="336801"/>
                      <a:pt x="129643" y="336801"/>
                      <a:pt x="127369" y="336801"/>
                    </a:cubicBezTo>
                    <a:cubicBezTo>
                      <a:pt x="129643" y="336801"/>
                      <a:pt x="129643" y="334525"/>
                      <a:pt x="131917" y="334525"/>
                    </a:cubicBezTo>
                    <a:cubicBezTo>
                      <a:pt x="129643" y="334525"/>
                      <a:pt x="127369" y="336801"/>
                      <a:pt x="125094" y="336801"/>
                    </a:cubicBezTo>
                    <a:cubicBezTo>
                      <a:pt x="127369" y="336801"/>
                      <a:pt x="131917" y="334525"/>
                      <a:pt x="127369" y="334525"/>
                    </a:cubicBezTo>
                    <a:cubicBezTo>
                      <a:pt x="129643" y="334525"/>
                      <a:pt x="129643" y="332249"/>
                      <a:pt x="129643" y="332249"/>
                    </a:cubicBezTo>
                    <a:lnTo>
                      <a:pt x="125094" y="332249"/>
                    </a:lnTo>
                    <a:cubicBezTo>
                      <a:pt x="125094" y="332249"/>
                      <a:pt x="122820" y="332249"/>
                      <a:pt x="122820" y="332249"/>
                    </a:cubicBezTo>
                    <a:cubicBezTo>
                      <a:pt x="125094" y="329974"/>
                      <a:pt x="127369" y="329974"/>
                      <a:pt x="131917" y="329974"/>
                    </a:cubicBezTo>
                    <a:cubicBezTo>
                      <a:pt x="131917" y="329974"/>
                      <a:pt x="131917" y="329974"/>
                      <a:pt x="136466" y="329974"/>
                    </a:cubicBezTo>
                    <a:cubicBezTo>
                      <a:pt x="138741" y="327698"/>
                      <a:pt x="141015" y="327698"/>
                      <a:pt x="143290" y="327698"/>
                    </a:cubicBezTo>
                    <a:cubicBezTo>
                      <a:pt x="145564" y="327698"/>
                      <a:pt x="147839" y="329974"/>
                      <a:pt x="147839" y="325422"/>
                    </a:cubicBezTo>
                    <a:cubicBezTo>
                      <a:pt x="145564" y="325422"/>
                      <a:pt x="141015" y="327698"/>
                      <a:pt x="138741" y="327698"/>
                    </a:cubicBezTo>
                    <a:cubicBezTo>
                      <a:pt x="136466" y="329974"/>
                      <a:pt x="138741" y="327698"/>
                      <a:pt x="134192" y="327698"/>
                    </a:cubicBezTo>
                    <a:cubicBezTo>
                      <a:pt x="131917" y="327698"/>
                      <a:pt x="125094" y="332249"/>
                      <a:pt x="122820" y="327698"/>
                    </a:cubicBezTo>
                    <a:cubicBezTo>
                      <a:pt x="125094" y="327698"/>
                      <a:pt x="127369" y="327698"/>
                      <a:pt x="129643" y="325422"/>
                    </a:cubicBezTo>
                    <a:cubicBezTo>
                      <a:pt x="125094" y="327698"/>
                      <a:pt x="122820" y="329974"/>
                      <a:pt x="120545" y="327698"/>
                    </a:cubicBezTo>
                    <a:cubicBezTo>
                      <a:pt x="122820" y="327698"/>
                      <a:pt x="122820" y="327698"/>
                      <a:pt x="125094" y="325422"/>
                    </a:cubicBezTo>
                    <a:cubicBezTo>
                      <a:pt x="122820" y="325422"/>
                      <a:pt x="122820" y="325422"/>
                      <a:pt x="120545" y="325422"/>
                    </a:cubicBezTo>
                    <a:cubicBezTo>
                      <a:pt x="125094" y="323147"/>
                      <a:pt x="131917" y="323147"/>
                      <a:pt x="134192" y="320871"/>
                    </a:cubicBezTo>
                    <a:cubicBezTo>
                      <a:pt x="138741" y="316320"/>
                      <a:pt x="145564" y="318595"/>
                      <a:pt x="150113" y="316320"/>
                    </a:cubicBezTo>
                    <a:cubicBezTo>
                      <a:pt x="152387" y="311768"/>
                      <a:pt x="159211" y="311768"/>
                      <a:pt x="163760" y="309493"/>
                    </a:cubicBezTo>
                    <a:cubicBezTo>
                      <a:pt x="168308" y="307217"/>
                      <a:pt x="172857" y="309493"/>
                      <a:pt x="177406" y="309493"/>
                    </a:cubicBezTo>
                    <a:lnTo>
                      <a:pt x="171558" y="307542"/>
                    </a:lnTo>
                    <a:lnTo>
                      <a:pt x="172858" y="307217"/>
                    </a:lnTo>
                    <a:lnTo>
                      <a:pt x="179681" y="307217"/>
                    </a:lnTo>
                    <a:cubicBezTo>
                      <a:pt x="181955" y="307217"/>
                      <a:pt x="181955" y="307217"/>
                      <a:pt x="184230" y="304941"/>
                    </a:cubicBezTo>
                    <a:lnTo>
                      <a:pt x="181955" y="304941"/>
                    </a:lnTo>
                    <a:lnTo>
                      <a:pt x="172858" y="307217"/>
                    </a:lnTo>
                    <a:lnTo>
                      <a:pt x="170583" y="307217"/>
                    </a:lnTo>
                    <a:lnTo>
                      <a:pt x="171558" y="307542"/>
                    </a:lnTo>
                    <a:lnTo>
                      <a:pt x="163760" y="309493"/>
                    </a:lnTo>
                    <a:cubicBezTo>
                      <a:pt x="159211" y="309493"/>
                      <a:pt x="152387" y="311768"/>
                      <a:pt x="147839" y="314044"/>
                    </a:cubicBezTo>
                    <a:lnTo>
                      <a:pt x="143290" y="316320"/>
                    </a:lnTo>
                    <a:lnTo>
                      <a:pt x="127369" y="314044"/>
                    </a:lnTo>
                    <a:cubicBezTo>
                      <a:pt x="131917" y="311768"/>
                      <a:pt x="136466" y="314044"/>
                      <a:pt x="141015" y="311768"/>
                    </a:cubicBezTo>
                    <a:cubicBezTo>
                      <a:pt x="138741" y="311768"/>
                      <a:pt x="136466" y="311768"/>
                      <a:pt x="134192" y="311768"/>
                    </a:cubicBezTo>
                    <a:cubicBezTo>
                      <a:pt x="136466" y="311768"/>
                      <a:pt x="138741" y="311768"/>
                      <a:pt x="141015" y="309493"/>
                    </a:cubicBezTo>
                    <a:lnTo>
                      <a:pt x="143290" y="309493"/>
                    </a:lnTo>
                    <a:cubicBezTo>
                      <a:pt x="145564" y="309493"/>
                      <a:pt x="145564" y="309493"/>
                      <a:pt x="147839" y="309493"/>
                    </a:cubicBezTo>
                    <a:cubicBezTo>
                      <a:pt x="145564" y="309493"/>
                      <a:pt x="145564" y="307217"/>
                      <a:pt x="147839" y="307217"/>
                    </a:cubicBezTo>
                    <a:cubicBezTo>
                      <a:pt x="145564" y="304941"/>
                      <a:pt x="131917" y="309493"/>
                      <a:pt x="127369" y="309493"/>
                    </a:cubicBezTo>
                    <a:cubicBezTo>
                      <a:pt x="131917" y="307217"/>
                      <a:pt x="136466" y="307217"/>
                      <a:pt x="138741" y="307217"/>
                    </a:cubicBezTo>
                    <a:cubicBezTo>
                      <a:pt x="134192" y="307217"/>
                      <a:pt x="129643" y="307217"/>
                      <a:pt x="125094" y="307217"/>
                    </a:cubicBezTo>
                    <a:cubicBezTo>
                      <a:pt x="127369" y="307217"/>
                      <a:pt x="129643" y="304941"/>
                      <a:pt x="134192" y="304941"/>
                    </a:cubicBezTo>
                    <a:cubicBezTo>
                      <a:pt x="131917" y="304941"/>
                      <a:pt x="129643" y="304941"/>
                      <a:pt x="127369" y="304941"/>
                    </a:cubicBezTo>
                    <a:cubicBezTo>
                      <a:pt x="129643" y="304941"/>
                      <a:pt x="131917" y="304941"/>
                      <a:pt x="134192" y="302665"/>
                    </a:cubicBezTo>
                    <a:cubicBezTo>
                      <a:pt x="129643" y="304941"/>
                      <a:pt x="127369" y="304941"/>
                      <a:pt x="125094" y="302665"/>
                    </a:cubicBezTo>
                    <a:cubicBezTo>
                      <a:pt x="127369" y="300390"/>
                      <a:pt x="129643" y="302665"/>
                      <a:pt x="134192" y="300390"/>
                    </a:cubicBezTo>
                    <a:lnTo>
                      <a:pt x="136466" y="300390"/>
                    </a:lnTo>
                    <a:cubicBezTo>
                      <a:pt x="138741" y="300390"/>
                      <a:pt x="141015" y="300390"/>
                      <a:pt x="145564" y="300390"/>
                    </a:cubicBezTo>
                    <a:cubicBezTo>
                      <a:pt x="150113" y="300390"/>
                      <a:pt x="154662" y="298114"/>
                      <a:pt x="159211" y="298114"/>
                    </a:cubicBezTo>
                    <a:cubicBezTo>
                      <a:pt x="166034" y="298114"/>
                      <a:pt x="163760" y="300390"/>
                      <a:pt x="168308" y="302665"/>
                    </a:cubicBezTo>
                    <a:cubicBezTo>
                      <a:pt x="170583" y="304941"/>
                      <a:pt x="177406" y="302665"/>
                      <a:pt x="181955" y="302665"/>
                    </a:cubicBezTo>
                    <a:cubicBezTo>
                      <a:pt x="175132" y="300390"/>
                      <a:pt x="168308" y="304941"/>
                      <a:pt x="166034" y="298114"/>
                    </a:cubicBezTo>
                    <a:lnTo>
                      <a:pt x="159211" y="298114"/>
                    </a:lnTo>
                    <a:lnTo>
                      <a:pt x="145564" y="298114"/>
                    </a:lnTo>
                    <a:cubicBezTo>
                      <a:pt x="143290" y="300390"/>
                      <a:pt x="138741" y="298114"/>
                      <a:pt x="136466" y="298114"/>
                    </a:cubicBezTo>
                    <a:cubicBezTo>
                      <a:pt x="134192" y="300390"/>
                      <a:pt x="129643" y="300390"/>
                      <a:pt x="127369" y="300390"/>
                    </a:cubicBezTo>
                    <a:lnTo>
                      <a:pt x="134950" y="294700"/>
                    </a:lnTo>
                    <a:lnTo>
                      <a:pt x="137982" y="293563"/>
                    </a:lnTo>
                    <a:lnTo>
                      <a:pt x="143290" y="293563"/>
                    </a:lnTo>
                    <a:cubicBezTo>
                      <a:pt x="143290" y="292425"/>
                      <a:pt x="144995" y="291856"/>
                      <a:pt x="145848" y="291572"/>
                    </a:cubicBezTo>
                    <a:lnTo>
                      <a:pt x="143875" y="291352"/>
                    </a:lnTo>
                    <a:lnTo>
                      <a:pt x="144654" y="291059"/>
                    </a:lnTo>
                    <a:lnTo>
                      <a:pt x="150113" y="290149"/>
                    </a:lnTo>
                    <a:cubicBezTo>
                      <a:pt x="152387" y="289580"/>
                      <a:pt x="153525" y="289011"/>
                      <a:pt x="150113" y="289011"/>
                    </a:cubicBezTo>
                    <a:lnTo>
                      <a:pt x="167171" y="290718"/>
                    </a:lnTo>
                    <a:lnTo>
                      <a:pt x="172857" y="291287"/>
                    </a:lnTo>
                    <a:cubicBezTo>
                      <a:pt x="177406" y="293563"/>
                      <a:pt x="181955" y="298114"/>
                      <a:pt x="188778" y="295838"/>
                    </a:cubicBezTo>
                    <a:cubicBezTo>
                      <a:pt x="186504" y="295838"/>
                      <a:pt x="181955" y="295838"/>
                      <a:pt x="179681" y="293563"/>
                    </a:cubicBezTo>
                    <a:cubicBezTo>
                      <a:pt x="181955" y="291287"/>
                      <a:pt x="186504" y="291287"/>
                      <a:pt x="188778" y="291287"/>
                    </a:cubicBezTo>
                    <a:cubicBezTo>
                      <a:pt x="184230" y="291287"/>
                      <a:pt x="177406" y="293563"/>
                      <a:pt x="172857" y="291287"/>
                    </a:cubicBezTo>
                    <a:cubicBezTo>
                      <a:pt x="179681" y="291287"/>
                      <a:pt x="184230" y="289011"/>
                      <a:pt x="191053" y="289011"/>
                    </a:cubicBezTo>
                    <a:cubicBezTo>
                      <a:pt x="188778" y="286736"/>
                      <a:pt x="186504" y="286736"/>
                      <a:pt x="184230" y="286736"/>
                    </a:cubicBezTo>
                    <a:cubicBezTo>
                      <a:pt x="184230" y="286736"/>
                      <a:pt x="177406" y="289011"/>
                      <a:pt x="184230" y="289011"/>
                    </a:cubicBezTo>
                    <a:cubicBezTo>
                      <a:pt x="181955" y="289011"/>
                      <a:pt x="175132" y="291287"/>
                      <a:pt x="175132" y="286736"/>
                    </a:cubicBezTo>
                    <a:lnTo>
                      <a:pt x="172857" y="286736"/>
                    </a:lnTo>
                    <a:cubicBezTo>
                      <a:pt x="172857" y="286736"/>
                      <a:pt x="172857" y="286736"/>
                      <a:pt x="172857" y="289011"/>
                    </a:cubicBezTo>
                    <a:lnTo>
                      <a:pt x="167171" y="290718"/>
                    </a:lnTo>
                    <a:lnTo>
                      <a:pt x="168308" y="289011"/>
                    </a:lnTo>
                    <a:cubicBezTo>
                      <a:pt x="163760" y="291287"/>
                      <a:pt x="161485" y="291287"/>
                      <a:pt x="159211" y="289011"/>
                    </a:cubicBezTo>
                    <a:cubicBezTo>
                      <a:pt x="163760" y="286736"/>
                      <a:pt x="168308" y="286736"/>
                      <a:pt x="170583" y="284460"/>
                    </a:cubicBezTo>
                    <a:lnTo>
                      <a:pt x="175132" y="284460"/>
                    </a:lnTo>
                    <a:cubicBezTo>
                      <a:pt x="181955" y="282184"/>
                      <a:pt x="186504" y="286736"/>
                      <a:pt x="193327" y="286736"/>
                    </a:cubicBezTo>
                    <a:cubicBezTo>
                      <a:pt x="188778" y="286736"/>
                      <a:pt x="181955" y="282184"/>
                      <a:pt x="177406" y="282184"/>
                    </a:cubicBezTo>
                    <a:cubicBezTo>
                      <a:pt x="179681" y="279909"/>
                      <a:pt x="181955" y="279909"/>
                      <a:pt x="181955" y="282184"/>
                    </a:cubicBezTo>
                    <a:cubicBezTo>
                      <a:pt x="181955" y="279909"/>
                      <a:pt x="179681" y="279909"/>
                      <a:pt x="179681" y="279909"/>
                    </a:cubicBezTo>
                    <a:cubicBezTo>
                      <a:pt x="181955" y="279909"/>
                      <a:pt x="181955" y="277633"/>
                      <a:pt x="181955" y="277633"/>
                    </a:cubicBezTo>
                    <a:cubicBezTo>
                      <a:pt x="184230" y="275357"/>
                      <a:pt x="186504" y="275357"/>
                      <a:pt x="188778" y="275357"/>
                    </a:cubicBezTo>
                    <a:cubicBezTo>
                      <a:pt x="184230" y="275357"/>
                      <a:pt x="179681" y="277633"/>
                      <a:pt x="175132" y="275357"/>
                    </a:cubicBezTo>
                    <a:cubicBezTo>
                      <a:pt x="177406" y="277633"/>
                      <a:pt x="179681" y="277633"/>
                      <a:pt x="179681" y="277633"/>
                    </a:cubicBezTo>
                    <a:cubicBezTo>
                      <a:pt x="177406" y="279909"/>
                      <a:pt x="170583" y="279909"/>
                      <a:pt x="168308" y="279909"/>
                    </a:cubicBezTo>
                    <a:cubicBezTo>
                      <a:pt x="163760" y="279909"/>
                      <a:pt x="156936" y="277633"/>
                      <a:pt x="154662" y="279909"/>
                    </a:cubicBezTo>
                    <a:cubicBezTo>
                      <a:pt x="156936" y="279909"/>
                      <a:pt x="156936" y="277633"/>
                      <a:pt x="159211" y="277633"/>
                    </a:cubicBezTo>
                    <a:cubicBezTo>
                      <a:pt x="154662" y="277633"/>
                      <a:pt x="152387" y="279909"/>
                      <a:pt x="147839" y="279909"/>
                    </a:cubicBezTo>
                    <a:cubicBezTo>
                      <a:pt x="152387" y="277633"/>
                      <a:pt x="154662" y="277633"/>
                      <a:pt x="156936" y="277633"/>
                    </a:cubicBezTo>
                    <a:cubicBezTo>
                      <a:pt x="159211" y="277633"/>
                      <a:pt x="166034" y="275357"/>
                      <a:pt x="161485" y="275357"/>
                    </a:cubicBezTo>
                    <a:cubicBezTo>
                      <a:pt x="163760" y="273082"/>
                      <a:pt x="168308" y="273082"/>
                      <a:pt x="170583" y="273082"/>
                    </a:cubicBezTo>
                    <a:cubicBezTo>
                      <a:pt x="172857" y="273082"/>
                      <a:pt x="177406" y="273082"/>
                      <a:pt x="179681" y="273082"/>
                    </a:cubicBezTo>
                    <a:cubicBezTo>
                      <a:pt x="184230" y="273082"/>
                      <a:pt x="186504" y="270806"/>
                      <a:pt x="188778" y="273082"/>
                    </a:cubicBezTo>
                    <a:cubicBezTo>
                      <a:pt x="188778" y="268530"/>
                      <a:pt x="191053" y="268530"/>
                      <a:pt x="193327" y="268530"/>
                    </a:cubicBezTo>
                    <a:cubicBezTo>
                      <a:pt x="191053" y="268530"/>
                      <a:pt x="188778" y="270806"/>
                      <a:pt x="184230" y="268530"/>
                    </a:cubicBezTo>
                    <a:cubicBezTo>
                      <a:pt x="186504" y="266255"/>
                      <a:pt x="188778" y="268530"/>
                      <a:pt x="191053" y="266255"/>
                    </a:cubicBezTo>
                    <a:cubicBezTo>
                      <a:pt x="191053" y="263979"/>
                      <a:pt x="193327" y="261703"/>
                      <a:pt x="195602" y="261703"/>
                    </a:cubicBezTo>
                    <a:cubicBezTo>
                      <a:pt x="195602" y="261703"/>
                      <a:pt x="195602" y="261703"/>
                      <a:pt x="193327" y="263979"/>
                    </a:cubicBezTo>
                    <a:cubicBezTo>
                      <a:pt x="195602" y="263979"/>
                      <a:pt x="200151" y="261703"/>
                      <a:pt x="200151" y="266255"/>
                    </a:cubicBezTo>
                    <a:cubicBezTo>
                      <a:pt x="202425" y="263979"/>
                      <a:pt x="202425" y="263979"/>
                      <a:pt x="204700" y="263979"/>
                    </a:cubicBezTo>
                    <a:cubicBezTo>
                      <a:pt x="202425" y="263979"/>
                      <a:pt x="202425" y="263979"/>
                      <a:pt x="200151" y="261703"/>
                    </a:cubicBezTo>
                    <a:cubicBezTo>
                      <a:pt x="202425" y="261703"/>
                      <a:pt x="204700" y="261703"/>
                      <a:pt x="206974" y="261703"/>
                    </a:cubicBezTo>
                    <a:cubicBezTo>
                      <a:pt x="204700" y="261703"/>
                      <a:pt x="204700" y="257152"/>
                      <a:pt x="202425" y="257152"/>
                    </a:cubicBezTo>
                    <a:cubicBezTo>
                      <a:pt x="200151" y="257152"/>
                      <a:pt x="197876" y="261703"/>
                      <a:pt x="193327" y="259428"/>
                    </a:cubicBezTo>
                    <a:cubicBezTo>
                      <a:pt x="197876" y="257152"/>
                      <a:pt x="202425" y="252601"/>
                      <a:pt x="209248" y="254876"/>
                    </a:cubicBezTo>
                    <a:cubicBezTo>
                      <a:pt x="206974" y="252601"/>
                      <a:pt x="202425" y="254876"/>
                      <a:pt x="200151" y="254876"/>
                    </a:cubicBezTo>
                    <a:cubicBezTo>
                      <a:pt x="200151" y="250325"/>
                      <a:pt x="204700" y="250325"/>
                      <a:pt x="206974" y="252601"/>
                    </a:cubicBezTo>
                    <a:cubicBezTo>
                      <a:pt x="206974" y="250325"/>
                      <a:pt x="204700" y="250325"/>
                      <a:pt x="204700" y="250325"/>
                    </a:cubicBezTo>
                    <a:cubicBezTo>
                      <a:pt x="206974" y="248049"/>
                      <a:pt x="209248" y="248049"/>
                      <a:pt x="211523" y="248049"/>
                    </a:cubicBezTo>
                    <a:cubicBezTo>
                      <a:pt x="213797" y="248049"/>
                      <a:pt x="211523" y="245773"/>
                      <a:pt x="209248" y="245773"/>
                    </a:cubicBezTo>
                    <a:cubicBezTo>
                      <a:pt x="211523" y="243498"/>
                      <a:pt x="213797" y="243498"/>
                      <a:pt x="216072" y="243498"/>
                    </a:cubicBezTo>
                    <a:lnTo>
                      <a:pt x="202425" y="243498"/>
                    </a:lnTo>
                    <a:cubicBezTo>
                      <a:pt x="202425" y="243498"/>
                      <a:pt x="200151" y="243498"/>
                      <a:pt x="197876" y="243498"/>
                    </a:cubicBezTo>
                    <a:lnTo>
                      <a:pt x="195602" y="243498"/>
                    </a:lnTo>
                    <a:cubicBezTo>
                      <a:pt x="195602" y="243498"/>
                      <a:pt x="195602" y="243498"/>
                      <a:pt x="193327" y="243498"/>
                    </a:cubicBezTo>
                    <a:cubicBezTo>
                      <a:pt x="186504" y="243498"/>
                      <a:pt x="184230" y="243498"/>
                      <a:pt x="179681" y="238946"/>
                    </a:cubicBezTo>
                    <a:cubicBezTo>
                      <a:pt x="175132" y="236671"/>
                      <a:pt x="170583" y="236671"/>
                      <a:pt x="163760" y="236671"/>
                    </a:cubicBezTo>
                    <a:cubicBezTo>
                      <a:pt x="161485" y="234395"/>
                      <a:pt x="159211" y="232119"/>
                      <a:pt x="154662" y="229844"/>
                    </a:cubicBezTo>
                    <a:cubicBezTo>
                      <a:pt x="159211" y="227568"/>
                      <a:pt x="166034" y="227568"/>
                      <a:pt x="172857" y="227568"/>
                    </a:cubicBezTo>
                    <a:cubicBezTo>
                      <a:pt x="177406" y="229844"/>
                      <a:pt x="184230" y="227568"/>
                      <a:pt x="188778" y="229844"/>
                    </a:cubicBezTo>
                    <a:cubicBezTo>
                      <a:pt x="195602" y="232119"/>
                      <a:pt x="200151" y="234395"/>
                      <a:pt x="204700" y="236671"/>
                    </a:cubicBezTo>
                    <a:cubicBezTo>
                      <a:pt x="206974" y="236671"/>
                      <a:pt x="211523" y="238946"/>
                      <a:pt x="213797" y="236671"/>
                    </a:cubicBezTo>
                    <a:cubicBezTo>
                      <a:pt x="213797" y="234395"/>
                      <a:pt x="213797" y="234395"/>
                      <a:pt x="216072" y="232119"/>
                    </a:cubicBezTo>
                    <a:cubicBezTo>
                      <a:pt x="213797" y="234395"/>
                      <a:pt x="209248" y="236671"/>
                      <a:pt x="206974" y="234395"/>
                    </a:cubicBezTo>
                    <a:cubicBezTo>
                      <a:pt x="211523" y="234395"/>
                      <a:pt x="206974" y="232119"/>
                      <a:pt x="204700" y="232119"/>
                    </a:cubicBezTo>
                    <a:cubicBezTo>
                      <a:pt x="206974" y="232119"/>
                      <a:pt x="211523" y="232119"/>
                      <a:pt x="213797" y="232119"/>
                    </a:cubicBezTo>
                    <a:cubicBezTo>
                      <a:pt x="213797" y="232119"/>
                      <a:pt x="213797" y="232119"/>
                      <a:pt x="211523" y="229844"/>
                    </a:cubicBezTo>
                    <a:cubicBezTo>
                      <a:pt x="213797" y="229844"/>
                      <a:pt x="213797" y="229844"/>
                      <a:pt x="216072" y="229844"/>
                    </a:cubicBezTo>
                    <a:cubicBezTo>
                      <a:pt x="213797" y="229844"/>
                      <a:pt x="206974" y="229844"/>
                      <a:pt x="204700" y="227568"/>
                    </a:cubicBezTo>
                    <a:cubicBezTo>
                      <a:pt x="209248" y="227568"/>
                      <a:pt x="211523" y="227568"/>
                      <a:pt x="213797" y="227568"/>
                    </a:cubicBezTo>
                    <a:cubicBezTo>
                      <a:pt x="213797" y="229844"/>
                      <a:pt x="218346" y="227568"/>
                      <a:pt x="216072" y="225292"/>
                    </a:cubicBezTo>
                    <a:cubicBezTo>
                      <a:pt x="213797" y="225292"/>
                      <a:pt x="211523" y="225292"/>
                      <a:pt x="209248" y="225292"/>
                    </a:cubicBezTo>
                    <a:lnTo>
                      <a:pt x="202353" y="223568"/>
                    </a:lnTo>
                    <a:lnTo>
                      <a:pt x="204788" y="225029"/>
                    </a:lnTo>
                    <a:cubicBezTo>
                      <a:pt x="202803" y="227410"/>
                      <a:pt x="200819" y="227410"/>
                      <a:pt x="198834" y="225029"/>
                    </a:cubicBezTo>
                    <a:lnTo>
                      <a:pt x="200448" y="223091"/>
                    </a:lnTo>
                    <a:lnTo>
                      <a:pt x="200151" y="223017"/>
                    </a:lnTo>
                    <a:lnTo>
                      <a:pt x="200511" y="223017"/>
                    </a:lnTo>
                    <a:lnTo>
                      <a:pt x="200819" y="222647"/>
                    </a:lnTo>
                    <a:lnTo>
                      <a:pt x="201435" y="223017"/>
                    </a:lnTo>
                    <a:lnTo>
                      <a:pt x="208111" y="223017"/>
                    </a:lnTo>
                    <a:cubicBezTo>
                      <a:pt x="210954" y="223586"/>
                      <a:pt x="213797" y="224155"/>
                      <a:pt x="216072" y="223017"/>
                    </a:cubicBezTo>
                    <a:cubicBezTo>
                      <a:pt x="213797" y="223017"/>
                      <a:pt x="204700" y="223017"/>
                      <a:pt x="211523" y="220741"/>
                    </a:cubicBezTo>
                    <a:cubicBezTo>
                      <a:pt x="206974" y="220741"/>
                      <a:pt x="202425" y="223017"/>
                      <a:pt x="197876" y="220741"/>
                    </a:cubicBezTo>
                    <a:cubicBezTo>
                      <a:pt x="200151" y="218465"/>
                      <a:pt x="202425" y="218465"/>
                      <a:pt x="206974" y="218465"/>
                    </a:cubicBezTo>
                    <a:cubicBezTo>
                      <a:pt x="209248" y="218465"/>
                      <a:pt x="209248" y="218465"/>
                      <a:pt x="209248" y="216190"/>
                    </a:cubicBezTo>
                    <a:cubicBezTo>
                      <a:pt x="204700" y="216190"/>
                      <a:pt x="197876" y="223017"/>
                      <a:pt x="193327" y="218465"/>
                    </a:cubicBezTo>
                    <a:lnTo>
                      <a:pt x="204075" y="214164"/>
                    </a:lnTo>
                    <a:lnTo>
                      <a:pt x="216072" y="213914"/>
                    </a:lnTo>
                    <a:cubicBezTo>
                      <a:pt x="211523" y="216190"/>
                      <a:pt x="206974" y="213914"/>
                      <a:pt x="204700" y="213914"/>
                    </a:cubicBezTo>
                    <a:lnTo>
                      <a:pt x="204075" y="214164"/>
                    </a:lnTo>
                    <a:lnTo>
                      <a:pt x="202425" y="214198"/>
                    </a:lnTo>
                    <a:lnTo>
                      <a:pt x="193477" y="215504"/>
                    </a:lnTo>
                    <a:lnTo>
                      <a:pt x="196454" y="215504"/>
                    </a:lnTo>
                    <a:cubicBezTo>
                      <a:pt x="194073" y="217886"/>
                      <a:pt x="182166" y="220267"/>
                      <a:pt x="186929" y="215504"/>
                    </a:cubicBezTo>
                    <a:lnTo>
                      <a:pt x="191291" y="215504"/>
                    </a:lnTo>
                    <a:lnTo>
                      <a:pt x="201288" y="212776"/>
                    </a:lnTo>
                    <a:cubicBezTo>
                      <a:pt x="205837" y="212207"/>
                      <a:pt x="210386" y="211638"/>
                      <a:pt x="213797" y="209363"/>
                    </a:cubicBezTo>
                    <a:cubicBezTo>
                      <a:pt x="209248" y="207087"/>
                      <a:pt x="204700" y="211638"/>
                      <a:pt x="202425" y="211638"/>
                    </a:cubicBezTo>
                    <a:lnTo>
                      <a:pt x="194437" y="210306"/>
                    </a:lnTo>
                    <a:lnTo>
                      <a:pt x="186928" y="213122"/>
                    </a:lnTo>
                    <a:cubicBezTo>
                      <a:pt x="184547" y="213122"/>
                      <a:pt x="184547" y="211336"/>
                      <a:pt x="186928" y="209550"/>
                    </a:cubicBezTo>
                    <a:lnTo>
                      <a:pt x="189903" y="209550"/>
                    </a:lnTo>
                    <a:lnTo>
                      <a:pt x="188778" y="209363"/>
                    </a:lnTo>
                    <a:cubicBezTo>
                      <a:pt x="191053" y="207087"/>
                      <a:pt x="195602" y="204811"/>
                      <a:pt x="200151" y="204811"/>
                    </a:cubicBezTo>
                    <a:cubicBezTo>
                      <a:pt x="195602" y="204811"/>
                      <a:pt x="191053" y="207087"/>
                      <a:pt x="188778" y="207087"/>
                    </a:cubicBezTo>
                    <a:lnTo>
                      <a:pt x="188611" y="204908"/>
                    </a:lnTo>
                    <a:lnTo>
                      <a:pt x="188778" y="204811"/>
                    </a:lnTo>
                    <a:lnTo>
                      <a:pt x="188551" y="204129"/>
                    </a:lnTo>
                    <a:lnTo>
                      <a:pt x="188210" y="199691"/>
                    </a:lnTo>
                    <a:cubicBezTo>
                      <a:pt x="187641" y="197415"/>
                      <a:pt x="187641" y="195709"/>
                      <a:pt x="191053" y="195709"/>
                    </a:cubicBezTo>
                    <a:cubicBezTo>
                      <a:pt x="188778" y="195709"/>
                      <a:pt x="186504" y="195709"/>
                      <a:pt x="186504" y="197984"/>
                    </a:cubicBezTo>
                    <a:lnTo>
                      <a:pt x="188551" y="204129"/>
                    </a:lnTo>
                    <a:lnTo>
                      <a:pt x="188611" y="204908"/>
                    </a:lnTo>
                    <a:lnTo>
                      <a:pt x="183377" y="207940"/>
                    </a:lnTo>
                    <a:cubicBezTo>
                      <a:pt x="180818" y="208225"/>
                      <a:pt x="178544" y="208225"/>
                      <a:pt x="179681" y="209363"/>
                    </a:cubicBezTo>
                    <a:cubicBezTo>
                      <a:pt x="177406" y="211638"/>
                      <a:pt x="177406" y="209363"/>
                      <a:pt x="175132" y="209363"/>
                    </a:cubicBezTo>
                    <a:cubicBezTo>
                      <a:pt x="175132" y="211638"/>
                      <a:pt x="179681" y="213914"/>
                      <a:pt x="172857" y="213914"/>
                    </a:cubicBezTo>
                    <a:cubicBezTo>
                      <a:pt x="172857" y="216190"/>
                      <a:pt x="170583" y="216190"/>
                      <a:pt x="168308" y="216190"/>
                    </a:cubicBezTo>
                    <a:cubicBezTo>
                      <a:pt x="163760" y="216190"/>
                      <a:pt x="159211" y="216190"/>
                      <a:pt x="154662" y="213914"/>
                    </a:cubicBezTo>
                    <a:cubicBezTo>
                      <a:pt x="156936" y="216190"/>
                      <a:pt x="152387" y="216190"/>
                      <a:pt x="152387" y="213914"/>
                    </a:cubicBezTo>
                    <a:cubicBezTo>
                      <a:pt x="150113" y="211638"/>
                      <a:pt x="150113" y="209363"/>
                      <a:pt x="147839" y="209363"/>
                    </a:cubicBezTo>
                    <a:cubicBezTo>
                      <a:pt x="152387" y="207087"/>
                      <a:pt x="156936" y="207087"/>
                      <a:pt x="161485" y="204811"/>
                    </a:cubicBezTo>
                    <a:lnTo>
                      <a:pt x="162480" y="204527"/>
                    </a:lnTo>
                    <a:lnTo>
                      <a:pt x="168024" y="204242"/>
                    </a:lnTo>
                    <a:cubicBezTo>
                      <a:pt x="171152" y="203105"/>
                      <a:pt x="173995" y="201398"/>
                      <a:pt x="177406" y="200260"/>
                    </a:cubicBezTo>
                    <a:lnTo>
                      <a:pt x="162480" y="204527"/>
                    </a:lnTo>
                    <a:lnTo>
                      <a:pt x="156936" y="204811"/>
                    </a:lnTo>
                    <a:cubicBezTo>
                      <a:pt x="159211" y="202536"/>
                      <a:pt x="163760" y="200260"/>
                      <a:pt x="166034" y="200260"/>
                    </a:cubicBezTo>
                    <a:cubicBezTo>
                      <a:pt x="170583" y="197984"/>
                      <a:pt x="170583" y="195709"/>
                      <a:pt x="175132" y="195709"/>
                    </a:cubicBezTo>
                    <a:cubicBezTo>
                      <a:pt x="172857" y="193433"/>
                      <a:pt x="166034" y="197984"/>
                      <a:pt x="161485" y="193433"/>
                    </a:cubicBezTo>
                    <a:cubicBezTo>
                      <a:pt x="168308" y="191157"/>
                      <a:pt x="175132" y="195709"/>
                      <a:pt x="181955" y="193433"/>
                    </a:cubicBezTo>
                    <a:cubicBezTo>
                      <a:pt x="179681" y="193433"/>
                      <a:pt x="175132" y="193433"/>
                      <a:pt x="172857" y="191157"/>
                    </a:cubicBezTo>
                    <a:cubicBezTo>
                      <a:pt x="175132" y="191157"/>
                      <a:pt x="179681" y="188881"/>
                      <a:pt x="181955" y="186606"/>
                    </a:cubicBezTo>
                    <a:cubicBezTo>
                      <a:pt x="179681" y="188881"/>
                      <a:pt x="179681" y="188881"/>
                      <a:pt x="177406" y="188881"/>
                    </a:cubicBezTo>
                    <a:cubicBezTo>
                      <a:pt x="181955" y="186606"/>
                      <a:pt x="184230" y="184330"/>
                      <a:pt x="179681" y="182054"/>
                    </a:cubicBezTo>
                    <a:cubicBezTo>
                      <a:pt x="175132" y="182054"/>
                      <a:pt x="172857" y="182054"/>
                      <a:pt x="170583" y="182054"/>
                    </a:cubicBezTo>
                    <a:cubicBezTo>
                      <a:pt x="172857" y="182054"/>
                      <a:pt x="175132" y="179779"/>
                      <a:pt x="177406" y="179779"/>
                    </a:cubicBezTo>
                    <a:cubicBezTo>
                      <a:pt x="172857" y="177503"/>
                      <a:pt x="179681" y="175227"/>
                      <a:pt x="181955" y="177503"/>
                    </a:cubicBezTo>
                    <a:cubicBezTo>
                      <a:pt x="181955" y="175227"/>
                      <a:pt x="168308" y="170676"/>
                      <a:pt x="175132" y="170676"/>
                    </a:cubicBezTo>
                    <a:cubicBezTo>
                      <a:pt x="168308" y="170676"/>
                      <a:pt x="177406" y="170676"/>
                      <a:pt x="179681" y="168400"/>
                    </a:cubicBezTo>
                    <a:cubicBezTo>
                      <a:pt x="175132" y="168400"/>
                      <a:pt x="177406" y="166125"/>
                      <a:pt x="179681" y="166125"/>
                    </a:cubicBezTo>
                    <a:cubicBezTo>
                      <a:pt x="177406" y="166125"/>
                      <a:pt x="172857" y="163849"/>
                      <a:pt x="177406" y="163849"/>
                    </a:cubicBezTo>
                    <a:cubicBezTo>
                      <a:pt x="175132" y="163849"/>
                      <a:pt x="172857" y="163849"/>
                      <a:pt x="172857" y="161573"/>
                    </a:cubicBezTo>
                    <a:cubicBezTo>
                      <a:pt x="175132" y="161573"/>
                      <a:pt x="175132" y="161573"/>
                      <a:pt x="177406" y="159298"/>
                    </a:cubicBezTo>
                    <a:cubicBezTo>
                      <a:pt x="175132" y="159298"/>
                      <a:pt x="172857" y="159298"/>
                      <a:pt x="172857" y="157022"/>
                    </a:cubicBezTo>
                    <a:cubicBezTo>
                      <a:pt x="175132" y="157022"/>
                      <a:pt x="177406" y="157022"/>
                      <a:pt x="177406" y="157022"/>
                    </a:cubicBezTo>
                    <a:cubicBezTo>
                      <a:pt x="175132" y="157022"/>
                      <a:pt x="172857" y="157022"/>
                      <a:pt x="172857" y="154746"/>
                    </a:cubicBezTo>
                    <a:cubicBezTo>
                      <a:pt x="175132" y="157022"/>
                      <a:pt x="177406" y="154746"/>
                      <a:pt x="179681" y="152471"/>
                    </a:cubicBezTo>
                    <a:cubicBezTo>
                      <a:pt x="177406" y="154746"/>
                      <a:pt x="175132" y="147919"/>
                      <a:pt x="170583" y="152471"/>
                    </a:cubicBezTo>
                    <a:cubicBezTo>
                      <a:pt x="170583" y="147919"/>
                      <a:pt x="175132" y="150195"/>
                      <a:pt x="175132" y="147919"/>
                    </a:cubicBezTo>
                    <a:cubicBezTo>
                      <a:pt x="172857" y="143368"/>
                      <a:pt x="166034" y="145644"/>
                      <a:pt x="161485" y="143368"/>
                    </a:cubicBezTo>
                    <a:cubicBezTo>
                      <a:pt x="161485" y="143368"/>
                      <a:pt x="161485" y="143368"/>
                      <a:pt x="163760" y="141092"/>
                    </a:cubicBezTo>
                    <a:cubicBezTo>
                      <a:pt x="159211" y="141092"/>
                      <a:pt x="161485" y="138817"/>
                      <a:pt x="163760" y="136541"/>
                    </a:cubicBezTo>
                    <a:cubicBezTo>
                      <a:pt x="161485" y="136541"/>
                      <a:pt x="159211" y="138817"/>
                      <a:pt x="156936" y="138817"/>
                    </a:cubicBezTo>
                    <a:cubicBezTo>
                      <a:pt x="159211" y="136541"/>
                      <a:pt x="163760" y="138817"/>
                      <a:pt x="163760" y="134265"/>
                    </a:cubicBezTo>
                    <a:cubicBezTo>
                      <a:pt x="166034" y="131989"/>
                      <a:pt x="159211" y="131989"/>
                      <a:pt x="163760" y="131989"/>
                    </a:cubicBezTo>
                    <a:cubicBezTo>
                      <a:pt x="161485" y="131989"/>
                      <a:pt x="161485" y="131989"/>
                      <a:pt x="159211" y="131989"/>
                    </a:cubicBezTo>
                    <a:cubicBezTo>
                      <a:pt x="156936" y="131989"/>
                      <a:pt x="152387" y="129714"/>
                      <a:pt x="156936" y="129714"/>
                    </a:cubicBezTo>
                    <a:cubicBezTo>
                      <a:pt x="154662" y="127438"/>
                      <a:pt x="150113" y="129714"/>
                      <a:pt x="147839" y="129714"/>
                    </a:cubicBezTo>
                    <a:cubicBezTo>
                      <a:pt x="147839" y="129714"/>
                      <a:pt x="147839" y="129714"/>
                      <a:pt x="150113" y="127438"/>
                    </a:cubicBezTo>
                    <a:cubicBezTo>
                      <a:pt x="147839" y="127438"/>
                      <a:pt x="147839" y="127438"/>
                      <a:pt x="145564" y="127438"/>
                    </a:cubicBezTo>
                    <a:cubicBezTo>
                      <a:pt x="147839" y="125162"/>
                      <a:pt x="138741" y="125162"/>
                      <a:pt x="136466" y="125162"/>
                    </a:cubicBezTo>
                    <a:cubicBezTo>
                      <a:pt x="136466" y="125162"/>
                      <a:pt x="136466" y="125162"/>
                      <a:pt x="136466" y="122887"/>
                    </a:cubicBezTo>
                    <a:cubicBezTo>
                      <a:pt x="131917" y="122887"/>
                      <a:pt x="127369" y="122887"/>
                      <a:pt x="122820" y="122887"/>
                    </a:cubicBezTo>
                    <a:cubicBezTo>
                      <a:pt x="118271" y="120611"/>
                      <a:pt x="113722" y="120611"/>
                      <a:pt x="111447" y="122887"/>
                    </a:cubicBezTo>
                    <a:cubicBezTo>
                      <a:pt x="113722" y="116060"/>
                      <a:pt x="90977" y="122887"/>
                      <a:pt x="90977" y="122887"/>
                    </a:cubicBezTo>
                    <a:cubicBezTo>
                      <a:pt x="90977" y="120611"/>
                      <a:pt x="86429" y="120611"/>
                      <a:pt x="84154" y="120611"/>
                    </a:cubicBezTo>
                    <a:cubicBezTo>
                      <a:pt x="84154" y="122887"/>
                      <a:pt x="84154" y="122887"/>
                      <a:pt x="81880" y="122887"/>
                    </a:cubicBezTo>
                    <a:cubicBezTo>
                      <a:pt x="81880" y="122887"/>
                      <a:pt x="79605" y="122887"/>
                      <a:pt x="79605" y="122887"/>
                    </a:cubicBezTo>
                    <a:cubicBezTo>
                      <a:pt x="77331" y="125162"/>
                      <a:pt x="72782" y="122887"/>
                      <a:pt x="72782" y="122887"/>
                    </a:cubicBezTo>
                    <a:cubicBezTo>
                      <a:pt x="70508" y="125162"/>
                      <a:pt x="68233" y="127438"/>
                      <a:pt x="65959" y="125162"/>
                    </a:cubicBezTo>
                    <a:cubicBezTo>
                      <a:pt x="65959" y="122887"/>
                      <a:pt x="68233" y="122887"/>
                      <a:pt x="70508" y="122887"/>
                    </a:cubicBezTo>
                    <a:cubicBezTo>
                      <a:pt x="65959" y="120611"/>
                      <a:pt x="56861" y="125162"/>
                      <a:pt x="54586" y="125162"/>
                    </a:cubicBezTo>
                    <a:cubicBezTo>
                      <a:pt x="50038" y="120611"/>
                      <a:pt x="50038" y="122887"/>
                      <a:pt x="45489" y="122887"/>
                    </a:cubicBezTo>
                    <a:cubicBezTo>
                      <a:pt x="47763" y="122887"/>
                      <a:pt x="50038" y="125162"/>
                      <a:pt x="52312" y="127438"/>
                    </a:cubicBezTo>
                    <a:cubicBezTo>
                      <a:pt x="47763" y="127438"/>
                      <a:pt x="40940" y="125162"/>
                      <a:pt x="36391" y="125162"/>
                    </a:cubicBezTo>
                    <a:cubicBezTo>
                      <a:pt x="34116" y="125162"/>
                      <a:pt x="31842" y="125162"/>
                      <a:pt x="29568" y="125162"/>
                    </a:cubicBezTo>
                    <a:cubicBezTo>
                      <a:pt x="29568" y="125162"/>
                      <a:pt x="25019" y="125162"/>
                      <a:pt x="29568" y="122887"/>
                    </a:cubicBezTo>
                    <a:cubicBezTo>
                      <a:pt x="25019" y="122887"/>
                      <a:pt x="18195" y="122887"/>
                      <a:pt x="15921" y="118335"/>
                    </a:cubicBezTo>
                    <a:cubicBezTo>
                      <a:pt x="20470" y="116060"/>
                      <a:pt x="27293" y="116060"/>
                      <a:pt x="34116" y="116060"/>
                    </a:cubicBezTo>
                    <a:cubicBezTo>
                      <a:pt x="36391" y="116060"/>
                      <a:pt x="43214" y="118335"/>
                      <a:pt x="43214" y="113784"/>
                    </a:cubicBezTo>
                    <a:cubicBezTo>
                      <a:pt x="34116" y="113784"/>
                      <a:pt x="25019" y="113784"/>
                      <a:pt x="18195" y="111508"/>
                    </a:cubicBezTo>
                    <a:cubicBezTo>
                      <a:pt x="18195" y="109233"/>
                      <a:pt x="25019" y="109233"/>
                      <a:pt x="27293" y="106957"/>
                    </a:cubicBezTo>
                    <a:cubicBezTo>
                      <a:pt x="20470" y="104681"/>
                      <a:pt x="11372" y="116060"/>
                      <a:pt x="6823" y="109233"/>
                    </a:cubicBezTo>
                    <a:lnTo>
                      <a:pt x="4549" y="109233"/>
                    </a:lnTo>
                    <a:cubicBezTo>
                      <a:pt x="2274" y="100130"/>
                      <a:pt x="70508" y="106957"/>
                      <a:pt x="77331" y="104681"/>
                    </a:cubicBezTo>
                    <a:cubicBezTo>
                      <a:pt x="70508" y="106957"/>
                      <a:pt x="63684" y="104681"/>
                      <a:pt x="56861" y="104681"/>
                    </a:cubicBezTo>
                    <a:cubicBezTo>
                      <a:pt x="52312" y="104681"/>
                      <a:pt x="45489" y="104681"/>
                      <a:pt x="40940" y="102406"/>
                    </a:cubicBezTo>
                    <a:cubicBezTo>
                      <a:pt x="47763" y="100130"/>
                      <a:pt x="54586" y="100130"/>
                      <a:pt x="61410" y="100130"/>
                    </a:cubicBezTo>
                    <a:cubicBezTo>
                      <a:pt x="68233" y="100130"/>
                      <a:pt x="72782" y="104681"/>
                      <a:pt x="77331" y="102406"/>
                    </a:cubicBezTo>
                    <a:cubicBezTo>
                      <a:pt x="75056" y="102406"/>
                      <a:pt x="75056" y="100130"/>
                      <a:pt x="77331" y="100130"/>
                    </a:cubicBezTo>
                    <a:lnTo>
                      <a:pt x="79378" y="99618"/>
                    </a:lnTo>
                    <a:lnTo>
                      <a:pt x="77390" y="97631"/>
                    </a:lnTo>
                    <a:lnTo>
                      <a:pt x="77391" y="97631"/>
                    </a:lnTo>
                    <a:lnTo>
                      <a:pt x="82153" y="97631"/>
                    </a:lnTo>
                    <a:cubicBezTo>
                      <a:pt x="82153" y="97631"/>
                      <a:pt x="80367" y="98226"/>
                      <a:pt x="79176" y="98821"/>
                    </a:cubicBezTo>
                    <a:lnTo>
                      <a:pt x="79553" y="99574"/>
                    </a:lnTo>
                    <a:lnTo>
                      <a:pt x="86429" y="97854"/>
                    </a:lnTo>
                    <a:cubicBezTo>
                      <a:pt x="84154" y="93303"/>
                      <a:pt x="77331" y="95579"/>
                      <a:pt x="72782" y="95579"/>
                    </a:cubicBezTo>
                    <a:cubicBezTo>
                      <a:pt x="68233" y="97854"/>
                      <a:pt x="61410" y="100130"/>
                      <a:pt x="56861" y="97854"/>
                    </a:cubicBezTo>
                    <a:cubicBezTo>
                      <a:pt x="54586" y="97854"/>
                      <a:pt x="52312" y="95579"/>
                      <a:pt x="50038" y="97854"/>
                    </a:cubicBezTo>
                    <a:cubicBezTo>
                      <a:pt x="50038" y="97854"/>
                      <a:pt x="47763" y="100130"/>
                      <a:pt x="45489" y="100130"/>
                    </a:cubicBezTo>
                    <a:cubicBezTo>
                      <a:pt x="38665" y="100130"/>
                      <a:pt x="34116" y="100130"/>
                      <a:pt x="27293" y="97854"/>
                    </a:cubicBezTo>
                    <a:cubicBezTo>
                      <a:pt x="31842" y="97854"/>
                      <a:pt x="36391" y="97854"/>
                      <a:pt x="40940" y="95579"/>
                    </a:cubicBezTo>
                    <a:cubicBezTo>
                      <a:pt x="36391" y="95579"/>
                      <a:pt x="29568" y="97854"/>
                      <a:pt x="25019" y="95579"/>
                    </a:cubicBezTo>
                    <a:cubicBezTo>
                      <a:pt x="29568" y="95579"/>
                      <a:pt x="31842" y="93303"/>
                      <a:pt x="36391" y="93303"/>
                    </a:cubicBezTo>
                    <a:cubicBezTo>
                      <a:pt x="29568" y="91027"/>
                      <a:pt x="22744" y="95579"/>
                      <a:pt x="15921" y="93303"/>
                    </a:cubicBezTo>
                    <a:cubicBezTo>
                      <a:pt x="15921" y="93303"/>
                      <a:pt x="18195" y="93303"/>
                      <a:pt x="20470" y="91027"/>
                    </a:cubicBezTo>
                    <a:cubicBezTo>
                      <a:pt x="15921" y="93303"/>
                      <a:pt x="11372" y="93303"/>
                      <a:pt x="9098" y="91027"/>
                    </a:cubicBezTo>
                    <a:cubicBezTo>
                      <a:pt x="6823" y="91027"/>
                      <a:pt x="4549" y="86476"/>
                      <a:pt x="0" y="86476"/>
                    </a:cubicBezTo>
                    <a:cubicBezTo>
                      <a:pt x="2274" y="86476"/>
                      <a:pt x="11372" y="84200"/>
                      <a:pt x="6823" y="84200"/>
                    </a:cubicBezTo>
                    <a:cubicBezTo>
                      <a:pt x="9098" y="84200"/>
                      <a:pt x="11372" y="79649"/>
                      <a:pt x="13647" y="79649"/>
                    </a:cubicBezTo>
                    <a:cubicBezTo>
                      <a:pt x="18195" y="79649"/>
                      <a:pt x="20470" y="79649"/>
                      <a:pt x="25019" y="79649"/>
                    </a:cubicBezTo>
                    <a:cubicBezTo>
                      <a:pt x="29568" y="79649"/>
                      <a:pt x="34116" y="79649"/>
                      <a:pt x="38665" y="79649"/>
                    </a:cubicBezTo>
                    <a:cubicBezTo>
                      <a:pt x="40940" y="79649"/>
                      <a:pt x="43214" y="77373"/>
                      <a:pt x="45489" y="77373"/>
                    </a:cubicBezTo>
                    <a:cubicBezTo>
                      <a:pt x="47763" y="77373"/>
                      <a:pt x="52312" y="77373"/>
                      <a:pt x="54586" y="75097"/>
                    </a:cubicBezTo>
                    <a:cubicBezTo>
                      <a:pt x="56861" y="75097"/>
                      <a:pt x="61410" y="75097"/>
                      <a:pt x="63684" y="75097"/>
                    </a:cubicBezTo>
                    <a:cubicBezTo>
                      <a:pt x="65959" y="75097"/>
                      <a:pt x="72782" y="75097"/>
                      <a:pt x="68233" y="72822"/>
                    </a:cubicBezTo>
                    <a:cubicBezTo>
                      <a:pt x="75056" y="70546"/>
                      <a:pt x="79605" y="72822"/>
                      <a:pt x="86429" y="70546"/>
                    </a:cubicBezTo>
                    <a:cubicBezTo>
                      <a:pt x="93252" y="70546"/>
                      <a:pt x="95526" y="68270"/>
                      <a:pt x="102350" y="70546"/>
                    </a:cubicBezTo>
                    <a:cubicBezTo>
                      <a:pt x="111447" y="70546"/>
                      <a:pt x="118271" y="68270"/>
                      <a:pt x="125094" y="65995"/>
                    </a:cubicBezTo>
                    <a:cubicBezTo>
                      <a:pt x="129643" y="65995"/>
                      <a:pt x="134192" y="65995"/>
                      <a:pt x="136466" y="63719"/>
                    </a:cubicBezTo>
                    <a:cubicBezTo>
                      <a:pt x="138741" y="61443"/>
                      <a:pt x="138741" y="59168"/>
                      <a:pt x="141015" y="56892"/>
                    </a:cubicBezTo>
                    <a:cubicBezTo>
                      <a:pt x="145564" y="52341"/>
                      <a:pt x="154662" y="52341"/>
                      <a:pt x="161485" y="52341"/>
                    </a:cubicBezTo>
                    <a:cubicBezTo>
                      <a:pt x="152387" y="50065"/>
                      <a:pt x="143290" y="54616"/>
                      <a:pt x="134192" y="54616"/>
                    </a:cubicBezTo>
                    <a:cubicBezTo>
                      <a:pt x="129643" y="54616"/>
                      <a:pt x="127369" y="52341"/>
                      <a:pt x="122820" y="54616"/>
                    </a:cubicBezTo>
                    <a:cubicBezTo>
                      <a:pt x="120545" y="54616"/>
                      <a:pt x="115996" y="52341"/>
                      <a:pt x="113722" y="52341"/>
                    </a:cubicBezTo>
                    <a:cubicBezTo>
                      <a:pt x="115996" y="47789"/>
                      <a:pt x="122820" y="47789"/>
                      <a:pt x="127369" y="47789"/>
                    </a:cubicBezTo>
                    <a:cubicBezTo>
                      <a:pt x="134192" y="45514"/>
                      <a:pt x="138741" y="43238"/>
                      <a:pt x="145564" y="43238"/>
                    </a:cubicBezTo>
                    <a:cubicBezTo>
                      <a:pt x="154662" y="43238"/>
                      <a:pt x="161485" y="38687"/>
                      <a:pt x="170583" y="38687"/>
                    </a:cubicBezTo>
                    <a:cubicBezTo>
                      <a:pt x="172857" y="38687"/>
                      <a:pt x="179681" y="36411"/>
                      <a:pt x="181955" y="36411"/>
                    </a:cubicBezTo>
                    <a:cubicBezTo>
                      <a:pt x="181955" y="38687"/>
                      <a:pt x="184230" y="40962"/>
                      <a:pt x="186504" y="43238"/>
                    </a:cubicBezTo>
                    <a:cubicBezTo>
                      <a:pt x="184230" y="40962"/>
                      <a:pt x="181955" y="38687"/>
                      <a:pt x="184230" y="36411"/>
                    </a:cubicBezTo>
                    <a:cubicBezTo>
                      <a:pt x="186504" y="34135"/>
                      <a:pt x="191053" y="36411"/>
                      <a:pt x="195602" y="36411"/>
                    </a:cubicBezTo>
                    <a:cubicBezTo>
                      <a:pt x="202425" y="36411"/>
                      <a:pt x="209248" y="38687"/>
                      <a:pt x="216072" y="36411"/>
                    </a:cubicBezTo>
                    <a:cubicBezTo>
                      <a:pt x="216072" y="36411"/>
                      <a:pt x="216072" y="36411"/>
                      <a:pt x="213797" y="34135"/>
                    </a:cubicBezTo>
                    <a:cubicBezTo>
                      <a:pt x="216072" y="31859"/>
                      <a:pt x="220621" y="31859"/>
                      <a:pt x="222895" y="31859"/>
                    </a:cubicBezTo>
                    <a:cubicBezTo>
                      <a:pt x="213797" y="29584"/>
                      <a:pt x="225169" y="25032"/>
                      <a:pt x="227444" y="25032"/>
                    </a:cubicBezTo>
                    <a:cubicBezTo>
                      <a:pt x="234267" y="25032"/>
                      <a:pt x="238816" y="25032"/>
                      <a:pt x="245639" y="25032"/>
                    </a:cubicBezTo>
                    <a:cubicBezTo>
                      <a:pt x="247914" y="25032"/>
                      <a:pt x="252463" y="25032"/>
                      <a:pt x="252463" y="27308"/>
                    </a:cubicBezTo>
                    <a:cubicBezTo>
                      <a:pt x="254737" y="29584"/>
                      <a:pt x="254737" y="29584"/>
                      <a:pt x="257012" y="29584"/>
                    </a:cubicBezTo>
                    <a:cubicBezTo>
                      <a:pt x="263835" y="29584"/>
                      <a:pt x="270658" y="34135"/>
                      <a:pt x="275207" y="31859"/>
                    </a:cubicBezTo>
                    <a:cubicBezTo>
                      <a:pt x="272933" y="31859"/>
                      <a:pt x="270658" y="29584"/>
                      <a:pt x="266109" y="29584"/>
                    </a:cubicBezTo>
                    <a:cubicBezTo>
                      <a:pt x="263835" y="29584"/>
                      <a:pt x="261561" y="29584"/>
                      <a:pt x="259286" y="27308"/>
                    </a:cubicBezTo>
                    <a:cubicBezTo>
                      <a:pt x="257012" y="27308"/>
                      <a:pt x="257012" y="25032"/>
                      <a:pt x="254737" y="25032"/>
                    </a:cubicBezTo>
                    <a:cubicBezTo>
                      <a:pt x="252463" y="25032"/>
                      <a:pt x="250188" y="25032"/>
                      <a:pt x="247914" y="22757"/>
                    </a:cubicBezTo>
                    <a:cubicBezTo>
                      <a:pt x="259286" y="20481"/>
                      <a:pt x="270658" y="20481"/>
                      <a:pt x="282030" y="20481"/>
                    </a:cubicBezTo>
                    <a:cubicBezTo>
                      <a:pt x="286579" y="20481"/>
                      <a:pt x="291128" y="20481"/>
                      <a:pt x="293403" y="20481"/>
                    </a:cubicBezTo>
                    <a:cubicBezTo>
                      <a:pt x="295677" y="20481"/>
                      <a:pt x="309324" y="18205"/>
                      <a:pt x="302500" y="20481"/>
                    </a:cubicBezTo>
                    <a:cubicBezTo>
                      <a:pt x="304775" y="18205"/>
                      <a:pt x="327519" y="15930"/>
                      <a:pt x="325245" y="22757"/>
                    </a:cubicBezTo>
                    <a:cubicBezTo>
                      <a:pt x="322970" y="27308"/>
                      <a:pt x="316147" y="27308"/>
                      <a:pt x="316147" y="29584"/>
                    </a:cubicBezTo>
                    <a:cubicBezTo>
                      <a:pt x="318422" y="31859"/>
                      <a:pt x="322970" y="27308"/>
                      <a:pt x="327519" y="27308"/>
                    </a:cubicBezTo>
                    <a:cubicBezTo>
                      <a:pt x="329794" y="25032"/>
                      <a:pt x="332068" y="22757"/>
                      <a:pt x="334343" y="22757"/>
                    </a:cubicBezTo>
                    <a:cubicBezTo>
                      <a:pt x="334343" y="22757"/>
                      <a:pt x="336617" y="22757"/>
                      <a:pt x="338892" y="22757"/>
                    </a:cubicBezTo>
                    <a:cubicBezTo>
                      <a:pt x="345715" y="25032"/>
                      <a:pt x="350264" y="25032"/>
                      <a:pt x="357087" y="27308"/>
                    </a:cubicBezTo>
                    <a:cubicBezTo>
                      <a:pt x="361636" y="27308"/>
                      <a:pt x="363910" y="29584"/>
                      <a:pt x="368459" y="29584"/>
                    </a:cubicBezTo>
                    <a:cubicBezTo>
                      <a:pt x="366185" y="27308"/>
                      <a:pt x="361636" y="27308"/>
                      <a:pt x="357087" y="25032"/>
                    </a:cubicBezTo>
                    <a:cubicBezTo>
                      <a:pt x="363910" y="25032"/>
                      <a:pt x="370734" y="27308"/>
                      <a:pt x="377557" y="25032"/>
                    </a:cubicBezTo>
                    <a:cubicBezTo>
                      <a:pt x="373008" y="22757"/>
                      <a:pt x="368459" y="22757"/>
                      <a:pt x="366185" y="20481"/>
                    </a:cubicBezTo>
                    <a:cubicBezTo>
                      <a:pt x="363910" y="20481"/>
                      <a:pt x="363910" y="18205"/>
                      <a:pt x="361636" y="15930"/>
                    </a:cubicBezTo>
                    <a:cubicBezTo>
                      <a:pt x="370734" y="15930"/>
                      <a:pt x="377557" y="15930"/>
                      <a:pt x="386655" y="15930"/>
                    </a:cubicBezTo>
                    <a:cubicBezTo>
                      <a:pt x="391204" y="18205"/>
                      <a:pt x="398027" y="18205"/>
                      <a:pt x="404850" y="20481"/>
                    </a:cubicBezTo>
                    <a:cubicBezTo>
                      <a:pt x="409399" y="22757"/>
                      <a:pt x="416222" y="22757"/>
                      <a:pt x="423046" y="25032"/>
                    </a:cubicBezTo>
                    <a:lnTo>
                      <a:pt x="436692" y="25032"/>
                    </a:lnTo>
                    <a:cubicBezTo>
                      <a:pt x="438967" y="22757"/>
                      <a:pt x="441241" y="22757"/>
                      <a:pt x="443516" y="22757"/>
                    </a:cubicBezTo>
                    <a:cubicBezTo>
                      <a:pt x="438967" y="22757"/>
                      <a:pt x="443516" y="18205"/>
                      <a:pt x="445790" y="18205"/>
                    </a:cubicBezTo>
                    <a:cubicBezTo>
                      <a:pt x="448065" y="18205"/>
                      <a:pt x="450339" y="18205"/>
                      <a:pt x="452614" y="20481"/>
                    </a:cubicBezTo>
                    <a:cubicBezTo>
                      <a:pt x="459437" y="20481"/>
                      <a:pt x="466260" y="20481"/>
                      <a:pt x="473084" y="20481"/>
                    </a:cubicBezTo>
                    <a:cubicBezTo>
                      <a:pt x="466260" y="18205"/>
                      <a:pt x="459437" y="20481"/>
                      <a:pt x="454888" y="18205"/>
                    </a:cubicBezTo>
                    <a:cubicBezTo>
                      <a:pt x="459437" y="18205"/>
                      <a:pt x="452614" y="18205"/>
                      <a:pt x="450339" y="15930"/>
                    </a:cubicBezTo>
                    <a:cubicBezTo>
                      <a:pt x="450339" y="15930"/>
                      <a:pt x="448065" y="15930"/>
                      <a:pt x="445790" y="15930"/>
                    </a:cubicBezTo>
                    <a:cubicBezTo>
                      <a:pt x="441241" y="15930"/>
                      <a:pt x="438967" y="13654"/>
                      <a:pt x="434418" y="13654"/>
                    </a:cubicBezTo>
                    <a:cubicBezTo>
                      <a:pt x="438967" y="11378"/>
                      <a:pt x="445790" y="13654"/>
                      <a:pt x="450339" y="11378"/>
                    </a:cubicBezTo>
                    <a:lnTo>
                      <a:pt x="446075" y="11378"/>
                    </a:lnTo>
                    <a:cubicBezTo>
                      <a:pt x="447496" y="11378"/>
                      <a:pt x="448065" y="11378"/>
                      <a:pt x="445790" y="11378"/>
                    </a:cubicBezTo>
                    <a:lnTo>
                      <a:pt x="441241" y="11378"/>
                    </a:lnTo>
                    <a:cubicBezTo>
                      <a:pt x="438967" y="11378"/>
                      <a:pt x="436692" y="11378"/>
                      <a:pt x="434418" y="11378"/>
                    </a:cubicBezTo>
                    <a:lnTo>
                      <a:pt x="428732" y="10241"/>
                    </a:lnTo>
                    <a:lnTo>
                      <a:pt x="425320" y="9103"/>
                    </a:lnTo>
                    <a:cubicBezTo>
                      <a:pt x="432144" y="6827"/>
                      <a:pt x="436692" y="9103"/>
                      <a:pt x="443516" y="9103"/>
                    </a:cubicBezTo>
                    <a:cubicBezTo>
                      <a:pt x="448065" y="9103"/>
                      <a:pt x="452614" y="9103"/>
                      <a:pt x="457162" y="11378"/>
                    </a:cubicBezTo>
                    <a:cubicBezTo>
                      <a:pt x="452614" y="9103"/>
                      <a:pt x="445790" y="9103"/>
                      <a:pt x="441241" y="6827"/>
                    </a:cubicBezTo>
                    <a:cubicBezTo>
                      <a:pt x="448065" y="9103"/>
                      <a:pt x="452614" y="6827"/>
                      <a:pt x="459437" y="6827"/>
                    </a:cubicBezTo>
                    <a:lnTo>
                      <a:pt x="463986" y="6827"/>
                    </a:lnTo>
                    <a:lnTo>
                      <a:pt x="470809" y="6827"/>
                    </a:lnTo>
                    <a:cubicBezTo>
                      <a:pt x="473084" y="4551"/>
                      <a:pt x="477632" y="4551"/>
                      <a:pt x="482181" y="4551"/>
                    </a:cubicBezTo>
                    <a:cubicBezTo>
                      <a:pt x="484456" y="4551"/>
                      <a:pt x="493553" y="6827"/>
                      <a:pt x="486730" y="6827"/>
                    </a:cubicBezTo>
                    <a:cubicBezTo>
                      <a:pt x="495828" y="6827"/>
                      <a:pt x="502651" y="9103"/>
                      <a:pt x="509475" y="9103"/>
                    </a:cubicBezTo>
                    <a:cubicBezTo>
                      <a:pt x="514023" y="9103"/>
                      <a:pt x="516298" y="9103"/>
                      <a:pt x="520847" y="11378"/>
                    </a:cubicBezTo>
                    <a:cubicBezTo>
                      <a:pt x="520847" y="11378"/>
                      <a:pt x="525396" y="13654"/>
                      <a:pt x="527670" y="11378"/>
                    </a:cubicBezTo>
                    <a:cubicBezTo>
                      <a:pt x="525396" y="11378"/>
                      <a:pt x="523121" y="9103"/>
                      <a:pt x="520847" y="9103"/>
                    </a:cubicBezTo>
                    <a:lnTo>
                      <a:pt x="527670" y="9103"/>
                    </a:lnTo>
                    <a:cubicBezTo>
                      <a:pt x="534493" y="6827"/>
                      <a:pt x="543591" y="9103"/>
                      <a:pt x="550414" y="6827"/>
                    </a:cubicBezTo>
                    <a:cubicBezTo>
                      <a:pt x="548140" y="6827"/>
                      <a:pt x="527670" y="9103"/>
                      <a:pt x="529945" y="2276"/>
                    </a:cubicBezTo>
                    <a:cubicBezTo>
                      <a:pt x="534493" y="4551"/>
                      <a:pt x="539042" y="2276"/>
                      <a:pt x="545866" y="2276"/>
                    </a:cubicBezTo>
                    <a:cubicBezTo>
                      <a:pt x="550414" y="2276"/>
                      <a:pt x="554963" y="4551"/>
                      <a:pt x="559512" y="4551"/>
                    </a:cubicBezTo>
                    <a:cubicBezTo>
                      <a:pt x="559512" y="2276"/>
                      <a:pt x="557238" y="2276"/>
                      <a:pt x="554963" y="2276"/>
                    </a:cubicBezTo>
                    <a:cubicBezTo>
                      <a:pt x="561787" y="0"/>
                      <a:pt x="570884" y="2276"/>
                      <a:pt x="579982" y="2276"/>
                    </a:cubicBezTo>
                    <a:cubicBezTo>
                      <a:pt x="582257" y="2276"/>
                      <a:pt x="586806" y="0"/>
                      <a:pt x="586806" y="0"/>
                    </a:cubicBezTo>
                    <a:close/>
                  </a:path>
                </a:pathLst>
              </a:custGeom>
              <a:solidFill>
                <a:schemeClr val="bg1"/>
              </a:solidFill>
              <a:ln w="3175">
                <a:solidFill>
                  <a:schemeClr val="bg1"/>
                </a:solidFill>
                <a:round/>
                <a:headEnd/>
                <a:tailEnd/>
              </a:ln>
            </p:spPr>
            <p:txBody>
              <a:bodyPr vert="horz" wrap="square" lIns="68455" tIns="34227" rIns="68455" bIns="3422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37" name="Group 210">
              <a:extLst>
                <a:ext uri="{FF2B5EF4-FFF2-40B4-BE49-F238E27FC236}">
                  <a16:creationId xmlns:a16="http://schemas.microsoft.com/office/drawing/2014/main" id="{33032C01-0385-9086-C768-0BBC877A0E06}"/>
                </a:ext>
              </a:extLst>
            </p:cNvPr>
            <p:cNvGrpSpPr/>
            <p:nvPr/>
          </p:nvGrpSpPr>
          <p:grpSpPr>
            <a:xfrm>
              <a:off x="2844342" y="929829"/>
              <a:ext cx="1759712" cy="687900"/>
              <a:chOff x="4309596" y="1439090"/>
              <a:chExt cx="2764791" cy="1080803"/>
            </a:xfrm>
            <a:solidFill>
              <a:schemeClr val="accent2">
                <a:lumMod val="60000"/>
                <a:lumOff val="40000"/>
              </a:schemeClr>
            </a:solidFill>
          </p:grpSpPr>
          <p:sp>
            <p:nvSpPr>
              <p:cNvPr id="38" name="South Korea">
                <a:extLst>
                  <a:ext uri="{FF2B5EF4-FFF2-40B4-BE49-F238E27FC236}">
                    <a16:creationId xmlns:a16="http://schemas.microsoft.com/office/drawing/2014/main" id="{C20AB708-87C6-0893-43BA-AD0C901BE74F}"/>
                  </a:ext>
                </a:extLst>
              </p:cNvPr>
              <p:cNvSpPr>
                <a:spLocks/>
              </p:cNvSpPr>
              <p:nvPr/>
            </p:nvSpPr>
            <p:spPr bwMode="auto">
              <a:xfrm>
                <a:off x="6399238" y="2386301"/>
                <a:ext cx="82638" cy="133592"/>
              </a:xfrm>
              <a:custGeom>
                <a:avLst/>
                <a:gdLst>
                  <a:gd name="connsiteX0" fmla="*/ 46921 w 81091"/>
                  <a:gd name="connsiteY0" fmla="*/ 122634 h 131092"/>
                  <a:gd name="connsiteX1" fmla="*/ 35610 w 81091"/>
                  <a:gd name="connsiteY1" fmla="*/ 129778 h 131092"/>
                  <a:gd name="connsiteX2" fmla="*/ 46921 w 81091"/>
                  <a:gd name="connsiteY2" fmla="*/ 122634 h 131092"/>
                  <a:gd name="connsiteX3" fmla="*/ 25131 w 81091"/>
                  <a:gd name="connsiteY3" fmla="*/ 97631 h 131092"/>
                  <a:gd name="connsiteX4" fmla="*/ 28703 w 81091"/>
                  <a:gd name="connsiteY4" fmla="*/ 100012 h 131092"/>
                  <a:gd name="connsiteX5" fmla="*/ 25131 w 81091"/>
                  <a:gd name="connsiteY5" fmla="*/ 97631 h 131092"/>
                  <a:gd name="connsiteX6" fmla="*/ 70376 w 81091"/>
                  <a:gd name="connsiteY6" fmla="*/ 88106 h 131092"/>
                  <a:gd name="connsiteX7" fmla="*/ 67994 w 81091"/>
                  <a:gd name="connsiteY7" fmla="*/ 90487 h 131092"/>
                  <a:gd name="connsiteX8" fmla="*/ 70376 w 81091"/>
                  <a:gd name="connsiteY8" fmla="*/ 88106 h 131092"/>
                  <a:gd name="connsiteX9" fmla="*/ 27030 w 81091"/>
                  <a:gd name="connsiteY9" fmla="*/ 0 h 131092"/>
                  <a:gd name="connsiteX10" fmla="*/ 47303 w 81091"/>
                  <a:gd name="connsiteY10" fmla="*/ 18222 h 131092"/>
                  <a:gd name="connsiteX11" fmla="*/ 65323 w 81091"/>
                  <a:gd name="connsiteY11" fmla="*/ 36444 h 131092"/>
                  <a:gd name="connsiteX12" fmla="*/ 69829 w 81091"/>
                  <a:gd name="connsiteY12" fmla="*/ 54665 h 131092"/>
                  <a:gd name="connsiteX13" fmla="*/ 76586 w 81091"/>
                  <a:gd name="connsiteY13" fmla="*/ 61498 h 131092"/>
                  <a:gd name="connsiteX14" fmla="*/ 81091 w 81091"/>
                  <a:gd name="connsiteY14" fmla="*/ 75165 h 131092"/>
                  <a:gd name="connsiteX15" fmla="*/ 78839 w 81091"/>
                  <a:gd name="connsiteY15" fmla="*/ 75165 h 131092"/>
                  <a:gd name="connsiteX16" fmla="*/ 76586 w 81091"/>
                  <a:gd name="connsiteY16" fmla="*/ 86553 h 131092"/>
                  <a:gd name="connsiteX17" fmla="*/ 67576 w 81091"/>
                  <a:gd name="connsiteY17" fmla="*/ 81998 h 131092"/>
                  <a:gd name="connsiteX18" fmla="*/ 63071 w 81091"/>
                  <a:gd name="connsiteY18" fmla="*/ 86553 h 131092"/>
                  <a:gd name="connsiteX19" fmla="*/ 67576 w 81091"/>
                  <a:gd name="connsiteY19" fmla="*/ 91109 h 131092"/>
                  <a:gd name="connsiteX20" fmla="*/ 56313 w 81091"/>
                  <a:gd name="connsiteY20" fmla="*/ 86553 h 131092"/>
                  <a:gd name="connsiteX21" fmla="*/ 54211 w 81091"/>
                  <a:gd name="connsiteY21" fmla="*/ 88443 h 131092"/>
                  <a:gd name="connsiteX22" fmla="*/ 53779 w 81091"/>
                  <a:gd name="connsiteY22" fmla="*/ 88831 h 131092"/>
                  <a:gd name="connsiteX23" fmla="*/ 49556 w 81091"/>
                  <a:gd name="connsiteY23" fmla="*/ 91109 h 131092"/>
                  <a:gd name="connsiteX24" fmla="*/ 54061 w 81091"/>
                  <a:gd name="connsiteY24" fmla="*/ 93386 h 131092"/>
                  <a:gd name="connsiteX25" fmla="*/ 51808 w 81091"/>
                  <a:gd name="connsiteY25" fmla="*/ 95664 h 131092"/>
                  <a:gd name="connsiteX26" fmla="*/ 47303 w 81091"/>
                  <a:gd name="connsiteY26" fmla="*/ 91109 h 131092"/>
                  <a:gd name="connsiteX27" fmla="*/ 47303 w 81091"/>
                  <a:gd name="connsiteY27" fmla="*/ 93386 h 131092"/>
                  <a:gd name="connsiteX28" fmla="*/ 49556 w 81091"/>
                  <a:gd name="connsiteY28" fmla="*/ 97942 h 131092"/>
                  <a:gd name="connsiteX29" fmla="*/ 47303 w 81091"/>
                  <a:gd name="connsiteY29" fmla="*/ 97942 h 131092"/>
                  <a:gd name="connsiteX30" fmla="*/ 49556 w 81091"/>
                  <a:gd name="connsiteY30" fmla="*/ 100220 h 131092"/>
                  <a:gd name="connsiteX31" fmla="*/ 45051 w 81091"/>
                  <a:gd name="connsiteY31" fmla="*/ 97942 h 131092"/>
                  <a:gd name="connsiteX32" fmla="*/ 42798 w 81091"/>
                  <a:gd name="connsiteY32" fmla="*/ 93386 h 131092"/>
                  <a:gd name="connsiteX33" fmla="*/ 40546 w 81091"/>
                  <a:gd name="connsiteY33" fmla="*/ 102497 h 131092"/>
                  <a:gd name="connsiteX34" fmla="*/ 36040 w 81091"/>
                  <a:gd name="connsiteY34" fmla="*/ 97942 h 131092"/>
                  <a:gd name="connsiteX35" fmla="*/ 33788 w 81091"/>
                  <a:gd name="connsiteY35" fmla="*/ 104775 h 131092"/>
                  <a:gd name="connsiteX36" fmla="*/ 31535 w 81091"/>
                  <a:gd name="connsiteY36" fmla="*/ 100220 h 131092"/>
                  <a:gd name="connsiteX37" fmla="*/ 27030 w 81091"/>
                  <a:gd name="connsiteY37" fmla="*/ 93386 h 131092"/>
                  <a:gd name="connsiteX38" fmla="*/ 29283 w 81091"/>
                  <a:gd name="connsiteY38" fmla="*/ 97942 h 131092"/>
                  <a:gd name="connsiteX39" fmla="*/ 31535 w 81091"/>
                  <a:gd name="connsiteY39" fmla="*/ 95664 h 131092"/>
                  <a:gd name="connsiteX40" fmla="*/ 27030 w 81091"/>
                  <a:gd name="connsiteY40" fmla="*/ 93386 h 131092"/>
                  <a:gd name="connsiteX41" fmla="*/ 29283 w 81091"/>
                  <a:gd name="connsiteY41" fmla="*/ 91109 h 131092"/>
                  <a:gd name="connsiteX42" fmla="*/ 25131 w 81091"/>
                  <a:gd name="connsiteY42" fmla="*/ 90322 h 131092"/>
                  <a:gd name="connsiteX43" fmla="*/ 24778 w 81091"/>
                  <a:gd name="connsiteY43" fmla="*/ 90255 h 131092"/>
                  <a:gd name="connsiteX44" fmla="*/ 20273 w 81091"/>
                  <a:gd name="connsiteY44" fmla="*/ 84276 h 131092"/>
                  <a:gd name="connsiteX45" fmla="*/ 24778 w 81091"/>
                  <a:gd name="connsiteY45" fmla="*/ 84276 h 131092"/>
                  <a:gd name="connsiteX46" fmla="*/ 24778 w 81091"/>
                  <a:gd name="connsiteY46" fmla="*/ 72887 h 131092"/>
                  <a:gd name="connsiteX47" fmla="*/ 20273 w 81091"/>
                  <a:gd name="connsiteY47" fmla="*/ 72887 h 131092"/>
                  <a:gd name="connsiteX48" fmla="*/ 22525 w 81091"/>
                  <a:gd name="connsiteY48" fmla="*/ 70609 h 131092"/>
                  <a:gd name="connsiteX49" fmla="*/ 24778 w 81091"/>
                  <a:gd name="connsiteY49" fmla="*/ 66054 h 131092"/>
                  <a:gd name="connsiteX50" fmla="*/ 20273 w 81091"/>
                  <a:gd name="connsiteY50" fmla="*/ 66054 h 131092"/>
                  <a:gd name="connsiteX51" fmla="*/ 22525 w 81091"/>
                  <a:gd name="connsiteY51" fmla="*/ 61498 h 131092"/>
                  <a:gd name="connsiteX52" fmla="*/ 13515 w 81091"/>
                  <a:gd name="connsiteY52" fmla="*/ 52388 h 131092"/>
                  <a:gd name="connsiteX53" fmla="*/ 11262 w 81091"/>
                  <a:gd name="connsiteY53" fmla="*/ 47832 h 131092"/>
                  <a:gd name="connsiteX54" fmla="*/ 6757 w 81091"/>
                  <a:gd name="connsiteY54" fmla="*/ 47832 h 131092"/>
                  <a:gd name="connsiteX55" fmla="*/ 2252 w 81091"/>
                  <a:gd name="connsiteY55" fmla="*/ 43277 h 131092"/>
                  <a:gd name="connsiteX56" fmla="*/ 2252 w 81091"/>
                  <a:gd name="connsiteY56" fmla="*/ 38721 h 131092"/>
                  <a:gd name="connsiteX57" fmla="*/ 4505 w 81091"/>
                  <a:gd name="connsiteY57" fmla="*/ 38721 h 131092"/>
                  <a:gd name="connsiteX58" fmla="*/ 6757 w 81091"/>
                  <a:gd name="connsiteY58" fmla="*/ 40999 h 131092"/>
                  <a:gd name="connsiteX59" fmla="*/ 6757 w 81091"/>
                  <a:gd name="connsiteY59" fmla="*/ 38721 h 131092"/>
                  <a:gd name="connsiteX60" fmla="*/ 15768 w 81091"/>
                  <a:gd name="connsiteY60" fmla="*/ 45554 h 131092"/>
                  <a:gd name="connsiteX61" fmla="*/ 18020 w 81091"/>
                  <a:gd name="connsiteY61" fmla="*/ 40999 h 131092"/>
                  <a:gd name="connsiteX62" fmla="*/ 13515 w 81091"/>
                  <a:gd name="connsiteY62" fmla="*/ 36444 h 131092"/>
                  <a:gd name="connsiteX63" fmla="*/ 11262 w 81091"/>
                  <a:gd name="connsiteY63" fmla="*/ 31888 h 131092"/>
                  <a:gd name="connsiteX64" fmla="*/ 4505 w 81091"/>
                  <a:gd name="connsiteY64" fmla="*/ 27333 h 131092"/>
                  <a:gd name="connsiteX65" fmla="*/ 2252 w 81091"/>
                  <a:gd name="connsiteY65" fmla="*/ 25055 h 131092"/>
                  <a:gd name="connsiteX66" fmla="*/ 0 w 81091"/>
                  <a:gd name="connsiteY66" fmla="*/ 20500 h 131092"/>
                  <a:gd name="connsiteX67" fmla="*/ 4505 w 81091"/>
                  <a:gd name="connsiteY67" fmla="*/ 22777 h 131092"/>
                  <a:gd name="connsiteX68" fmla="*/ 6757 w 81091"/>
                  <a:gd name="connsiteY68" fmla="*/ 6833 h 131092"/>
                  <a:gd name="connsiteX69" fmla="*/ 20273 w 81091"/>
                  <a:gd name="connsiteY69" fmla="*/ 6833 h 131092"/>
                  <a:gd name="connsiteX70" fmla="*/ 24778 w 81091"/>
                  <a:gd name="connsiteY70" fmla="*/ 6833 h 131092"/>
                  <a:gd name="connsiteX71" fmla="*/ 27030 w 81091"/>
                  <a:gd name="connsiteY71" fmla="*/ 0 h 131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81091" h="131092">
                    <a:moveTo>
                      <a:pt x="46921" y="122634"/>
                    </a:moveTo>
                    <a:cubicBezTo>
                      <a:pt x="53707" y="125015"/>
                      <a:pt x="42396" y="134540"/>
                      <a:pt x="35610" y="129778"/>
                    </a:cubicBezTo>
                    <a:cubicBezTo>
                      <a:pt x="31085" y="125015"/>
                      <a:pt x="44658" y="122634"/>
                      <a:pt x="46921" y="122634"/>
                    </a:cubicBezTo>
                    <a:close/>
                    <a:moveTo>
                      <a:pt x="25131" y="97631"/>
                    </a:moveTo>
                    <a:cubicBezTo>
                      <a:pt x="26917" y="97631"/>
                      <a:pt x="26917" y="100012"/>
                      <a:pt x="28703" y="100012"/>
                    </a:cubicBezTo>
                    <a:cubicBezTo>
                      <a:pt x="28703" y="102394"/>
                      <a:pt x="25131" y="104775"/>
                      <a:pt x="25131" y="97631"/>
                    </a:cubicBezTo>
                    <a:close/>
                    <a:moveTo>
                      <a:pt x="70376" y="88106"/>
                    </a:moveTo>
                    <a:cubicBezTo>
                      <a:pt x="75138" y="90487"/>
                      <a:pt x="72757" y="95250"/>
                      <a:pt x="67994" y="90487"/>
                    </a:cubicBezTo>
                    <a:cubicBezTo>
                      <a:pt x="70376" y="90487"/>
                      <a:pt x="70376" y="88106"/>
                      <a:pt x="70376" y="88106"/>
                    </a:cubicBezTo>
                    <a:close/>
                    <a:moveTo>
                      <a:pt x="27030" y="0"/>
                    </a:moveTo>
                    <a:cubicBezTo>
                      <a:pt x="33788" y="4555"/>
                      <a:pt x="38293" y="13666"/>
                      <a:pt x="47303" y="18222"/>
                    </a:cubicBezTo>
                    <a:cubicBezTo>
                      <a:pt x="51808" y="25055"/>
                      <a:pt x="58566" y="29610"/>
                      <a:pt x="65323" y="36444"/>
                    </a:cubicBezTo>
                    <a:cubicBezTo>
                      <a:pt x="67576" y="43277"/>
                      <a:pt x="67576" y="47832"/>
                      <a:pt x="69829" y="54665"/>
                    </a:cubicBezTo>
                    <a:cubicBezTo>
                      <a:pt x="72081" y="54665"/>
                      <a:pt x="76586" y="66054"/>
                      <a:pt x="76586" y="61498"/>
                    </a:cubicBezTo>
                    <a:cubicBezTo>
                      <a:pt x="78839" y="63776"/>
                      <a:pt x="81091" y="72887"/>
                      <a:pt x="81091" y="75165"/>
                    </a:cubicBezTo>
                    <a:cubicBezTo>
                      <a:pt x="78839" y="75165"/>
                      <a:pt x="78839" y="75165"/>
                      <a:pt x="78839" y="75165"/>
                    </a:cubicBezTo>
                    <a:cubicBezTo>
                      <a:pt x="78839" y="79720"/>
                      <a:pt x="81091" y="84276"/>
                      <a:pt x="76586" y="86553"/>
                    </a:cubicBezTo>
                    <a:cubicBezTo>
                      <a:pt x="76586" y="84276"/>
                      <a:pt x="69829" y="84276"/>
                      <a:pt x="67576" y="81998"/>
                    </a:cubicBezTo>
                    <a:cubicBezTo>
                      <a:pt x="67576" y="86553"/>
                      <a:pt x="65323" y="84276"/>
                      <a:pt x="63071" y="86553"/>
                    </a:cubicBezTo>
                    <a:cubicBezTo>
                      <a:pt x="67576" y="86553"/>
                      <a:pt x="67576" y="88831"/>
                      <a:pt x="67576" y="91109"/>
                    </a:cubicBezTo>
                    <a:cubicBezTo>
                      <a:pt x="65323" y="86553"/>
                      <a:pt x="58566" y="91109"/>
                      <a:pt x="56313" y="86553"/>
                    </a:cubicBezTo>
                    <a:lnTo>
                      <a:pt x="54211" y="88443"/>
                    </a:lnTo>
                    <a:lnTo>
                      <a:pt x="53779" y="88831"/>
                    </a:lnTo>
                    <a:cubicBezTo>
                      <a:pt x="52371" y="88831"/>
                      <a:pt x="50682" y="88831"/>
                      <a:pt x="49556" y="91109"/>
                    </a:cubicBezTo>
                    <a:cubicBezTo>
                      <a:pt x="51808" y="91109"/>
                      <a:pt x="51808" y="91109"/>
                      <a:pt x="54061" y="93386"/>
                    </a:cubicBezTo>
                    <a:cubicBezTo>
                      <a:pt x="56313" y="93386"/>
                      <a:pt x="51808" y="93386"/>
                      <a:pt x="51808" y="95664"/>
                    </a:cubicBezTo>
                    <a:cubicBezTo>
                      <a:pt x="49556" y="95664"/>
                      <a:pt x="49556" y="91109"/>
                      <a:pt x="47303" y="91109"/>
                    </a:cubicBezTo>
                    <a:cubicBezTo>
                      <a:pt x="47303" y="91109"/>
                      <a:pt x="47303" y="93386"/>
                      <a:pt x="47303" y="93386"/>
                    </a:cubicBezTo>
                    <a:cubicBezTo>
                      <a:pt x="47303" y="95664"/>
                      <a:pt x="49556" y="95664"/>
                      <a:pt x="49556" y="97942"/>
                    </a:cubicBezTo>
                    <a:cubicBezTo>
                      <a:pt x="49556" y="97942"/>
                      <a:pt x="49556" y="97942"/>
                      <a:pt x="47303" y="97942"/>
                    </a:cubicBezTo>
                    <a:cubicBezTo>
                      <a:pt x="49556" y="100220"/>
                      <a:pt x="49556" y="100220"/>
                      <a:pt x="49556" y="100220"/>
                    </a:cubicBezTo>
                    <a:cubicBezTo>
                      <a:pt x="47303" y="102497"/>
                      <a:pt x="45051" y="97942"/>
                      <a:pt x="45051" y="97942"/>
                    </a:cubicBezTo>
                    <a:cubicBezTo>
                      <a:pt x="47303" y="97942"/>
                      <a:pt x="47303" y="93386"/>
                      <a:pt x="42798" y="93386"/>
                    </a:cubicBezTo>
                    <a:cubicBezTo>
                      <a:pt x="40546" y="93386"/>
                      <a:pt x="40546" y="100220"/>
                      <a:pt x="40546" y="102497"/>
                    </a:cubicBezTo>
                    <a:cubicBezTo>
                      <a:pt x="38293" y="100220"/>
                      <a:pt x="36040" y="100220"/>
                      <a:pt x="36040" y="97942"/>
                    </a:cubicBezTo>
                    <a:cubicBezTo>
                      <a:pt x="36040" y="100220"/>
                      <a:pt x="36040" y="102497"/>
                      <a:pt x="33788" y="104775"/>
                    </a:cubicBezTo>
                    <a:cubicBezTo>
                      <a:pt x="31535" y="104775"/>
                      <a:pt x="31535" y="102497"/>
                      <a:pt x="31535" y="100220"/>
                    </a:cubicBezTo>
                    <a:cubicBezTo>
                      <a:pt x="29283" y="100220"/>
                      <a:pt x="24778" y="97942"/>
                      <a:pt x="27030" y="93386"/>
                    </a:cubicBezTo>
                    <a:cubicBezTo>
                      <a:pt x="27030" y="95664"/>
                      <a:pt x="27030" y="97942"/>
                      <a:pt x="29283" y="97942"/>
                    </a:cubicBezTo>
                    <a:cubicBezTo>
                      <a:pt x="27030" y="95664"/>
                      <a:pt x="29283" y="93386"/>
                      <a:pt x="31535" y="95664"/>
                    </a:cubicBezTo>
                    <a:cubicBezTo>
                      <a:pt x="29283" y="95664"/>
                      <a:pt x="27030" y="93386"/>
                      <a:pt x="27030" y="93386"/>
                    </a:cubicBezTo>
                    <a:cubicBezTo>
                      <a:pt x="27030" y="93386"/>
                      <a:pt x="29283" y="93386"/>
                      <a:pt x="29283" y="91109"/>
                    </a:cubicBezTo>
                    <a:lnTo>
                      <a:pt x="25131" y="90322"/>
                    </a:lnTo>
                    <a:lnTo>
                      <a:pt x="24778" y="90255"/>
                    </a:lnTo>
                    <a:cubicBezTo>
                      <a:pt x="23088" y="88262"/>
                      <a:pt x="21399" y="85414"/>
                      <a:pt x="20273" y="84276"/>
                    </a:cubicBezTo>
                    <a:cubicBezTo>
                      <a:pt x="22525" y="84276"/>
                      <a:pt x="22525" y="84276"/>
                      <a:pt x="24778" y="84276"/>
                    </a:cubicBezTo>
                    <a:cubicBezTo>
                      <a:pt x="20273" y="81998"/>
                      <a:pt x="20273" y="75165"/>
                      <a:pt x="24778" y="72887"/>
                    </a:cubicBezTo>
                    <a:cubicBezTo>
                      <a:pt x="22525" y="72887"/>
                      <a:pt x="22525" y="72887"/>
                      <a:pt x="20273" y="72887"/>
                    </a:cubicBezTo>
                    <a:cubicBezTo>
                      <a:pt x="20273" y="70609"/>
                      <a:pt x="20273" y="70609"/>
                      <a:pt x="22525" y="70609"/>
                    </a:cubicBezTo>
                    <a:cubicBezTo>
                      <a:pt x="24778" y="68332"/>
                      <a:pt x="22525" y="66054"/>
                      <a:pt x="24778" y="66054"/>
                    </a:cubicBezTo>
                    <a:cubicBezTo>
                      <a:pt x="22525" y="66054"/>
                      <a:pt x="22525" y="66054"/>
                      <a:pt x="20273" y="66054"/>
                    </a:cubicBezTo>
                    <a:cubicBezTo>
                      <a:pt x="20273" y="63776"/>
                      <a:pt x="22525" y="61498"/>
                      <a:pt x="22525" y="61498"/>
                    </a:cubicBezTo>
                    <a:cubicBezTo>
                      <a:pt x="20273" y="66054"/>
                      <a:pt x="11262" y="54665"/>
                      <a:pt x="13515" y="52388"/>
                    </a:cubicBezTo>
                    <a:cubicBezTo>
                      <a:pt x="11262" y="52388"/>
                      <a:pt x="11262" y="50110"/>
                      <a:pt x="11262" y="47832"/>
                    </a:cubicBezTo>
                    <a:cubicBezTo>
                      <a:pt x="11262" y="47832"/>
                      <a:pt x="6757" y="43277"/>
                      <a:pt x="6757" y="47832"/>
                    </a:cubicBezTo>
                    <a:cubicBezTo>
                      <a:pt x="4505" y="45554"/>
                      <a:pt x="2252" y="45554"/>
                      <a:pt x="2252" y="43277"/>
                    </a:cubicBezTo>
                    <a:cubicBezTo>
                      <a:pt x="2252" y="43277"/>
                      <a:pt x="4505" y="40999"/>
                      <a:pt x="2252" y="38721"/>
                    </a:cubicBezTo>
                    <a:cubicBezTo>
                      <a:pt x="4505" y="43277"/>
                      <a:pt x="4505" y="43277"/>
                      <a:pt x="4505" y="38721"/>
                    </a:cubicBezTo>
                    <a:cubicBezTo>
                      <a:pt x="4505" y="38721"/>
                      <a:pt x="6757" y="40999"/>
                      <a:pt x="6757" y="40999"/>
                    </a:cubicBezTo>
                    <a:cubicBezTo>
                      <a:pt x="9010" y="40999"/>
                      <a:pt x="9010" y="38721"/>
                      <a:pt x="6757" y="38721"/>
                    </a:cubicBezTo>
                    <a:cubicBezTo>
                      <a:pt x="9010" y="40999"/>
                      <a:pt x="13515" y="40999"/>
                      <a:pt x="15768" y="45554"/>
                    </a:cubicBezTo>
                    <a:cubicBezTo>
                      <a:pt x="15768" y="43277"/>
                      <a:pt x="15768" y="40999"/>
                      <a:pt x="18020" y="40999"/>
                    </a:cubicBezTo>
                    <a:cubicBezTo>
                      <a:pt x="15768" y="40999"/>
                      <a:pt x="13515" y="38721"/>
                      <a:pt x="13515" y="36444"/>
                    </a:cubicBezTo>
                    <a:cubicBezTo>
                      <a:pt x="11262" y="38721"/>
                      <a:pt x="6757" y="31888"/>
                      <a:pt x="11262" y="31888"/>
                    </a:cubicBezTo>
                    <a:cubicBezTo>
                      <a:pt x="9010" y="31888"/>
                      <a:pt x="6757" y="29610"/>
                      <a:pt x="4505" y="27333"/>
                    </a:cubicBezTo>
                    <a:cubicBezTo>
                      <a:pt x="4505" y="27333"/>
                      <a:pt x="4505" y="25055"/>
                      <a:pt x="2252" y="25055"/>
                    </a:cubicBezTo>
                    <a:cubicBezTo>
                      <a:pt x="2252" y="22777"/>
                      <a:pt x="0" y="22777"/>
                      <a:pt x="0" y="20500"/>
                    </a:cubicBezTo>
                    <a:cubicBezTo>
                      <a:pt x="2252" y="18222"/>
                      <a:pt x="2252" y="22777"/>
                      <a:pt x="4505" y="22777"/>
                    </a:cubicBezTo>
                    <a:cubicBezTo>
                      <a:pt x="-2253" y="20500"/>
                      <a:pt x="2252" y="11389"/>
                      <a:pt x="6757" y="6833"/>
                    </a:cubicBezTo>
                    <a:cubicBezTo>
                      <a:pt x="11262" y="4555"/>
                      <a:pt x="15768" y="6833"/>
                      <a:pt x="20273" y="6833"/>
                    </a:cubicBezTo>
                    <a:cubicBezTo>
                      <a:pt x="22525" y="6833"/>
                      <a:pt x="24778" y="6833"/>
                      <a:pt x="24778" y="6833"/>
                    </a:cubicBezTo>
                    <a:cubicBezTo>
                      <a:pt x="27030" y="4555"/>
                      <a:pt x="24778" y="2278"/>
                      <a:pt x="27030" y="0"/>
                    </a:cubicBezTo>
                    <a:close/>
                  </a:path>
                </a:pathLst>
              </a:custGeom>
              <a:solidFill>
                <a:schemeClr val="accent2"/>
              </a:solidFill>
              <a:ln w="3175">
                <a:solidFill>
                  <a:schemeClr val="accent2"/>
                </a:solidFill>
                <a:round/>
                <a:headEnd/>
                <a:tailEnd/>
              </a:ln>
            </p:spPr>
            <p:txBody>
              <a:bodyPr vert="horz" wrap="square" lIns="68455" tIns="34227" rIns="68455" bIns="3422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39" name="Russia">
                <a:extLst>
                  <a:ext uri="{FF2B5EF4-FFF2-40B4-BE49-F238E27FC236}">
                    <a16:creationId xmlns:a16="http://schemas.microsoft.com/office/drawing/2014/main" id="{75EF113F-D3FD-5CCB-426B-D8DDA5D6A25E}"/>
                  </a:ext>
                </a:extLst>
              </p:cNvPr>
              <p:cNvSpPr>
                <a:spLocks noEditPoints="1"/>
              </p:cNvSpPr>
              <p:nvPr/>
            </p:nvSpPr>
            <p:spPr bwMode="auto">
              <a:xfrm>
                <a:off x="4309596" y="1439090"/>
                <a:ext cx="2764791" cy="881691"/>
              </a:xfrm>
              <a:custGeom>
                <a:avLst/>
                <a:gdLst>
                  <a:gd name="T0" fmla="*/ 2742 w 3418"/>
                  <a:gd name="T1" fmla="*/ 780 h 1090"/>
                  <a:gd name="T2" fmla="*/ 2794 w 3418"/>
                  <a:gd name="T3" fmla="*/ 897 h 1090"/>
                  <a:gd name="T4" fmla="*/ 3046 w 3418"/>
                  <a:gd name="T5" fmla="*/ 800 h 1090"/>
                  <a:gd name="T6" fmla="*/ 1168 w 3418"/>
                  <a:gd name="T7" fmla="*/ 102 h 1090"/>
                  <a:gd name="T8" fmla="*/ 848 w 3418"/>
                  <a:gd name="T9" fmla="*/ 356 h 1090"/>
                  <a:gd name="T10" fmla="*/ 939 w 3418"/>
                  <a:gd name="T11" fmla="*/ 133 h 1090"/>
                  <a:gd name="T12" fmla="*/ 2742 w 3418"/>
                  <a:gd name="T13" fmla="*/ 274 h 1090"/>
                  <a:gd name="T14" fmla="*/ 1989 w 3418"/>
                  <a:gd name="T15" fmla="*/ 121 h 1090"/>
                  <a:gd name="T16" fmla="*/ 1931 w 3418"/>
                  <a:gd name="T17" fmla="*/ 124 h 1090"/>
                  <a:gd name="T18" fmla="*/ 1020 w 3418"/>
                  <a:gd name="T19" fmla="*/ 25 h 1090"/>
                  <a:gd name="T20" fmla="*/ 1134 w 3418"/>
                  <a:gd name="T21" fmla="*/ 50 h 1090"/>
                  <a:gd name="T22" fmla="*/ 1752 w 3418"/>
                  <a:gd name="T23" fmla="*/ 170 h 1090"/>
                  <a:gd name="T24" fmla="*/ 3118 w 3418"/>
                  <a:gd name="T25" fmla="*/ 376 h 1090"/>
                  <a:gd name="T26" fmla="*/ 3166 w 3418"/>
                  <a:gd name="T27" fmla="*/ 463 h 1090"/>
                  <a:gd name="T28" fmla="*/ 2998 w 3418"/>
                  <a:gd name="T29" fmla="*/ 538 h 1090"/>
                  <a:gd name="T30" fmla="*/ 3082 w 3418"/>
                  <a:gd name="T31" fmla="*/ 681 h 1090"/>
                  <a:gd name="T32" fmla="*/ 2892 w 3418"/>
                  <a:gd name="T33" fmla="*/ 604 h 1090"/>
                  <a:gd name="T34" fmla="*/ 2890 w 3418"/>
                  <a:gd name="T35" fmla="*/ 487 h 1090"/>
                  <a:gd name="T36" fmla="*/ 2775 w 3418"/>
                  <a:gd name="T37" fmla="*/ 557 h 1090"/>
                  <a:gd name="T38" fmla="*/ 2520 w 3418"/>
                  <a:gd name="T39" fmla="*/ 595 h 1090"/>
                  <a:gd name="T40" fmla="*/ 2579 w 3418"/>
                  <a:gd name="T41" fmla="*/ 719 h 1090"/>
                  <a:gd name="T42" fmla="*/ 2724 w 3418"/>
                  <a:gd name="T43" fmla="*/ 897 h 1090"/>
                  <a:gd name="T44" fmla="*/ 2582 w 3418"/>
                  <a:gd name="T45" fmla="*/ 978 h 1090"/>
                  <a:gd name="T46" fmla="*/ 2468 w 3418"/>
                  <a:gd name="T47" fmla="*/ 846 h 1090"/>
                  <a:gd name="T48" fmla="*/ 2199 w 3418"/>
                  <a:gd name="T49" fmla="*/ 802 h 1090"/>
                  <a:gd name="T50" fmla="*/ 1781 w 3418"/>
                  <a:gd name="T51" fmla="*/ 783 h 1090"/>
                  <a:gd name="T52" fmla="*/ 1498 w 3418"/>
                  <a:gd name="T53" fmla="*/ 838 h 1090"/>
                  <a:gd name="T54" fmla="*/ 1188 w 3418"/>
                  <a:gd name="T55" fmla="*/ 725 h 1090"/>
                  <a:gd name="T56" fmla="*/ 972 w 3418"/>
                  <a:gd name="T57" fmla="*/ 668 h 1090"/>
                  <a:gd name="T58" fmla="*/ 809 w 3418"/>
                  <a:gd name="T59" fmla="*/ 738 h 1090"/>
                  <a:gd name="T60" fmla="*/ 676 w 3418"/>
                  <a:gd name="T61" fmla="*/ 796 h 1090"/>
                  <a:gd name="T62" fmla="*/ 518 w 3418"/>
                  <a:gd name="T63" fmla="*/ 878 h 1090"/>
                  <a:gd name="T64" fmla="*/ 560 w 3418"/>
                  <a:gd name="T65" fmla="*/ 1038 h 1090"/>
                  <a:gd name="T66" fmla="*/ 283 w 3418"/>
                  <a:gd name="T67" fmla="*/ 963 h 1090"/>
                  <a:gd name="T68" fmla="*/ 340 w 3418"/>
                  <a:gd name="T69" fmla="*/ 852 h 1090"/>
                  <a:gd name="T70" fmla="*/ 140 w 3418"/>
                  <a:gd name="T71" fmla="*/ 732 h 1090"/>
                  <a:gd name="T72" fmla="*/ 33 w 3418"/>
                  <a:gd name="T73" fmla="*/ 541 h 1090"/>
                  <a:gd name="T74" fmla="*/ 0 w 3418"/>
                  <a:gd name="T75" fmla="*/ 301 h 1090"/>
                  <a:gd name="T76" fmla="*/ 265 w 3418"/>
                  <a:gd name="T77" fmla="*/ 340 h 1090"/>
                  <a:gd name="T78" fmla="*/ 180 w 3418"/>
                  <a:gd name="T79" fmla="*/ 420 h 1090"/>
                  <a:gd name="T80" fmla="*/ 332 w 3418"/>
                  <a:gd name="T81" fmla="*/ 352 h 1090"/>
                  <a:gd name="T82" fmla="*/ 480 w 3418"/>
                  <a:gd name="T83" fmla="*/ 303 h 1090"/>
                  <a:gd name="T84" fmla="*/ 711 w 3418"/>
                  <a:gd name="T85" fmla="*/ 283 h 1090"/>
                  <a:gd name="T86" fmla="*/ 793 w 3418"/>
                  <a:gd name="T87" fmla="*/ 192 h 1090"/>
                  <a:gd name="T88" fmla="*/ 898 w 3418"/>
                  <a:gd name="T89" fmla="*/ 356 h 1090"/>
                  <a:gd name="T90" fmla="*/ 842 w 3418"/>
                  <a:gd name="T91" fmla="*/ 228 h 1090"/>
                  <a:gd name="T92" fmla="*/ 985 w 3418"/>
                  <a:gd name="T93" fmla="*/ 218 h 1090"/>
                  <a:gd name="T94" fmla="*/ 1067 w 3418"/>
                  <a:gd name="T95" fmla="*/ 130 h 1090"/>
                  <a:gd name="T96" fmla="*/ 1250 w 3418"/>
                  <a:gd name="T97" fmla="*/ 91 h 1090"/>
                  <a:gd name="T98" fmla="*/ 1493 w 3418"/>
                  <a:gd name="T99" fmla="*/ 123 h 1090"/>
                  <a:gd name="T100" fmla="*/ 1509 w 3418"/>
                  <a:gd name="T101" fmla="*/ 167 h 1090"/>
                  <a:gd name="T102" fmla="*/ 1826 w 3418"/>
                  <a:gd name="T103" fmla="*/ 176 h 1090"/>
                  <a:gd name="T104" fmla="*/ 2019 w 3418"/>
                  <a:gd name="T105" fmla="*/ 229 h 1090"/>
                  <a:gd name="T106" fmla="*/ 2179 w 3418"/>
                  <a:gd name="T107" fmla="*/ 208 h 1090"/>
                  <a:gd name="T108" fmla="*/ 2652 w 3418"/>
                  <a:gd name="T109" fmla="*/ 274 h 1090"/>
                  <a:gd name="T110" fmla="*/ 3099 w 3418"/>
                  <a:gd name="T111" fmla="*/ 316 h 1090"/>
                  <a:gd name="T112" fmla="*/ 3284 w 3418"/>
                  <a:gd name="T113" fmla="*/ 381 h 1090"/>
                  <a:gd name="T114" fmla="*/ 3088 w 3418"/>
                  <a:gd name="T115" fmla="*/ 407 h 1090"/>
                  <a:gd name="T116" fmla="*/ 436 w 3418"/>
                  <a:gd name="T117" fmla="*/ 198 h 1090"/>
                  <a:gd name="T118" fmla="*/ 505 w 3418"/>
                  <a:gd name="T119" fmla="*/ 128 h 1090"/>
                  <a:gd name="T120" fmla="*/ 534 w 3418"/>
                  <a:gd name="T121" fmla="*/ 154 h 1090"/>
                  <a:gd name="T122" fmla="*/ 508 w 3418"/>
                  <a:gd name="T123" fmla="*/ 251 h 1090"/>
                  <a:gd name="T124" fmla="*/ 577 w 3418"/>
                  <a:gd name="T125" fmla="*/ 261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18" h="1090">
                    <a:moveTo>
                      <a:pt x="166" y="395"/>
                    </a:moveTo>
                    <a:lnTo>
                      <a:pt x="166" y="395"/>
                    </a:lnTo>
                    <a:lnTo>
                      <a:pt x="166" y="396"/>
                    </a:lnTo>
                    <a:lnTo>
                      <a:pt x="164" y="396"/>
                    </a:lnTo>
                    <a:lnTo>
                      <a:pt x="164" y="396"/>
                    </a:lnTo>
                    <a:lnTo>
                      <a:pt x="163" y="396"/>
                    </a:lnTo>
                    <a:lnTo>
                      <a:pt x="163" y="396"/>
                    </a:lnTo>
                    <a:lnTo>
                      <a:pt x="162" y="396"/>
                    </a:lnTo>
                    <a:lnTo>
                      <a:pt x="160" y="395"/>
                    </a:lnTo>
                    <a:lnTo>
                      <a:pt x="160" y="395"/>
                    </a:lnTo>
                    <a:lnTo>
                      <a:pt x="159" y="394"/>
                    </a:lnTo>
                    <a:lnTo>
                      <a:pt x="157" y="394"/>
                    </a:lnTo>
                    <a:lnTo>
                      <a:pt x="160" y="394"/>
                    </a:lnTo>
                    <a:lnTo>
                      <a:pt x="162" y="392"/>
                    </a:lnTo>
                    <a:lnTo>
                      <a:pt x="163" y="392"/>
                    </a:lnTo>
                    <a:lnTo>
                      <a:pt x="164" y="394"/>
                    </a:lnTo>
                    <a:lnTo>
                      <a:pt x="164" y="394"/>
                    </a:lnTo>
                    <a:lnTo>
                      <a:pt x="166" y="395"/>
                    </a:lnTo>
                    <a:close/>
                    <a:moveTo>
                      <a:pt x="257" y="398"/>
                    </a:moveTo>
                    <a:lnTo>
                      <a:pt x="257" y="396"/>
                    </a:lnTo>
                    <a:lnTo>
                      <a:pt x="255" y="396"/>
                    </a:lnTo>
                    <a:lnTo>
                      <a:pt x="257" y="398"/>
                    </a:lnTo>
                    <a:close/>
                    <a:moveTo>
                      <a:pt x="2515" y="676"/>
                    </a:moveTo>
                    <a:lnTo>
                      <a:pt x="2515" y="675"/>
                    </a:lnTo>
                    <a:lnTo>
                      <a:pt x="2517" y="675"/>
                    </a:lnTo>
                    <a:lnTo>
                      <a:pt x="2515" y="675"/>
                    </a:lnTo>
                    <a:lnTo>
                      <a:pt x="2514" y="675"/>
                    </a:lnTo>
                    <a:lnTo>
                      <a:pt x="2512" y="676"/>
                    </a:lnTo>
                    <a:lnTo>
                      <a:pt x="2509" y="676"/>
                    </a:lnTo>
                    <a:lnTo>
                      <a:pt x="2508" y="676"/>
                    </a:lnTo>
                    <a:lnTo>
                      <a:pt x="2508" y="678"/>
                    </a:lnTo>
                    <a:lnTo>
                      <a:pt x="2508" y="678"/>
                    </a:lnTo>
                    <a:lnTo>
                      <a:pt x="2508" y="679"/>
                    </a:lnTo>
                    <a:lnTo>
                      <a:pt x="2508" y="679"/>
                    </a:lnTo>
                    <a:lnTo>
                      <a:pt x="2508" y="681"/>
                    </a:lnTo>
                    <a:lnTo>
                      <a:pt x="2517" y="681"/>
                    </a:lnTo>
                    <a:lnTo>
                      <a:pt x="2515" y="679"/>
                    </a:lnTo>
                    <a:lnTo>
                      <a:pt x="2515" y="679"/>
                    </a:lnTo>
                    <a:lnTo>
                      <a:pt x="2515" y="679"/>
                    </a:lnTo>
                    <a:lnTo>
                      <a:pt x="2514" y="678"/>
                    </a:lnTo>
                    <a:lnTo>
                      <a:pt x="2515" y="678"/>
                    </a:lnTo>
                    <a:lnTo>
                      <a:pt x="2515" y="676"/>
                    </a:lnTo>
                    <a:close/>
                    <a:moveTo>
                      <a:pt x="2522" y="678"/>
                    </a:moveTo>
                    <a:lnTo>
                      <a:pt x="2521" y="678"/>
                    </a:lnTo>
                    <a:lnTo>
                      <a:pt x="2521" y="681"/>
                    </a:lnTo>
                    <a:lnTo>
                      <a:pt x="2521" y="682"/>
                    </a:lnTo>
                    <a:lnTo>
                      <a:pt x="2521" y="682"/>
                    </a:lnTo>
                    <a:lnTo>
                      <a:pt x="2521" y="683"/>
                    </a:lnTo>
                    <a:lnTo>
                      <a:pt x="2521" y="683"/>
                    </a:lnTo>
                    <a:lnTo>
                      <a:pt x="2522" y="683"/>
                    </a:lnTo>
                    <a:lnTo>
                      <a:pt x="2524" y="683"/>
                    </a:lnTo>
                    <a:lnTo>
                      <a:pt x="2524" y="683"/>
                    </a:lnTo>
                    <a:lnTo>
                      <a:pt x="2525" y="683"/>
                    </a:lnTo>
                    <a:lnTo>
                      <a:pt x="2527" y="685"/>
                    </a:lnTo>
                    <a:lnTo>
                      <a:pt x="2530" y="685"/>
                    </a:lnTo>
                    <a:lnTo>
                      <a:pt x="2532" y="686"/>
                    </a:lnTo>
                    <a:lnTo>
                      <a:pt x="2534" y="688"/>
                    </a:lnTo>
                    <a:lnTo>
                      <a:pt x="2537" y="688"/>
                    </a:lnTo>
                    <a:lnTo>
                      <a:pt x="2538" y="688"/>
                    </a:lnTo>
                    <a:lnTo>
                      <a:pt x="2538" y="689"/>
                    </a:lnTo>
                    <a:lnTo>
                      <a:pt x="2540" y="688"/>
                    </a:lnTo>
                    <a:lnTo>
                      <a:pt x="2540" y="688"/>
                    </a:lnTo>
                    <a:lnTo>
                      <a:pt x="2540" y="686"/>
                    </a:lnTo>
                    <a:lnTo>
                      <a:pt x="2540" y="683"/>
                    </a:lnTo>
                    <a:lnTo>
                      <a:pt x="2538" y="682"/>
                    </a:lnTo>
                    <a:lnTo>
                      <a:pt x="2537" y="679"/>
                    </a:lnTo>
                    <a:lnTo>
                      <a:pt x="2535" y="679"/>
                    </a:lnTo>
                    <a:lnTo>
                      <a:pt x="2535" y="678"/>
                    </a:lnTo>
                    <a:lnTo>
                      <a:pt x="2534" y="678"/>
                    </a:lnTo>
                    <a:lnTo>
                      <a:pt x="2534" y="678"/>
                    </a:lnTo>
                    <a:lnTo>
                      <a:pt x="2532" y="678"/>
                    </a:lnTo>
                    <a:lnTo>
                      <a:pt x="2532" y="678"/>
                    </a:lnTo>
                    <a:lnTo>
                      <a:pt x="2532" y="676"/>
                    </a:lnTo>
                    <a:lnTo>
                      <a:pt x="2531" y="675"/>
                    </a:lnTo>
                    <a:lnTo>
                      <a:pt x="2530" y="675"/>
                    </a:lnTo>
                    <a:lnTo>
                      <a:pt x="2528" y="675"/>
                    </a:lnTo>
                    <a:lnTo>
                      <a:pt x="2525" y="675"/>
                    </a:lnTo>
                    <a:lnTo>
                      <a:pt x="2524" y="673"/>
                    </a:lnTo>
                    <a:lnTo>
                      <a:pt x="2522" y="673"/>
                    </a:lnTo>
                    <a:lnTo>
                      <a:pt x="2521" y="673"/>
                    </a:lnTo>
                    <a:lnTo>
                      <a:pt x="2521" y="673"/>
                    </a:lnTo>
                    <a:lnTo>
                      <a:pt x="2521" y="675"/>
                    </a:lnTo>
                    <a:lnTo>
                      <a:pt x="2522" y="676"/>
                    </a:lnTo>
                    <a:lnTo>
                      <a:pt x="2522" y="678"/>
                    </a:lnTo>
                    <a:lnTo>
                      <a:pt x="2522" y="678"/>
                    </a:lnTo>
                    <a:close/>
                    <a:moveTo>
                      <a:pt x="2541" y="695"/>
                    </a:moveTo>
                    <a:lnTo>
                      <a:pt x="2543" y="695"/>
                    </a:lnTo>
                    <a:lnTo>
                      <a:pt x="2541" y="695"/>
                    </a:lnTo>
                    <a:lnTo>
                      <a:pt x="2541" y="694"/>
                    </a:lnTo>
                    <a:lnTo>
                      <a:pt x="2540" y="692"/>
                    </a:lnTo>
                    <a:lnTo>
                      <a:pt x="2540" y="694"/>
                    </a:lnTo>
                    <a:lnTo>
                      <a:pt x="2540" y="695"/>
                    </a:lnTo>
                    <a:lnTo>
                      <a:pt x="2541" y="695"/>
                    </a:lnTo>
                    <a:close/>
                    <a:moveTo>
                      <a:pt x="2857" y="936"/>
                    </a:moveTo>
                    <a:lnTo>
                      <a:pt x="2856" y="933"/>
                    </a:lnTo>
                    <a:lnTo>
                      <a:pt x="2856" y="931"/>
                    </a:lnTo>
                    <a:lnTo>
                      <a:pt x="2854" y="930"/>
                    </a:lnTo>
                    <a:lnTo>
                      <a:pt x="2853" y="927"/>
                    </a:lnTo>
                    <a:lnTo>
                      <a:pt x="2851" y="927"/>
                    </a:lnTo>
                    <a:lnTo>
                      <a:pt x="2850" y="926"/>
                    </a:lnTo>
                    <a:lnTo>
                      <a:pt x="2850" y="926"/>
                    </a:lnTo>
                    <a:lnTo>
                      <a:pt x="2848" y="924"/>
                    </a:lnTo>
                    <a:lnTo>
                      <a:pt x="2848" y="924"/>
                    </a:lnTo>
                    <a:lnTo>
                      <a:pt x="2847" y="923"/>
                    </a:lnTo>
                    <a:lnTo>
                      <a:pt x="2847" y="921"/>
                    </a:lnTo>
                    <a:lnTo>
                      <a:pt x="2845" y="921"/>
                    </a:lnTo>
                    <a:lnTo>
                      <a:pt x="2844" y="921"/>
                    </a:lnTo>
                    <a:lnTo>
                      <a:pt x="2843" y="921"/>
                    </a:lnTo>
                    <a:lnTo>
                      <a:pt x="2843" y="921"/>
                    </a:lnTo>
                    <a:lnTo>
                      <a:pt x="2841" y="921"/>
                    </a:lnTo>
                    <a:lnTo>
                      <a:pt x="2840" y="921"/>
                    </a:lnTo>
                    <a:lnTo>
                      <a:pt x="2841" y="923"/>
                    </a:lnTo>
                    <a:lnTo>
                      <a:pt x="2843" y="923"/>
                    </a:lnTo>
                    <a:lnTo>
                      <a:pt x="2843" y="924"/>
                    </a:lnTo>
                    <a:lnTo>
                      <a:pt x="2843" y="924"/>
                    </a:lnTo>
                    <a:lnTo>
                      <a:pt x="2843" y="926"/>
                    </a:lnTo>
                    <a:lnTo>
                      <a:pt x="2841" y="926"/>
                    </a:lnTo>
                    <a:lnTo>
                      <a:pt x="2841" y="924"/>
                    </a:lnTo>
                    <a:lnTo>
                      <a:pt x="2840" y="924"/>
                    </a:lnTo>
                    <a:lnTo>
                      <a:pt x="2838" y="923"/>
                    </a:lnTo>
                    <a:lnTo>
                      <a:pt x="2837" y="923"/>
                    </a:lnTo>
                    <a:lnTo>
                      <a:pt x="2835" y="920"/>
                    </a:lnTo>
                    <a:lnTo>
                      <a:pt x="2834" y="917"/>
                    </a:lnTo>
                    <a:lnTo>
                      <a:pt x="2831" y="914"/>
                    </a:lnTo>
                    <a:lnTo>
                      <a:pt x="2831" y="913"/>
                    </a:lnTo>
                    <a:lnTo>
                      <a:pt x="2830" y="911"/>
                    </a:lnTo>
                    <a:lnTo>
                      <a:pt x="2830" y="910"/>
                    </a:lnTo>
                    <a:lnTo>
                      <a:pt x="2828" y="910"/>
                    </a:lnTo>
                    <a:lnTo>
                      <a:pt x="2827" y="908"/>
                    </a:lnTo>
                    <a:lnTo>
                      <a:pt x="2825" y="907"/>
                    </a:lnTo>
                    <a:lnTo>
                      <a:pt x="2822" y="905"/>
                    </a:lnTo>
                    <a:lnTo>
                      <a:pt x="2819" y="904"/>
                    </a:lnTo>
                    <a:lnTo>
                      <a:pt x="2817" y="901"/>
                    </a:lnTo>
                    <a:lnTo>
                      <a:pt x="2814" y="900"/>
                    </a:lnTo>
                    <a:lnTo>
                      <a:pt x="2811" y="898"/>
                    </a:lnTo>
                    <a:lnTo>
                      <a:pt x="2808" y="895"/>
                    </a:lnTo>
                    <a:lnTo>
                      <a:pt x="2807" y="894"/>
                    </a:lnTo>
                    <a:lnTo>
                      <a:pt x="2805" y="892"/>
                    </a:lnTo>
                    <a:lnTo>
                      <a:pt x="2804" y="891"/>
                    </a:lnTo>
                    <a:lnTo>
                      <a:pt x="2802" y="890"/>
                    </a:lnTo>
                    <a:lnTo>
                      <a:pt x="2801" y="888"/>
                    </a:lnTo>
                    <a:lnTo>
                      <a:pt x="2799" y="885"/>
                    </a:lnTo>
                    <a:lnTo>
                      <a:pt x="2798" y="884"/>
                    </a:lnTo>
                    <a:lnTo>
                      <a:pt x="2796" y="881"/>
                    </a:lnTo>
                    <a:lnTo>
                      <a:pt x="2795" y="877"/>
                    </a:lnTo>
                    <a:lnTo>
                      <a:pt x="2794" y="872"/>
                    </a:lnTo>
                    <a:lnTo>
                      <a:pt x="2794" y="868"/>
                    </a:lnTo>
                    <a:lnTo>
                      <a:pt x="2792" y="862"/>
                    </a:lnTo>
                    <a:lnTo>
                      <a:pt x="2791" y="858"/>
                    </a:lnTo>
                    <a:lnTo>
                      <a:pt x="2789" y="858"/>
                    </a:lnTo>
                    <a:lnTo>
                      <a:pt x="2789" y="856"/>
                    </a:lnTo>
                    <a:lnTo>
                      <a:pt x="2788" y="855"/>
                    </a:lnTo>
                    <a:lnTo>
                      <a:pt x="2788" y="854"/>
                    </a:lnTo>
                    <a:lnTo>
                      <a:pt x="2786" y="851"/>
                    </a:lnTo>
                    <a:lnTo>
                      <a:pt x="2786" y="849"/>
                    </a:lnTo>
                    <a:lnTo>
                      <a:pt x="2788" y="848"/>
                    </a:lnTo>
                    <a:lnTo>
                      <a:pt x="2788" y="846"/>
                    </a:lnTo>
                    <a:lnTo>
                      <a:pt x="2792" y="846"/>
                    </a:lnTo>
                    <a:lnTo>
                      <a:pt x="2791" y="846"/>
                    </a:lnTo>
                    <a:lnTo>
                      <a:pt x="2791" y="846"/>
                    </a:lnTo>
                    <a:lnTo>
                      <a:pt x="2789" y="845"/>
                    </a:lnTo>
                    <a:lnTo>
                      <a:pt x="2788" y="843"/>
                    </a:lnTo>
                    <a:lnTo>
                      <a:pt x="2789" y="843"/>
                    </a:lnTo>
                    <a:lnTo>
                      <a:pt x="2789" y="843"/>
                    </a:lnTo>
                    <a:lnTo>
                      <a:pt x="2791" y="843"/>
                    </a:lnTo>
                    <a:lnTo>
                      <a:pt x="2794" y="843"/>
                    </a:lnTo>
                    <a:lnTo>
                      <a:pt x="2795" y="843"/>
                    </a:lnTo>
                    <a:lnTo>
                      <a:pt x="2796" y="845"/>
                    </a:lnTo>
                    <a:lnTo>
                      <a:pt x="2801" y="846"/>
                    </a:lnTo>
                    <a:lnTo>
                      <a:pt x="2805" y="848"/>
                    </a:lnTo>
                    <a:lnTo>
                      <a:pt x="2807" y="848"/>
                    </a:lnTo>
                    <a:lnTo>
                      <a:pt x="2809" y="849"/>
                    </a:lnTo>
                    <a:lnTo>
                      <a:pt x="2811" y="849"/>
                    </a:lnTo>
                    <a:lnTo>
                      <a:pt x="2812" y="849"/>
                    </a:lnTo>
                    <a:lnTo>
                      <a:pt x="2814" y="849"/>
                    </a:lnTo>
                    <a:lnTo>
                      <a:pt x="2814" y="851"/>
                    </a:lnTo>
                    <a:lnTo>
                      <a:pt x="2817" y="851"/>
                    </a:lnTo>
                    <a:lnTo>
                      <a:pt x="2818" y="852"/>
                    </a:lnTo>
                    <a:lnTo>
                      <a:pt x="2821" y="855"/>
                    </a:lnTo>
                    <a:lnTo>
                      <a:pt x="2824" y="856"/>
                    </a:lnTo>
                    <a:lnTo>
                      <a:pt x="2827" y="858"/>
                    </a:lnTo>
                    <a:lnTo>
                      <a:pt x="2828" y="858"/>
                    </a:lnTo>
                    <a:lnTo>
                      <a:pt x="2837" y="867"/>
                    </a:lnTo>
                    <a:lnTo>
                      <a:pt x="2837" y="867"/>
                    </a:lnTo>
                    <a:lnTo>
                      <a:pt x="2835" y="865"/>
                    </a:lnTo>
                    <a:lnTo>
                      <a:pt x="2834" y="862"/>
                    </a:lnTo>
                    <a:lnTo>
                      <a:pt x="2832" y="861"/>
                    </a:lnTo>
                    <a:lnTo>
                      <a:pt x="2832" y="859"/>
                    </a:lnTo>
                    <a:lnTo>
                      <a:pt x="2831" y="858"/>
                    </a:lnTo>
                    <a:lnTo>
                      <a:pt x="2830" y="858"/>
                    </a:lnTo>
                    <a:lnTo>
                      <a:pt x="2828" y="856"/>
                    </a:lnTo>
                    <a:lnTo>
                      <a:pt x="2825" y="856"/>
                    </a:lnTo>
                    <a:lnTo>
                      <a:pt x="2822" y="855"/>
                    </a:lnTo>
                    <a:lnTo>
                      <a:pt x="2821" y="854"/>
                    </a:lnTo>
                    <a:lnTo>
                      <a:pt x="2819" y="854"/>
                    </a:lnTo>
                    <a:lnTo>
                      <a:pt x="2817" y="851"/>
                    </a:lnTo>
                    <a:lnTo>
                      <a:pt x="2814" y="848"/>
                    </a:lnTo>
                    <a:lnTo>
                      <a:pt x="2808" y="842"/>
                    </a:lnTo>
                    <a:lnTo>
                      <a:pt x="2802" y="838"/>
                    </a:lnTo>
                    <a:lnTo>
                      <a:pt x="2801" y="835"/>
                    </a:lnTo>
                    <a:lnTo>
                      <a:pt x="2796" y="833"/>
                    </a:lnTo>
                    <a:lnTo>
                      <a:pt x="2791" y="826"/>
                    </a:lnTo>
                    <a:lnTo>
                      <a:pt x="2785" y="820"/>
                    </a:lnTo>
                    <a:lnTo>
                      <a:pt x="2781" y="815"/>
                    </a:lnTo>
                    <a:lnTo>
                      <a:pt x="2773" y="809"/>
                    </a:lnTo>
                    <a:lnTo>
                      <a:pt x="2762" y="797"/>
                    </a:lnTo>
                    <a:lnTo>
                      <a:pt x="2756" y="792"/>
                    </a:lnTo>
                    <a:lnTo>
                      <a:pt x="2750" y="787"/>
                    </a:lnTo>
                    <a:lnTo>
                      <a:pt x="2752" y="789"/>
                    </a:lnTo>
                    <a:lnTo>
                      <a:pt x="2752" y="789"/>
                    </a:lnTo>
                    <a:lnTo>
                      <a:pt x="2753" y="789"/>
                    </a:lnTo>
                    <a:lnTo>
                      <a:pt x="2752" y="789"/>
                    </a:lnTo>
                    <a:lnTo>
                      <a:pt x="2752" y="789"/>
                    </a:lnTo>
                    <a:lnTo>
                      <a:pt x="2750" y="789"/>
                    </a:lnTo>
                    <a:lnTo>
                      <a:pt x="2749" y="787"/>
                    </a:lnTo>
                    <a:lnTo>
                      <a:pt x="2749" y="787"/>
                    </a:lnTo>
                    <a:lnTo>
                      <a:pt x="2749" y="787"/>
                    </a:lnTo>
                    <a:lnTo>
                      <a:pt x="2747" y="786"/>
                    </a:lnTo>
                    <a:lnTo>
                      <a:pt x="2746" y="783"/>
                    </a:lnTo>
                    <a:lnTo>
                      <a:pt x="2744" y="783"/>
                    </a:lnTo>
                    <a:lnTo>
                      <a:pt x="2743" y="781"/>
                    </a:lnTo>
                    <a:lnTo>
                      <a:pt x="2742" y="780"/>
                    </a:lnTo>
                    <a:lnTo>
                      <a:pt x="2742" y="780"/>
                    </a:lnTo>
                    <a:lnTo>
                      <a:pt x="2742" y="780"/>
                    </a:lnTo>
                    <a:lnTo>
                      <a:pt x="2742" y="780"/>
                    </a:lnTo>
                    <a:lnTo>
                      <a:pt x="2742" y="780"/>
                    </a:lnTo>
                    <a:lnTo>
                      <a:pt x="2742" y="780"/>
                    </a:lnTo>
                    <a:lnTo>
                      <a:pt x="2742" y="780"/>
                    </a:lnTo>
                    <a:lnTo>
                      <a:pt x="2742" y="780"/>
                    </a:lnTo>
                    <a:lnTo>
                      <a:pt x="2742" y="781"/>
                    </a:lnTo>
                    <a:lnTo>
                      <a:pt x="2742" y="781"/>
                    </a:lnTo>
                    <a:lnTo>
                      <a:pt x="2740" y="780"/>
                    </a:lnTo>
                    <a:lnTo>
                      <a:pt x="2739" y="780"/>
                    </a:lnTo>
                    <a:lnTo>
                      <a:pt x="2739" y="779"/>
                    </a:lnTo>
                    <a:lnTo>
                      <a:pt x="2737" y="779"/>
                    </a:lnTo>
                    <a:lnTo>
                      <a:pt x="2737" y="777"/>
                    </a:lnTo>
                    <a:lnTo>
                      <a:pt x="2736" y="776"/>
                    </a:lnTo>
                    <a:lnTo>
                      <a:pt x="2736" y="776"/>
                    </a:lnTo>
                    <a:lnTo>
                      <a:pt x="2736" y="774"/>
                    </a:lnTo>
                    <a:lnTo>
                      <a:pt x="2734" y="773"/>
                    </a:lnTo>
                    <a:lnTo>
                      <a:pt x="2733" y="773"/>
                    </a:lnTo>
                    <a:lnTo>
                      <a:pt x="2733" y="771"/>
                    </a:lnTo>
                    <a:lnTo>
                      <a:pt x="2732" y="771"/>
                    </a:lnTo>
                    <a:lnTo>
                      <a:pt x="2730" y="771"/>
                    </a:lnTo>
                    <a:lnTo>
                      <a:pt x="2729" y="770"/>
                    </a:lnTo>
                    <a:lnTo>
                      <a:pt x="2727" y="768"/>
                    </a:lnTo>
                    <a:lnTo>
                      <a:pt x="2724" y="767"/>
                    </a:lnTo>
                    <a:lnTo>
                      <a:pt x="2723" y="764"/>
                    </a:lnTo>
                    <a:lnTo>
                      <a:pt x="2721" y="763"/>
                    </a:lnTo>
                    <a:lnTo>
                      <a:pt x="2719" y="760"/>
                    </a:lnTo>
                    <a:lnTo>
                      <a:pt x="2717" y="757"/>
                    </a:lnTo>
                    <a:lnTo>
                      <a:pt x="2716" y="756"/>
                    </a:lnTo>
                    <a:lnTo>
                      <a:pt x="2716" y="754"/>
                    </a:lnTo>
                    <a:lnTo>
                      <a:pt x="2717" y="754"/>
                    </a:lnTo>
                    <a:lnTo>
                      <a:pt x="2717" y="756"/>
                    </a:lnTo>
                    <a:lnTo>
                      <a:pt x="2719" y="756"/>
                    </a:lnTo>
                    <a:lnTo>
                      <a:pt x="2719" y="756"/>
                    </a:lnTo>
                    <a:lnTo>
                      <a:pt x="2719" y="753"/>
                    </a:lnTo>
                    <a:lnTo>
                      <a:pt x="2719" y="751"/>
                    </a:lnTo>
                    <a:lnTo>
                      <a:pt x="2717" y="748"/>
                    </a:lnTo>
                    <a:lnTo>
                      <a:pt x="2716" y="747"/>
                    </a:lnTo>
                    <a:lnTo>
                      <a:pt x="2714" y="745"/>
                    </a:lnTo>
                    <a:lnTo>
                      <a:pt x="2711" y="744"/>
                    </a:lnTo>
                    <a:lnTo>
                      <a:pt x="2707" y="741"/>
                    </a:lnTo>
                    <a:lnTo>
                      <a:pt x="2703" y="738"/>
                    </a:lnTo>
                    <a:lnTo>
                      <a:pt x="2700" y="737"/>
                    </a:lnTo>
                    <a:lnTo>
                      <a:pt x="2698" y="735"/>
                    </a:lnTo>
                    <a:lnTo>
                      <a:pt x="2697" y="734"/>
                    </a:lnTo>
                    <a:lnTo>
                      <a:pt x="2695" y="731"/>
                    </a:lnTo>
                    <a:lnTo>
                      <a:pt x="2694" y="730"/>
                    </a:lnTo>
                    <a:lnTo>
                      <a:pt x="2694" y="727"/>
                    </a:lnTo>
                    <a:lnTo>
                      <a:pt x="2694" y="727"/>
                    </a:lnTo>
                    <a:lnTo>
                      <a:pt x="2695" y="727"/>
                    </a:lnTo>
                    <a:lnTo>
                      <a:pt x="2697" y="728"/>
                    </a:lnTo>
                    <a:lnTo>
                      <a:pt x="2698" y="728"/>
                    </a:lnTo>
                    <a:lnTo>
                      <a:pt x="2700" y="731"/>
                    </a:lnTo>
                    <a:lnTo>
                      <a:pt x="2701" y="732"/>
                    </a:lnTo>
                    <a:lnTo>
                      <a:pt x="2704" y="735"/>
                    </a:lnTo>
                    <a:lnTo>
                      <a:pt x="2706" y="738"/>
                    </a:lnTo>
                    <a:lnTo>
                      <a:pt x="2708" y="740"/>
                    </a:lnTo>
                    <a:lnTo>
                      <a:pt x="2710" y="740"/>
                    </a:lnTo>
                    <a:lnTo>
                      <a:pt x="2711" y="741"/>
                    </a:lnTo>
                    <a:lnTo>
                      <a:pt x="2708" y="738"/>
                    </a:lnTo>
                    <a:lnTo>
                      <a:pt x="2707" y="737"/>
                    </a:lnTo>
                    <a:lnTo>
                      <a:pt x="2703" y="732"/>
                    </a:lnTo>
                    <a:lnTo>
                      <a:pt x="2701" y="731"/>
                    </a:lnTo>
                    <a:lnTo>
                      <a:pt x="2700" y="730"/>
                    </a:lnTo>
                    <a:lnTo>
                      <a:pt x="2698" y="728"/>
                    </a:lnTo>
                    <a:lnTo>
                      <a:pt x="2697" y="727"/>
                    </a:lnTo>
                    <a:lnTo>
                      <a:pt x="2693" y="725"/>
                    </a:lnTo>
                    <a:lnTo>
                      <a:pt x="2690" y="724"/>
                    </a:lnTo>
                    <a:lnTo>
                      <a:pt x="2687" y="722"/>
                    </a:lnTo>
                    <a:lnTo>
                      <a:pt x="2685" y="721"/>
                    </a:lnTo>
                    <a:lnTo>
                      <a:pt x="2681" y="717"/>
                    </a:lnTo>
                    <a:lnTo>
                      <a:pt x="2678" y="715"/>
                    </a:lnTo>
                    <a:lnTo>
                      <a:pt x="2680" y="715"/>
                    </a:lnTo>
                    <a:lnTo>
                      <a:pt x="2681" y="715"/>
                    </a:lnTo>
                    <a:lnTo>
                      <a:pt x="2681" y="715"/>
                    </a:lnTo>
                    <a:lnTo>
                      <a:pt x="2681" y="715"/>
                    </a:lnTo>
                    <a:lnTo>
                      <a:pt x="2681" y="715"/>
                    </a:lnTo>
                    <a:lnTo>
                      <a:pt x="2680" y="715"/>
                    </a:lnTo>
                    <a:lnTo>
                      <a:pt x="2678" y="714"/>
                    </a:lnTo>
                    <a:lnTo>
                      <a:pt x="2678" y="714"/>
                    </a:lnTo>
                    <a:lnTo>
                      <a:pt x="2678" y="714"/>
                    </a:lnTo>
                    <a:lnTo>
                      <a:pt x="2678" y="714"/>
                    </a:lnTo>
                    <a:lnTo>
                      <a:pt x="2678" y="714"/>
                    </a:lnTo>
                    <a:lnTo>
                      <a:pt x="2677" y="712"/>
                    </a:lnTo>
                    <a:lnTo>
                      <a:pt x="2677" y="714"/>
                    </a:lnTo>
                    <a:lnTo>
                      <a:pt x="2677" y="712"/>
                    </a:lnTo>
                    <a:lnTo>
                      <a:pt x="2677" y="712"/>
                    </a:lnTo>
                    <a:lnTo>
                      <a:pt x="2675" y="711"/>
                    </a:lnTo>
                    <a:lnTo>
                      <a:pt x="2674" y="709"/>
                    </a:lnTo>
                    <a:lnTo>
                      <a:pt x="2674" y="709"/>
                    </a:lnTo>
                    <a:lnTo>
                      <a:pt x="2674" y="708"/>
                    </a:lnTo>
                    <a:lnTo>
                      <a:pt x="2674" y="708"/>
                    </a:lnTo>
                    <a:lnTo>
                      <a:pt x="2674" y="706"/>
                    </a:lnTo>
                    <a:lnTo>
                      <a:pt x="2674" y="706"/>
                    </a:lnTo>
                    <a:lnTo>
                      <a:pt x="2672" y="704"/>
                    </a:lnTo>
                    <a:lnTo>
                      <a:pt x="2670" y="704"/>
                    </a:lnTo>
                    <a:lnTo>
                      <a:pt x="2668" y="701"/>
                    </a:lnTo>
                    <a:lnTo>
                      <a:pt x="2665" y="699"/>
                    </a:lnTo>
                    <a:lnTo>
                      <a:pt x="2664" y="698"/>
                    </a:lnTo>
                    <a:lnTo>
                      <a:pt x="2662" y="698"/>
                    </a:lnTo>
                    <a:lnTo>
                      <a:pt x="2661" y="696"/>
                    </a:lnTo>
                    <a:lnTo>
                      <a:pt x="2659" y="695"/>
                    </a:lnTo>
                    <a:lnTo>
                      <a:pt x="2659" y="696"/>
                    </a:lnTo>
                    <a:lnTo>
                      <a:pt x="2658" y="698"/>
                    </a:lnTo>
                    <a:lnTo>
                      <a:pt x="2658" y="698"/>
                    </a:lnTo>
                    <a:lnTo>
                      <a:pt x="2657" y="699"/>
                    </a:lnTo>
                    <a:lnTo>
                      <a:pt x="2657" y="699"/>
                    </a:lnTo>
                    <a:lnTo>
                      <a:pt x="2655" y="701"/>
                    </a:lnTo>
                    <a:lnTo>
                      <a:pt x="2654" y="701"/>
                    </a:lnTo>
                    <a:lnTo>
                      <a:pt x="2655" y="702"/>
                    </a:lnTo>
                    <a:lnTo>
                      <a:pt x="2658" y="702"/>
                    </a:lnTo>
                    <a:lnTo>
                      <a:pt x="2659" y="702"/>
                    </a:lnTo>
                    <a:lnTo>
                      <a:pt x="2662" y="704"/>
                    </a:lnTo>
                    <a:lnTo>
                      <a:pt x="2664" y="705"/>
                    </a:lnTo>
                    <a:lnTo>
                      <a:pt x="2664" y="706"/>
                    </a:lnTo>
                    <a:lnTo>
                      <a:pt x="2665" y="708"/>
                    </a:lnTo>
                    <a:lnTo>
                      <a:pt x="2667" y="708"/>
                    </a:lnTo>
                    <a:lnTo>
                      <a:pt x="2668" y="709"/>
                    </a:lnTo>
                    <a:lnTo>
                      <a:pt x="2670" y="709"/>
                    </a:lnTo>
                    <a:lnTo>
                      <a:pt x="2670" y="711"/>
                    </a:lnTo>
                    <a:lnTo>
                      <a:pt x="2670" y="711"/>
                    </a:lnTo>
                    <a:lnTo>
                      <a:pt x="2671" y="712"/>
                    </a:lnTo>
                    <a:lnTo>
                      <a:pt x="2671" y="714"/>
                    </a:lnTo>
                    <a:lnTo>
                      <a:pt x="2671" y="714"/>
                    </a:lnTo>
                    <a:lnTo>
                      <a:pt x="2672" y="715"/>
                    </a:lnTo>
                    <a:lnTo>
                      <a:pt x="2674" y="715"/>
                    </a:lnTo>
                    <a:lnTo>
                      <a:pt x="2674" y="715"/>
                    </a:lnTo>
                    <a:lnTo>
                      <a:pt x="2675" y="715"/>
                    </a:lnTo>
                    <a:lnTo>
                      <a:pt x="2675" y="715"/>
                    </a:lnTo>
                    <a:lnTo>
                      <a:pt x="2677" y="715"/>
                    </a:lnTo>
                    <a:lnTo>
                      <a:pt x="2677" y="717"/>
                    </a:lnTo>
                    <a:lnTo>
                      <a:pt x="2675" y="717"/>
                    </a:lnTo>
                    <a:lnTo>
                      <a:pt x="2675" y="718"/>
                    </a:lnTo>
                    <a:lnTo>
                      <a:pt x="2674" y="718"/>
                    </a:lnTo>
                    <a:lnTo>
                      <a:pt x="2672" y="718"/>
                    </a:lnTo>
                    <a:lnTo>
                      <a:pt x="2671" y="718"/>
                    </a:lnTo>
                    <a:lnTo>
                      <a:pt x="2671" y="719"/>
                    </a:lnTo>
                    <a:lnTo>
                      <a:pt x="2672" y="719"/>
                    </a:lnTo>
                    <a:lnTo>
                      <a:pt x="2674" y="721"/>
                    </a:lnTo>
                    <a:lnTo>
                      <a:pt x="2675" y="721"/>
                    </a:lnTo>
                    <a:lnTo>
                      <a:pt x="2677" y="721"/>
                    </a:lnTo>
                    <a:lnTo>
                      <a:pt x="2680" y="721"/>
                    </a:lnTo>
                    <a:lnTo>
                      <a:pt x="2680" y="721"/>
                    </a:lnTo>
                    <a:lnTo>
                      <a:pt x="2678" y="722"/>
                    </a:lnTo>
                    <a:lnTo>
                      <a:pt x="2678" y="724"/>
                    </a:lnTo>
                    <a:lnTo>
                      <a:pt x="2677" y="725"/>
                    </a:lnTo>
                    <a:lnTo>
                      <a:pt x="2677" y="725"/>
                    </a:lnTo>
                    <a:lnTo>
                      <a:pt x="2675" y="725"/>
                    </a:lnTo>
                    <a:lnTo>
                      <a:pt x="2674" y="727"/>
                    </a:lnTo>
                    <a:lnTo>
                      <a:pt x="2674" y="727"/>
                    </a:lnTo>
                    <a:lnTo>
                      <a:pt x="2672" y="727"/>
                    </a:lnTo>
                    <a:lnTo>
                      <a:pt x="2672" y="725"/>
                    </a:lnTo>
                    <a:lnTo>
                      <a:pt x="2672" y="725"/>
                    </a:lnTo>
                    <a:lnTo>
                      <a:pt x="2672" y="724"/>
                    </a:lnTo>
                    <a:lnTo>
                      <a:pt x="2671" y="724"/>
                    </a:lnTo>
                    <a:lnTo>
                      <a:pt x="2671" y="724"/>
                    </a:lnTo>
                    <a:lnTo>
                      <a:pt x="2671" y="724"/>
                    </a:lnTo>
                    <a:lnTo>
                      <a:pt x="2668" y="722"/>
                    </a:lnTo>
                    <a:lnTo>
                      <a:pt x="2667" y="722"/>
                    </a:lnTo>
                    <a:lnTo>
                      <a:pt x="2665" y="722"/>
                    </a:lnTo>
                    <a:lnTo>
                      <a:pt x="2664" y="722"/>
                    </a:lnTo>
                    <a:lnTo>
                      <a:pt x="2664" y="722"/>
                    </a:lnTo>
                    <a:lnTo>
                      <a:pt x="2664" y="722"/>
                    </a:lnTo>
                    <a:lnTo>
                      <a:pt x="2664" y="724"/>
                    </a:lnTo>
                    <a:lnTo>
                      <a:pt x="2664" y="725"/>
                    </a:lnTo>
                    <a:lnTo>
                      <a:pt x="2664" y="727"/>
                    </a:lnTo>
                    <a:lnTo>
                      <a:pt x="2665" y="730"/>
                    </a:lnTo>
                    <a:lnTo>
                      <a:pt x="2667" y="731"/>
                    </a:lnTo>
                    <a:lnTo>
                      <a:pt x="2667" y="732"/>
                    </a:lnTo>
                    <a:lnTo>
                      <a:pt x="2667" y="732"/>
                    </a:lnTo>
                    <a:lnTo>
                      <a:pt x="2672" y="737"/>
                    </a:lnTo>
                    <a:lnTo>
                      <a:pt x="2675" y="741"/>
                    </a:lnTo>
                    <a:lnTo>
                      <a:pt x="2678" y="743"/>
                    </a:lnTo>
                    <a:lnTo>
                      <a:pt x="2680" y="745"/>
                    </a:lnTo>
                    <a:lnTo>
                      <a:pt x="2681" y="747"/>
                    </a:lnTo>
                    <a:lnTo>
                      <a:pt x="2681" y="750"/>
                    </a:lnTo>
                    <a:lnTo>
                      <a:pt x="2691" y="767"/>
                    </a:lnTo>
                    <a:lnTo>
                      <a:pt x="2694" y="770"/>
                    </a:lnTo>
                    <a:lnTo>
                      <a:pt x="2698" y="773"/>
                    </a:lnTo>
                    <a:lnTo>
                      <a:pt x="2701" y="776"/>
                    </a:lnTo>
                    <a:lnTo>
                      <a:pt x="2706" y="779"/>
                    </a:lnTo>
                    <a:lnTo>
                      <a:pt x="2711" y="781"/>
                    </a:lnTo>
                    <a:lnTo>
                      <a:pt x="2716" y="784"/>
                    </a:lnTo>
                    <a:lnTo>
                      <a:pt x="2719" y="787"/>
                    </a:lnTo>
                    <a:lnTo>
                      <a:pt x="2721" y="789"/>
                    </a:lnTo>
                    <a:lnTo>
                      <a:pt x="2724" y="794"/>
                    </a:lnTo>
                    <a:lnTo>
                      <a:pt x="2726" y="797"/>
                    </a:lnTo>
                    <a:lnTo>
                      <a:pt x="2727" y="800"/>
                    </a:lnTo>
                    <a:lnTo>
                      <a:pt x="2729" y="802"/>
                    </a:lnTo>
                    <a:lnTo>
                      <a:pt x="2730" y="803"/>
                    </a:lnTo>
                    <a:lnTo>
                      <a:pt x="2732" y="805"/>
                    </a:lnTo>
                    <a:lnTo>
                      <a:pt x="2733" y="806"/>
                    </a:lnTo>
                    <a:lnTo>
                      <a:pt x="2733" y="809"/>
                    </a:lnTo>
                    <a:lnTo>
                      <a:pt x="2736" y="812"/>
                    </a:lnTo>
                    <a:lnTo>
                      <a:pt x="2737" y="813"/>
                    </a:lnTo>
                    <a:lnTo>
                      <a:pt x="2740" y="816"/>
                    </a:lnTo>
                    <a:lnTo>
                      <a:pt x="2742" y="818"/>
                    </a:lnTo>
                    <a:lnTo>
                      <a:pt x="2744" y="819"/>
                    </a:lnTo>
                    <a:lnTo>
                      <a:pt x="2746" y="822"/>
                    </a:lnTo>
                    <a:lnTo>
                      <a:pt x="2749" y="825"/>
                    </a:lnTo>
                    <a:lnTo>
                      <a:pt x="2750" y="829"/>
                    </a:lnTo>
                    <a:lnTo>
                      <a:pt x="2753" y="835"/>
                    </a:lnTo>
                    <a:lnTo>
                      <a:pt x="2756" y="839"/>
                    </a:lnTo>
                    <a:lnTo>
                      <a:pt x="2760" y="846"/>
                    </a:lnTo>
                    <a:lnTo>
                      <a:pt x="2766" y="856"/>
                    </a:lnTo>
                    <a:lnTo>
                      <a:pt x="2766" y="858"/>
                    </a:lnTo>
                    <a:lnTo>
                      <a:pt x="2768" y="861"/>
                    </a:lnTo>
                    <a:lnTo>
                      <a:pt x="2768" y="862"/>
                    </a:lnTo>
                    <a:lnTo>
                      <a:pt x="2769" y="865"/>
                    </a:lnTo>
                    <a:lnTo>
                      <a:pt x="2772" y="868"/>
                    </a:lnTo>
                    <a:lnTo>
                      <a:pt x="2776" y="871"/>
                    </a:lnTo>
                    <a:lnTo>
                      <a:pt x="2781" y="874"/>
                    </a:lnTo>
                    <a:lnTo>
                      <a:pt x="2783" y="877"/>
                    </a:lnTo>
                    <a:lnTo>
                      <a:pt x="2788" y="881"/>
                    </a:lnTo>
                    <a:lnTo>
                      <a:pt x="2789" y="882"/>
                    </a:lnTo>
                    <a:lnTo>
                      <a:pt x="2791" y="884"/>
                    </a:lnTo>
                    <a:lnTo>
                      <a:pt x="2792" y="887"/>
                    </a:lnTo>
                    <a:lnTo>
                      <a:pt x="2792" y="888"/>
                    </a:lnTo>
                    <a:lnTo>
                      <a:pt x="2792" y="891"/>
                    </a:lnTo>
                    <a:lnTo>
                      <a:pt x="2792" y="892"/>
                    </a:lnTo>
                    <a:lnTo>
                      <a:pt x="2792" y="894"/>
                    </a:lnTo>
                    <a:lnTo>
                      <a:pt x="2792" y="895"/>
                    </a:lnTo>
                    <a:lnTo>
                      <a:pt x="2794" y="897"/>
                    </a:lnTo>
                    <a:lnTo>
                      <a:pt x="2794" y="898"/>
                    </a:lnTo>
                    <a:lnTo>
                      <a:pt x="2795" y="901"/>
                    </a:lnTo>
                    <a:lnTo>
                      <a:pt x="2796" y="903"/>
                    </a:lnTo>
                    <a:lnTo>
                      <a:pt x="2799" y="904"/>
                    </a:lnTo>
                    <a:lnTo>
                      <a:pt x="2801" y="905"/>
                    </a:lnTo>
                    <a:lnTo>
                      <a:pt x="2802" y="908"/>
                    </a:lnTo>
                    <a:lnTo>
                      <a:pt x="2804" y="910"/>
                    </a:lnTo>
                    <a:lnTo>
                      <a:pt x="2805" y="911"/>
                    </a:lnTo>
                    <a:lnTo>
                      <a:pt x="2805" y="911"/>
                    </a:lnTo>
                    <a:lnTo>
                      <a:pt x="2805" y="913"/>
                    </a:lnTo>
                    <a:lnTo>
                      <a:pt x="2807" y="916"/>
                    </a:lnTo>
                    <a:lnTo>
                      <a:pt x="2807" y="917"/>
                    </a:lnTo>
                    <a:lnTo>
                      <a:pt x="2808" y="923"/>
                    </a:lnTo>
                    <a:lnTo>
                      <a:pt x="2809" y="926"/>
                    </a:lnTo>
                    <a:lnTo>
                      <a:pt x="2811" y="927"/>
                    </a:lnTo>
                    <a:lnTo>
                      <a:pt x="2812" y="929"/>
                    </a:lnTo>
                    <a:lnTo>
                      <a:pt x="2814" y="930"/>
                    </a:lnTo>
                    <a:lnTo>
                      <a:pt x="2815" y="933"/>
                    </a:lnTo>
                    <a:lnTo>
                      <a:pt x="2817" y="936"/>
                    </a:lnTo>
                    <a:lnTo>
                      <a:pt x="2819" y="939"/>
                    </a:lnTo>
                    <a:lnTo>
                      <a:pt x="2819" y="941"/>
                    </a:lnTo>
                    <a:lnTo>
                      <a:pt x="2822" y="943"/>
                    </a:lnTo>
                    <a:lnTo>
                      <a:pt x="2825" y="946"/>
                    </a:lnTo>
                    <a:lnTo>
                      <a:pt x="2828" y="947"/>
                    </a:lnTo>
                    <a:lnTo>
                      <a:pt x="2831" y="950"/>
                    </a:lnTo>
                    <a:lnTo>
                      <a:pt x="2831" y="949"/>
                    </a:lnTo>
                    <a:lnTo>
                      <a:pt x="2830" y="947"/>
                    </a:lnTo>
                    <a:lnTo>
                      <a:pt x="2830" y="946"/>
                    </a:lnTo>
                    <a:lnTo>
                      <a:pt x="2828" y="944"/>
                    </a:lnTo>
                    <a:lnTo>
                      <a:pt x="2828" y="941"/>
                    </a:lnTo>
                    <a:lnTo>
                      <a:pt x="2828" y="940"/>
                    </a:lnTo>
                    <a:lnTo>
                      <a:pt x="2828" y="939"/>
                    </a:lnTo>
                    <a:lnTo>
                      <a:pt x="2828" y="937"/>
                    </a:lnTo>
                    <a:lnTo>
                      <a:pt x="2828" y="937"/>
                    </a:lnTo>
                    <a:lnTo>
                      <a:pt x="2827" y="934"/>
                    </a:lnTo>
                    <a:lnTo>
                      <a:pt x="2825" y="933"/>
                    </a:lnTo>
                    <a:lnTo>
                      <a:pt x="2825" y="931"/>
                    </a:lnTo>
                    <a:lnTo>
                      <a:pt x="2825" y="930"/>
                    </a:lnTo>
                    <a:lnTo>
                      <a:pt x="2825" y="929"/>
                    </a:lnTo>
                    <a:lnTo>
                      <a:pt x="2825" y="927"/>
                    </a:lnTo>
                    <a:lnTo>
                      <a:pt x="2827" y="927"/>
                    </a:lnTo>
                    <a:lnTo>
                      <a:pt x="2827" y="926"/>
                    </a:lnTo>
                    <a:lnTo>
                      <a:pt x="2828" y="926"/>
                    </a:lnTo>
                    <a:lnTo>
                      <a:pt x="2830" y="926"/>
                    </a:lnTo>
                    <a:lnTo>
                      <a:pt x="2830" y="926"/>
                    </a:lnTo>
                    <a:lnTo>
                      <a:pt x="2830" y="926"/>
                    </a:lnTo>
                    <a:lnTo>
                      <a:pt x="2831" y="927"/>
                    </a:lnTo>
                    <a:lnTo>
                      <a:pt x="2831" y="927"/>
                    </a:lnTo>
                    <a:lnTo>
                      <a:pt x="2832" y="927"/>
                    </a:lnTo>
                    <a:lnTo>
                      <a:pt x="2832" y="929"/>
                    </a:lnTo>
                    <a:lnTo>
                      <a:pt x="2835" y="929"/>
                    </a:lnTo>
                    <a:lnTo>
                      <a:pt x="2837" y="929"/>
                    </a:lnTo>
                    <a:lnTo>
                      <a:pt x="2840" y="929"/>
                    </a:lnTo>
                    <a:lnTo>
                      <a:pt x="2843" y="929"/>
                    </a:lnTo>
                    <a:lnTo>
                      <a:pt x="2845" y="929"/>
                    </a:lnTo>
                    <a:lnTo>
                      <a:pt x="2847" y="929"/>
                    </a:lnTo>
                    <a:lnTo>
                      <a:pt x="2848" y="930"/>
                    </a:lnTo>
                    <a:lnTo>
                      <a:pt x="2848" y="930"/>
                    </a:lnTo>
                    <a:lnTo>
                      <a:pt x="2851" y="931"/>
                    </a:lnTo>
                    <a:lnTo>
                      <a:pt x="2853" y="933"/>
                    </a:lnTo>
                    <a:lnTo>
                      <a:pt x="2854" y="934"/>
                    </a:lnTo>
                    <a:lnTo>
                      <a:pt x="2856" y="936"/>
                    </a:lnTo>
                    <a:lnTo>
                      <a:pt x="2857" y="939"/>
                    </a:lnTo>
                    <a:lnTo>
                      <a:pt x="2858" y="940"/>
                    </a:lnTo>
                    <a:lnTo>
                      <a:pt x="2858" y="939"/>
                    </a:lnTo>
                    <a:lnTo>
                      <a:pt x="2857" y="936"/>
                    </a:lnTo>
                    <a:close/>
                    <a:moveTo>
                      <a:pt x="3001" y="960"/>
                    </a:moveTo>
                    <a:lnTo>
                      <a:pt x="3000" y="960"/>
                    </a:lnTo>
                    <a:lnTo>
                      <a:pt x="2998" y="960"/>
                    </a:lnTo>
                    <a:lnTo>
                      <a:pt x="2998" y="960"/>
                    </a:lnTo>
                    <a:lnTo>
                      <a:pt x="2997" y="960"/>
                    </a:lnTo>
                    <a:lnTo>
                      <a:pt x="2995" y="962"/>
                    </a:lnTo>
                    <a:lnTo>
                      <a:pt x="2995" y="963"/>
                    </a:lnTo>
                    <a:lnTo>
                      <a:pt x="2994" y="965"/>
                    </a:lnTo>
                    <a:lnTo>
                      <a:pt x="2994" y="966"/>
                    </a:lnTo>
                    <a:lnTo>
                      <a:pt x="2994" y="967"/>
                    </a:lnTo>
                    <a:lnTo>
                      <a:pt x="2993" y="967"/>
                    </a:lnTo>
                    <a:lnTo>
                      <a:pt x="2993" y="967"/>
                    </a:lnTo>
                    <a:lnTo>
                      <a:pt x="2991" y="967"/>
                    </a:lnTo>
                    <a:lnTo>
                      <a:pt x="2988" y="967"/>
                    </a:lnTo>
                    <a:lnTo>
                      <a:pt x="2987" y="966"/>
                    </a:lnTo>
                    <a:lnTo>
                      <a:pt x="2985" y="966"/>
                    </a:lnTo>
                    <a:lnTo>
                      <a:pt x="2984" y="965"/>
                    </a:lnTo>
                    <a:lnTo>
                      <a:pt x="2981" y="963"/>
                    </a:lnTo>
                    <a:lnTo>
                      <a:pt x="2980" y="962"/>
                    </a:lnTo>
                    <a:lnTo>
                      <a:pt x="2980" y="963"/>
                    </a:lnTo>
                    <a:lnTo>
                      <a:pt x="2980" y="963"/>
                    </a:lnTo>
                    <a:lnTo>
                      <a:pt x="2981" y="965"/>
                    </a:lnTo>
                    <a:lnTo>
                      <a:pt x="2982" y="966"/>
                    </a:lnTo>
                    <a:lnTo>
                      <a:pt x="2982" y="966"/>
                    </a:lnTo>
                    <a:lnTo>
                      <a:pt x="2982" y="967"/>
                    </a:lnTo>
                    <a:lnTo>
                      <a:pt x="2982" y="967"/>
                    </a:lnTo>
                    <a:lnTo>
                      <a:pt x="2982" y="969"/>
                    </a:lnTo>
                    <a:lnTo>
                      <a:pt x="2984" y="969"/>
                    </a:lnTo>
                    <a:lnTo>
                      <a:pt x="2982" y="969"/>
                    </a:lnTo>
                    <a:lnTo>
                      <a:pt x="2982" y="970"/>
                    </a:lnTo>
                    <a:lnTo>
                      <a:pt x="2982" y="970"/>
                    </a:lnTo>
                    <a:lnTo>
                      <a:pt x="2981" y="972"/>
                    </a:lnTo>
                    <a:lnTo>
                      <a:pt x="2981" y="972"/>
                    </a:lnTo>
                    <a:lnTo>
                      <a:pt x="2982" y="972"/>
                    </a:lnTo>
                    <a:lnTo>
                      <a:pt x="2982" y="973"/>
                    </a:lnTo>
                    <a:lnTo>
                      <a:pt x="2981" y="973"/>
                    </a:lnTo>
                    <a:lnTo>
                      <a:pt x="2981" y="973"/>
                    </a:lnTo>
                    <a:lnTo>
                      <a:pt x="2980" y="973"/>
                    </a:lnTo>
                    <a:lnTo>
                      <a:pt x="2980" y="973"/>
                    </a:lnTo>
                    <a:lnTo>
                      <a:pt x="2980" y="973"/>
                    </a:lnTo>
                    <a:lnTo>
                      <a:pt x="2980" y="975"/>
                    </a:lnTo>
                    <a:lnTo>
                      <a:pt x="2978" y="976"/>
                    </a:lnTo>
                    <a:lnTo>
                      <a:pt x="2977" y="978"/>
                    </a:lnTo>
                    <a:lnTo>
                      <a:pt x="2975" y="979"/>
                    </a:lnTo>
                    <a:lnTo>
                      <a:pt x="2975" y="980"/>
                    </a:lnTo>
                    <a:lnTo>
                      <a:pt x="2975" y="982"/>
                    </a:lnTo>
                    <a:lnTo>
                      <a:pt x="2975" y="982"/>
                    </a:lnTo>
                    <a:lnTo>
                      <a:pt x="2975" y="983"/>
                    </a:lnTo>
                    <a:lnTo>
                      <a:pt x="2975" y="983"/>
                    </a:lnTo>
                    <a:lnTo>
                      <a:pt x="2975" y="983"/>
                    </a:lnTo>
                    <a:lnTo>
                      <a:pt x="2977" y="983"/>
                    </a:lnTo>
                    <a:lnTo>
                      <a:pt x="2975" y="985"/>
                    </a:lnTo>
                    <a:lnTo>
                      <a:pt x="2975" y="986"/>
                    </a:lnTo>
                    <a:lnTo>
                      <a:pt x="2974" y="988"/>
                    </a:lnTo>
                    <a:lnTo>
                      <a:pt x="2974" y="989"/>
                    </a:lnTo>
                    <a:lnTo>
                      <a:pt x="2974" y="991"/>
                    </a:lnTo>
                    <a:lnTo>
                      <a:pt x="2974" y="991"/>
                    </a:lnTo>
                    <a:lnTo>
                      <a:pt x="2975" y="992"/>
                    </a:lnTo>
                    <a:lnTo>
                      <a:pt x="2975" y="992"/>
                    </a:lnTo>
                    <a:lnTo>
                      <a:pt x="2977" y="992"/>
                    </a:lnTo>
                    <a:lnTo>
                      <a:pt x="2977" y="991"/>
                    </a:lnTo>
                    <a:lnTo>
                      <a:pt x="2977" y="991"/>
                    </a:lnTo>
                    <a:lnTo>
                      <a:pt x="2978" y="988"/>
                    </a:lnTo>
                    <a:lnTo>
                      <a:pt x="2980" y="986"/>
                    </a:lnTo>
                    <a:lnTo>
                      <a:pt x="2981" y="985"/>
                    </a:lnTo>
                    <a:lnTo>
                      <a:pt x="2982" y="983"/>
                    </a:lnTo>
                    <a:lnTo>
                      <a:pt x="2982" y="980"/>
                    </a:lnTo>
                    <a:lnTo>
                      <a:pt x="2982" y="979"/>
                    </a:lnTo>
                    <a:lnTo>
                      <a:pt x="2982" y="978"/>
                    </a:lnTo>
                    <a:lnTo>
                      <a:pt x="2982" y="978"/>
                    </a:lnTo>
                    <a:lnTo>
                      <a:pt x="2982" y="976"/>
                    </a:lnTo>
                    <a:lnTo>
                      <a:pt x="2984" y="976"/>
                    </a:lnTo>
                    <a:lnTo>
                      <a:pt x="2984" y="976"/>
                    </a:lnTo>
                    <a:lnTo>
                      <a:pt x="2985" y="976"/>
                    </a:lnTo>
                    <a:lnTo>
                      <a:pt x="2987" y="976"/>
                    </a:lnTo>
                    <a:lnTo>
                      <a:pt x="2988" y="975"/>
                    </a:lnTo>
                    <a:lnTo>
                      <a:pt x="2990" y="975"/>
                    </a:lnTo>
                    <a:lnTo>
                      <a:pt x="2991" y="973"/>
                    </a:lnTo>
                    <a:lnTo>
                      <a:pt x="2993" y="972"/>
                    </a:lnTo>
                    <a:lnTo>
                      <a:pt x="2993" y="970"/>
                    </a:lnTo>
                    <a:lnTo>
                      <a:pt x="2993" y="970"/>
                    </a:lnTo>
                    <a:lnTo>
                      <a:pt x="2994" y="970"/>
                    </a:lnTo>
                    <a:lnTo>
                      <a:pt x="2994" y="970"/>
                    </a:lnTo>
                    <a:lnTo>
                      <a:pt x="2995" y="969"/>
                    </a:lnTo>
                    <a:lnTo>
                      <a:pt x="2998" y="967"/>
                    </a:lnTo>
                    <a:lnTo>
                      <a:pt x="3000" y="967"/>
                    </a:lnTo>
                    <a:lnTo>
                      <a:pt x="3003" y="966"/>
                    </a:lnTo>
                    <a:lnTo>
                      <a:pt x="3004" y="965"/>
                    </a:lnTo>
                    <a:lnTo>
                      <a:pt x="3004" y="965"/>
                    </a:lnTo>
                    <a:lnTo>
                      <a:pt x="3004" y="963"/>
                    </a:lnTo>
                    <a:lnTo>
                      <a:pt x="3004" y="963"/>
                    </a:lnTo>
                    <a:lnTo>
                      <a:pt x="3004" y="962"/>
                    </a:lnTo>
                    <a:lnTo>
                      <a:pt x="3003" y="960"/>
                    </a:lnTo>
                    <a:lnTo>
                      <a:pt x="3001" y="960"/>
                    </a:lnTo>
                    <a:close/>
                    <a:moveTo>
                      <a:pt x="2987" y="1011"/>
                    </a:moveTo>
                    <a:lnTo>
                      <a:pt x="2985" y="1011"/>
                    </a:lnTo>
                    <a:lnTo>
                      <a:pt x="2985" y="1011"/>
                    </a:lnTo>
                    <a:lnTo>
                      <a:pt x="2984" y="1011"/>
                    </a:lnTo>
                    <a:lnTo>
                      <a:pt x="2984" y="1011"/>
                    </a:lnTo>
                    <a:lnTo>
                      <a:pt x="2984" y="1012"/>
                    </a:lnTo>
                    <a:lnTo>
                      <a:pt x="2984" y="1012"/>
                    </a:lnTo>
                    <a:lnTo>
                      <a:pt x="2984" y="1014"/>
                    </a:lnTo>
                    <a:lnTo>
                      <a:pt x="2984" y="1014"/>
                    </a:lnTo>
                    <a:lnTo>
                      <a:pt x="2985" y="1014"/>
                    </a:lnTo>
                    <a:lnTo>
                      <a:pt x="2985" y="1014"/>
                    </a:lnTo>
                    <a:lnTo>
                      <a:pt x="2987" y="1012"/>
                    </a:lnTo>
                    <a:lnTo>
                      <a:pt x="2987" y="1012"/>
                    </a:lnTo>
                    <a:lnTo>
                      <a:pt x="2987" y="1011"/>
                    </a:lnTo>
                    <a:lnTo>
                      <a:pt x="2987" y="1011"/>
                    </a:lnTo>
                    <a:close/>
                    <a:moveTo>
                      <a:pt x="3027" y="937"/>
                    </a:moveTo>
                    <a:lnTo>
                      <a:pt x="3026" y="937"/>
                    </a:lnTo>
                    <a:lnTo>
                      <a:pt x="3026" y="937"/>
                    </a:lnTo>
                    <a:lnTo>
                      <a:pt x="3024" y="939"/>
                    </a:lnTo>
                    <a:lnTo>
                      <a:pt x="3023" y="940"/>
                    </a:lnTo>
                    <a:lnTo>
                      <a:pt x="3021" y="941"/>
                    </a:lnTo>
                    <a:lnTo>
                      <a:pt x="3020" y="943"/>
                    </a:lnTo>
                    <a:lnTo>
                      <a:pt x="3017" y="943"/>
                    </a:lnTo>
                    <a:lnTo>
                      <a:pt x="3017" y="946"/>
                    </a:lnTo>
                    <a:lnTo>
                      <a:pt x="3017" y="947"/>
                    </a:lnTo>
                    <a:lnTo>
                      <a:pt x="3016" y="949"/>
                    </a:lnTo>
                    <a:lnTo>
                      <a:pt x="3014" y="950"/>
                    </a:lnTo>
                    <a:lnTo>
                      <a:pt x="3014" y="953"/>
                    </a:lnTo>
                    <a:lnTo>
                      <a:pt x="3014" y="954"/>
                    </a:lnTo>
                    <a:lnTo>
                      <a:pt x="3014" y="956"/>
                    </a:lnTo>
                    <a:lnTo>
                      <a:pt x="3014" y="957"/>
                    </a:lnTo>
                    <a:lnTo>
                      <a:pt x="3014" y="959"/>
                    </a:lnTo>
                    <a:lnTo>
                      <a:pt x="3016" y="959"/>
                    </a:lnTo>
                    <a:lnTo>
                      <a:pt x="3016" y="959"/>
                    </a:lnTo>
                    <a:lnTo>
                      <a:pt x="3017" y="957"/>
                    </a:lnTo>
                    <a:lnTo>
                      <a:pt x="3019" y="956"/>
                    </a:lnTo>
                    <a:lnTo>
                      <a:pt x="3020" y="954"/>
                    </a:lnTo>
                    <a:lnTo>
                      <a:pt x="3021" y="953"/>
                    </a:lnTo>
                    <a:lnTo>
                      <a:pt x="3023" y="952"/>
                    </a:lnTo>
                    <a:lnTo>
                      <a:pt x="3023" y="950"/>
                    </a:lnTo>
                    <a:lnTo>
                      <a:pt x="3026" y="946"/>
                    </a:lnTo>
                    <a:lnTo>
                      <a:pt x="3027" y="943"/>
                    </a:lnTo>
                    <a:lnTo>
                      <a:pt x="3029" y="941"/>
                    </a:lnTo>
                    <a:lnTo>
                      <a:pt x="3029" y="940"/>
                    </a:lnTo>
                    <a:lnTo>
                      <a:pt x="3029" y="939"/>
                    </a:lnTo>
                    <a:lnTo>
                      <a:pt x="3030" y="939"/>
                    </a:lnTo>
                    <a:lnTo>
                      <a:pt x="3029" y="937"/>
                    </a:lnTo>
                    <a:lnTo>
                      <a:pt x="3027" y="937"/>
                    </a:lnTo>
                    <a:close/>
                    <a:moveTo>
                      <a:pt x="3046" y="800"/>
                    </a:moveTo>
                    <a:lnTo>
                      <a:pt x="3046" y="799"/>
                    </a:lnTo>
                    <a:lnTo>
                      <a:pt x="3044" y="799"/>
                    </a:lnTo>
                    <a:lnTo>
                      <a:pt x="3044" y="797"/>
                    </a:lnTo>
                    <a:lnTo>
                      <a:pt x="3043" y="797"/>
                    </a:lnTo>
                    <a:lnTo>
                      <a:pt x="3042" y="797"/>
                    </a:lnTo>
                    <a:lnTo>
                      <a:pt x="3042" y="797"/>
                    </a:lnTo>
                    <a:lnTo>
                      <a:pt x="3040" y="797"/>
                    </a:lnTo>
                    <a:lnTo>
                      <a:pt x="3040" y="797"/>
                    </a:lnTo>
                    <a:lnTo>
                      <a:pt x="3040" y="799"/>
                    </a:lnTo>
                    <a:lnTo>
                      <a:pt x="3040" y="799"/>
                    </a:lnTo>
                    <a:lnTo>
                      <a:pt x="3042" y="800"/>
                    </a:lnTo>
                    <a:lnTo>
                      <a:pt x="3042" y="800"/>
                    </a:lnTo>
                    <a:lnTo>
                      <a:pt x="3044" y="800"/>
                    </a:lnTo>
                    <a:lnTo>
                      <a:pt x="3046" y="800"/>
                    </a:lnTo>
                    <a:close/>
                    <a:moveTo>
                      <a:pt x="3050" y="913"/>
                    </a:moveTo>
                    <a:lnTo>
                      <a:pt x="3049" y="913"/>
                    </a:lnTo>
                    <a:lnTo>
                      <a:pt x="3049" y="913"/>
                    </a:lnTo>
                    <a:lnTo>
                      <a:pt x="3049" y="913"/>
                    </a:lnTo>
                    <a:lnTo>
                      <a:pt x="3047" y="914"/>
                    </a:lnTo>
                    <a:lnTo>
                      <a:pt x="3047" y="916"/>
                    </a:lnTo>
                    <a:lnTo>
                      <a:pt x="3046" y="917"/>
                    </a:lnTo>
                    <a:lnTo>
                      <a:pt x="3044" y="918"/>
                    </a:lnTo>
                    <a:lnTo>
                      <a:pt x="3044" y="918"/>
                    </a:lnTo>
                    <a:lnTo>
                      <a:pt x="3044" y="918"/>
                    </a:lnTo>
                    <a:lnTo>
                      <a:pt x="3043" y="918"/>
                    </a:lnTo>
                    <a:lnTo>
                      <a:pt x="3043" y="920"/>
                    </a:lnTo>
                    <a:lnTo>
                      <a:pt x="3043" y="920"/>
                    </a:lnTo>
                    <a:lnTo>
                      <a:pt x="3044" y="920"/>
                    </a:lnTo>
                    <a:lnTo>
                      <a:pt x="3044" y="921"/>
                    </a:lnTo>
                    <a:lnTo>
                      <a:pt x="3044" y="921"/>
                    </a:lnTo>
                    <a:lnTo>
                      <a:pt x="3046" y="921"/>
                    </a:lnTo>
                    <a:lnTo>
                      <a:pt x="3046" y="920"/>
                    </a:lnTo>
                    <a:lnTo>
                      <a:pt x="3047" y="918"/>
                    </a:lnTo>
                    <a:lnTo>
                      <a:pt x="3049" y="917"/>
                    </a:lnTo>
                    <a:lnTo>
                      <a:pt x="3050" y="914"/>
                    </a:lnTo>
                    <a:lnTo>
                      <a:pt x="3050" y="913"/>
                    </a:lnTo>
                    <a:lnTo>
                      <a:pt x="3052" y="913"/>
                    </a:lnTo>
                    <a:lnTo>
                      <a:pt x="3050" y="913"/>
                    </a:lnTo>
                    <a:lnTo>
                      <a:pt x="3050" y="913"/>
                    </a:lnTo>
                    <a:close/>
                    <a:moveTo>
                      <a:pt x="3056" y="892"/>
                    </a:moveTo>
                    <a:lnTo>
                      <a:pt x="3059" y="892"/>
                    </a:lnTo>
                    <a:lnTo>
                      <a:pt x="3056" y="891"/>
                    </a:lnTo>
                    <a:lnTo>
                      <a:pt x="3056" y="892"/>
                    </a:lnTo>
                    <a:close/>
                    <a:moveTo>
                      <a:pt x="3057" y="846"/>
                    </a:moveTo>
                    <a:lnTo>
                      <a:pt x="3059" y="846"/>
                    </a:lnTo>
                    <a:lnTo>
                      <a:pt x="3059" y="846"/>
                    </a:lnTo>
                    <a:lnTo>
                      <a:pt x="3060" y="846"/>
                    </a:lnTo>
                    <a:lnTo>
                      <a:pt x="3060" y="845"/>
                    </a:lnTo>
                    <a:lnTo>
                      <a:pt x="3060" y="845"/>
                    </a:lnTo>
                    <a:lnTo>
                      <a:pt x="3060" y="843"/>
                    </a:lnTo>
                    <a:lnTo>
                      <a:pt x="3060" y="842"/>
                    </a:lnTo>
                    <a:lnTo>
                      <a:pt x="3059" y="839"/>
                    </a:lnTo>
                    <a:lnTo>
                      <a:pt x="3057" y="838"/>
                    </a:lnTo>
                    <a:lnTo>
                      <a:pt x="3057" y="836"/>
                    </a:lnTo>
                    <a:lnTo>
                      <a:pt x="3056" y="835"/>
                    </a:lnTo>
                    <a:lnTo>
                      <a:pt x="3056" y="835"/>
                    </a:lnTo>
                    <a:lnTo>
                      <a:pt x="3056" y="836"/>
                    </a:lnTo>
                    <a:lnTo>
                      <a:pt x="3056" y="838"/>
                    </a:lnTo>
                    <a:lnTo>
                      <a:pt x="3056" y="841"/>
                    </a:lnTo>
                    <a:lnTo>
                      <a:pt x="3056" y="842"/>
                    </a:lnTo>
                    <a:lnTo>
                      <a:pt x="3056" y="843"/>
                    </a:lnTo>
                    <a:lnTo>
                      <a:pt x="3057" y="845"/>
                    </a:lnTo>
                    <a:lnTo>
                      <a:pt x="3057" y="846"/>
                    </a:lnTo>
                    <a:close/>
                    <a:moveTo>
                      <a:pt x="3057" y="859"/>
                    </a:moveTo>
                    <a:lnTo>
                      <a:pt x="3057" y="859"/>
                    </a:lnTo>
                    <a:lnTo>
                      <a:pt x="3056" y="862"/>
                    </a:lnTo>
                    <a:lnTo>
                      <a:pt x="3056" y="864"/>
                    </a:lnTo>
                    <a:lnTo>
                      <a:pt x="3056" y="865"/>
                    </a:lnTo>
                    <a:lnTo>
                      <a:pt x="3056" y="864"/>
                    </a:lnTo>
                    <a:lnTo>
                      <a:pt x="3057" y="862"/>
                    </a:lnTo>
                    <a:lnTo>
                      <a:pt x="3057" y="862"/>
                    </a:lnTo>
                    <a:lnTo>
                      <a:pt x="3057" y="861"/>
                    </a:lnTo>
                    <a:lnTo>
                      <a:pt x="3057" y="859"/>
                    </a:lnTo>
                    <a:lnTo>
                      <a:pt x="3059" y="859"/>
                    </a:lnTo>
                    <a:lnTo>
                      <a:pt x="3059" y="858"/>
                    </a:lnTo>
                    <a:lnTo>
                      <a:pt x="3057" y="858"/>
                    </a:lnTo>
                    <a:lnTo>
                      <a:pt x="3057" y="859"/>
                    </a:lnTo>
                    <a:close/>
                    <a:moveTo>
                      <a:pt x="3059" y="851"/>
                    </a:moveTo>
                    <a:lnTo>
                      <a:pt x="3060" y="851"/>
                    </a:lnTo>
                    <a:lnTo>
                      <a:pt x="3059" y="849"/>
                    </a:lnTo>
                    <a:lnTo>
                      <a:pt x="3059" y="851"/>
                    </a:lnTo>
                    <a:close/>
                    <a:moveTo>
                      <a:pt x="3060" y="851"/>
                    </a:moveTo>
                    <a:lnTo>
                      <a:pt x="3060" y="852"/>
                    </a:lnTo>
                    <a:lnTo>
                      <a:pt x="3060" y="852"/>
                    </a:lnTo>
                    <a:lnTo>
                      <a:pt x="3060" y="851"/>
                    </a:lnTo>
                    <a:close/>
                    <a:moveTo>
                      <a:pt x="3068" y="805"/>
                    </a:moveTo>
                    <a:lnTo>
                      <a:pt x="3068" y="803"/>
                    </a:lnTo>
                    <a:lnTo>
                      <a:pt x="3066" y="803"/>
                    </a:lnTo>
                    <a:lnTo>
                      <a:pt x="3065" y="802"/>
                    </a:lnTo>
                    <a:lnTo>
                      <a:pt x="3065" y="802"/>
                    </a:lnTo>
                    <a:lnTo>
                      <a:pt x="3063" y="802"/>
                    </a:lnTo>
                    <a:lnTo>
                      <a:pt x="3063" y="800"/>
                    </a:lnTo>
                    <a:lnTo>
                      <a:pt x="3062" y="800"/>
                    </a:lnTo>
                    <a:lnTo>
                      <a:pt x="3062" y="800"/>
                    </a:lnTo>
                    <a:lnTo>
                      <a:pt x="3062" y="802"/>
                    </a:lnTo>
                    <a:lnTo>
                      <a:pt x="3062" y="802"/>
                    </a:lnTo>
                    <a:lnTo>
                      <a:pt x="3062" y="803"/>
                    </a:lnTo>
                    <a:lnTo>
                      <a:pt x="3062" y="803"/>
                    </a:lnTo>
                    <a:lnTo>
                      <a:pt x="3062" y="805"/>
                    </a:lnTo>
                    <a:lnTo>
                      <a:pt x="3062" y="805"/>
                    </a:lnTo>
                    <a:lnTo>
                      <a:pt x="3062" y="806"/>
                    </a:lnTo>
                    <a:lnTo>
                      <a:pt x="3063" y="806"/>
                    </a:lnTo>
                    <a:lnTo>
                      <a:pt x="3066" y="806"/>
                    </a:lnTo>
                    <a:lnTo>
                      <a:pt x="3068" y="806"/>
                    </a:lnTo>
                    <a:lnTo>
                      <a:pt x="3069" y="806"/>
                    </a:lnTo>
                    <a:lnTo>
                      <a:pt x="3068" y="805"/>
                    </a:lnTo>
                    <a:lnTo>
                      <a:pt x="3068" y="805"/>
                    </a:lnTo>
                    <a:close/>
                    <a:moveTo>
                      <a:pt x="2077" y="228"/>
                    </a:moveTo>
                    <a:lnTo>
                      <a:pt x="2078" y="228"/>
                    </a:lnTo>
                    <a:lnTo>
                      <a:pt x="2078" y="228"/>
                    </a:lnTo>
                    <a:lnTo>
                      <a:pt x="2081" y="229"/>
                    </a:lnTo>
                    <a:lnTo>
                      <a:pt x="2081" y="229"/>
                    </a:lnTo>
                    <a:lnTo>
                      <a:pt x="2083" y="229"/>
                    </a:lnTo>
                    <a:lnTo>
                      <a:pt x="2083" y="228"/>
                    </a:lnTo>
                    <a:lnTo>
                      <a:pt x="2083" y="228"/>
                    </a:lnTo>
                    <a:lnTo>
                      <a:pt x="2081" y="228"/>
                    </a:lnTo>
                    <a:lnTo>
                      <a:pt x="2080" y="226"/>
                    </a:lnTo>
                    <a:lnTo>
                      <a:pt x="2077" y="226"/>
                    </a:lnTo>
                    <a:lnTo>
                      <a:pt x="2075" y="226"/>
                    </a:lnTo>
                    <a:lnTo>
                      <a:pt x="2071" y="226"/>
                    </a:lnTo>
                    <a:lnTo>
                      <a:pt x="2068" y="226"/>
                    </a:lnTo>
                    <a:lnTo>
                      <a:pt x="2067" y="226"/>
                    </a:lnTo>
                    <a:lnTo>
                      <a:pt x="2067" y="226"/>
                    </a:lnTo>
                    <a:lnTo>
                      <a:pt x="2068" y="226"/>
                    </a:lnTo>
                    <a:lnTo>
                      <a:pt x="2071" y="228"/>
                    </a:lnTo>
                    <a:lnTo>
                      <a:pt x="2072" y="228"/>
                    </a:lnTo>
                    <a:lnTo>
                      <a:pt x="2075" y="228"/>
                    </a:lnTo>
                    <a:lnTo>
                      <a:pt x="2075" y="228"/>
                    </a:lnTo>
                    <a:lnTo>
                      <a:pt x="2077" y="228"/>
                    </a:lnTo>
                    <a:close/>
                    <a:moveTo>
                      <a:pt x="1758" y="170"/>
                    </a:moveTo>
                    <a:lnTo>
                      <a:pt x="1759" y="170"/>
                    </a:lnTo>
                    <a:lnTo>
                      <a:pt x="1758" y="169"/>
                    </a:lnTo>
                    <a:lnTo>
                      <a:pt x="1758" y="169"/>
                    </a:lnTo>
                    <a:lnTo>
                      <a:pt x="1758" y="167"/>
                    </a:lnTo>
                    <a:lnTo>
                      <a:pt x="1757" y="167"/>
                    </a:lnTo>
                    <a:lnTo>
                      <a:pt x="1755" y="167"/>
                    </a:lnTo>
                    <a:lnTo>
                      <a:pt x="1757" y="169"/>
                    </a:lnTo>
                    <a:lnTo>
                      <a:pt x="1758" y="170"/>
                    </a:lnTo>
                    <a:close/>
                    <a:moveTo>
                      <a:pt x="1790" y="174"/>
                    </a:moveTo>
                    <a:lnTo>
                      <a:pt x="1790" y="176"/>
                    </a:lnTo>
                    <a:lnTo>
                      <a:pt x="1791" y="176"/>
                    </a:lnTo>
                    <a:lnTo>
                      <a:pt x="1790" y="174"/>
                    </a:lnTo>
                    <a:close/>
                    <a:moveTo>
                      <a:pt x="1793" y="176"/>
                    </a:moveTo>
                    <a:lnTo>
                      <a:pt x="1793" y="176"/>
                    </a:lnTo>
                    <a:lnTo>
                      <a:pt x="1791" y="176"/>
                    </a:lnTo>
                    <a:lnTo>
                      <a:pt x="1793" y="176"/>
                    </a:lnTo>
                    <a:lnTo>
                      <a:pt x="1793" y="176"/>
                    </a:lnTo>
                    <a:close/>
                    <a:moveTo>
                      <a:pt x="1513" y="151"/>
                    </a:moveTo>
                    <a:lnTo>
                      <a:pt x="1510" y="151"/>
                    </a:lnTo>
                    <a:lnTo>
                      <a:pt x="1510" y="153"/>
                    </a:lnTo>
                    <a:lnTo>
                      <a:pt x="1510" y="154"/>
                    </a:lnTo>
                    <a:lnTo>
                      <a:pt x="1510" y="154"/>
                    </a:lnTo>
                    <a:lnTo>
                      <a:pt x="1510" y="156"/>
                    </a:lnTo>
                    <a:lnTo>
                      <a:pt x="1510" y="156"/>
                    </a:lnTo>
                    <a:lnTo>
                      <a:pt x="1509" y="156"/>
                    </a:lnTo>
                    <a:lnTo>
                      <a:pt x="1507" y="157"/>
                    </a:lnTo>
                    <a:lnTo>
                      <a:pt x="1507" y="157"/>
                    </a:lnTo>
                    <a:lnTo>
                      <a:pt x="1509" y="159"/>
                    </a:lnTo>
                    <a:lnTo>
                      <a:pt x="1510" y="160"/>
                    </a:lnTo>
                    <a:lnTo>
                      <a:pt x="1511" y="160"/>
                    </a:lnTo>
                    <a:lnTo>
                      <a:pt x="1513" y="161"/>
                    </a:lnTo>
                    <a:lnTo>
                      <a:pt x="1516" y="161"/>
                    </a:lnTo>
                    <a:lnTo>
                      <a:pt x="1520" y="161"/>
                    </a:lnTo>
                    <a:lnTo>
                      <a:pt x="1524" y="163"/>
                    </a:lnTo>
                    <a:lnTo>
                      <a:pt x="1529" y="163"/>
                    </a:lnTo>
                    <a:lnTo>
                      <a:pt x="1532" y="163"/>
                    </a:lnTo>
                    <a:lnTo>
                      <a:pt x="1533" y="163"/>
                    </a:lnTo>
                    <a:lnTo>
                      <a:pt x="1534" y="163"/>
                    </a:lnTo>
                    <a:lnTo>
                      <a:pt x="1536" y="163"/>
                    </a:lnTo>
                    <a:lnTo>
                      <a:pt x="1536" y="163"/>
                    </a:lnTo>
                    <a:lnTo>
                      <a:pt x="1536" y="161"/>
                    </a:lnTo>
                    <a:lnTo>
                      <a:pt x="1537" y="160"/>
                    </a:lnTo>
                    <a:lnTo>
                      <a:pt x="1537" y="159"/>
                    </a:lnTo>
                    <a:lnTo>
                      <a:pt x="1539" y="159"/>
                    </a:lnTo>
                    <a:lnTo>
                      <a:pt x="1539" y="157"/>
                    </a:lnTo>
                    <a:lnTo>
                      <a:pt x="1539" y="157"/>
                    </a:lnTo>
                    <a:lnTo>
                      <a:pt x="1539" y="156"/>
                    </a:lnTo>
                    <a:lnTo>
                      <a:pt x="1539" y="156"/>
                    </a:lnTo>
                    <a:lnTo>
                      <a:pt x="1537" y="154"/>
                    </a:lnTo>
                    <a:lnTo>
                      <a:pt x="1537" y="154"/>
                    </a:lnTo>
                    <a:lnTo>
                      <a:pt x="1536" y="154"/>
                    </a:lnTo>
                    <a:lnTo>
                      <a:pt x="1532" y="153"/>
                    </a:lnTo>
                    <a:lnTo>
                      <a:pt x="1529" y="153"/>
                    </a:lnTo>
                    <a:lnTo>
                      <a:pt x="1526" y="153"/>
                    </a:lnTo>
                    <a:lnTo>
                      <a:pt x="1522" y="153"/>
                    </a:lnTo>
                    <a:lnTo>
                      <a:pt x="1520" y="153"/>
                    </a:lnTo>
                    <a:lnTo>
                      <a:pt x="1516" y="151"/>
                    </a:lnTo>
                    <a:lnTo>
                      <a:pt x="1513" y="151"/>
                    </a:lnTo>
                    <a:close/>
                    <a:moveTo>
                      <a:pt x="1589" y="160"/>
                    </a:moveTo>
                    <a:lnTo>
                      <a:pt x="1589" y="160"/>
                    </a:lnTo>
                    <a:lnTo>
                      <a:pt x="1591" y="160"/>
                    </a:lnTo>
                    <a:lnTo>
                      <a:pt x="1591" y="159"/>
                    </a:lnTo>
                    <a:lnTo>
                      <a:pt x="1589" y="157"/>
                    </a:lnTo>
                    <a:lnTo>
                      <a:pt x="1589" y="157"/>
                    </a:lnTo>
                    <a:lnTo>
                      <a:pt x="1589" y="157"/>
                    </a:lnTo>
                    <a:lnTo>
                      <a:pt x="1589" y="157"/>
                    </a:lnTo>
                    <a:lnTo>
                      <a:pt x="1588" y="157"/>
                    </a:lnTo>
                    <a:lnTo>
                      <a:pt x="1588" y="157"/>
                    </a:lnTo>
                    <a:lnTo>
                      <a:pt x="1588" y="159"/>
                    </a:lnTo>
                    <a:lnTo>
                      <a:pt x="1588" y="159"/>
                    </a:lnTo>
                    <a:lnTo>
                      <a:pt x="1588" y="160"/>
                    </a:lnTo>
                    <a:lnTo>
                      <a:pt x="1589" y="160"/>
                    </a:lnTo>
                    <a:lnTo>
                      <a:pt x="1589" y="160"/>
                    </a:lnTo>
                    <a:close/>
                    <a:moveTo>
                      <a:pt x="1154" y="95"/>
                    </a:moveTo>
                    <a:lnTo>
                      <a:pt x="1155" y="95"/>
                    </a:lnTo>
                    <a:lnTo>
                      <a:pt x="1157" y="95"/>
                    </a:lnTo>
                    <a:lnTo>
                      <a:pt x="1158" y="97"/>
                    </a:lnTo>
                    <a:lnTo>
                      <a:pt x="1158" y="97"/>
                    </a:lnTo>
                    <a:lnTo>
                      <a:pt x="1161" y="97"/>
                    </a:lnTo>
                    <a:lnTo>
                      <a:pt x="1162" y="95"/>
                    </a:lnTo>
                    <a:lnTo>
                      <a:pt x="1164" y="95"/>
                    </a:lnTo>
                    <a:lnTo>
                      <a:pt x="1165" y="94"/>
                    </a:lnTo>
                    <a:lnTo>
                      <a:pt x="1165" y="94"/>
                    </a:lnTo>
                    <a:lnTo>
                      <a:pt x="1165" y="92"/>
                    </a:lnTo>
                    <a:lnTo>
                      <a:pt x="1165" y="92"/>
                    </a:lnTo>
                    <a:lnTo>
                      <a:pt x="1164" y="91"/>
                    </a:lnTo>
                    <a:lnTo>
                      <a:pt x="1164" y="91"/>
                    </a:lnTo>
                    <a:lnTo>
                      <a:pt x="1161" y="92"/>
                    </a:lnTo>
                    <a:lnTo>
                      <a:pt x="1160" y="92"/>
                    </a:lnTo>
                    <a:lnTo>
                      <a:pt x="1157" y="92"/>
                    </a:lnTo>
                    <a:lnTo>
                      <a:pt x="1155" y="92"/>
                    </a:lnTo>
                    <a:lnTo>
                      <a:pt x="1154" y="92"/>
                    </a:lnTo>
                    <a:lnTo>
                      <a:pt x="1151" y="92"/>
                    </a:lnTo>
                    <a:lnTo>
                      <a:pt x="1149" y="92"/>
                    </a:lnTo>
                    <a:lnTo>
                      <a:pt x="1147" y="94"/>
                    </a:lnTo>
                    <a:lnTo>
                      <a:pt x="1148" y="95"/>
                    </a:lnTo>
                    <a:lnTo>
                      <a:pt x="1149" y="95"/>
                    </a:lnTo>
                    <a:lnTo>
                      <a:pt x="1151" y="95"/>
                    </a:lnTo>
                    <a:lnTo>
                      <a:pt x="1152" y="95"/>
                    </a:lnTo>
                    <a:lnTo>
                      <a:pt x="1154" y="95"/>
                    </a:lnTo>
                    <a:close/>
                    <a:moveTo>
                      <a:pt x="1170" y="102"/>
                    </a:moveTo>
                    <a:lnTo>
                      <a:pt x="1171" y="102"/>
                    </a:lnTo>
                    <a:lnTo>
                      <a:pt x="1173" y="102"/>
                    </a:lnTo>
                    <a:lnTo>
                      <a:pt x="1174" y="102"/>
                    </a:lnTo>
                    <a:lnTo>
                      <a:pt x="1174" y="102"/>
                    </a:lnTo>
                    <a:lnTo>
                      <a:pt x="1174" y="102"/>
                    </a:lnTo>
                    <a:lnTo>
                      <a:pt x="1168" y="102"/>
                    </a:lnTo>
                    <a:lnTo>
                      <a:pt x="1170" y="102"/>
                    </a:lnTo>
                    <a:close/>
                    <a:moveTo>
                      <a:pt x="1188" y="101"/>
                    </a:moveTo>
                    <a:lnTo>
                      <a:pt x="1188" y="101"/>
                    </a:lnTo>
                    <a:lnTo>
                      <a:pt x="1187" y="101"/>
                    </a:lnTo>
                    <a:lnTo>
                      <a:pt x="1185" y="101"/>
                    </a:lnTo>
                    <a:lnTo>
                      <a:pt x="1187" y="101"/>
                    </a:lnTo>
                    <a:lnTo>
                      <a:pt x="1188" y="101"/>
                    </a:lnTo>
                    <a:close/>
                    <a:moveTo>
                      <a:pt x="1191" y="114"/>
                    </a:moveTo>
                    <a:lnTo>
                      <a:pt x="1191" y="114"/>
                    </a:lnTo>
                    <a:lnTo>
                      <a:pt x="1191" y="114"/>
                    </a:lnTo>
                    <a:lnTo>
                      <a:pt x="1191" y="114"/>
                    </a:lnTo>
                    <a:lnTo>
                      <a:pt x="1191" y="114"/>
                    </a:lnTo>
                    <a:lnTo>
                      <a:pt x="1191" y="114"/>
                    </a:lnTo>
                    <a:close/>
                    <a:moveTo>
                      <a:pt x="1193" y="112"/>
                    </a:moveTo>
                    <a:lnTo>
                      <a:pt x="1193" y="111"/>
                    </a:lnTo>
                    <a:lnTo>
                      <a:pt x="1193" y="111"/>
                    </a:lnTo>
                    <a:lnTo>
                      <a:pt x="1191" y="111"/>
                    </a:lnTo>
                    <a:lnTo>
                      <a:pt x="1191" y="111"/>
                    </a:lnTo>
                    <a:lnTo>
                      <a:pt x="1191" y="111"/>
                    </a:lnTo>
                    <a:lnTo>
                      <a:pt x="1190" y="111"/>
                    </a:lnTo>
                    <a:lnTo>
                      <a:pt x="1190" y="111"/>
                    </a:lnTo>
                    <a:lnTo>
                      <a:pt x="1190" y="112"/>
                    </a:lnTo>
                    <a:lnTo>
                      <a:pt x="1190" y="112"/>
                    </a:lnTo>
                    <a:lnTo>
                      <a:pt x="1191" y="112"/>
                    </a:lnTo>
                    <a:lnTo>
                      <a:pt x="1191" y="114"/>
                    </a:lnTo>
                    <a:lnTo>
                      <a:pt x="1191" y="112"/>
                    </a:lnTo>
                    <a:lnTo>
                      <a:pt x="1193" y="112"/>
                    </a:lnTo>
                    <a:close/>
                    <a:moveTo>
                      <a:pt x="1188" y="102"/>
                    </a:moveTo>
                    <a:lnTo>
                      <a:pt x="1190" y="104"/>
                    </a:lnTo>
                    <a:lnTo>
                      <a:pt x="1190" y="104"/>
                    </a:lnTo>
                    <a:lnTo>
                      <a:pt x="1191" y="104"/>
                    </a:lnTo>
                    <a:lnTo>
                      <a:pt x="1194" y="104"/>
                    </a:lnTo>
                    <a:lnTo>
                      <a:pt x="1194" y="102"/>
                    </a:lnTo>
                    <a:lnTo>
                      <a:pt x="1194" y="102"/>
                    </a:lnTo>
                    <a:lnTo>
                      <a:pt x="1193" y="102"/>
                    </a:lnTo>
                    <a:lnTo>
                      <a:pt x="1193" y="102"/>
                    </a:lnTo>
                    <a:lnTo>
                      <a:pt x="1191" y="102"/>
                    </a:lnTo>
                    <a:lnTo>
                      <a:pt x="1188" y="102"/>
                    </a:lnTo>
                    <a:lnTo>
                      <a:pt x="1188" y="102"/>
                    </a:lnTo>
                    <a:lnTo>
                      <a:pt x="1188" y="102"/>
                    </a:lnTo>
                    <a:close/>
                    <a:moveTo>
                      <a:pt x="1034" y="40"/>
                    </a:moveTo>
                    <a:lnTo>
                      <a:pt x="1035" y="39"/>
                    </a:lnTo>
                    <a:lnTo>
                      <a:pt x="1037" y="39"/>
                    </a:lnTo>
                    <a:lnTo>
                      <a:pt x="1035" y="39"/>
                    </a:lnTo>
                    <a:lnTo>
                      <a:pt x="1034" y="39"/>
                    </a:lnTo>
                    <a:lnTo>
                      <a:pt x="1033" y="40"/>
                    </a:lnTo>
                    <a:lnTo>
                      <a:pt x="1030" y="40"/>
                    </a:lnTo>
                    <a:lnTo>
                      <a:pt x="1033" y="40"/>
                    </a:lnTo>
                    <a:lnTo>
                      <a:pt x="1034" y="40"/>
                    </a:lnTo>
                    <a:lnTo>
                      <a:pt x="1034" y="40"/>
                    </a:lnTo>
                    <a:close/>
                    <a:moveTo>
                      <a:pt x="1028" y="42"/>
                    </a:moveTo>
                    <a:lnTo>
                      <a:pt x="1030" y="40"/>
                    </a:lnTo>
                    <a:lnTo>
                      <a:pt x="1028" y="40"/>
                    </a:lnTo>
                    <a:lnTo>
                      <a:pt x="1028" y="42"/>
                    </a:lnTo>
                    <a:close/>
                    <a:moveTo>
                      <a:pt x="1044" y="39"/>
                    </a:moveTo>
                    <a:lnTo>
                      <a:pt x="1044" y="39"/>
                    </a:lnTo>
                    <a:lnTo>
                      <a:pt x="1043" y="39"/>
                    </a:lnTo>
                    <a:lnTo>
                      <a:pt x="1041" y="39"/>
                    </a:lnTo>
                    <a:lnTo>
                      <a:pt x="1041" y="40"/>
                    </a:lnTo>
                    <a:lnTo>
                      <a:pt x="1040" y="42"/>
                    </a:lnTo>
                    <a:lnTo>
                      <a:pt x="1041" y="42"/>
                    </a:lnTo>
                    <a:lnTo>
                      <a:pt x="1044" y="42"/>
                    </a:lnTo>
                    <a:lnTo>
                      <a:pt x="1044" y="42"/>
                    </a:lnTo>
                    <a:lnTo>
                      <a:pt x="1046" y="42"/>
                    </a:lnTo>
                    <a:lnTo>
                      <a:pt x="1046" y="42"/>
                    </a:lnTo>
                    <a:lnTo>
                      <a:pt x="1046" y="40"/>
                    </a:lnTo>
                    <a:lnTo>
                      <a:pt x="1046" y="39"/>
                    </a:lnTo>
                    <a:lnTo>
                      <a:pt x="1044" y="39"/>
                    </a:lnTo>
                    <a:close/>
                    <a:moveTo>
                      <a:pt x="1162" y="35"/>
                    </a:moveTo>
                    <a:lnTo>
                      <a:pt x="1162" y="35"/>
                    </a:lnTo>
                    <a:lnTo>
                      <a:pt x="1162" y="35"/>
                    </a:lnTo>
                    <a:lnTo>
                      <a:pt x="1162" y="35"/>
                    </a:lnTo>
                    <a:close/>
                    <a:moveTo>
                      <a:pt x="1160" y="35"/>
                    </a:moveTo>
                    <a:lnTo>
                      <a:pt x="1160" y="35"/>
                    </a:lnTo>
                    <a:lnTo>
                      <a:pt x="1161" y="35"/>
                    </a:lnTo>
                    <a:lnTo>
                      <a:pt x="1160" y="35"/>
                    </a:lnTo>
                    <a:close/>
                    <a:moveTo>
                      <a:pt x="1302" y="68"/>
                    </a:moveTo>
                    <a:lnTo>
                      <a:pt x="1304" y="68"/>
                    </a:lnTo>
                    <a:lnTo>
                      <a:pt x="1304" y="69"/>
                    </a:lnTo>
                    <a:lnTo>
                      <a:pt x="1305" y="68"/>
                    </a:lnTo>
                    <a:lnTo>
                      <a:pt x="1307" y="68"/>
                    </a:lnTo>
                    <a:lnTo>
                      <a:pt x="1308" y="68"/>
                    </a:lnTo>
                    <a:lnTo>
                      <a:pt x="1308" y="68"/>
                    </a:lnTo>
                    <a:lnTo>
                      <a:pt x="1308" y="66"/>
                    </a:lnTo>
                    <a:lnTo>
                      <a:pt x="1310" y="65"/>
                    </a:lnTo>
                    <a:lnTo>
                      <a:pt x="1308" y="65"/>
                    </a:lnTo>
                    <a:lnTo>
                      <a:pt x="1308" y="65"/>
                    </a:lnTo>
                    <a:lnTo>
                      <a:pt x="1307" y="65"/>
                    </a:lnTo>
                    <a:lnTo>
                      <a:pt x="1307" y="65"/>
                    </a:lnTo>
                    <a:lnTo>
                      <a:pt x="1305" y="65"/>
                    </a:lnTo>
                    <a:lnTo>
                      <a:pt x="1305" y="66"/>
                    </a:lnTo>
                    <a:lnTo>
                      <a:pt x="1304" y="66"/>
                    </a:lnTo>
                    <a:lnTo>
                      <a:pt x="1302" y="66"/>
                    </a:lnTo>
                    <a:lnTo>
                      <a:pt x="1302" y="66"/>
                    </a:lnTo>
                    <a:lnTo>
                      <a:pt x="1301" y="65"/>
                    </a:lnTo>
                    <a:lnTo>
                      <a:pt x="1302" y="66"/>
                    </a:lnTo>
                    <a:lnTo>
                      <a:pt x="1302" y="68"/>
                    </a:lnTo>
                    <a:close/>
                    <a:moveTo>
                      <a:pt x="1317" y="69"/>
                    </a:moveTo>
                    <a:lnTo>
                      <a:pt x="1320" y="69"/>
                    </a:lnTo>
                    <a:lnTo>
                      <a:pt x="1322" y="69"/>
                    </a:lnTo>
                    <a:lnTo>
                      <a:pt x="1325" y="69"/>
                    </a:lnTo>
                    <a:lnTo>
                      <a:pt x="1328" y="69"/>
                    </a:lnTo>
                    <a:lnTo>
                      <a:pt x="1330" y="69"/>
                    </a:lnTo>
                    <a:lnTo>
                      <a:pt x="1333" y="69"/>
                    </a:lnTo>
                    <a:lnTo>
                      <a:pt x="1334" y="69"/>
                    </a:lnTo>
                    <a:lnTo>
                      <a:pt x="1334" y="69"/>
                    </a:lnTo>
                    <a:lnTo>
                      <a:pt x="1335" y="69"/>
                    </a:lnTo>
                    <a:lnTo>
                      <a:pt x="1335" y="69"/>
                    </a:lnTo>
                    <a:lnTo>
                      <a:pt x="1333" y="69"/>
                    </a:lnTo>
                    <a:lnTo>
                      <a:pt x="1330" y="68"/>
                    </a:lnTo>
                    <a:lnTo>
                      <a:pt x="1325" y="68"/>
                    </a:lnTo>
                    <a:lnTo>
                      <a:pt x="1322" y="68"/>
                    </a:lnTo>
                    <a:lnTo>
                      <a:pt x="1320" y="68"/>
                    </a:lnTo>
                    <a:lnTo>
                      <a:pt x="1317" y="68"/>
                    </a:lnTo>
                    <a:lnTo>
                      <a:pt x="1314" y="68"/>
                    </a:lnTo>
                    <a:lnTo>
                      <a:pt x="1312" y="68"/>
                    </a:lnTo>
                    <a:lnTo>
                      <a:pt x="1314" y="68"/>
                    </a:lnTo>
                    <a:lnTo>
                      <a:pt x="1317" y="69"/>
                    </a:lnTo>
                    <a:close/>
                    <a:moveTo>
                      <a:pt x="1350" y="89"/>
                    </a:moveTo>
                    <a:lnTo>
                      <a:pt x="1351" y="89"/>
                    </a:lnTo>
                    <a:lnTo>
                      <a:pt x="1351" y="91"/>
                    </a:lnTo>
                    <a:lnTo>
                      <a:pt x="1351" y="91"/>
                    </a:lnTo>
                    <a:lnTo>
                      <a:pt x="1351" y="91"/>
                    </a:lnTo>
                    <a:lnTo>
                      <a:pt x="1353" y="89"/>
                    </a:lnTo>
                    <a:lnTo>
                      <a:pt x="1353" y="89"/>
                    </a:lnTo>
                    <a:lnTo>
                      <a:pt x="1354" y="88"/>
                    </a:lnTo>
                    <a:lnTo>
                      <a:pt x="1354" y="88"/>
                    </a:lnTo>
                    <a:lnTo>
                      <a:pt x="1351" y="88"/>
                    </a:lnTo>
                    <a:lnTo>
                      <a:pt x="1350" y="88"/>
                    </a:lnTo>
                    <a:lnTo>
                      <a:pt x="1350" y="88"/>
                    </a:lnTo>
                    <a:lnTo>
                      <a:pt x="1348" y="88"/>
                    </a:lnTo>
                    <a:lnTo>
                      <a:pt x="1350" y="88"/>
                    </a:lnTo>
                    <a:lnTo>
                      <a:pt x="1350" y="89"/>
                    </a:lnTo>
                    <a:close/>
                    <a:moveTo>
                      <a:pt x="447" y="306"/>
                    </a:moveTo>
                    <a:lnTo>
                      <a:pt x="446" y="306"/>
                    </a:lnTo>
                    <a:lnTo>
                      <a:pt x="444" y="306"/>
                    </a:lnTo>
                    <a:lnTo>
                      <a:pt x="446" y="306"/>
                    </a:lnTo>
                    <a:lnTo>
                      <a:pt x="447" y="307"/>
                    </a:lnTo>
                    <a:lnTo>
                      <a:pt x="449" y="307"/>
                    </a:lnTo>
                    <a:lnTo>
                      <a:pt x="450" y="306"/>
                    </a:lnTo>
                    <a:lnTo>
                      <a:pt x="453" y="306"/>
                    </a:lnTo>
                    <a:lnTo>
                      <a:pt x="450" y="306"/>
                    </a:lnTo>
                    <a:lnTo>
                      <a:pt x="447" y="306"/>
                    </a:lnTo>
                    <a:close/>
                    <a:moveTo>
                      <a:pt x="532" y="114"/>
                    </a:moveTo>
                    <a:lnTo>
                      <a:pt x="534" y="114"/>
                    </a:lnTo>
                    <a:lnTo>
                      <a:pt x="535" y="114"/>
                    </a:lnTo>
                    <a:lnTo>
                      <a:pt x="536" y="114"/>
                    </a:lnTo>
                    <a:lnTo>
                      <a:pt x="538" y="114"/>
                    </a:lnTo>
                    <a:lnTo>
                      <a:pt x="531" y="114"/>
                    </a:lnTo>
                    <a:lnTo>
                      <a:pt x="531" y="114"/>
                    </a:lnTo>
                    <a:lnTo>
                      <a:pt x="532" y="114"/>
                    </a:lnTo>
                    <a:close/>
                    <a:moveTo>
                      <a:pt x="542" y="252"/>
                    </a:moveTo>
                    <a:lnTo>
                      <a:pt x="542" y="252"/>
                    </a:lnTo>
                    <a:lnTo>
                      <a:pt x="544" y="254"/>
                    </a:lnTo>
                    <a:lnTo>
                      <a:pt x="544" y="254"/>
                    </a:lnTo>
                    <a:lnTo>
                      <a:pt x="544" y="255"/>
                    </a:lnTo>
                    <a:lnTo>
                      <a:pt x="545" y="254"/>
                    </a:lnTo>
                    <a:lnTo>
                      <a:pt x="545" y="252"/>
                    </a:lnTo>
                    <a:lnTo>
                      <a:pt x="545" y="252"/>
                    </a:lnTo>
                    <a:lnTo>
                      <a:pt x="545" y="251"/>
                    </a:lnTo>
                    <a:lnTo>
                      <a:pt x="545" y="251"/>
                    </a:lnTo>
                    <a:lnTo>
                      <a:pt x="544" y="251"/>
                    </a:lnTo>
                    <a:lnTo>
                      <a:pt x="542" y="251"/>
                    </a:lnTo>
                    <a:lnTo>
                      <a:pt x="542" y="252"/>
                    </a:lnTo>
                    <a:close/>
                    <a:moveTo>
                      <a:pt x="293" y="352"/>
                    </a:moveTo>
                    <a:lnTo>
                      <a:pt x="294" y="352"/>
                    </a:lnTo>
                    <a:lnTo>
                      <a:pt x="293" y="350"/>
                    </a:lnTo>
                    <a:lnTo>
                      <a:pt x="293" y="350"/>
                    </a:lnTo>
                    <a:lnTo>
                      <a:pt x="291" y="349"/>
                    </a:lnTo>
                    <a:lnTo>
                      <a:pt x="291" y="349"/>
                    </a:lnTo>
                    <a:lnTo>
                      <a:pt x="291" y="349"/>
                    </a:lnTo>
                    <a:lnTo>
                      <a:pt x="291" y="349"/>
                    </a:lnTo>
                    <a:lnTo>
                      <a:pt x="291" y="350"/>
                    </a:lnTo>
                    <a:lnTo>
                      <a:pt x="291" y="350"/>
                    </a:lnTo>
                    <a:lnTo>
                      <a:pt x="291" y="352"/>
                    </a:lnTo>
                    <a:lnTo>
                      <a:pt x="291" y="352"/>
                    </a:lnTo>
                    <a:lnTo>
                      <a:pt x="293" y="352"/>
                    </a:lnTo>
                    <a:close/>
                    <a:moveTo>
                      <a:pt x="570" y="297"/>
                    </a:moveTo>
                    <a:lnTo>
                      <a:pt x="571" y="297"/>
                    </a:lnTo>
                    <a:lnTo>
                      <a:pt x="573" y="297"/>
                    </a:lnTo>
                    <a:lnTo>
                      <a:pt x="574" y="297"/>
                    </a:lnTo>
                    <a:lnTo>
                      <a:pt x="575" y="297"/>
                    </a:lnTo>
                    <a:lnTo>
                      <a:pt x="577" y="296"/>
                    </a:lnTo>
                    <a:lnTo>
                      <a:pt x="570" y="296"/>
                    </a:lnTo>
                    <a:lnTo>
                      <a:pt x="570" y="297"/>
                    </a:lnTo>
                    <a:close/>
                    <a:moveTo>
                      <a:pt x="603" y="288"/>
                    </a:moveTo>
                    <a:lnTo>
                      <a:pt x="603" y="287"/>
                    </a:lnTo>
                    <a:lnTo>
                      <a:pt x="599" y="285"/>
                    </a:lnTo>
                    <a:lnTo>
                      <a:pt x="596" y="284"/>
                    </a:lnTo>
                    <a:lnTo>
                      <a:pt x="597" y="285"/>
                    </a:lnTo>
                    <a:lnTo>
                      <a:pt x="600" y="287"/>
                    </a:lnTo>
                    <a:lnTo>
                      <a:pt x="601" y="287"/>
                    </a:lnTo>
                    <a:lnTo>
                      <a:pt x="603" y="288"/>
                    </a:lnTo>
                    <a:lnTo>
                      <a:pt x="604" y="290"/>
                    </a:lnTo>
                    <a:lnTo>
                      <a:pt x="603" y="288"/>
                    </a:lnTo>
                    <a:close/>
                    <a:moveTo>
                      <a:pt x="759" y="277"/>
                    </a:moveTo>
                    <a:lnTo>
                      <a:pt x="759" y="277"/>
                    </a:lnTo>
                    <a:lnTo>
                      <a:pt x="757" y="275"/>
                    </a:lnTo>
                    <a:lnTo>
                      <a:pt x="757" y="275"/>
                    </a:lnTo>
                    <a:lnTo>
                      <a:pt x="756" y="277"/>
                    </a:lnTo>
                    <a:lnTo>
                      <a:pt x="754" y="277"/>
                    </a:lnTo>
                    <a:lnTo>
                      <a:pt x="754" y="278"/>
                    </a:lnTo>
                    <a:lnTo>
                      <a:pt x="754" y="280"/>
                    </a:lnTo>
                    <a:lnTo>
                      <a:pt x="754" y="280"/>
                    </a:lnTo>
                    <a:lnTo>
                      <a:pt x="756" y="280"/>
                    </a:lnTo>
                    <a:lnTo>
                      <a:pt x="757" y="280"/>
                    </a:lnTo>
                    <a:lnTo>
                      <a:pt x="759" y="280"/>
                    </a:lnTo>
                    <a:lnTo>
                      <a:pt x="759" y="278"/>
                    </a:lnTo>
                    <a:lnTo>
                      <a:pt x="759" y="278"/>
                    </a:lnTo>
                    <a:lnTo>
                      <a:pt x="759" y="277"/>
                    </a:lnTo>
                    <a:close/>
                    <a:moveTo>
                      <a:pt x="776" y="182"/>
                    </a:moveTo>
                    <a:lnTo>
                      <a:pt x="776" y="183"/>
                    </a:lnTo>
                    <a:lnTo>
                      <a:pt x="777" y="183"/>
                    </a:lnTo>
                    <a:lnTo>
                      <a:pt x="777" y="183"/>
                    </a:lnTo>
                    <a:lnTo>
                      <a:pt x="777" y="183"/>
                    </a:lnTo>
                    <a:lnTo>
                      <a:pt x="777" y="182"/>
                    </a:lnTo>
                    <a:lnTo>
                      <a:pt x="777" y="182"/>
                    </a:lnTo>
                    <a:lnTo>
                      <a:pt x="779" y="179"/>
                    </a:lnTo>
                    <a:lnTo>
                      <a:pt x="777" y="180"/>
                    </a:lnTo>
                    <a:lnTo>
                      <a:pt x="776" y="180"/>
                    </a:lnTo>
                    <a:lnTo>
                      <a:pt x="776" y="182"/>
                    </a:lnTo>
                    <a:lnTo>
                      <a:pt x="776" y="182"/>
                    </a:lnTo>
                    <a:close/>
                    <a:moveTo>
                      <a:pt x="848" y="356"/>
                    </a:moveTo>
                    <a:lnTo>
                      <a:pt x="849" y="355"/>
                    </a:lnTo>
                    <a:lnTo>
                      <a:pt x="851" y="355"/>
                    </a:lnTo>
                    <a:lnTo>
                      <a:pt x="851" y="353"/>
                    </a:lnTo>
                    <a:lnTo>
                      <a:pt x="851" y="353"/>
                    </a:lnTo>
                    <a:lnTo>
                      <a:pt x="851" y="353"/>
                    </a:lnTo>
                    <a:lnTo>
                      <a:pt x="849" y="352"/>
                    </a:lnTo>
                    <a:lnTo>
                      <a:pt x="849" y="352"/>
                    </a:lnTo>
                    <a:lnTo>
                      <a:pt x="848" y="352"/>
                    </a:lnTo>
                    <a:lnTo>
                      <a:pt x="848" y="350"/>
                    </a:lnTo>
                    <a:lnTo>
                      <a:pt x="839" y="350"/>
                    </a:lnTo>
                    <a:lnTo>
                      <a:pt x="838" y="350"/>
                    </a:lnTo>
                    <a:lnTo>
                      <a:pt x="836" y="350"/>
                    </a:lnTo>
                    <a:lnTo>
                      <a:pt x="834" y="350"/>
                    </a:lnTo>
                    <a:lnTo>
                      <a:pt x="834" y="350"/>
                    </a:lnTo>
                    <a:lnTo>
                      <a:pt x="835" y="350"/>
                    </a:lnTo>
                    <a:lnTo>
                      <a:pt x="836" y="352"/>
                    </a:lnTo>
                    <a:lnTo>
                      <a:pt x="839" y="353"/>
                    </a:lnTo>
                    <a:lnTo>
                      <a:pt x="841" y="353"/>
                    </a:lnTo>
                    <a:lnTo>
                      <a:pt x="842" y="355"/>
                    </a:lnTo>
                    <a:lnTo>
                      <a:pt x="845" y="356"/>
                    </a:lnTo>
                    <a:lnTo>
                      <a:pt x="847" y="356"/>
                    </a:lnTo>
                    <a:lnTo>
                      <a:pt x="848" y="356"/>
                    </a:lnTo>
                    <a:close/>
                    <a:moveTo>
                      <a:pt x="829" y="350"/>
                    </a:moveTo>
                    <a:lnTo>
                      <a:pt x="831" y="350"/>
                    </a:lnTo>
                    <a:lnTo>
                      <a:pt x="832" y="350"/>
                    </a:lnTo>
                    <a:lnTo>
                      <a:pt x="831" y="350"/>
                    </a:lnTo>
                    <a:lnTo>
                      <a:pt x="829" y="350"/>
                    </a:lnTo>
                    <a:close/>
                    <a:moveTo>
                      <a:pt x="838" y="189"/>
                    </a:moveTo>
                    <a:lnTo>
                      <a:pt x="841" y="190"/>
                    </a:lnTo>
                    <a:lnTo>
                      <a:pt x="842" y="190"/>
                    </a:lnTo>
                    <a:lnTo>
                      <a:pt x="845" y="192"/>
                    </a:lnTo>
                    <a:lnTo>
                      <a:pt x="848" y="193"/>
                    </a:lnTo>
                    <a:lnTo>
                      <a:pt x="851" y="195"/>
                    </a:lnTo>
                    <a:lnTo>
                      <a:pt x="849" y="193"/>
                    </a:lnTo>
                    <a:lnTo>
                      <a:pt x="848" y="192"/>
                    </a:lnTo>
                    <a:lnTo>
                      <a:pt x="847" y="190"/>
                    </a:lnTo>
                    <a:lnTo>
                      <a:pt x="847" y="190"/>
                    </a:lnTo>
                    <a:lnTo>
                      <a:pt x="847" y="189"/>
                    </a:lnTo>
                    <a:lnTo>
                      <a:pt x="848" y="189"/>
                    </a:lnTo>
                    <a:lnTo>
                      <a:pt x="845" y="187"/>
                    </a:lnTo>
                    <a:lnTo>
                      <a:pt x="842" y="187"/>
                    </a:lnTo>
                    <a:lnTo>
                      <a:pt x="841" y="187"/>
                    </a:lnTo>
                    <a:lnTo>
                      <a:pt x="838" y="187"/>
                    </a:lnTo>
                    <a:lnTo>
                      <a:pt x="836" y="187"/>
                    </a:lnTo>
                    <a:lnTo>
                      <a:pt x="836" y="189"/>
                    </a:lnTo>
                    <a:lnTo>
                      <a:pt x="836" y="189"/>
                    </a:lnTo>
                    <a:lnTo>
                      <a:pt x="838" y="189"/>
                    </a:lnTo>
                    <a:close/>
                    <a:moveTo>
                      <a:pt x="855" y="179"/>
                    </a:moveTo>
                    <a:lnTo>
                      <a:pt x="857" y="179"/>
                    </a:lnTo>
                    <a:lnTo>
                      <a:pt x="860" y="179"/>
                    </a:lnTo>
                    <a:lnTo>
                      <a:pt x="861" y="179"/>
                    </a:lnTo>
                    <a:lnTo>
                      <a:pt x="862" y="179"/>
                    </a:lnTo>
                    <a:lnTo>
                      <a:pt x="862" y="177"/>
                    </a:lnTo>
                    <a:lnTo>
                      <a:pt x="862" y="177"/>
                    </a:lnTo>
                    <a:lnTo>
                      <a:pt x="862" y="176"/>
                    </a:lnTo>
                    <a:lnTo>
                      <a:pt x="861" y="176"/>
                    </a:lnTo>
                    <a:lnTo>
                      <a:pt x="860" y="176"/>
                    </a:lnTo>
                    <a:lnTo>
                      <a:pt x="857" y="176"/>
                    </a:lnTo>
                    <a:lnTo>
                      <a:pt x="855" y="177"/>
                    </a:lnTo>
                    <a:lnTo>
                      <a:pt x="855" y="177"/>
                    </a:lnTo>
                    <a:lnTo>
                      <a:pt x="854" y="179"/>
                    </a:lnTo>
                    <a:lnTo>
                      <a:pt x="855" y="179"/>
                    </a:lnTo>
                    <a:lnTo>
                      <a:pt x="855" y="179"/>
                    </a:lnTo>
                    <a:close/>
                    <a:moveTo>
                      <a:pt x="865" y="355"/>
                    </a:moveTo>
                    <a:lnTo>
                      <a:pt x="862" y="355"/>
                    </a:lnTo>
                    <a:lnTo>
                      <a:pt x="861" y="353"/>
                    </a:lnTo>
                    <a:lnTo>
                      <a:pt x="861" y="353"/>
                    </a:lnTo>
                    <a:lnTo>
                      <a:pt x="860" y="352"/>
                    </a:lnTo>
                    <a:lnTo>
                      <a:pt x="858" y="352"/>
                    </a:lnTo>
                    <a:lnTo>
                      <a:pt x="858" y="352"/>
                    </a:lnTo>
                    <a:lnTo>
                      <a:pt x="855" y="353"/>
                    </a:lnTo>
                    <a:lnTo>
                      <a:pt x="855" y="353"/>
                    </a:lnTo>
                    <a:lnTo>
                      <a:pt x="854" y="355"/>
                    </a:lnTo>
                    <a:lnTo>
                      <a:pt x="855" y="355"/>
                    </a:lnTo>
                    <a:lnTo>
                      <a:pt x="858" y="355"/>
                    </a:lnTo>
                    <a:lnTo>
                      <a:pt x="861" y="356"/>
                    </a:lnTo>
                    <a:lnTo>
                      <a:pt x="862" y="356"/>
                    </a:lnTo>
                    <a:lnTo>
                      <a:pt x="864" y="356"/>
                    </a:lnTo>
                    <a:lnTo>
                      <a:pt x="865" y="356"/>
                    </a:lnTo>
                    <a:lnTo>
                      <a:pt x="867" y="356"/>
                    </a:lnTo>
                    <a:lnTo>
                      <a:pt x="865" y="356"/>
                    </a:lnTo>
                    <a:lnTo>
                      <a:pt x="865" y="355"/>
                    </a:lnTo>
                    <a:close/>
                    <a:moveTo>
                      <a:pt x="868" y="177"/>
                    </a:moveTo>
                    <a:lnTo>
                      <a:pt x="870" y="179"/>
                    </a:lnTo>
                    <a:lnTo>
                      <a:pt x="873" y="179"/>
                    </a:lnTo>
                    <a:lnTo>
                      <a:pt x="875" y="179"/>
                    </a:lnTo>
                    <a:lnTo>
                      <a:pt x="877" y="179"/>
                    </a:lnTo>
                    <a:lnTo>
                      <a:pt x="880" y="179"/>
                    </a:lnTo>
                    <a:lnTo>
                      <a:pt x="878" y="177"/>
                    </a:lnTo>
                    <a:lnTo>
                      <a:pt x="877" y="177"/>
                    </a:lnTo>
                    <a:lnTo>
                      <a:pt x="875" y="176"/>
                    </a:lnTo>
                    <a:lnTo>
                      <a:pt x="873" y="176"/>
                    </a:lnTo>
                    <a:lnTo>
                      <a:pt x="868" y="176"/>
                    </a:lnTo>
                    <a:lnTo>
                      <a:pt x="864" y="176"/>
                    </a:lnTo>
                    <a:lnTo>
                      <a:pt x="867" y="177"/>
                    </a:lnTo>
                    <a:lnTo>
                      <a:pt x="868" y="177"/>
                    </a:lnTo>
                    <a:close/>
                    <a:moveTo>
                      <a:pt x="878" y="186"/>
                    </a:moveTo>
                    <a:lnTo>
                      <a:pt x="880" y="186"/>
                    </a:lnTo>
                    <a:lnTo>
                      <a:pt x="880" y="186"/>
                    </a:lnTo>
                    <a:lnTo>
                      <a:pt x="881" y="186"/>
                    </a:lnTo>
                    <a:lnTo>
                      <a:pt x="883" y="186"/>
                    </a:lnTo>
                    <a:lnTo>
                      <a:pt x="875" y="186"/>
                    </a:lnTo>
                    <a:lnTo>
                      <a:pt x="878" y="186"/>
                    </a:lnTo>
                    <a:close/>
                    <a:moveTo>
                      <a:pt x="901" y="206"/>
                    </a:moveTo>
                    <a:lnTo>
                      <a:pt x="903" y="208"/>
                    </a:lnTo>
                    <a:lnTo>
                      <a:pt x="904" y="208"/>
                    </a:lnTo>
                    <a:lnTo>
                      <a:pt x="909" y="208"/>
                    </a:lnTo>
                    <a:lnTo>
                      <a:pt x="913" y="208"/>
                    </a:lnTo>
                    <a:lnTo>
                      <a:pt x="916" y="206"/>
                    </a:lnTo>
                    <a:lnTo>
                      <a:pt x="920" y="206"/>
                    </a:lnTo>
                    <a:lnTo>
                      <a:pt x="923" y="205"/>
                    </a:lnTo>
                    <a:lnTo>
                      <a:pt x="924" y="203"/>
                    </a:lnTo>
                    <a:lnTo>
                      <a:pt x="926" y="202"/>
                    </a:lnTo>
                    <a:lnTo>
                      <a:pt x="924" y="200"/>
                    </a:lnTo>
                    <a:lnTo>
                      <a:pt x="923" y="200"/>
                    </a:lnTo>
                    <a:lnTo>
                      <a:pt x="922" y="200"/>
                    </a:lnTo>
                    <a:lnTo>
                      <a:pt x="920" y="199"/>
                    </a:lnTo>
                    <a:lnTo>
                      <a:pt x="916" y="199"/>
                    </a:lnTo>
                    <a:lnTo>
                      <a:pt x="914" y="199"/>
                    </a:lnTo>
                    <a:lnTo>
                      <a:pt x="914" y="199"/>
                    </a:lnTo>
                    <a:lnTo>
                      <a:pt x="911" y="199"/>
                    </a:lnTo>
                    <a:lnTo>
                      <a:pt x="910" y="200"/>
                    </a:lnTo>
                    <a:lnTo>
                      <a:pt x="909" y="200"/>
                    </a:lnTo>
                    <a:lnTo>
                      <a:pt x="906" y="202"/>
                    </a:lnTo>
                    <a:lnTo>
                      <a:pt x="904" y="203"/>
                    </a:lnTo>
                    <a:lnTo>
                      <a:pt x="903" y="205"/>
                    </a:lnTo>
                    <a:lnTo>
                      <a:pt x="901" y="205"/>
                    </a:lnTo>
                    <a:lnTo>
                      <a:pt x="898" y="205"/>
                    </a:lnTo>
                    <a:lnTo>
                      <a:pt x="900" y="206"/>
                    </a:lnTo>
                    <a:lnTo>
                      <a:pt x="901" y="206"/>
                    </a:lnTo>
                    <a:close/>
                    <a:moveTo>
                      <a:pt x="903" y="84"/>
                    </a:moveTo>
                    <a:lnTo>
                      <a:pt x="904" y="85"/>
                    </a:lnTo>
                    <a:lnTo>
                      <a:pt x="904" y="85"/>
                    </a:lnTo>
                    <a:lnTo>
                      <a:pt x="906" y="85"/>
                    </a:lnTo>
                    <a:lnTo>
                      <a:pt x="907" y="85"/>
                    </a:lnTo>
                    <a:lnTo>
                      <a:pt x="909" y="85"/>
                    </a:lnTo>
                    <a:lnTo>
                      <a:pt x="907" y="84"/>
                    </a:lnTo>
                    <a:lnTo>
                      <a:pt x="906" y="84"/>
                    </a:lnTo>
                    <a:lnTo>
                      <a:pt x="906" y="82"/>
                    </a:lnTo>
                    <a:lnTo>
                      <a:pt x="904" y="82"/>
                    </a:lnTo>
                    <a:lnTo>
                      <a:pt x="903" y="82"/>
                    </a:lnTo>
                    <a:lnTo>
                      <a:pt x="903" y="82"/>
                    </a:lnTo>
                    <a:lnTo>
                      <a:pt x="901" y="82"/>
                    </a:lnTo>
                    <a:lnTo>
                      <a:pt x="903" y="84"/>
                    </a:lnTo>
                    <a:lnTo>
                      <a:pt x="903" y="84"/>
                    </a:lnTo>
                    <a:close/>
                    <a:moveTo>
                      <a:pt x="907" y="151"/>
                    </a:moveTo>
                    <a:lnTo>
                      <a:pt x="906" y="151"/>
                    </a:lnTo>
                    <a:lnTo>
                      <a:pt x="906" y="151"/>
                    </a:lnTo>
                    <a:lnTo>
                      <a:pt x="906" y="151"/>
                    </a:lnTo>
                    <a:lnTo>
                      <a:pt x="907" y="153"/>
                    </a:lnTo>
                    <a:lnTo>
                      <a:pt x="909" y="154"/>
                    </a:lnTo>
                    <a:lnTo>
                      <a:pt x="910" y="154"/>
                    </a:lnTo>
                    <a:lnTo>
                      <a:pt x="911" y="154"/>
                    </a:lnTo>
                    <a:lnTo>
                      <a:pt x="910" y="153"/>
                    </a:lnTo>
                    <a:lnTo>
                      <a:pt x="910" y="153"/>
                    </a:lnTo>
                    <a:lnTo>
                      <a:pt x="910" y="151"/>
                    </a:lnTo>
                    <a:lnTo>
                      <a:pt x="909" y="151"/>
                    </a:lnTo>
                    <a:lnTo>
                      <a:pt x="907" y="151"/>
                    </a:lnTo>
                    <a:close/>
                    <a:moveTo>
                      <a:pt x="927" y="120"/>
                    </a:moveTo>
                    <a:lnTo>
                      <a:pt x="929" y="120"/>
                    </a:lnTo>
                    <a:lnTo>
                      <a:pt x="930" y="121"/>
                    </a:lnTo>
                    <a:lnTo>
                      <a:pt x="930" y="121"/>
                    </a:lnTo>
                    <a:lnTo>
                      <a:pt x="932" y="121"/>
                    </a:lnTo>
                    <a:lnTo>
                      <a:pt x="932" y="121"/>
                    </a:lnTo>
                    <a:lnTo>
                      <a:pt x="932" y="120"/>
                    </a:lnTo>
                    <a:lnTo>
                      <a:pt x="930" y="120"/>
                    </a:lnTo>
                    <a:lnTo>
                      <a:pt x="930" y="120"/>
                    </a:lnTo>
                    <a:lnTo>
                      <a:pt x="927" y="120"/>
                    </a:lnTo>
                    <a:lnTo>
                      <a:pt x="926" y="120"/>
                    </a:lnTo>
                    <a:lnTo>
                      <a:pt x="927" y="120"/>
                    </a:lnTo>
                    <a:lnTo>
                      <a:pt x="927" y="120"/>
                    </a:lnTo>
                    <a:close/>
                    <a:moveTo>
                      <a:pt x="929" y="196"/>
                    </a:moveTo>
                    <a:lnTo>
                      <a:pt x="932" y="196"/>
                    </a:lnTo>
                    <a:lnTo>
                      <a:pt x="933" y="198"/>
                    </a:lnTo>
                    <a:lnTo>
                      <a:pt x="935" y="196"/>
                    </a:lnTo>
                    <a:lnTo>
                      <a:pt x="937" y="196"/>
                    </a:lnTo>
                    <a:lnTo>
                      <a:pt x="940" y="196"/>
                    </a:lnTo>
                    <a:lnTo>
                      <a:pt x="943" y="196"/>
                    </a:lnTo>
                    <a:lnTo>
                      <a:pt x="942" y="195"/>
                    </a:lnTo>
                    <a:lnTo>
                      <a:pt x="942" y="195"/>
                    </a:lnTo>
                    <a:lnTo>
                      <a:pt x="942" y="193"/>
                    </a:lnTo>
                    <a:lnTo>
                      <a:pt x="940" y="192"/>
                    </a:lnTo>
                    <a:lnTo>
                      <a:pt x="940" y="192"/>
                    </a:lnTo>
                    <a:lnTo>
                      <a:pt x="939" y="190"/>
                    </a:lnTo>
                    <a:lnTo>
                      <a:pt x="937" y="190"/>
                    </a:lnTo>
                    <a:lnTo>
                      <a:pt x="937" y="190"/>
                    </a:lnTo>
                    <a:lnTo>
                      <a:pt x="935" y="189"/>
                    </a:lnTo>
                    <a:lnTo>
                      <a:pt x="933" y="189"/>
                    </a:lnTo>
                    <a:lnTo>
                      <a:pt x="932" y="189"/>
                    </a:lnTo>
                    <a:lnTo>
                      <a:pt x="932" y="189"/>
                    </a:lnTo>
                    <a:lnTo>
                      <a:pt x="930" y="189"/>
                    </a:lnTo>
                    <a:lnTo>
                      <a:pt x="929" y="190"/>
                    </a:lnTo>
                    <a:lnTo>
                      <a:pt x="927" y="192"/>
                    </a:lnTo>
                    <a:lnTo>
                      <a:pt x="926" y="193"/>
                    </a:lnTo>
                    <a:lnTo>
                      <a:pt x="926" y="195"/>
                    </a:lnTo>
                    <a:lnTo>
                      <a:pt x="927" y="195"/>
                    </a:lnTo>
                    <a:lnTo>
                      <a:pt x="929" y="196"/>
                    </a:lnTo>
                    <a:close/>
                    <a:moveTo>
                      <a:pt x="933" y="133"/>
                    </a:moveTo>
                    <a:lnTo>
                      <a:pt x="933" y="133"/>
                    </a:lnTo>
                    <a:lnTo>
                      <a:pt x="935" y="133"/>
                    </a:lnTo>
                    <a:lnTo>
                      <a:pt x="935" y="134"/>
                    </a:lnTo>
                    <a:lnTo>
                      <a:pt x="937" y="134"/>
                    </a:lnTo>
                    <a:lnTo>
                      <a:pt x="939" y="134"/>
                    </a:lnTo>
                    <a:lnTo>
                      <a:pt x="940" y="134"/>
                    </a:lnTo>
                    <a:lnTo>
                      <a:pt x="942" y="134"/>
                    </a:lnTo>
                    <a:lnTo>
                      <a:pt x="943" y="136"/>
                    </a:lnTo>
                    <a:lnTo>
                      <a:pt x="945" y="136"/>
                    </a:lnTo>
                    <a:lnTo>
                      <a:pt x="945" y="136"/>
                    </a:lnTo>
                    <a:lnTo>
                      <a:pt x="946" y="137"/>
                    </a:lnTo>
                    <a:lnTo>
                      <a:pt x="946" y="136"/>
                    </a:lnTo>
                    <a:lnTo>
                      <a:pt x="946" y="134"/>
                    </a:lnTo>
                    <a:lnTo>
                      <a:pt x="946" y="134"/>
                    </a:lnTo>
                    <a:lnTo>
                      <a:pt x="945" y="133"/>
                    </a:lnTo>
                    <a:lnTo>
                      <a:pt x="945" y="133"/>
                    </a:lnTo>
                    <a:lnTo>
                      <a:pt x="943" y="131"/>
                    </a:lnTo>
                    <a:lnTo>
                      <a:pt x="943" y="131"/>
                    </a:lnTo>
                    <a:lnTo>
                      <a:pt x="942" y="131"/>
                    </a:lnTo>
                    <a:lnTo>
                      <a:pt x="942" y="131"/>
                    </a:lnTo>
                    <a:lnTo>
                      <a:pt x="940" y="131"/>
                    </a:lnTo>
                    <a:lnTo>
                      <a:pt x="940" y="131"/>
                    </a:lnTo>
                    <a:lnTo>
                      <a:pt x="940" y="133"/>
                    </a:lnTo>
                    <a:lnTo>
                      <a:pt x="939" y="133"/>
                    </a:lnTo>
                    <a:lnTo>
                      <a:pt x="939" y="133"/>
                    </a:lnTo>
                    <a:lnTo>
                      <a:pt x="937" y="131"/>
                    </a:lnTo>
                    <a:lnTo>
                      <a:pt x="936" y="131"/>
                    </a:lnTo>
                    <a:lnTo>
                      <a:pt x="935" y="131"/>
                    </a:lnTo>
                    <a:lnTo>
                      <a:pt x="933" y="131"/>
                    </a:lnTo>
                    <a:lnTo>
                      <a:pt x="933" y="133"/>
                    </a:lnTo>
                    <a:close/>
                    <a:moveTo>
                      <a:pt x="939" y="120"/>
                    </a:moveTo>
                    <a:lnTo>
                      <a:pt x="942" y="120"/>
                    </a:lnTo>
                    <a:lnTo>
                      <a:pt x="946" y="120"/>
                    </a:lnTo>
                    <a:lnTo>
                      <a:pt x="948" y="120"/>
                    </a:lnTo>
                    <a:lnTo>
                      <a:pt x="949" y="120"/>
                    </a:lnTo>
                    <a:lnTo>
                      <a:pt x="949" y="120"/>
                    </a:lnTo>
                    <a:lnTo>
                      <a:pt x="950" y="120"/>
                    </a:lnTo>
                    <a:lnTo>
                      <a:pt x="952" y="120"/>
                    </a:lnTo>
                    <a:lnTo>
                      <a:pt x="955" y="120"/>
                    </a:lnTo>
                    <a:lnTo>
                      <a:pt x="952" y="118"/>
                    </a:lnTo>
                    <a:lnTo>
                      <a:pt x="949" y="118"/>
                    </a:lnTo>
                    <a:lnTo>
                      <a:pt x="948" y="117"/>
                    </a:lnTo>
                    <a:lnTo>
                      <a:pt x="946" y="117"/>
                    </a:lnTo>
                    <a:lnTo>
                      <a:pt x="943" y="117"/>
                    </a:lnTo>
                    <a:lnTo>
                      <a:pt x="940" y="118"/>
                    </a:lnTo>
                    <a:lnTo>
                      <a:pt x="939" y="118"/>
                    </a:lnTo>
                    <a:lnTo>
                      <a:pt x="936" y="120"/>
                    </a:lnTo>
                    <a:lnTo>
                      <a:pt x="937" y="120"/>
                    </a:lnTo>
                    <a:lnTo>
                      <a:pt x="939" y="120"/>
                    </a:lnTo>
                    <a:close/>
                    <a:moveTo>
                      <a:pt x="976" y="164"/>
                    </a:moveTo>
                    <a:lnTo>
                      <a:pt x="976" y="164"/>
                    </a:lnTo>
                    <a:lnTo>
                      <a:pt x="978" y="164"/>
                    </a:lnTo>
                    <a:lnTo>
                      <a:pt x="976" y="163"/>
                    </a:lnTo>
                    <a:lnTo>
                      <a:pt x="976" y="163"/>
                    </a:lnTo>
                    <a:lnTo>
                      <a:pt x="975" y="163"/>
                    </a:lnTo>
                    <a:lnTo>
                      <a:pt x="973" y="163"/>
                    </a:lnTo>
                    <a:lnTo>
                      <a:pt x="973" y="163"/>
                    </a:lnTo>
                    <a:lnTo>
                      <a:pt x="975" y="164"/>
                    </a:lnTo>
                    <a:lnTo>
                      <a:pt x="976" y="164"/>
                    </a:lnTo>
                    <a:close/>
                    <a:moveTo>
                      <a:pt x="984" y="163"/>
                    </a:moveTo>
                    <a:lnTo>
                      <a:pt x="986" y="163"/>
                    </a:lnTo>
                    <a:lnTo>
                      <a:pt x="989" y="163"/>
                    </a:lnTo>
                    <a:lnTo>
                      <a:pt x="991" y="164"/>
                    </a:lnTo>
                    <a:lnTo>
                      <a:pt x="992" y="164"/>
                    </a:lnTo>
                    <a:lnTo>
                      <a:pt x="994" y="164"/>
                    </a:lnTo>
                    <a:lnTo>
                      <a:pt x="992" y="163"/>
                    </a:lnTo>
                    <a:lnTo>
                      <a:pt x="991" y="163"/>
                    </a:lnTo>
                    <a:lnTo>
                      <a:pt x="988" y="161"/>
                    </a:lnTo>
                    <a:lnTo>
                      <a:pt x="986" y="161"/>
                    </a:lnTo>
                    <a:lnTo>
                      <a:pt x="984" y="161"/>
                    </a:lnTo>
                    <a:lnTo>
                      <a:pt x="984" y="161"/>
                    </a:lnTo>
                    <a:lnTo>
                      <a:pt x="981" y="161"/>
                    </a:lnTo>
                    <a:lnTo>
                      <a:pt x="981" y="161"/>
                    </a:lnTo>
                    <a:lnTo>
                      <a:pt x="982" y="161"/>
                    </a:lnTo>
                    <a:lnTo>
                      <a:pt x="984" y="163"/>
                    </a:lnTo>
                    <a:close/>
                    <a:moveTo>
                      <a:pt x="1010" y="164"/>
                    </a:moveTo>
                    <a:lnTo>
                      <a:pt x="1008" y="164"/>
                    </a:lnTo>
                    <a:lnTo>
                      <a:pt x="1004" y="164"/>
                    </a:lnTo>
                    <a:lnTo>
                      <a:pt x="1007" y="166"/>
                    </a:lnTo>
                    <a:lnTo>
                      <a:pt x="1008" y="166"/>
                    </a:lnTo>
                    <a:lnTo>
                      <a:pt x="1008" y="166"/>
                    </a:lnTo>
                    <a:lnTo>
                      <a:pt x="1010" y="166"/>
                    </a:lnTo>
                    <a:lnTo>
                      <a:pt x="1011" y="164"/>
                    </a:lnTo>
                    <a:lnTo>
                      <a:pt x="1011" y="164"/>
                    </a:lnTo>
                    <a:lnTo>
                      <a:pt x="1010" y="164"/>
                    </a:lnTo>
                    <a:lnTo>
                      <a:pt x="1010" y="164"/>
                    </a:lnTo>
                    <a:close/>
                    <a:moveTo>
                      <a:pt x="1010" y="156"/>
                    </a:moveTo>
                    <a:lnTo>
                      <a:pt x="1008" y="154"/>
                    </a:lnTo>
                    <a:lnTo>
                      <a:pt x="1007" y="154"/>
                    </a:lnTo>
                    <a:lnTo>
                      <a:pt x="1007" y="154"/>
                    </a:lnTo>
                    <a:lnTo>
                      <a:pt x="1005" y="154"/>
                    </a:lnTo>
                    <a:lnTo>
                      <a:pt x="1005" y="154"/>
                    </a:lnTo>
                    <a:lnTo>
                      <a:pt x="1005" y="156"/>
                    </a:lnTo>
                    <a:lnTo>
                      <a:pt x="1007" y="156"/>
                    </a:lnTo>
                    <a:lnTo>
                      <a:pt x="1007" y="156"/>
                    </a:lnTo>
                    <a:lnTo>
                      <a:pt x="1010" y="156"/>
                    </a:lnTo>
                    <a:lnTo>
                      <a:pt x="1011" y="157"/>
                    </a:lnTo>
                    <a:lnTo>
                      <a:pt x="1010" y="156"/>
                    </a:lnTo>
                    <a:close/>
                    <a:moveTo>
                      <a:pt x="1020" y="147"/>
                    </a:moveTo>
                    <a:lnTo>
                      <a:pt x="1018" y="147"/>
                    </a:lnTo>
                    <a:lnTo>
                      <a:pt x="1018" y="146"/>
                    </a:lnTo>
                    <a:lnTo>
                      <a:pt x="1017" y="146"/>
                    </a:lnTo>
                    <a:lnTo>
                      <a:pt x="1017" y="146"/>
                    </a:lnTo>
                    <a:lnTo>
                      <a:pt x="1015" y="147"/>
                    </a:lnTo>
                    <a:lnTo>
                      <a:pt x="1014" y="147"/>
                    </a:lnTo>
                    <a:lnTo>
                      <a:pt x="1012" y="147"/>
                    </a:lnTo>
                    <a:lnTo>
                      <a:pt x="1012" y="147"/>
                    </a:lnTo>
                    <a:lnTo>
                      <a:pt x="1011" y="147"/>
                    </a:lnTo>
                    <a:lnTo>
                      <a:pt x="1011" y="149"/>
                    </a:lnTo>
                    <a:lnTo>
                      <a:pt x="1020" y="149"/>
                    </a:lnTo>
                    <a:lnTo>
                      <a:pt x="1020" y="147"/>
                    </a:lnTo>
                    <a:close/>
                    <a:moveTo>
                      <a:pt x="1023" y="154"/>
                    </a:moveTo>
                    <a:lnTo>
                      <a:pt x="1024" y="154"/>
                    </a:lnTo>
                    <a:lnTo>
                      <a:pt x="1025" y="154"/>
                    </a:lnTo>
                    <a:lnTo>
                      <a:pt x="1024" y="153"/>
                    </a:lnTo>
                    <a:lnTo>
                      <a:pt x="1023" y="151"/>
                    </a:lnTo>
                    <a:lnTo>
                      <a:pt x="1021" y="151"/>
                    </a:lnTo>
                    <a:lnTo>
                      <a:pt x="1021" y="151"/>
                    </a:lnTo>
                    <a:lnTo>
                      <a:pt x="1018" y="151"/>
                    </a:lnTo>
                    <a:lnTo>
                      <a:pt x="1018" y="151"/>
                    </a:lnTo>
                    <a:lnTo>
                      <a:pt x="1018" y="151"/>
                    </a:lnTo>
                    <a:lnTo>
                      <a:pt x="1018" y="153"/>
                    </a:lnTo>
                    <a:lnTo>
                      <a:pt x="1018" y="154"/>
                    </a:lnTo>
                    <a:lnTo>
                      <a:pt x="1020" y="154"/>
                    </a:lnTo>
                    <a:lnTo>
                      <a:pt x="1021" y="154"/>
                    </a:lnTo>
                    <a:lnTo>
                      <a:pt x="1020" y="154"/>
                    </a:lnTo>
                    <a:lnTo>
                      <a:pt x="1020" y="154"/>
                    </a:lnTo>
                    <a:lnTo>
                      <a:pt x="1018" y="154"/>
                    </a:lnTo>
                    <a:lnTo>
                      <a:pt x="1018" y="156"/>
                    </a:lnTo>
                    <a:lnTo>
                      <a:pt x="1018" y="157"/>
                    </a:lnTo>
                    <a:lnTo>
                      <a:pt x="1018" y="157"/>
                    </a:lnTo>
                    <a:lnTo>
                      <a:pt x="1020" y="157"/>
                    </a:lnTo>
                    <a:lnTo>
                      <a:pt x="1021" y="157"/>
                    </a:lnTo>
                    <a:lnTo>
                      <a:pt x="1023" y="157"/>
                    </a:lnTo>
                    <a:lnTo>
                      <a:pt x="1021" y="156"/>
                    </a:lnTo>
                    <a:lnTo>
                      <a:pt x="1021" y="154"/>
                    </a:lnTo>
                    <a:lnTo>
                      <a:pt x="1023" y="154"/>
                    </a:lnTo>
                    <a:close/>
                    <a:moveTo>
                      <a:pt x="1025" y="92"/>
                    </a:moveTo>
                    <a:lnTo>
                      <a:pt x="1027" y="92"/>
                    </a:lnTo>
                    <a:lnTo>
                      <a:pt x="1028" y="94"/>
                    </a:lnTo>
                    <a:lnTo>
                      <a:pt x="1028" y="94"/>
                    </a:lnTo>
                    <a:lnTo>
                      <a:pt x="1028" y="92"/>
                    </a:lnTo>
                    <a:lnTo>
                      <a:pt x="1028" y="92"/>
                    </a:lnTo>
                    <a:lnTo>
                      <a:pt x="1028" y="91"/>
                    </a:lnTo>
                    <a:lnTo>
                      <a:pt x="1027" y="91"/>
                    </a:lnTo>
                    <a:lnTo>
                      <a:pt x="1025" y="91"/>
                    </a:lnTo>
                    <a:lnTo>
                      <a:pt x="1025" y="92"/>
                    </a:lnTo>
                    <a:close/>
                    <a:moveTo>
                      <a:pt x="1030" y="153"/>
                    </a:moveTo>
                    <a:lnTo>
                      <a:pt x="1030" y="151"/>
                    </a:lnTo>
                    <a:lnTo>
                      <a:pt x="1028" y="151"/>
                    </a:lnTo>
                    <a:lnTo>
                      <a:pt x="1027" y="151"/>
                    </a:lnTo>
                    <a:lnTo>
                      <a:pt x="1027" y="153"/>
                    </a:lnTo>
                    <a:lnTo>
                      <a:pt x="1027" y="153"/>
                    </a:lnTo>
                    <a:lnTo>
                      <a:pt x="1027" y="154"/>
                    </a:lnTo>
                    <a:lnTo>
                      <a:pt x="1028" y="154"/>
                    </a:lnTo>
                    <a:lnTo>
                      <a:pt x="1030" y="154"/>
                    </a:lnTo>
                    <a:lnTo>
                      <a:pt x="1030" y="154"/>
                    </a:lnTo>
                    <a:lnTo>
                      <a:pt x="1031" y="154"/>
                    </a:lnTo>
                    <a:lnTo>
                      <a:pt x="1031" y="154"/>
                    </a:lnTo>
                    <a:lnTo>
                      <a:pt x="1031" y="153"/>
                    </a:lnTo>
                    <a:lnTo>
                      <a:pt x="1030" y="153"/>
                    </a:lnTo>
                    <a:close/>
                    <a:moveTo>
                      <a:pt x="1035" y="91"/>
                    </a:moveTo>
                    <a:lnTo>
                      <a:pt x="1035" y="91"/>
                    </a:lnTo>
                    <a:lnTo>
                      <a:pt x="1037" y="91"/>
                    </a:lnTo>
                    <a:lnTo>
                      <a:pt x="1037" y="89"/>
                    </a:lnTo>
                    <a:lnTo>
                      <a:pt x="1038" y="89"/>
                    </a:lnTo>
                    <a:lnTo>
                      <a:pt x="1038" y="88"/>
                    </a:lnTo>
                    <a:lnTo>
                      <a:pt x="1040" y="88"/>
                    </a:lnTo>
                    <a:lnTo>
                      <a:pt x="1031" y="88"/>
                    </a:lnTo>
                    <a:lnTo>
                      <a:pt x="1033" y="88"/>
                    </a:lnTo>
                    <a:lnTo>
                      <a:pt x="1033" y="89"/>
                    </a:lnTo>
                    <a:lnTo>
                      <a:pt x="1034" y="89"/>
                    </a:lnTo>
                    <a:lnTo>
                      <a:pt x="1034" y="91"/>
                    </a:lnTo>
                    <a:lnTo>
                      <a:pt x="1034" y="91"/>
                    </a:lnTo>
                    <a:lnTo>
                      <a:pt x="1034" y="91"/>
                    </a:lnTo>
                    <a:lnTo>
                      <a:pt x="1035" y="91"/>
                    </a:lnTo>
                    <a:close/>
                    <a:moveTo>
                      <a:pt x="1051" y="91"/>
                    </a:moveTo>
                    <a:lnTo>
                      <a:pt x="1050" y="91"/>
                    </a:lnTo>
                    <a:lnTo>
                      <a:pt x="1050" y="91"/>
                    </a:lnTo>
                    <a:lnTo>
                      <a:pt x="1048" y="91"/>
                    </a:lnTo>
                    <a:lnTo>
                      <a:pt x="1048" y="91"/>
                    </a:lnTo>
                    <a:lnTo>
                      <a:pt x="1047" y="91"/>
                    </a:lnTo>
                    <a:lnTo>
                      <a:pt x="1048" y="92"/>
                    </a:lnTo>
                    <a:lnTo>
                      <a:pt x="1050" y="94"/>
                    </a:lnTo>
                    <a:lnTo>
                      <a:pt x="1051" y="94"/>
                    </a:lnTo>
                    <a:lnTo>
                      <a:pt x="1053" y="94"/>
                    </a:lnTo>
                    <a:lnTo>
                      <a:pt x="1051" y="92"/>
                    </a:lnTo>
                    <a:lnTo>
                      <a:pt x="1051" y="92"/>
                    </a:lnTo>
                    <a:lnTo>
                      <a:pt x="1051" y="91"/>
                    </a:lnTo>
                    <a:close/>
                    <a:moveTo>
                      <a:pt x="1050" y="166"/>
                    </a:moveTo>
                    <a:lnTo>
                      <a:pt x="1048" y="164"/>
                    </a:lnTo>
                    <a:lnTo>
                      <a:pt x="1047" y="164"/>
                    </a:lnTo>
                    <a:lnTo>
                      <a:pt x="1046" y="164"/>
                    </a:lnTo>
                    <a:lnTo>
                      <a:pt x="1047" y="166"/>
                    </a:lnTo>
                    <a:lnTo>
                      <a:pt x="1048" y="166"/>
                    </a:lnTo>
                    <a:lnTo>
                      <a:pt x="1048" y="167"/>
                    </a:lnTo>
                    <a:lnTo>
                      <a:pt x="1050" y="167"/>
                    </a:lnTo>
                    <a:lnTo>
                      <a:pt x="1051" y="167"/>
                    </a:lnTo>
                    <a:lnTo>
                      <a:pt x="1051" y="167"/>
                    </a:lnTo>
                    <a:lnTo>
                      <a:pt x="1051" y="166"/>
                    </a:lnTo>
                    <a:lnTo>
                      <a:pt x="1050" y="166"/>
                    </a:lnTo>
                    <a:close/>
                    <a:moveTo>
                      <a:pt x="1053" y="167"/>
                    </a:moveTo>
                    <a:lnTo>
                      <a:pt x="1051" y="167"/>
                    </a:lnTo>
                    <a:lnTo>
                      <a:pt x="1051" y="167"/>
                    </a:lnTo>
                    <a:lnTo>
                      <a:pt x="1053" y="167"/>
                    </a:lnTo>
                    <a:close/>
                    <a:moveTo>
                      <a:pt x="873" y="355"/>
                    </a:moveTo>
                    <a:lnTo>
                      <a:pt x="874" y="353"/>
                    </a:lnTo>
                    <a:lnTo>
                      <a:pt x="877" y="353"/>
                    </a:lnTo>
                    <a:lnTo>
                      <a:pt x="880" y="353"/>
                    </a:lnTo>
                    <a:lnTo>
                      <a:pt x="880" y="352"/>
                    </a:lnTo>
                    <a:lnTo>
                      <a:pt x="878" y="350"/>
                    </a:lnTo>
                    <a:lnTo>
                      <a:pt x="877" y="350"/>
                    </a:lnTo>
                    <a:lnTo>
                      <a:pt x="877" y="349"/>
                    </a:lnTo>
                    <a:lnTo>
                      <a:pt x="874" y="347"/>
                    </a:lnTo>
                    <a:lnTo>
                      <a:pt x="871" y="347"/>
                    </a:lnTo>
                    <a:lnTo>
                      <a:pt x="868" y="347"/>
                    </a:lnTo>
                    <a:lnTo>
                      <a:pt x="867" y="347"/>
                    </a:lnTo>
                    <a:lnTo>
                      <a:pt x="864" y="349"/>
                    </a:lnTo>
                    <a:lnTo>
                      <a:pt x="862" y="350"/>
                    </a:lnTo>
                    <a:lnTo>
                      <a:pt x="862" y="352"/>
                    </a:lnTo>
                    <a:lnTo>
                      <a:pt x="862" y="352"/>
                    </a:lnTo>
                    <a:lnTo>
                      <a:pt x="864" y="353"/>
                    </a:lnTo>
                    <a:lnTo>
                      <a:pt x="867" y="355"/>
                    </a:lnTo>
                    <a:lnTo>
                      <a:pt x="870" y="355"/>
                    </a:lnTo>
                    <a:lnTo>
                      <a:pt x="873" y="355"/>
                    </a:lnTo>
                    <a:close/>
                    <a:moveTo>
                      <a:pt x="2538" y="244"/>
                    </a:moveTo>
                    <a:lnTo>
                      <a:pt x="2540" y="244"/>
                    </a:lnTo>
                    <a:lnTo>
                      <a:pt x="2541" y="245"/>
                    </a:lnTo>
                    <a:lnTo>
                      <a:pt x="2543" y="245"/>
                    </a:lnTo>
                    <a:lnTo>
                      <a:pt x="2545" y="245"/>
                    </a:lnTo>
                    <a:lnTo>
                      <a:pt x="2544" y="244"/>
                    </a:lnTo>
                    <a:lnTo>
                      <a:pt x="2543" y="244"/>
                    </a:lnTo>
                    <a:lnTo>
                      <a:pt x="2543" y="242"/>
                    </a:lnTo>
                    <a:lnTo>
                      <a:pt x="2541" y="242"/>
                    </a:lnTo>
                    <a:lnTo>
                      <a:pt x="2538" y="242"/>
                    </a:lnTo>
                    <a:lnTo>
                      <a:pt x="2537" y="242"/>
                    </a:lnTo>
                    <a:lnTo>
                      <a:pt x="2537" y="242"/>
                    </a:lnTo>
                    <a:lnTo>
                      <a:pt x="2538" y="244"/>
                    </a:lnTo>
                    <a:close/>
                    <a:moveTo>
                      <a:pt x="2719" y="268"/>
                    </a:moveTo>
                    <a:lnTo>
                      <a:pt x="2720" y="268"/>
                    </a:lnTo>
                    <a:lnTo>
                      <a:pt x="2721" y="268"/>
                    </a:lnTo>
                    <a:lnTo>
                      <a:pt x="2721" y="270"/>
                    </a:lnTo>
                    <a:lnTo>
                      <a:pt x="2724" y="270"/>
                    </a:lnTo>
                    <a:lnTo>
                      <a:pt x="2727" y="271"/>
                    </a:lnTo>
                    <a:lnTo>
                      <a:pt x="2732" y="273"/>
                    </a:lnTo>
                    <a:lnTo>
                      <a:pt x="2734" y="273"/>
                    </a:lnTo>
                    <a:lnTo>
                      <a:pt x="2737" y="274"/>
                    </a:lnTo>
                    <a:lnTo>
                      <a:pt x="2742" y="274"/>
                    </a:lnTo>
                    <a:lnTo>
                      <a:pt x="2744" y="274"/>
                    </a:lnTo>
                    <a:lnTo>
                      <a:pt x="2747" y="275"/>
                    </a:lnTo>
                    <a:lnTo>
                      <a:pt x="2750" y="275"/>
                    </a:lnTo>
                    <a:lnTo>
                      <a:pt x="2752" y="275"/>
                    </a:lnTo>
                    <a:lnTo>
                      <a:pt x="2752" y="275"/>
                    </a:lnTo>
                    <a:lnTo>
                      <a:pt x="2753" y="275"/>
                    </a:lnTo>
                    <a:lnTo>
                      <a:pt x="2753" y="277"/>
                    </a:lnTo>
                    <a:lnTo>
                      <a:pt x="2753" y="274"/>
                    </a:lnTo>
                    <a:lnTo>
                      <a:pt x="2752" y="273"/>
                    </a:lnTo>
                    <a:lnTo>
                      <a:pt x="2750" y="271"/>
                    </a:lnTo>
                    <a:lnTo>
                      <a:pt x="2750" y="270"/>
                    </a:lnTo>
                    <a:lnTo>
                      <a:pt x="2749" y="270"/>
                    </a:lnTo>
                    <a:lnTo>
                      <a:pt x="2746" y="268"/>
                    </a:lnTo>
                    <a:lnTo>
                      <a:pt x="2744" y="268"/>
                    </a:lnTo>
                    <a:lnTo>
                      <a:pt x="2742" y="268"/>
                    </a:lnTo>
                    <a:lnTo>
                      <a:pt x="2740" y="268"/>
                    </a:lnTo>
                    <a:lnTo>
                      <a:pt x="2737" y="267"/>
                    </a:lnTo>
                    <a:lnTo>
                      <a:pt x="2733" y="267"/>
                    </a:lnTo>
                    <a:lnTo>
                      <a:pt x="2730" y="265"/>
                    </a:lnTo>
                    <a:lnTo>
                      <a:pt x="2727" y="264"/>
                    </a:lnTo>
                    <a:lnTo>
                      <a:pt x="2724" y="264"/>
                    </a:lnTo>
                    <a:lnTo>
                      <a:pt x="2721" y="264"/>
                    </a:lnTo>
                    <a:lnTo>
                      <a:pt x="2720" y="264"/>
                    </a:lnTo>
                    <a:lnTo>
                      <a:pt x="2719" y="265"/>
                    </a:lnTo>
                    <a:lnTo>
                      <a:pt x="2719" y="265"/>
                    </a:lnTo>
                    <a:lnTo>
                      <a:pt x="2719" y="267"/>
                    </a:lnTo>
                    <a:lnTo>
                      <a:pt x="2719" y="267"/>
                    </a:lnTo>
                    <a:lnTo>
                      <a:pt x="2719" y="268"/>
                    </a:lnTo>
                    <a:close/>
                    <a:moveTo>
                      <a:pt x="3065" y="816"/>
                    </a:moveTo>
                    <a:lnTo>
                      <a:pt x="3065" y="813"/>
                    </a:lnTo>
                    <a:lnTo>
                      <a:pt x="3063" y="810"/>
                    </a:lnTo>
                    <a:lnTo>
                      <a:pt x="3062" y="807"/>
                    </a:lnTo>
                    <a:lnTo>
                      <a:pt x="3062" y="806"/>
                    </a:lnTo>
                    <a:lnTo>
                      <a:pt x="3060" y="805"/>
                    </a:lnTo>
                    <a:lnTo>
                      <a:pt x="3060" y="805"/>
                    </a:lnTo>
                    <a:lnTo>
                      <a:pt x="3059" y="803"/>
                    </a:lnTo>
                    <a:lnTo>
                      <a:pt x="3057" y="803"/>
                    </a:lnTo>
                    <a:lnTo>
                      <a:pt x="3056" y="803"/>
                    </a:lnTo>
                    <a:lnTo>
                      <a:pt x="3056" y="805"/>
                    </a:lnTo>
                    <a:lnTo>
                      <a:pt x="3055" y="805"/>
                    </a:lnTo>
                    <a:lnTo>
                      <a:pt x="3053" y="806"/>
                    </a:lnTo>
                    <a:lnTo>
                      <a:pt x="3053" y="806"/>
                    </a:lnTo>
                    <a:lnTo>
                      <a:pt x="3053" y="807"/>
                    </a:lnTo>
                    <a:lnTo>
                      <a:pt x="3053" y="807"/>
                    </a:lnTo>
                    <a:lnTo>
                      <a:pt x="3055" y="809"/>
                    </a:lnTo>
                    <a:lnTo>
                      <a:pt x="3055" y="812"/>
                    </a:lnTo>
                    <a:lnTo>
                      <a:pt x="3056" y="812"/>
                    </a:lnTo>
                    <a:lnTo>
                      <a:pt x="3056" y="813"/>
                    </a:lnTo>
                    <a:lnTo>
                      <a:pt x="3055" y="813"/>
                    </a:lnTo>
                    <a:lnTo>
                      <a:pt x="3055" y="815"/>
                    </a:lnTo>
                    <a:lnTo>
                      <a:pt x="3053" y="815"/>
                    </a:lnTo>
                    <a:lnTo>
                      <a:pt x="3053" y="815"/>
                    </a:lnTo>
                    <a:lnTo>
                      <a:pt x="3052" y="816"/>
                    </a:lnTo>
                    <a:lnTo>
                      <a:pt x="3050" y="816"/>
                    </a:lnTo>
                    <a:lnTo>
                      <a:pt x="3049" y="818"/>
                    </a:lnTo>
                    <a:lnTo>
                      <a:pt x="3049" y="818"/>
                    </a:lnTo>
                    <a:lnTo>
                      <a:pt x="3049" y="819"/>
                    </a:lnTo>
                    <a:lnTo>
                      <a:pt x="3049" y="819"/>
                    </a:lnTo>
                    <a:lnTo>
                      <a:pt x="3049" y="820"/>
                    </a:lnTo>
                    <a:lnTo>
                      <a:pt x="3050" y="820"/>
                    </a:lnTo>
                    <a:lnTo>
                      <a:pt x="3052" y="822"/>
                    </a:lnTo>
                    <a:lnTo>
                      <a:pt x="3053" y="823"/>
                    </a:lnTo>
                    <a:lnTo>
                      <a:pt x="3056" y="825"/>
                    </a:lnTo>
                    <a:lnTo>
                      <a:pt x="3059" y="826"/>
                    </a:lnTo>
                    <a:lnTo>
                      <a:pt x="3059" y="826"/>
                    </a:lnTo>
                    <a:lnTo>
                      <a:pt x="3060" y="828"/>
                    </a:lnTo>
                    <a:lnTo>
                      <a:pt x="3060" y="826"/>
                    </a:lnTo>
                    <a:lnTo>
                      <a:pt x="3059" y="825"/>
                    </a:lnTo>
                    <a:lnTo>
                      <a:pt x="3059" y="823"/>
                    </a:lnTo>
                    <a:lnTo>
                      <a:pt x="3060" y="823"/>
                    </a:lnTo>
                    <a:lnTo>
                      <a:pt x="3060" y="822"/>
                    </a:lnTo>
                    <a:lnTo>
                      <a:pt x="3062" y="822"/>
                    </a:lnTo>
                    <a:lnTo>
                      <a:pt x="3063" y="820"/>
                    </a:lnTo>
                    <a:lnTo>
                      <a:pt x="3065" y="820"/>
                    </a:lnTo>
                    <a:lnTo>
                      <a:pt x="3066" y="819"/>
                    </a:lnTo>
                    <a:lnTo>
                      <a:pt x="3065" y="818"/>
                    </a:lnTo>
                    <a:lnTo>
                      <a:pt x="3065" y="816"/>
                    </a:lnTo>
                    <a:close/>
                    <a:moveTo>
                      <a:pt x="3007" y="577"/>
                    </a:moveTo>
                    <a:lnTo>
                      <a:pt x="3006" y="577"/>
                    </a:lnTo>
                    <a:lnTo>
                      <a:pt x="3007" y="577"/>
                    </a:lnTo>
                    <a:lnTo>
                      <a:pt x="3007" y="577"/>
                    </a:lnTo>
                    <a:lnTo>
                      <a:pt x="3008" y="577"/>
                    </a:lnTo>
                    <a:lnTo>
                      <a:pt x="3008" y="577"/>
                    </a:lnTo>
                    <a:lnTo>
                      <a:pt x="3008" y="575"/>
                    </a:lnTo>
                    <a:lnTo>
                      <a:pt x="3010" y="575"/>
                    </a:lnTo>
                    <a:lnTo>
                      <a:pt x="3010" y="574"/>
                    </a:lnTo>
                    <a:lnTo>
                      <a:pt x="3010" y="572"/>
                    </a:lnTo>
                    <a:lnTo>
                      <a:pt x="3011" y="571"/>
                    </a:lnTo>
                    <a:lnTo>
                      <a:pt x="3014" y="568"/>
                    </a:lnTo>
                    <a:lnTo>
                      <a:pt x="3016" y="567"/>
                    </a:lnTo>
                    <a:lnTo>
                      <a:pt x="3017" y="567"/>
                    </a:lnTo>
                    <a:lnTo>
                      <a:pt x="3019" y="567"/>
                    </a:lnTo>
                    <a:lnTo>
                      <a:pt x="3020" y="565"/>
                    </a:lnTo>
                    <a:lnTo>
                      <a:pt x="3021" y="565"/>
                    </a:lnTo>
                    <a:lnTo>
                      <a:pt x="3020" y="565"/>
                    </a:lnTo>
                    <a:lnTo>
                      <a:pt x="3020" y="564"/>
                    </a:lnTo>
                    <a:lnTo>
                      <a:pt x="3019" y="562"/>
                    </a:lnTo>
                    <a:lnTo>
                      <a:pt x="3017" y="561"/>
                    </a:lnTo>
                    <a:lnTo>
                      <a:pt x="3016" y="559"/>
                    </a:lnTo>
                    <a:lnTo>
                      <a:pt x="3014" y="558"/>
                    </a:lnTo>
                    <a:lnTo>
                      <a:pt x="3011" y="557"/>
                    </a:lnTo>
                    <a:lnTo>
                      <a:pt x="3011" y="557"/>
                    </a:lnTo>
                    <a:lnTo>
                      <a:pt x="3010" y="557"/>
                    </a:lnTo>
                    <a:lnTo>
                      <a:pt x="3010" y="557"/>
                    </a:lnTo>
                    <a:lnTo>
                      <a:pt x="3008" y="557"/>
                    </a:lnTo>
                    <a:lnTo>
                      <a:pt x="3007" y="559"/>
                    </a:lnTo>
                    <a:lnTo>
                      <a:pt x="3004" y="561"/>
                    </a:lnTo>
                    <a:lnTo>
                      <a:pt x="3003" y="561"/>
                    </a:lnTo>
                    <a:lnTo>
                      <a:pt x="3003" y="562"/>
                    </a:lnTo>
                    <a:lnTo>
                      <a:pt x="3001" y="562"/>
                    </a:lnTo>
                    <a:lnTo>
                      <a:pt x="3000" y="562"/>
                    </a:lnTo>
                    <a:lnTo>
                      <a:pt x="3001" y="564"/>
                    </a:lnTo>
                    <a:lnTo>
                      <a:pt x="3001" y="564"/>
                    </a:lnTo>
                    <a:lnTo>
                      <a:pt x="3003" y="565"/>
                    </a:lnTo>
                    <a:lnTo>
                      <a:pt x="3004" y="567"/>
                    </a:lnTo>
                    <a:lnTo>
                      <a:pt x="3006" y="568"/>
                    </a:lnTo>
                    <a:lnTo>
                      <a:pt x="3006" y="571"/>
                    </a:lnTo>
                    <a:lnTo>
                      <a:pt x="3007" y="574"/>
                    </a:lnTo>
                    <a:lnTo>
                      <a:pt x="3007" y="575"/>
                    </a:lnTo>
                    <a:lnTo>
                      <a:pt x="3007" y="577"/>
                    </a:lnTo>
                    <a:close/>
                    <a:moveTo>
                      <a:pt x="2057" y="167"/>
                    </a:moveTo>
                    <a:lnTo>
                      <a:pt x="2058" y="166"/>
                    </a:lnTo>
                    <a:lnTo>
                      <a:pt x="2059" y="166"/>
                    </a:lnTo>
                    <a:lnTo>
                      <a:pt x="2059" y="164"/>
                    </a:lnTo>
                    <a:lnTo>
                      <a:pt x="2061" y="164"/>
                    </a:lnTo>
                    <a:lnTo>
                      <a:pt x="2058" y="163"/>
                    </a:lnTo>
                    <a:lnTo>
                      <a:pt x="2057" y="161"/>
                    </a:lnTo>
                    <a:lnTo>
                      <a:pt x="2054" y="160"/>
                    </a:lnTo>
                    <a:lnTo>
                      <a:pt x="2051" y="159"/>
                    </a:lnTo>
                    <a:lnTo>
                      <a:pt x="2048" y="159"/>
                    </a:lnTo>
                    <a:lnTo>
                      <a:pt x="2045" y="159"/>
                    </a:lnTo>
                    <a:lnTo>
                      <a:pt x="2042" y="159"/>
                    </a:lnTo>
                    <a:lnTo>
                      <a:pt x="2041" y="159"/>
                    </a:lnTo>
                    <a:lnTo>
                      <a:pt x="2041" y="160"/>
                    </a:lnTo>
                    <a:lnTo>
                      <a:pt x="2041" y="161"/>
                    </a:lnTo>
                    <a:lnTo>
                      <a:pt x="2042" y="163"/>
                    </a:lnTo>
                    <a:lnTo>
                      <a:pt x="2044" y="164"/>
                    </a:lnTo>
                    <a:lnTo>
                      <a:pt x="2045" y="166"/>
                    </a:lnTo>
                    <a:lnTo>
                      <a:pt x="2048" y="166"/>
                    </a:lnTo>
                    <a:lnTo>
                      <a:pt x="2051" y="167"/>
                    </a:lnTo>
                    <a:lnTo>
                      <a:pt x="2052" y="167"/>
                    </a:lnTo>
                    <a:lnTo>
                      <a:pt x="2055" y="167"/>
                    </a:lnTo>
                    <a:lnTo>
                      <a:pt x="2057" y="167"/>
                    </a:lnTo>
                    <a:lnTo>
                      <a:pt x="2057" y="167"/>
                    </a:lnTo>
                    <a:close/>
                    <a:moveTo>
                      <a:pt x="1905" y="124"/>
                    </a:moveTo>
                    <a:lnTo>
                      <a:pt x="1907" y="127"/>
                    </a:lnTo>
                    <a:lnTo>
                      <a:pt x="1908" y="128"/>
                    </a:lnTo>
                    <a:lnTo>
                      <a:pt x="1909" y="130"/>
                    </a:lnTo>
                    <a:lnTo>
                      <a:pt x="1912" y="131"/>
                    </a:lnTo>
                    <a:lnTo>
                      <a:pt x="1914" y="133"/>
                    </a:lnTo>
                    <a:lnTo>
                      <a:pt x="1917" y="133"/>
                    </a:lnTo>
                    <a:lnTo>
                      <a:pt x="1918" y="133"/>
                    </a:lnTo>
                    <a:lnTo>
                      <a:pt x="1920" y="133"/>
                    </a:lnTo>
                    <a:lnTo>
                      <a:pt x="1920" y="131"/>
                    </a:lnTo>
                    <a:lnTo>
                      <a:pt x="1921" y="131"/>
                    </a:lnTo>
                    <a:lnTo>
                      <a:pt x="1922" y="130"/>
                    </a:lnTo>
                    <a:lnTo>
                      <a:pt x="1921" y="130"/>
                    </a:lnTo>
                    <a:lnTo>
                      <a:pt x="1920" y="130"/>
                    </a:lnTo>
                    <a:lnTo>
                      <a:pt x="1920" y="130"/>
                    </a:lnTo>
                    <a:lnTo>
                      <a:pt x="1920" y="128"/>
                    </a:lnTo>
                    <a:lnTo>
                      <a:pt x="1918" y="128"/>
                    </a:lnTo>
                    <a:lnTo>
                      <a:pt x="1918" y="127"/>
                    </a:lnTo>
                    <a:lnTo>
                      <a:pt x="1918" y="127"/>
                    </a:lnTo>
                    <a:lnTo>
                      <a:pt x="1918" y="125"/>
                    </a:lnTo>
                    <a:lnTo>
                      <a:pt x="1917" y="124"/>
                    </a:lnTo>
                    <a:lnTo>
                      <a:pt x="1915" y="124"/>
                    </a:lnTo>
                    <a:lnTo>
                      <a:pt x="1912" y="124"/>
                    </a:lnTo>
                    <a:lnTo>
                      <a:pt x="1909" y="123"/>
                    </a:lnTo>
                    <a:lnTo>
                      <a:pt x="1907" y="123"/>
                    </a:lnTo>
                    <a:lnTo>
                      <a:pt x="1904" y="123"/>
                    </a:lnTo>
                    <a:lnTo>
                      <a:pt x="1902" y="123"/>
                    </a:lnTo>
                    <a:lnTo>
                      <a:pt x="1904" y="123"/>
                    </a:lnTo>
                    <a:lnTo>
                      <a:pt x="1905" y="124"/>
                    </a:lnTo>
                    <a:close/>
                    <a:moveTo>
                      <a:pt x="1937" y="121"/>
                    </a:moveTo>
                    <a:lnTo>
                      <a:pt x="1938" y="121"/>
                    </a:lnTo>
                    <a:lnTo>
                      <a:pt x="1937" y="121"/>
                    </a:lnTo>
                    <a:lnTo>
                      <a:pt x="1935" y="120"/>
                    </a:lnTo>
                    <a:lnTo>
                      <a:pt x="1934" y="120"/>
                    </a:lnTo>
                    <a:lnTo>
                      <a:pt x="1933" y="120"/>
                    </a:lnTo>
                    <a:lnTo>
                      <a:pt x="1931" y="120"/>
                    </a:lnTo>
                    <a:lnTo>
                      <a:pt x="1933" y="118"/>
                    </a:lnTo>
                    <a:lnTo>
                      <a:pt x="1934" y="118"/>
                    </a:lnTo>
                    <a:lnTo>
                      <a:pt x="1935" y="118"/>
                    </a:lnTo>
                    <a:lnTo>
                      <a:pt x="1937" y="118"/>
                    </a:lnTo>
                    <a:lnTo>
                      <a:pt x="1937" y="118"/>
                    </a:lnTo>
                    <a:lnTo>
                      <a:pt x="1937" y="118"/>
                    </a:lnTo>
                    <a:lnTo>
                      <a:pt x="1937" y="117"/>
                    </a:lnTo>
                    <a:lnTo>
                      <a:pt x="1937" y="117"/>
                    </a:lnTo>
                    <a:lnTo>
                      <a:pt x="1937" y="115"/>
                    </a:lnTo>
                    <a:lnTo>
                      <a:pt x="1937" y="115"/>
                    </a:lnTo>
                    <a:lnTo>
                      <a:pt x="1938" y="115"/>
                    </a:lnTo>
                    <a:lnTo>
                      <a:pt x="1940" y="115"/>
                    </a:lnTo>
                    <a:lnTo>
                      <a:pt x="1941" y="115"/>
                    </a:lnTo>
                    <a:lnTo>
                      <a:pt x="1941" y="115"/>
                    </a:lnTo>
                    <a:lnTo>
                      <a:pt x="1943" y="117"/>
                    </a:lnTo>
                    <a:lnTo>
                      <a:pt x="1941" y="115"/>
                    </a:lnTo>
                    <a:lnTo>
                      <a:pt x="1941" y="114"/>
                    </a:lnTo>
                    <a:lnTo>
                      <a:pt x="1941" y="114"/>
                    </a:lnTo>
                    <a:lnTo>
                      <a:pt x="1941" y="114"/>
                    </a:lnTo>
                    <a:lnTo>
                      <a:pt x="1941" y="112"/>
                    </a:lnTo>
                    <a:lnTo>
                      <a:pt x="1943" y="112"/>
                    </a:lnTo>
                    <a:lnTo>
                      <a:pt x="1944" y="112"/>
                    </a:lnTo>
                    <a:lnTo>
                      <a:pt x="1946" y="112"/>
                    </a:lnTo>
                    <a:lnTo>
                      <a:pt x="1947" y="114"/>
                    </a:lnTo>
                    <a:lnTo>
                      <a:pt x="1950" y="114"/>
                    </a:lnTo>
                    <a:lnTo>
                      <a:pt x="1951" y="115"/>
                    </a:lnTo>
                    <a:lnTo>
                      <a:pt x="1953" y="115"/>
                    </a:lnTo>
                    <a:lnTo>
                      <a:pt x="1954" y="115"/>
                    </a:lnTo>
                    <a:lnTo>
                      <a:pt x="1954" y="117"/>
                    </a:lnTo>
                    <a:lnTo>
                      <a:pt x="1956" y="117"/>
                    </a:lnTo>
                    <a:lnTo>
                      <a:pt x="1958" y="117"/>
                    </a:lnTo>
                    <a:lnTo>
                      <a:pt x="1964" y="117"/>
                    </a:lnTo>
                    <a:lnTo>
                      <a:pt x="1967" y="117"/>
                    </a:lnTo>
                    <a:lnTo>
                      <a:pt x="1970" y="118"/>
                    </a:lnTo>
                    <a:lnTo>
                      <a:pt x="1971" y="118"/>
                    </a:lnTo>
                    <a:lnTo>
                      <a:pt x="1974" y="120"/>
                    </a:lnTo>
                    <a:lnTo>
                      <a:pt x="1974" y="120"/>
                    </a:lnTo>
                    <a:lnTo>
                      <a:pt x="1976" y="120"/>
                    </a:lnTo>
                    <a:lnTo>
                      <a:pt x="1977" y="120"/>
                    </a:lnTo>
                    <a:lnTo>
                      <a:pt x="1979" y="121"/>
                    </a:lnTo>
                    <a:lnTo>
                      <a:pt x="1979" y="121"/>
                    </a:lnTo>
                    <a:lnTo>
                      <a:pt x="1980" y="121"/>
                    </a:lnTo>
                    <a:lnTo>
                      <a:pt x="1989" y="121"/>
                    </a:lnTo>
                    <a:lnTo>
                      <a:pt x="1989" y="121"/>
                    </a:lnTo>
                    <a:lnTo>
                      <a:pt x="1990" y="123"/>
                    </a:lnTo>
                    <a:lnTo>
                      <a:pt x="1993" y="123"/>
                    </a:lnTo>
                    <a:lnTo>
                      <a:pt x="1995" y="124"/>
                    </a:lnTo>
                    <a:lnTo>
                      <a:pt x="1996" y="124"/>
                    </a:lnTo>
                    <a:lnTo>
                      <a:pt x="1997" y="124"/>
                    </a:lnTo>
                    <a:lnTo>
                      <a:pt x="1997" y="125"/>
                    </a:lnTo>
                    <a:lnTo>
                      <a:pt x="1999" y="127"/>
                    </a:lnTo>
                    <a:lnTo>
                      <a:pt x="2000" y="127"/>
                    </a:lnTo>
                    <a:lnTo>
                      <a:pt x="2002" y="127"/>
                    </a:lnTo>
                    <a:lnTo>
                      <a:pt x="2003" y="127"/>
                    </a:lnTo>
                    <a:lnTo>
                      <a:pt x="2006" y="127"/>
                    </a:lnTo>
                    <a:lnTo>
                      <a:pt x="2002" y="125"/>
                    </a:lnTo>
                    <a:lnTo>
                      <a:pt x="1997" y="123"/>
                    </a:lnTo>
                    <a:lnTo>
                      <a:pt x="1996" y="123"/>
                    </a:lnTo>
                    <a:lnTo>
                      <a:pt x="1993" y="121"/>
                    </a:lnTo>
                    <a:lnTo>
                      <a:pt x="1992" y="120"/>
                    </a:lnTo>
                    <a:lnTo>
                      <a:pt x="1992" y="120"/>
                    </a:lnTo>
                    <a:lnTo>
                      <a:pt x="1992" y="118"/>
                    </a:lnTo>
                    <a:lnTo>
                      <a:pt x="1993" y="118"/>
                    </a:lnTo>
                    <a:lnTo>
                      <a:pt x="1996" y="117"/>
                    </a:lnTo>
                    <a:lnTo>
                      <a:pt x="1997" y="117"/>
                    </a:lnTo>
                    <a:lnTo>
                      <a:pt x="2000" y="117"/>
                    </a:lnTo>
                    <a:lnTo>
                      <a:pt x="2000" y="117"/>
                    </a:lnTo>
                    <a:lnTo>
                      <a:pt x="1999" y="115"/>
                    </a:lnTo>
                    <a:lnTo>
                      <a:pt x="1997" y="115"/>
                    </a:lnTo>
                    <a:lnTo>
                      <a:pt x="1996" y="115"/>
                    </a:lnTo>
                    <a:lnTo>
                      <a:pt x="1995" y="114"/>
                    </a:lnTo>
                    <a:lnTo>
                      <a:pt x="1995" y="114"/>
                    </a:lnTo>
                    <a:lnTo>
                      <a:pt x="1997" y="114"/>
                    </a:lnTo>
                    <a:lnTo>
                      <a:pt x="2000" y="115"/>
                    </a:lnTo>
                    <a:lnTo>
                      <a:pt x="2006" y="117"/>
                    </a:lnTo>
                    <a:lnTo>
                      <a:pt x="2012" y="120"/>
                    </a:lnTo>
                    <a:lnTo>
                      <a:pt x="2018" y="121"/>
                    </a:lnTo>
                    <a:lnTo>
                      <a:pt x="2021" y="121"/>
                    </a:lnTo>
                    <a:lnTo>
                      <a:pt x="2023" y="123"/>
                    </a:lnTo>
                    <a:lnTo>
                      <a:pt x="2026" y="123"/>
                    </a:lnTo>
                    <a:lnTo>
                      <a:pt x="2031" y="123"/>
                    </a:lnTo>
                    <a:lnTo>
                      <a:pt x="2033" y="123"/>
                    </a:lnTo>
                    <a:lnTo>
                      <a:pt x="2036" y="123"/>
                    </a:lnTo>
                    <a:lnTo>
                      <a:pt x="2039" y="123"/>
                    </a:lnTo>
                    <a:lnTo>
                      <a:pt x="2042" y="121"/>
                    </a:lnTo>
                    <a:lnTo>
                      <a:pt x="2045" y="121"/>
                    </a:lnTo>
                    <a:lnTo>
                      <a:pt x="2048" y="120"/>
                    </a:lnTo>
                    <a:lnTo>
                      <a:pt x="2051" y="121"/>
                    </a:lnTo>
                    <a:lnTo>
                      <a:pt x="2054" y="121"/>
                    </a:lnTo>
                    <a:lnTo>
                      <a:pt x="2057" y="121"/>
                    </a:lnTo>
                    <a:lnTo>
                      <a:pt x="2058" y="123"/>
                    </a:lnTo>
                    <a:lnTo>
                      <a:pt x="2061" y="124"/>
                    </a:lnTo>
                    <a:lnTo>
                      <a:pt x="2062" y="124"/>
                    </a:lnTo>
                    <a:lnTo>
                      <a:pt x="2070" y="124"/>
                    </a:lnTo>
                    <a:lnTo>
                      <a:pt x="2075" y="125"/>
                    </a:lnTo>
                    <a:lnTo>
                      <a:pt x="2078" y="125"/>
                    </a:lnTo>
                    <a:lnTo>
                      <a:pt x="2083" y="125"/>
                    </a:lnTo>
                    <a:lnTo>
                      <a:pt x="2085" y="127"/>
                    </a:lnTo>
                    <a:lnTo>
                      <a:pt x="2088" y="127"/>
                    </a:lnTo>
                    <a:lnTo>
                      <a:pt x="2088" y="128"/>
                    </a:lnTo>
                    <a:lnTo>
                      <a:pt x="2087" y="128"/>
                    </a:lnTo>
                    <a:lnTo>
                      <a:pt x="2084" y="128"/>
                    </a:lnTo>
                    <a:lnTo>
                      <a:pt x="2083" y="130"/>
                    </a:lnTo>
                    <a:lnTo>
                      <a:pt x="2081" y="130"/>
                    </a:lnTo>
                    <a:lnTo>
                      <a:pt x="2080" y="131"/>
                    </a:lnTo>
                    <a:lnTo>
                      <a:pt x="2081" y="131"/>
                    </a:lnTo>
                    <a:lnTo>
                      <a:pt x="2083" y="133"/>
                    </a:lnTo>
                    <a:lnTo>
                      <a:pt x="2085" y="133"/>
                    </a:lnTo>
                    <a:lnTo>
                      <a:pt x="2087" y="134"/>
                    </a:lnTo>
                    <a:lnTo>
                      <a:pt x="2088" y="136"/>
                    </a:lnTo>
                    <a:lnTo>
                      <a:pt x="2090" y="136"/>
                    </a:lnTo>
                    <a:lnTo>
                      <a:pt x="2090" y="137"/>
                    </a:lnTo>
                    <a:lnTo>
                      <a:pt x="2090" y="137"/>
                    </a:lnTo>
                    <a:lnTo>
                      <a:pt x="2090" y="138"/>
                    </a:lnTo>
                    <a:lnTo>
                      <a:pt x="2088" y="138"/>
                    </a:lnTo>
                    <a:lnTo>
                      <a:pt x="2088" y="140"/>
                    </a:lnTo>
                    <a:lnTo>
                      <a:pt x="2087" y="140"/>
                    </a:lnTo>
                    <a:lnTo>
                      <a:pt x="2084" y="140"/>
                    </a:lnTo>
                    <a:lnTo>
                      <a:pt x="2083" y="140"/>
                    </a:lnTo>
                    <a:lnTo>
                      <a:pt x="2080" y="140"/>
                    </a:lnTo>
                    <a:lnTo>
                      <a:pt x="2078" y="138"/>
                    </a:lnTo>
                    <a:lnTo>
                      <a:pt x="2077" y="138"/>
                    </a:lnTo>
                    <a:lnTo>
                      <a:pt x="2072" y="138"/>
                    </a:lnTo>
                    <a:lnTo>
                      <a:pt x="2067" y="138"/>
                    </a:lnTo>
                    <a:lnTo>
                      <a:pt x="2062" y="137"/>
                    </a:lnTo>
                    <a:lnTo>
                      <a:pt x="2058" y="137"/>
                    </a:lnTo>
                    <a:lnTo>
                      <a:pt x="2054" y="136"/>
                    </a:lnTo>
                    <a:lnTo>
                      <a:pt x="2048" y="134"/>
                    </a:lnTo>
                    <a:lnTo>
                      <a:pt x="2044" y="133"/>
                    </a:lnTo>
                    <a:lnTo>
                      <a:pt x="2041" y="131"/>
                    </a:lnTo>
                    <a:lnTo>
                      <a:pt x="2041" y="130"/>
                    </a:lnTo>
                    <a:lnTo>
                      <a:pt x="2042" y="128"/>
                    </a:lnTo>
                    <a:lnTo>
                      <a:pt x="2042" y="128"/>
                    </a:lnTo>
                    <a:lnTo>
                      <a:pt x="2042" y="127"/>
                    </a:lnTo>
                    <a:lnTo>
                      <a:pt x="2041" y="127"/>
                    </a:lnTo>
                    <a:lnTo>
                      <a:pt x="2041" y="125"/>
                    </a:lnTo>
                    <a:lnTo>
                      <a:pt x="2039" y="125"/>
                    </a:lnTo>
                    <a:lnTo>
                      <a:pt x="2038" y="125"/>
                    </a:lnTo>
                    <a:lnTo>
                      <a:pt x="2035" y="125"/>
                    </a:lnTo>
                    <a:lnTo>
                      <a:pt x="2032" y="124"/>
                    </a:lnTo>
                    <a:lnTo>
                      <a:pt x="2029" y="124"/>
                    </a:lnTo>
                    <a:lnTo>
                      <a:pt x="2029" y="124"/>
                    </a:lnTo>
                    <a:lnTo>
                      <a:pt x="2028" y="124"/>
                    </a:lnTo>
                    <a:lnTo>
                      <a:pt x="2028" y="124"/>
                    </a:lnTo>
                    <a:lnTo>
                      <a:pt x="2026" y="124"/>
                    </a:lnTo>
                    <a:lnTo>
                      <a:pt x="2025" y="124"/>
                    </a:lnTo>
                    <a:lnTo>
                      <a:pt x="2025" y="124"/>
                    </a:lnTo>
                    <a:lnTo>
                      <a:pt x="2026" y="125"/>
                    </a:lnTo>
                    <a:lnTo>
                      <a:pt x="2026" y="125"/>
                    </a:lnTo>
                    <a:lnTo>
                      <a:pt x="2026" y="127"/>
                    </a:lnTo>
                    <a:lnTo>
                      <a:pt x="2026" y="127"/>
                    </a:lnTo>
                    <a:lnTo>
                      <a:pt x="2025" y="127"/>
                    </a:lnTo>
                    <a:lnTo>
                      <a:pt x="2023" y="127"/>
                    </a:lnTo>
                    <a:lnTo>
                      <a:pt x="2025" y="128"/>
                    </a:lnTo>
                    <a:lnTo>
                      <a:pt x="2026" y="128"/>
                    </a:lnTo>
                    <a:lnTo>
                      <a:pt x="2029" y="128"/>
                    </a:lnTo>
                    <a:lnTo>
                      <a:pt x="2031" y="130"/>
                    </a:lnTo>
                    <a:lnTo>
                      <a:pt x="2033" y="130"/>
                    </a:lnTo>
                    <a:lnTo>
                      <a:pt x="2035" y="131"/>
                    </a:lnTo>
                    <a:lnTo>
                      <a:pt x="2036" y="133"/>
                    </a:lnTo>
                    <a:lnTo>
                      <a:pt x="2038" y="134"/>
                    </a:lnTo>
                    <a:lnTo>
                      <a:pt x="2039" y="134"/>
                    </a:lnTo>
                    <a:lnTo>
                      <a:pt x="2041" y="136"/>
                    </a:lnTo>
                    <a:lnTo>
                      <a:pt x="2042" y="136"/>
                    </a:lnTo>
                    <a:lnTo>
                      <a:pt x="2044" y="136"/>
                    </a:lnTo>
                    <a:lnTo>
                      <a:pt x="2048" y="137"/>
                    </a:lnTo>
                    <a:lnTo>
                      <a:pt x="2049" y="137"/>
                    </a:lnTo>
                    <a:lnTo>
                      <a:pt x="2052" y="137"/>
                    </a:lnTo>
                    <a:lnTo>
                      <a:pt x="2054" y="137"/>
                    </a:lnTo>
                    <a:lnTo>
                      <a:pt x="2055" y="137"/>
                    </a:lnTo>
                    <a:lnTo>
                      <a:pt x="2058" y="138"/>
                    </a:lnTo>
                    <a:lnTo>
                      <a:pt x="2062" y="140"/>
                    </a:lnTo>
                    <a:lnTo>
                      <a:pt x="2065" y="140"/>
                    </a:lnTo>
                    <a:lnTo>
                      <a:pt x="2070" y="140"/>
                    </a:lnTo>
                    <a:lnTo>
                      <a:pt x="2074" y="140"/>
                    </a:lnTo>
                    <a:lnTo>
                      <a:pt x="2077" y="141"/>
                    </a:lnTo>
                    <a:lnTo>
                      <a:pt x="2080" y="141"/>
                    </a:lnTo>
                    <a:lnTo>
                      <a:pt x="2078" y="143"/>
                    </a:lnTo>
                    <a:lnTo>
                      <a:pt x="2075" y="143"/>
                    </a:lnTo>
                    <a:lnTo>
                      <a:pt x="2074" y="143"/>
                    </a:lnTo>
                    <a:lnTo>
                      <a:pt x="2071" y="143"/>
                    </a:lnTo>
                    <a:lnTo>
                      <a:pt x="2068" y="143"/>
                    </a:lnTo>
                    <a:lnTo>
                      <a:pt x="2067" y="143"/>
                    </a:lnTo>
                    <a:lnTo>
                      <a:pt x="2064" y="144"/>
                    </a:lnTo>
                    <a:lnTo>
                      <a:pt x="2062" y="144"/>
                    </a:lnTo>
                    <a:lnTo>
                      <a:pt x="2061" y="146"/>
                    </a:lnTo>
                    <a:lnTo>
                      <a:pt x="2058" y="146"/>
                    </a:lnTo>
                    <a:lnTo>
                      <a:pt x="2057" y="146"/>
                    </a:lnTo>
                    <a:lnTo>
                      <a:pt x="2055" y="146"/>
                    </a:lnTo>
                    <a:lnTo>
                      <a:pt x="2054" y="144"/>
                    </a:lnTo>
                    <a:lnTo>
                      <a:pt x="2051" y="144"/>
                    </a:lnTo>
                    <a:lnTo>
                      <a:pt x="2049" y="143"/>
                    </a:lnTo>
                    <a:lnTo>
                      <a:pt x="2048" y="141"/>
                    </a:lnTo>
                    <a:lnTo>
                      <a:pt x="2049" y="141"/>
                    </a:lnTo>
                    <a:lnTo>
                      <a:pt x="2049" y="141"/>
                    </a:lnTo>
                    <a:lnTo>
                      <a:pt x="2051" y="141"/>
                    </a:lnTo>
                    <a:lnTo>
                      <a:pt x="2052" y="141"/>
                    </a:lnTo>
                    <a:lnTo>
                      <a:pt x="2055" y="141"/>
                    </a:lnTo>
                    <a:lnTo>
                      <a:pt x="2051" y="141"/>
                    </a:lnTo>
                    <a:lnTo>
                      <a:pt x="2048" y="140"/>
                    </a:lnTo>
                    <a:lnTo>
                      <a:pt x="2045" y="141"/>
                    </a:lnTo>
                    <a:lnTo>
                      <a:pt x="2041" y="141"/>
                    </a:lnTo>
                    <a:lnTo>
                      <a:pt x="2038" y="141"/>
                    </a:lnTo>
                    <a:lnTo>
                      <a:pt x="2035" y="143"/>
                    </a:lnTo>
                    <a:lnTo>
                      <a:pt x="2028" y="144"/>
                    </a:lnTo>
                    <a:lnTo>
                      <a:pt x="2026" y="144"/>
                    </a:lnTo>
                    <a:lnTo>
                      <a:pt x="2025" y="146"/>
                    </a:lnTo>
                    <a:lnTo>
                      <a:pt x="2022" y="146"/>
                    </a:lnTo>
                    <a:lnTo>
                      <a:pt x="2021" y="146"/>
                    </a:lnTo>
                    <a:lnTo>
                      <a:pt x="2018" y="146"/>
                    </a:lnTo>
                    <a:lnTo>
                      <a:pt x="2016" y="146"/>
                    </a:lnTo>
                    <a:lnTo>
                      <a:pt x="2015" y="144"/>
                    </a:lnTo>
                    <a:lnTo>
                      <a:pt x="2013" y="144"/>
                    </a:lnTo>
                    <a:lnTo>
                      <a:pt x="2012" y="144"/>
                    </a:lnTo>
                    <a:lnTo>
                      <a:pt x="2009" y="143"/>
                    </a:lnTo>
                    <a:lnTo>
                      <a:pt x="2008" y="143"/>
                    </a:lnTo>
                    <a:lnTo>
                      <a:pt x="2006" y="143"/>
                    </a:lnTo>
                    <a:lnTo>
                      <a:pt x="2005" y="141"/>
                    </a:lnTo>
                    <a:lnTo>
                      <a:pt x="2003" y="141"/>
                    </a:lnTo>
                    <a:lnTo>
                      <a:pt x="2003" y="143"/>
                    </a:lnTo>
                    <a:lnTo>
                      <a:pt x="2005" y="143"/>
                    </a:lnTo>
                    <a:lnTo>
                      <a:pt x="2006" y="144"/>
                    </a:lnTo>
                    <a:lnTo>
                      <a:pt x="2006" y="146"/>
                    </a:lnTo>
                    <a:lnTo>
                      <a:pt x="2008" y="147"/>
                    </a:lnTo>
                    <a:lnTo>
                      <a:pt x="2008" y="147"/>
                    </a:lnTo>
                    <a:lnTo>
                      <a:pt x="2008" y="149"/>
                    </a:lnTo>
                    <a:lnTo>
                      <a:pt x="2008" y="149"/>
                    </a:lnTo>
                    <a:lnTo>
                      <a:pt x="2006" y="150"/>
                    </a:lnTo>
                    <a:lnTo>
                      <a:pt x="2006" y="150"/>
                    </a:lnTo>
                    <a:lnTo>
                      <a:pt x="2006" y="151"/>
                    </a:lnTo>
                    <a:lnTo>
                      <a:pt x="2003" y="150"/>
                    </a:lnTo>
                    <a:lnTo>
                      <a:pt x="2000" y="150"/>
                    </a:lnTo>
                    <a:lnTo>
                      <a:pt x="1997" y="150"/>
                    </a:lnTo>
                    <a:lnTo>
                      <a:pt x="1995" y="149"/>
                    </a:lnTo>
                    <a:lnTo>
                      <a:pt x="1990" y="149"/>
                    </a:lnTo>
                    <a:lnTo>
                      <a:pt x="1989" y="149"/>
                    </a:lnTo>
                    <a:lnTo>
                      <a:pt x="1986" y="149"/>
                    </a:lnTo>
                    <a:lnTo>
                      <a:pt x="1983" y="147"/>
                    </a:lnTo>
                    <a:lnTo>
                      <a:pt x="1980" y="147"/>
                    </a:lnTo>
                    <a:lnTo>
                      <a:pt x="1977" y="146"/>
                    </a:lnTo>
                    <a:lnTo>
                      <a:pt x="1974" y="144"/>
                    </a:lnTo>
                    <a:lnTo>
                      <a:pt x="1971" y="143"/>
                    </a:lnTo>
                    <a:lnTo>
                      <a:pt x="1967" y="141"/>
                    </a:lnTo>
                    <a:lnTo>
                      <a:pt x="1963" y="138"/>
                    </a:lnTo>
                    <a:lnTo>
                      <a:pt x="1960" y="138"/>
                    </a:lnTo>
                    <a:lnTo>
                      <a:pt x="1957" y="138"/>
                    </a:lnTo>
                    <a:lnTo>
                      <a:pt x="1954" y="137"/>
                    </a:lnTo>
                    <a:lnTo>
                      <a:pt x="1951" y="137"/>
                    </a:lnTo>
                    <a:lnTo>
                      <a:pt x="1947" y="136"/>
                    </a:lnTo>
                    <a:lnTo>
                      <a:pt x="1943" y="134"/>
                    </a:lnTo>
                    <a:lnTo>
                      <a:pt x="1944" y="133"/>
                    </a:lnTo>
                    <a:lnTo>
                      <a:pt x="1944" y="133"/>
                    </a:lnTo>
                    <a:lnTo>
                      <a:pt x="1943" y="131"/>
                    </a:lnTo>
                    <a:lnTo>
                      <a:pt x="1943" y="131"/>
                    </a:lnTo>
                    <a:lnTo>
                      <a:pt x="1940" y="128"/>
                    </a:lnTo>
                    <a:lnTo>
                      <a:pt x="1940" y="127"/>
                    </a:lnTo>
                    <a:lnTo>
                      <a:pt x="1938" y="127"/>
                    </a:lnTo>
                    <a:lnTo>
                      <a:pt x="1937" y="127"/>
                    </a:lnTo>
                    <a:lnTo>
                      <a:pt x="1937" y="127"/>
                    </a:lnTo>
                    <a:lnTo>
                      <a:pt x="1935" y="127"/>
                    </a:lnTo>
                    <a:lnTo>
                      <a:pt x="1934" y="127"/>
                    </a:lnTo>
                    <a:lnTo>
                      <a:pt x="1934" y="127"/>
                    </a:lnTo>
                    <a:lnTo>
                      <a:pt x="1934" y="127"/>
                    </a:lnTo>
                    <a:lnTo>
                      <a:pt x="1933" y="127"/>
                    </a:lnTo>
                    <a:lnTo>
                      <a:pt x="1933" y="125"/>
                    </a:lnTo>
                    <a:lnTo>
                      <a:pt x="1931" y="124"/>
                    </a:lnTo>
                    <a:lnTo>
                      <a:pt x="1933" y="124"/>
                    </a:lnTo>
                    <a:lnTo>
                      <a:pt x="1934" y="123"/>
                    </a:lnTo>
                    <a:lnTo>
                      <a:pt x="1934" y="123"/>
                    </a:lnTo>
                    <a:lnTo>
                      <a:pt x="1935" y="123"/>
                    </a:lnTo>
                    <a:lnTo>
                      <a:pt x="1937" y="121"/>
                    </a:lnTo>
                    <a:close/>
                    <a:moveTo>
                      <a:pt x="1947" y="133"/>
                    </a:moveTo>
                    <a:lnTo>
                      <a:pt x="1948" y="133"/>
                    </a:lnTo>
                    <a:lnTo>
                      <a:pt x="1950" y="134"/>
                    </a:lnTo>
                    <a:lnTo>
                      <a:pt x="1951" y="134"/>
                    </a:lnTo>
                    <a:lnTo>
                      <a:pt x="1950" y="133"/>
                    </a:lnTo>
                    <a:lnTo>
                      <a:pt x="1948" y="133"/>
                    </a:lnTo>
                    <a:lnTo>
                      <a:pt x="1947" y="133"/>
                    </a:lnTo>
                    <a:lnTo>
                      <a:pt x="1947" y="133"/>
                    </a:lnTo>
                    <a:close/>
                    <a:moveTo>
                      <a:pt x="1973" y="166"/>
                    </a:moveTo>
                    <a:lnTo>
                      <a:pt x="1973" y="164"/>
                    </a:lnTo>
                    <a:lnTo>
                      <a:pt x="1971" y="164"/>
                    </a:lnTo>
                    <a:lnTo>
                      <a:pt x="1970" y="163"/>
                    </a:lnTo>
                    <a:lnTo>
                      <a:pt x="1969" y="163"/>
                    </a:lnTo>
                    <a:lnTo>
                      <a:pt x="1964" y="161"/>
                    </a:lnTo>
                    <a:lnTo>
                      <a:pt x="1960" y="160"/>
                    </a:lnTo>
                    <a:lnTo>
                      <a:pt x="1957" y="160"/>
                    </a:lnTo>
                    <a:lnTo>
                      <a:pt x="1956" y="160"/>
                    </a:lnTo>
                    <a:lnTo>
                      <a:pt x="1954" y="160"/>
                    </a:lnTo>
                    <a:lnTo>
                      <a:pt x="1953" y="160"/>
                    </a:lnTo>
                    <a:lnTo>
                      <a:pt x="1951" y="160"/>
                    </a:lnTo>
                    <a:lnTo>
                      <a:pt x="1951" y="160"/>
                    </a:lnTo>
                    <a:lnTo>
                      <a:pt x="1953" y="161"/>
                    </a:lnTo>
                    <a:lnTo>
                      <a:pt x="1956" y="163"/>
                    </a:lnTo>
                    <a:lnTo>
                      <a:pt x="1958" y="163"/>
                    </a:lnTo>
                    <a:lnTo>
                      <a:pt x="1961" y="164"/>
                    </a:lnTo>
                    <a:lnTo>
                      <a:pt x="1969" y="166"/>
                    </a:lnTo>
                    <a:lnTo>
                      <a:pt x="1971" y="166"/>
                    </a:lnTo>
                    <a:lnTo>
                      <a:pt x="1974" y="167"/>
                    </a:lnTo>
                    <a:lnTo>
                      <a:pt x="1974" y="166"/>
                    </a:lnTo>
                    <a:lnTo>
                      <a:pt x="1973" y="166"/>
                    </a:lnTo>
                    <a:close/>
                    <a:moveTo>
                      <a:pt x="2083" y="167"/>
                    </a:moveTo>
                    <a:lnTo>
                      <a:pt x="2081" y="167"/>
                    </a:lnTo>
                    <a:lnTo>
                      <a:pt x="2080" y="167"/>
                    </a:lnTo>
                    <a:lnTo>
                      <a:pt x="2077" y="167"/>
                    </a:lnTo>
                    <a:lnTo>
                      <a:pt x="2075" y="167"/>
                    </a:lnTo>
                    <a:lnTo>
                      <a:pt x="2072" y="169"/>
                    </a:lnTo>
                    <a:lnTo>
                      <a:pt x="2070" y="169"/>
                    </a:lnTo>
                    <a:lnTo>
                      <a:pt x="2067" y="169"/>
                    </a:lnTo>
                    <a:lnTo>
                      <a:pt x="2067" y="170"/>
                    </a:lnTo>
                    <a:lnTo>
                      <a:pt x="2065" y="170"/>
                    </a:lnTo>
                    <a:lnTo>
                      <a:pt x="2067" y="172"/>
                    </a:lnTo>
                    <a:lnTo>
                      <a:pt x="2067" y="172"/>
                    </a:lnTo>
                    <a:lnTo>
                      <a:pt x="2067" y="172"/>
                    </a:lnTo>
                    <a:lnTo>
                      <a:pt x="2068" y="173"/>
                    </a:lnTo>
                    <a:lnTo>
                      <a:pt x="2068" y="174"/>
                    </a:lnTo>
                    <a:lnTo>
                      <a:pt x="2070" y="176"/>
                    </a:lnTo>
                    <a:lnTo>
                      <a:pt x="2068" y="177"/>
                    </a:lnTo>
                    <a:lnTo>
                      <a:pt x="2068" y="177"/>
                    </a:lnTo>
                    <a:lnTo>
                      <a:pt x="2067" y="179"/>
                    </a:lnTo>
                    <a:lnTo>
                      <a:pt x="2065" y="179"/>
                    </a:lnTo>
                    <a:lnTo>
                      <a:pt x="2062" y="179"/>
                    </a:lnTo>
                    <a:lnTo>
                      <a:pt x="2061" y="179"/>
                    </a:lnTo>
                    <a:lnTo>
                      <a:pt x="2059" y="179"/>
                    </a:lnTo>
                    <a:lnTo>
                      <a:pt x="2059" y="179"/>
                    </a:lnTo>
                    <a:lnTo>
                      <a:pt x="2058" y="179"/>
                    </a:lnTo>
                    <a:lnTo>
                      <a:pt x="2058" y="179"/>
                    </a:lnTo>
                    <a:lnTo>
                      <a:pt x="2057" y="179"/>
                    </a:lnTo>
                    <a:lnTo>
                      <a:pt x="2055" y="179"/>
                    </a:lnTo>
                    <a:lnTo>
                      <a:pt x="2057" y="180"/>
                    </a:lnTo>
                    <a:lnTo>
                      <a:pt x="2058" y="180"/>
                    </a:lnTo>
                    <a:lnTo>
                      <a:pt x="2061" y="180"/>
                    </a:lnTo>
                    <a:lnTo>
                      <a:pt x="2062" y="180"/>
                    </a:lnTo>
                    <a:lnTo>
                      <a:pt x="2067" y="180"/>
                    </a:lnTo>
                    <a:lnTo>
                      <a:pt x="2070" y="179"/>
                    </a:lnTo>
                    <a:lnTo>
                      <a:pt x="2072" y="179"/>
                    </a:lnTo>
                    <a:lnTo>
                      <a:pt x="2074" y="179"/>
                    </a:lnTo>
                    <a:lnTo>
                      <a:pt x="2077" y="180"/>
                    </a:lnTo>
                    <a:lnTo>
                      <a:pt x="2081" y="180"/>
                    </a:lnTo>
                    <a:lnTo>
                      <a:pt x="2087" y="182"/>
                    </a:lnTo>
                    <a:lnTo>
                      <a:pt x="2090" y="182"/>
                    </a:lnTo>
                    <a:lnTo>
                      <a:pt x="2093" y="182"/>
                    </a:lnTo>
                    <a:lnTo>
                      <a:pt x="2097" y="183"/>
                    </a:lnTo>
                    <a:lnTo>
                      <a:pt x="2103" y="185"/>
                    </a:lnTo>
                    <a:lnTo>
                      <a:pt x="2108" y="185"/>
                    </a:lnTo>
                    <a:lnTo>
                      <a:pt x="2113" y="185"/>
                    </a:lnTo>
                    <a:lnTo>
                      <a:pt x="2124" y="185"/>
                    </a:lnTo>
                    <a:lnTo>
                      <a:pt x="2136" y="186"/>
                    </a:lnTo>
                    <a:lnTo>
                      <a:pt x="2129" y="182"/>
                    </a:lnTo>
                    <a:lnTo>
                      <a:pt x="2123" y="179"/>
                    </a:lnTo>
                    <a:lnTo>
                      <a:pt x="2116" y="176"/>
                    </a:lnTo>
                    <a:lnTo>
                      <a:pt x="2110" y="173"/>
                    </a:lnTo>
                    <a:lnTo>
                      <a:pt x="2103" y="172"/>
                    </a:lnTo>
                    <a:lnTo>
                      <a:pt x="2096" y="170"/>
                    </a:lnTo>
                    <a:lnTo>
                      <a:pt x="2090" y="169"/>
                    </a:lnTo>
                    <a:lnTo>
                      <a:pt x="2083" y="167"/>
                    </a:lnTo>
                    <a:lnTo>
                      <a:pt x="2083" y="167"/>
                    </a:lnTo>
                    <a:close/>
                    <a:moveTo>
                      <a:pt x="2104" y="102"/>
                    </a:moveTo>
                    <a:lnTo>
                      <a:pt x="2106" y="102"/>
                    </a:lnTo>
                    <a:lnTo>
                      <a:pt x="2108" y="102"/>
                    </a:lnTo>
                    <a:lnTo>
                      <a:pt x="2110" y="102"/>
                    </a:lnTo>
                    <a:lnTo>
                      <a:pt x="2111" y="102"/>
                    </a:lnTo>
                    <a:lnTo>
                      <a:pt x="2113" y="102"/>
                    </a:lnTo>
                    <a:lnTo>
                      <a:pt x="2114" y="102"/>
                    </a:lnTo>
                    <a:lnTo>
                      <a:pt x="2114" y="102"/>
                    </a:lnTo>
                    <a:lnTo>
                      <a:pt x="2113" y="101"/>
                    </a:lnTo>
                    <a:lnTo>
                      <a:pt x="2113" y="101"/>
                    </a:lnTo>
                    <a:lnTo>
                      <a:pt x="2110" y="101"/>
                    </a:lnTo>
                    <a:lnTo>
                      <a:pt x="2108" y="101"/>
                    </a:lnTo>
                    <a:lnTo>
                      <a:pt x="2107" y="101"/>
                    </a:lnTo>
                    <a:lnTo>
                      <a:pt x="2104" y="101"/>
                    </a:lnTo>
                    <a:lnTo>
                      <a:pt x="2103" y="102"/>
                    </a:lnTo>
                    <a:lnTo>
                      <a:pt x="2101" y="102"/>
                    </a:lnTo>
                    <a:lnTo>
                      <a:pt x="2101" y="102"/>
                    </a:lnTo>
                    <a:lnTo>
                      <a:pt x="2101" y="102"/>
                    </a:lnTo>
                    <a:lnTo>
                      <a:pt x="2104" y="102"/>
                    </a:lnTo>
                    <a:close/>
                    <a:moveTo>
                      <a:pt x="2111" y="128"/>
                    </a:moveTo>
                    <a:lnTo>
                      <a:pt x="2110" y="127"/>
                    </a:lnTo>
                    <a:lnTo>
                      <a:pt x="2108" y="127"/>
                    </a:lnTo>
                    <a:lnTo>
                      <a:pt x="2107" y="127"/>
                    </a:lnTo>
                    <a:lnTo>
                      <a:pt x="2106" y="128"/>
                    </a:lnTo>
                    <a:lnTo>
                      <a:pt x="2114" y="137"/>
                    </a:lnTo>
                    <a:lnTo>
                      <a:pt x="2116" y="137"/>
                    </a:lnTo>
                    <a:lnTo>
                      <a:pt x="2119" y="137"/>
                    </a:lnTo>
                    <a:lnTo>
                      <a:pt x="2121" y="138"/>
                    </a:lnTo>
                    <a:lnTo>
                      <a:pt x="2124" y="138"/>
                    </a:lnTo>
                    <a:lnTo>
                      <a:pt x="2130" y="140"/>
                    </a:lnTo>
                    <a:lnTo>
                      <a:pt x="2134" y="141"/>
                    </a:lnTo>
                    <a:lnTo>
                      <a:pt x="2137" y="141"/>
                    </a:lnTo>
                    <a:lnTo>
                      <a:pt x="2143" y="143"/>
                    </a:lnTo>
                    <a:lnTo>
                      <a:pt x="2147" y="144"/>
                    </a:lnTo>
                    <a:lnTo>
                      <a:pt x="2155" y="146"/>
                    </a:lnTo>
                    <a:lnTo>
                      <a:pt x="2160" y="146"/>
                    </a:lnTo>
                    <a:lnTo>
                      <a:pt x="2166" y="147"/>
                    </a:lnTo>
                    <a:lnTo>
                      <a:pt x="2173" y="147"/>
                    </a:lnTo>
                    <a:lnTo>
                      <a:pt x="2179" y="147"/>
                    </a:lnTo>
                    <a:lnTo>
                      <a:pt x="2186" y="149"/>
                    </a:lnTo>
                    <a:lnTo>
                      <a:pt x="2188" y="149"/>
                    </a:lnTo>
                    <a:lnTo>
                      <a:pt x="2191" y="147"/>
                    </a:lnTo>
                    <a:lnTo>
                      <a:pt x="2194" y="147"/>
                    </a:lnTo>
                    <a:lnTo>
                      <a:pt x="2196" y="147"/>
                    </a:lnTo>
                    <a:lnTo>
                      <a:pt x="2198" y="147"/>
                    </a:lnTo>
                    <a:lnTo>
                      <a:pt x="2201" y="146"/>
                    </a:lnTo>
                    <a:lnTo>
                      <a:pt x="2204" y="144"/>
                    </a:lnTo>
                    <a:lnTo>
                      <a:pt x="2207" y="141"/>
                    </a:lnTo>
                    <a:lnTo>
                      <a:pt x="2205" y="141"/>
                    </a:lnTo>
                    <a:lnTo>
                      <a:pt x="2205" y="141"/>
                    </a:lnTo>
                    <a:lnTo>
                      <a:pt x="2204" y="140"/>
                    </a:lnTo>
                    <a:lnTo>
                      <a:pt x="2204" y="140"/>
                    </a:lnTo>
                    <a:lnTo>
                      <a:pt x="2204" y="138"/>
                    </a:lnTo>
                    <a:lnTo>
                      <a:pt x="2202" y="138"/>
                    </a:lnTo>
                    <a:lnTo>
                      <a:pt x="2202" y="138"/>
                    </a:lnTo>
                    <a:lnTo>
                      <a:pt x="2201" y="138"/>
                    </a:lnTo>
                    <a:lnTo>
                      <a:pt x="2199" y="138"/>
                    </a:lnTo>
                    <a:lnTo>
                      <a:pt x="2198" y="138"/>
                    </a:lnTo>
                    <a:lnTo>
                      <a:pt x="2196" y="138"/>
                    </a:lnTo>
                    <a:lnTo>
                      <a:pt x="2194" y="137"/>
                    </a:lnTo>
                    <a:lnTo>
                      <a:pt x="2189" y="137"/>
                    </a:lnTo>
                    <a:lnTo>
                      <a:pt x="2188" y="137"/>
                    </a:lnTo>
                    <a:lnTo>
                      <a:pt x="2186" y="137"/>
                    </a:lnTo>
                    <a:lnTo>
                      <a:pt x="2183" y="137"/>
                    </a:lnTo>
                    <a:lnTo>
                      <a:pt x="2181" y="136"/>
                    </a:lnTo>
                    <a:lnTo>
                      <a:pt x="2178" y="136"/>
                    </a:lnTo>
                    <a:lnTo>
                      <a:pt x="2173" y="134"/>
                    </a:lnTo>
                    <a:lnTo>
                      <a:pt x="2171" y="134"/>
                    </a:lnTo>
                    <a:lnTo>
                      <a:pt x="2169" y="134"/>
                    </a:lnTo>
                    <a:lnTo>
                      <a:pt x="2166" y="134"/>
                    </a:lnTo>
                    <a:lnTo>
                      <a:pt x="2165" y="134"/>
                    </a:lnTo>
                    <a:lnTo>
                      <a:pt x="2162" y="134"/>
                    </a:lnTo>
                    <a:lnTo>
                      <a:pt x="2160" y="136"/>
                    </a:lnTo>
                    <a:lnTo>
                      <a:pt x="2159" y="136"/>
                    </a:lnTo>
                    <a:lnTo>
                      <a:pt x="2156" y="134"/>
                    </a:lnTo>
                    <a:lnTo>
                      <a:pt x="2155" y="134"/>
                    </a:lnTo>
                    <a:lnTo>
                      <a:pt x="2152" y="133"/>
                    </a:lnTo>
                    <a:lnTo>
                      <a:pt x="2149" y="131"/>
                    </a:lnTo>
                    <a:lnTo>
                      <a:pt x="2146" y="131"/>
                    </a:lnTo>
                    <a:lnTo>
                      <a:pt x="2143" y="130"/>
                    </a:lnTo>
                    <a:lnTo>
                      <a:pt x="2139" y="130"/>
                    </a:lnTo>
                    <a:lnTo>
                      <a:pt x="2136" y="130"/>
                    </a:lnTo>
                    <a:lnTo>
                      <a:pt x="2132" y="130"/>
                    </a:lnTo>
                    <a:lnTo>
                      <a:pt x="2129" y="131"/>
                    </a:lnTo>
                    <a:lnTo>
                      <a:pt x="2127" y="131"/>
                    </a:lnTo>
                    <a:lnTo>
                      <a:pt x="2126" y="133"/>
                    </a:lnTo>
                    <a:lnTo>
                      <a:pt x="2124" y="133"/>
                    </a:lnTo>
                    <a:lnTo>
                      <a:pt x="2123" y="133"/>
                    </a:lnTo>
                    <a:lnTo>
                      <a:pt x="2121" y="133"/>
                    </a:lnTo>
                    <a:lnTo>
                      <a:pt x="2120" y="131"/>
                    </a:lnTo>
                    <a:lnTo>
                      <a:pt x="2117" y="130"/>
                    </a:lnTo>
                    <a:lnTo>
                      <a:pt x="2114" y="128"/>
                    </a:lnTo>
                    <a:lnTo>
                      <a:pt x="2111" y="128"/>
                    </a:lnTo>
                    <a:close/>
                    <a:moveTo>
                      <a:pt x="2196" y="115"/>
                    </a:moveTo>
                    <a:lnTo>
                      <a:pt x="2196" y="115"/>
                    </a:lnTo>
                    <a:lnTo>
                      <a:pt x="2198" y="115"/>
                    </a:lnTo>
                    <a:lnTo>
                      <a:pt x="2198" y="117"/>
                    </a:lnTo>
                    <a:lnTo>
                      <a:pt x="2198" y="115"/>
                    </a:lnTo>
                    <a:lnTo>
                      <a:pt x="2198" y="114"/>
                    </a:lnTo>
                    <a:lnTo>
                      <a:pt x="2196" y="114"/>
                    </a:lnTo>
                    <a:lnTo>
                      <a:pt x="2196" y="114"/>
                    </a:lnTo>
                    <a:lnTo>
                      <a:pt x="2195" y="114"/>
                    </a:lnTo>
                    <a:lnTo>
                      <a:pt x="2196" y="114"/>
                    </a:lnTo>
                    <a:lnTo>
                      <a:pt x="2196" y="115"/>
                    </a:lnTo>
                    <a:close/>
                    <a:moveTo>
                      <a:pt x="1001" y="22"/>
                    </a:moveTo>
                    <a:lnTo>
                      <a:pt x="1001" y="22"/>
                    </a:lnTo>
                    <a:lnTo>
                      <a:pt x="1002" y="22"/>
                    </a:lnTo>
                    <a:lnTo>
                      <a:pt x="1005" y="22"/>
                    </a:lnTo>
                    <a:lnTo>
                      <a:pt x="1010" y="22"/>
                    </a:lnTo>
                    <a:lnTo>
                      <a:pt x="1017" y="20"/>
                    </a:lnTo>
                    <a:lnTo>
                      <a:pt x="1020" y="20"/>
                    </a:lnTo>
                    <a:lnTo>
                      <a:pt x="1024" y="20"/>
                    </a:lnTo>
                    <a:lnTo>
                      <a:pt x="1027" y="20"/>
                    </a:lnTo>
                    <a:lnTo>
                      <a:pt x="1031" y="22"/>
                    </a:lnTo>
                    <a:lnTo>
                      <a:pt x="1028" y="22"/>
                    </a:lnTo>
                    <a:lnTo>
                      <a:pt x="1025" y="22"/>
                    </a:lnTo>
                    <a:lnTo>
                      <a:pt x="1021" y="22"/>
                    </a:lnTo>
                    <a:lnTo>
                      <a:pt x="1015" y="22"/>
                    </a:lnTo>
                    <a:lnTo>
                      <a:pt x="1015" y="22"/>
                    </a:lnTo>
                    <a:lnTo>
                      <a:pt x="1018" y="22"/>
                    </a:lnTo>
                    <a:lnTo>
                      <a:pt x="1021" y="22"/>
                    </a:lnTo>
                    <a:lnTo>
                      <a:pt x="1023" y="23"/>
                    </a:lnTo>
                    <a:lnTo>
                      <a:pt x="1024" y="23"/>
                    </a:lnTo>
                    <a:lnTo>
                      <a:pt x="1025" y="25"/>
                    </a:lnTo>
                    <a:lnTo>
                      <a:pt x="1023" y="25"/>
                    </a:lnTo>
                    <a:lnTo>
                      <a:pt x="1020" y="25"/>
                    </a:lnTo>
                    <a:lnTo>
                      <a:pt x="1018" y="25"/>
                    </a:lnTo>
                    <a:lnTo>
                      <a:pt x="1018" y="25"/>
                    </a:lnTo>
                    <a:lnTo>
                      <a:pt x="1015" y="25"/>
                    </a:lnTo>
                    <a:lnTo>
                      <a:pt x="1014" y="25"/>
                    </a:lnTo>
                    <a:lnTo>
                      <a:pt x="1017" y="25"/>
                    </a:lnTo>
                    <a:lnTo>
                      <a:pt x="1020" y="25"/>
                    </a:lnTo>
                    <a:lnTo>
                      <a:pt x="1025" y="26"/>
                    </a:lnTo>
                    <a:lnTo>
                      <a:pt x="1031" y="27"/>
                    </a:lnTo>
                    <a:lnTo>
                      <a:pt x="1028" y="27"/>
                    </a:lnTo>
                    <a:lnTo>
                      <a:pt x="1024" y="27"/>
                    </a:lnTo>
                    <a:lnTo>
                      <a:pt x="1020" y="27"/>
                    </a:lnTo>
                    <a:lnTo>
                      <a:pt x="1012" y="27"/>
                    </a:lnTo>
                    <a:lnTo>
                      <a:pt x="1005" y="27"/>
                    </a:lnTo>
                    <a:lnTo>
                      <a:pt x="1002" y="27"/>
                    </a:lnTo>
                    <a:lnTo>
                      <a:pt x="1004" y="29"/>
                    </a:lnTo>
                    <a:lnTo>
                      <a:pt x="1004" y="29"/>
                    </a:lnTo>
                    <a:lnTo>
                      <a:pt x="1005" y="29"/>
                    </a:lnTo>
                    <a:lnTo>
                      <a:pt x="1007" y="30"/>
                    </a:lnTo>
                    <a:lnTo>
                      <a:pt x="1010" y="30"/>
                    </a:lnTo>
                    <a:lnTo>
                      <a:pt x="1011" y="30"/>
                    </a:lnTo>
                    <a:lnTo>
                      <a:pt x="1014" y="30"/>
                    </a:lnTo>
                    <a:lnTo>
                      <a:pt x="1015" y="32"/>
                    </a:lnTo>
                    <a:lnTo>
                      <a:pt x="1018" y="32"/>
                    </a:lnTo>
                    <a:lnTo>
                      <a:pt x="1020" y="32"/>
                    </a:lnTo>
                    <a:lnTo>
                      <a:pt x="1021" y="32"/>
                    </a:lnTo>
                    <a:lnTo>
                      <a:pt x="1024" y="32"/>
                    </a:lnTo>
                    <a:lnTo>
                      <a:pt x="1027" y="32"/>
                    </a:lnTo>
                    <a:lnTo>
                      <a:pt x="1028" y="33"/>
                    </a:lnTo>
                    <a:lnTo>
                      <a:pt x="1027" y="33"/>
                    </a:lnTo>
                    <a:lnTo>
                      <a:pt x="1024" y="33"/>
                    </a:lnTo>
                    <a:lnTo>
                      <a:pt x="1024" y="33"/>
                    </a:lnTo>
                    <a:lnTo>
                      <a:pt x="1023" y="33"/>
                    </a:lnTo>
                    <a:lnTo>
                      <a:pt x="1025" y="33"/>
                    </a:lnTo>
                    <a:lnTo>
                      <a:pt x="1030" y="35"/>
                    </a:lnTo>
                    <a:lnTo>
                      <a:pt x="1033" y="35"/>
                    </a:lnTo>
                    <a:lnTo>
                      <a:pt x="1035" y="35"/>
                    </a:lnTo>
                    <a:lnTo>
                      <a:pt x="1038" y="33"/>
                    </a:lnTo>
                    <a:lnTo>
                      <a:pt x="1043" y="33"/>
                    </a:lnTo>
                    <a:lnTo>
                      <a:pt x="1046" y="32"/>
                    </a:lnTo>
                    <a:lnTo>
                      <a:pt x="1050" y="30"/>
                    </a:lnTo>
                    <a:lnTo>
                      <a:pt x="1048" y="29"/>
                    </a:lnTo>
                    <a:lnTo>
                      <a:pt x="1047" y="29"/>
                    </a:lnTo>
                    <a:lnTo>
                      <a:pt x="1044" y="27"/>
                    </a:lnTo>
                    <a:lnTo>
                      <a:pt x="1043" y="27"/>
                    </a:lnTo>
                    <a:lnTo>
                      <a:pt x="1048" y="26"/>
                    </a:lnTo>
                    <a:lnTo>
                      <a:pt x="1053" y="25"/>
                    </a:lnTo>
                    <a:lnTo>
                      <a:pt x="1056" y="25"/>
                    </a:lnTo>
                    <a:lnTo>
                      <a:pt x="1060" y="25"/>
                    </a:lnTo>
                    <a:lnTo>
                      <a:pt x="1063" y="25"/>
                    </a:lnTo>
                    <a:lnTo>
                      <a:pt x="1066" y="25"/>
                    </a:lnTo>
                    <a:lnTo>
                      <a:pt x="1070" y="23"/>
                    </a:lnTo>
                    <a:lnTo>
                      <a:pt x="1073" y="23"/>
                    </a:lnTo>
                    <a:lnTo>
                      <a:pt x="1076" y="23"/>
                    </a:lnTo>
                    <a:lnTo>
                      <a:pt x="1079" y="23"/>
                    </a:lnTo>
                    <a:lnTo>
                      <a:pt x="1083" y="25"/>
                    </a:lnTo>
                    <a:lnTo>
                      <a:pt x="1085" y="25"/>
                    </a:lnTo>
                    <a:lnTo>
                      <a:pt x="1086" y="25"/>
                    </a:lnTo>
                    <a:lnTo>
                      <a:pt x="1087" y="25"/>
                    </a:lnTo>
                    <a:lnTo>
                      <a:pt x="1090" y="25"/>
                    </a:lnTo>
                    <a:lnTo>
                      <a:pt x="1092" y="23"/>
                    </a:lnTo>
                    <a:lnTo>
                      <a:pt x="1095" y="23"/>
                    </a:lnTo>
                    <a:lnTo>
                      <a:pt x="1098" y="23"/>
                    </a:lnTo>
                    <a:lnTo>
                      <a:pt x="1100" y="22"/>
                    </a:lnTo>
                    <a:lnTo>
                      <a:pt x="1098" y="22"/>
                    </a:lnTo>
                    <a:lnTo>
                      <a:pt x="1095" y="22"/>
                    </a:lnTo>
                    <a:lnTo>
                      <a:pt x="1093" y="20"/>
                    </a:lnTo>
                    <a:lnTo>
                      <a:pt x="1092" y="19"/>
                    </a:lnTo>
                    <a:lnTo>
                      <a:pt x="1089" y="19"/>
                    </a:lnTo>
                    <a:lnTo>
                      <a:pt x="1087" y="17"/>
                    </a:lnTo>
                    <a:lnTo>
                      <a:pt x="1087" y="16"/>
                    </a:lnTo>
                    <a:lnTo>
                      <a:pt x="1086" y="13"/>
                    </a:lnTo>
                    <a:lnTo>
                      <a:pt x="1087" y="14"/>
                    </a:lnTo>
                    <a:lnTo>
                      <a:pt x="1089" y="14"/>
                    </a:lnTo>
                    <a:lnTo>
                      <a:pt x="1090" y="16"/>
                    </a:lnTo>
                    <a:lnTo>
                      <a:pt x="1092" y="16"/>
                    </a:lnTo>
                    <a:lnTo>
                      <a:pt x="1093" y="16"/>
                    </a:lnTo>
                    <a:lnTo>
                      <a:pt x="1095" y="14"/>
                    </a:lnTo>
                    <a:lnTo>
                      <a:pt x="1096" y="14"/>
                    </a:lnTo>
                    <a:lnTo>
                      <a:pt x="1096" y="13"/>
                    </a:lnTo>
                    <a:lnTo>
                      <a:pt x="1093" y="13"/>
                    </a:lnTo>
                    <a:lnTo>
                      <a:pt x="1089" y="12"/>
                    </a:lnTo>
                    <a:lnTo>
                      <a:pt x="1083" y="10"/>
                    </a:lnTo>
                    <a:lnTo>
                      <a:pt x="1074" y="9"/>
                    </a:lnTo>
                    <a:lnTo>
                      <a:pt x="1072" y="9"/>
                    </a:lnTo>
                    <a:lnTo>
                      <a:pt x="1069" y="7"/>
                    </a:lnTo>
                    <a:lnTo>
                      <a:pt x="1064" y="6"/>
                    </a:lnTo>
                    <a:lnTo>
                      <a:pt x="1061" y="4"/>
                    </a:lnTo>
                    <a:lnTo>
                      <a:pt x="1057" y="3"/>
                    </a:lnTo>
                    <a:lnTo>
                      <a:pt x="1053" y="1"/>
                    </a:lnTo>
                    <a:lnTo>
                      <a:pt x="1050" y="0"/>
                    </a:lnTo>
                    <a:lnTo>
                      <a:pt x="1046" y="0"/>
                    </a:lnTo>
                    <a:lnTo>
                      <a:pt x="1041" y="0"/>
                    </a:lnTo>
                    <a:lnTo>
                      <a:pt x="1035" y="1"/>
                    </a:lnTo>
                    <a:lnTo>
                      <a:pt x="1037" y="3"/>
                    </a:lnTo>
                    <a:lnTo>
                      <a:pt x="1038" y="3"/>
                    </a:lnTo>
                    <a:lnTo>
                      <a:pt x="1040" y="4"/>
                    </a:lnTo>
                    <a:lnTo>
                      <a:pt x="1041" y="4"/>
                    </a:lnTo>
                    <a:lnTo>
                      <a:pt x="1043" y="4"/>
                    </a:lnTo>
                    <a:lnTo>
                      <a:pt x="1040" y="4"/>
                    </a:lnTo>
                    <a:lnTo>
                      <a:pt x="1035" y="4"/>
                    </a:lnTo>
                    <a:lnTo>
                      <a:pt x="1031" y="6"/>
                    </a:lnTo>
                    <a:lnTo>
                      <a:pt x="1027" y="6"/>
                    </a:lnTo>
                    <a:lnTo>
                      <a:pt x="1017" y="9"/>
                    </a:lnTo>
                    <a:lnTo>
                      <a:pt x="1012" y="9"/>
                    </a:lnTo>
                    <a:lnTo>
                      <a:pt x="1008" y="10"/>
                    </a:lnTo>
                    <a:lnTo>
                      <a:pt x="1008" y="12"/>
                    </a:lnTo>
                    <a:lnTo>
                      <a:pt x="1008" y="12"/>
                    </a:lnTo>
                    <a:lnTo>
                      <a:pt x="1010" y="13"/>
                    </a:lnTo>
                    <a:lnTo>
                      <a:pt x="1011" y="13"/>
                    </a:lnTo>
                    <a:lnTo>
                      <a:pt x="1014" y="13"/>
                    </a:lnTo>
                    <a:lnTo>
                      <a:pt x="1015" y="13"/>
                    </a:lnTo>
                    <a:lnTo>
                      <a:pt x="1015" y="14"/>
                    </a:lnTo>
                    <a:lnTo>
                      <a:pt x="1014" y="14"/>
                    </a:lnTo>
                    <a:lnTo>
                      <a:pt x="1014" y="14"/>
                    </a:lnTo>
                    <a:lnTo>
                      <a:pt x="1014" y="16"/>
                    </a:lnTo>
                    <a:lnTo>
                      <a:pt x="1015" y="16"/>
                    </a:lnTo>
                    <a:lnTo>
                      <a:pt x="1014" y="16"/>
                    </a:lnTo>
                    <a:lnTo>
                      <a:pt x="1011" y="17"/>
                    </a:lnTo>
                    <a:lnTo>
                      <a:pt x="1010" y="17"/>
                    </a:lnTo>
                    <a:lnTo>
                      <a:pt x="1008" y="17"/>
                    </a:lnTo>
                    <a:lnTo>
                      <a:pt x="1007" y="17"/>
                    </a:lnTo>
                    <a:lnTo>
                      <a:pt x="1005" y="19"/>
                    </a:lnTo>
                    <a:lnTo>
                      <a:pt x="1007" y="19"/>
                    </a:lnTo>
                    <a:lnTo>
                      <a:pt x="1008" y="19"/>
                    </a:lnTo>
                    <a:lnTo>
                      <a:pt x="1011" y="19"/>
                    </a:lnTo>
                    <a:lnTo>
                      <a:pt x="1012" y="19"/>
                    </a:lnTo>
                    <a:lnTo>
                      <a:pt x="1008" y="19"/>
                    </a:lnTo>
                    <a:lnTo>
                      <a:pt x="1005" y="19"/>
                    </a:lnTo>
                    <a:lnTo>
                      <a:pt x="1004" y="20"/>
                    </a:lnTo>
                    <a:lnTo>
                      <a:pt x="1001" y="20"/>
                    </a:lnTo>
                    <a:lnTo>
                      <a:pt x="999" y="22"/>
                    </a:lnTo>
                    <a:lnTo>
                      <a:pt x="1001" y="22"/>
                    </a:lnTo>
                    <a:lnTo>
                      <a:pt x="1001" y="22"/>
                    </a:lnTo>
                    <a:close/>
                    <a:moveTo>
                      <a:pt x="1015" y="35"/>
                    </a:moveTo>
                    <a:lnTo>
                      <a:pt x="1017" y="35"/>
                    </a:lnTo>
                    <a:lnTo>
                      <a:pt x="1018" y="35"/>
                    </a:lnTo>
                    <a:lnTo>
                      <a:pt x="1018" y="35"/>
                    </a:lnTo>
                    <a:lnTo>
                      <a:pt x="1020" y="35"/>
                    </a:lnTo>
                    <a:lnTo>
                      <a:pt x="1020" y="35"/>
                    </a:lnTo>
                    <a:lnTo>
                      <a:pt x="1018" y="35"/>
                    </a:lnTo>
                    <a:lnTo>
                      <a:pt x="1015" y="35"/>
                    </a:lnTo>
                    <a:lnTo>
                      <a:pt x="1014" y="35"/>
                    </a:lnTo>
                    <a:lnTo>
                      <a:pt x="1012" y="35"/>
                    </a:lnTo>
                    <a:lnTo>
                      <a:pt x="1011" y="35"/>
                    </a:lnTo>
                    <a:lnTo>
                      <a:pt x="1008" y="35"/>
                    </a:lnTo>
                    <a:lnTo>
                      <a:pt x="1011" y="35"/>
                    </a:lnTo>
                    <a:lnTo>
                      <a:pt x="1012" y="35"/>
                    </a:lnTo>
                    <a:lnTo>
                      <a:pt x="1015" y="35"/>
                    </a:lnTo>
                    <a:close/>
                    <a:moveTo>
                      <a:pt x="1083" y="25"/>
                    </a:moveTo>
                    <a:lnTo>
                      <a:pt x="1080" y="25"/>
                    </a:lnTo>
                    <a:lnTo>
                      <a:pt x="1077" y="25"/>
                    </a:lnTo>
                    <a:lnTo>
                      <a:pt x="1074" y="25"/>
                    </a:lnTo>
                    <a:lnTo>
                      <a:pt x="1072" y="26"/>
                    </a:lnTo>
                    <a:lnTo>
                      <a:pt x="1069" y="26"/>
                    </a:lnTo>
                    <a:lnTo>
                      <a:pt x="1066" y="26"/>
                    </a:lnTo>
                    <a:lnTo>
                      <a:pt x="1063" y="27"/>
                    </a:lnTo>
                    <a:lnTo>
                      <a:pt x="1061" y="27"/>
                    </a:lnTo>
                    <a:lnTo>
                      <a:pt x="1059" y="27"/>
                    </a:lnTo>
                    <a:lnTo>
                      <a:pt x="1059" y="29"/>
                    </a:lnTo>
                    <a:lnTo>
                      <a:pt x="1057" y="29"/>
                    </a:lnTo>
                    <a:lnTo>
                      <a:pt x="1057" y="30"/>
                    </a:lnTo>
                    <a:lnTo>
                      <a:pt x="1057" y="30"/>
                    </a:lnTo>
                    <a:lnTo>
                      <a:pt x="1059" y="30"/>
                    </a:lnTo>
                    <a:lnTo>
                      <a:pt x="1061" y="30"/>
                    </a:lnTo>
                    <a:lnTo>
                      <a:pt x="1063" y="32"/>
                    </a:lnTo>
                    <a:lnTo>
                      <a:pt x="1064" y="32"/>
                    </a:lnTo>
                    <a:lnTo>
                      <a:pt x="1064" y="33"/>
                    </a:lnTo>
                    <a:lnTo>
                      <a:pt x="1066" y="33"/>
                    </a:lnTo>
                    <a:lnTo>
                      <a:pt x="1063" y="33"/>
                    </a:lnTo>
                    <a:lnTo>
                      <a:pt x="1060" y="35"/>
                    </a:lnTo>
                    <a:lnTo>
                      <a:pt x="1054" y="35"/>
                    </a:lnTo>
                    <a:lnTo>
                      <a:pt x="1048" y="36"/>
                    </a:lnTo>
                    <a:lnTo>
                      <a:pt x="1046" y="36"/>
                    </a:lnTo>
                    <a:lnTo>
                      <a:pt x="1043" y="36"/>
                    </a:lnTo>
                    <a:lnTo>
                      <a:pt x="1044" y="37"/>
                    </a:lnTo>
                    <a:lnTo>
                      <a:pt x="1046" y="37"/>
                    </a:lnTo>
                    <a:lnTo>
                      <a:pt x="1046" y="37"/>
                    </a:lnTo>
                    <a:lnTo>
                      <a:pt x="1047" y="39"/>
                    </a:lnTo>
                    <a:lnTo>
                      <a:pt x="1050" y="39"/>
                    </a:lnTo>
                    <a:lnTo>
                      <a:pt x="1051" y="39"/>
                    </a:lnTo>
                    <a:lnTo>
                      <a:pt x="1053" y="39"/>
                    </a:lnTo>
                    <a:lnTo>
                      <a:pt x="1053" y="39"/>
                    </a:lnTo>
                    <a:lnTo>
                      <a:pt x="1053" y="39"/>
                    </a:lnTo>
                    <a:lnTo>
                      <a:pt x="1056" y="39"/>
                    </a:lnTo>
                    <a:lnTo>
                      <a:pt x="1057" y="39"/>
                    </a:lnTo>
                    <a:lnTo>
                      <a:pt x="1060" y="39"/>
                    </a:lnTo>
                    <a:lnTo>
                      <a:pt x="1060" y="39"/>
                    </a:lnTo>
                    <a:lnTo>
                      <a:pt x="1061" y="39"/>
                    </a:lnTo>
                    <a:lnTo>
                      <a:pt x="1061" y="39"/>
                    </a:lnTo>
                    <a:lnTo>
                      <a:pt x="1063" y="39"/>
                    </a:lnTo>
                    <a:lnTo>
                      <a:pt x="1064" y="39"/>
                    </a:lnTo>
                    <a:lnTo>
                      <a:pt x="1064" y="39"/>
                    </a:lnTo>
                    <a:lnTo>
                      <a:pt x="1066" y="39"/>
                    </a:lnTo>
                    <a:lnTo>
                      <a:pt x="1067" y="39"/>
                    </a:lnTo>
                    <a:lnTo>
                      <a:pt x="1069" y="39"/>
                    </a:lnTo>
                    <a:lnTo>
                      <a:pt x="1069" y="40"/>
                    </a:lnTo>
                    <a:lnTo>
                      <a:pt x="1070" y="40"/>
                    </a:lnTo>
                    <a:lnTo>
                      <a:pt x="1072" y="43"/>
                    </a:lnTo>
                    <a:lnTo>
                      <a:pt x="1074" y="45"/>
                    </a:lnTo>
                    <a:lnTo>
                      <a:pt x="1076" y="46"/>
                    </a:lnTo>
                    <a:lnTo>
                      <a:pt x="1079" y="46"/>
                    </a:lnTo>
                    <a:lnTo>
                      <a:pt x="1082" y="48"/>
                    </a:lnTo>
                    <a:lnTo>
                      <a:pt x="1083" y="48"/>
                    </a:lnTo>
                    <a:lnTo>
                      <a:pt x="1086" y="48"/>
                    </a:lnTo>
                    <a:lnTo>
                      <a:pt x="1089" y="48"/>
                    </a:lnTo>
                    <a:lnTo>
                      <a:pt x="1092" y="48"/>
                    </a:lnTo>
                    <a:lnTo>
                      <a:pt x="1095" y="48"/>
                    </a:lnTo>
                    <a:lnTo>
                      <a:pt x="1096" y="48"/>
                    </a:lnTo>
                    <a:lnTo>
                      <a:pt x="1099" y="48"/>
                    </a:lnTo>
                    <a:lnTo>
                      <a:pt x="1100" y="48"/>
                    </a:lnTo>
                    <a:lnTo>
                      <a:pt x="1102" y="49"/>
                    </a:lnTo>
                    <a:lnTo>
                      <a:pt x="1103" y="49"/>
                    </a:lnTo>
                    <a:lnTo>
                      <a:pt x="1105" y="49"/>
                    </a:lnTo>
                    <a:lnTo>
                      <a:pt x="1105" y="50"/>
                    </a:lnTo>
                    <a:lnTo>
                      <a:pt x="1106" y="50"/>
                    </a:lnTo>
                    <a:lnTo>
                      <a:pt x="1108" y="50"/>
                    </a:lnTo>
                    <a:lnTo>
                      <a:pt x="1109" y="50"/>
                    </a:lnTo>
                    <a:lnTo>
                      <a:pt x="1110" y="50"/>
                    </a:lnTo>
                    <a:lnTo>
                      <a:pt x="1112" y="50"/>
                    </a:lnTo>
                    <a:lnTo>
                      <a:pt x="1116" y="50"/>
                    </a:lnTo>
                    <a:lnTo>
                      <a:pt x="1121" y="50"/>
                    </a:lnTo>
                    <a:lnTo>
                      <a:pt x="1122" y="50"/>
                    </a:lnTo>
                    <a:lnTo>
                      <a:pt x="1122" y="50"/>
                    </a:lnTo>
                    <a:lnTo>
                      <a:pt x="1126" y="50"/>
                    </a:lnTo>
                    <a:lnTo>
                      <a:pt x="1129" y="50"/>
                    </a:lnTo>
                    <a:lnTo>
                      <a:pt x="1131" y="50"/>
                    </a:lnTo>
                    <a:lnTo>
                      <a:pt x="1132" y="50"/>
                    </a:lnTo>
                    <a:lnTo>
                      <a:pt x="1132" y="50"/>
                    </a:lnTo>
                    <a:lnTo>
                      <a:pt x="1134" y="50"/>
                    </a:lnTo>
                    <a:lnTo>
                      <a:pt x="1135" y="52"/>
                    </a:lnTo>
                    <a:lnTo>
                      <a:pt x="1138" y="52"/>
                    </a:lnTo>
                    <a:lnTo>
                      <a:pt x="1139" y="52"/>
                    </a:lnTo>
                    <a:lnTo>
                      <a:pt x="1139" y="52"/>
                    </a:lnTo>
                    <a:lnTo>
                      <a:pt x="1141" y="52"/>
                    </a:lnTo>
                    <a:lnTo>
                      <a:pt x="1141" y="53"/>
                    </a:lnTo>
                    <a:lnTo>
                      <a:pt x="1144" y="53"/>
                    </a:lnTo>
                    <a:lnTo>
                      <a:pt x="1149" y="53"/>
                    </a:lnTo>
                    <a:lnTo>
                      <a:pt x="1155" y="53"/>
                    </a:lnTo>
                    <a:lnTo>
                      <a:pt x="1157" y="53"/>
                    </a:lnTo>
                    <a:lnTo>
                      <a:pt x="1161" y="53"/>
                    </a:lnTo>
                    <a:lnTo>
                      <a:pt x="1162" y="53"/>
                    </a:lnTo>
                    <a:lnTo>
                      <a:pt x="1165" y="53"/>
                    </a:lnTo>
                    <a:lnTo>
                      <a:pt x="1168" y="53"/>
                    </a:lnTo>
                    <a:lnTo>
                      <a:pt x="1171" y="53"/>
                    </a:lnTo>
                    <a:lnTo>
                      <a:pt x="1173" y="53"/>
                    </a:lnTo>
                    <a:lnTo>
                      <a:pt x="1174" y="53"/>
                    </a:lnTo>
                    <a:lnTo>
                      <a:pt x="1177" y="52"/>
                    </a:lnTo>
                    <a:lnTo>
                      <a:pt x="1177" y="52"/>
                    </a:lnTo>
                    <a:lnTo>
                      <a:pt x="1178" y="50"/>
                    </a:lnTo>
                    <a:lnTo>
                      <a:pt x="1174" y="50"/>
                    </a:lnTo>
                    <a:lnTo>
                      <a:pt x="1171" y="49"/>
                    </a:lnTo>
                    <a:lnTo>
                      <a:pt x="1165" y="48"/>
                    </a:lnTo>
                    <a:lnTo>
                      <a:pt x="1162" y="46"/>
                    </a:lnTo>
                    <a:lnTo>
                      <a:pt x="1160" y="46"/>
                    </a:lnTo>
                    <a:lnTo>
                      <a:pt x="1157" y="43"/>
                    </a:lnTo>
                    <a:lnTo>
                      <a:pt x="1155" y="42"/>
                    </a:lnTo>
                    <a:lnTo>
                      <a:pt x="1157" y="42"/>
                    </a:lnTo>
                    <a:lnTo>
                      <a:pt x="1157" y="42"/>
                    </a:lnTo>
                    <a:lnTo>
                      <a:pt x="1160" y="43"/>
                    </a:lnTo>
                    <a:lnTo>
                      <a:pt x="1161" y="45"/>
                    </a:lnTo>
                    <a:lnTo>
                      <a:pt x="1162" y="45"/>
                    </a:lnTo>
                    <a:lnTo>
                      <a:pt x="1164" y="45"/>
                    </a:lnTo>
                    <a:lnTo>
                      <a:pt x="1162" y="43"/>
                    </a:lnTo>
                    <a:lnTo>
                      <a:pt x="1161" y="40"/>
                    </a:lnTo>
                    <a:lnTo>
                      <a:pt x="1160" y="39"/>
                    </a:lnTo>
                    <a:lnTo>
                      <a:pt x="1160" y="37"/>
                    </a:lnTo>
                    <a:lnTo>
                      <a:pt x="1157" y="35"/>
                    </a:lnTo>
                    <a:lnTo>
                      <a:pt x="1155" y="33"/>
                    </a:lnTo>
                    <a:lnTo>
                      <a:pt x="1157" y="33"/>
                    </a:lnTo>
                    <a:lnTo>
                      <a:pt x="1157" y="33"/>
                    </a:lnTo>
                    <a:lnTo>
                      <a:pt x="1157" y="33"/>
                    </a:lnTo>
                    <a:lnTo>
                      <a:pt x="1158" y="33"/>
                    </a:lnTo>
                    <a:lnTo>
                      <a:pt x="1155" y="32"/>
                    </a:lnTo>
                    <a:lnTo>
                      <a:pt x="1151" y="30"/>
                    </a:lnTo>
                    <a:lnTo>
                      <a:pt x="1147" y="29"/>
                    </a:lnTo>
                    <a:lnTo>
                      <a:pt x="1142" y="27"/>
                    </a:lnTo>
                    <a:lnTo>
                      <a:pt x="1138" y="26"/>
                    </a:lnTo>
                    <a:lnTo>
                      <a:pt x="1134" y="26"/>
                    </a:lnTo>
                    <a:lnTo>
                      <a:pt x="1129" y="27"/>
                    </a:lnTo>
                    <a:lnTo>
                      <a:pt x="1126" y="27"/>
                    </a:lnTo>
                    <a:lnTo>
                      <a:pt x="1126" y="27"/>
                    </a:lnTo>
                    <a:lnTo>
                      <a:pt x="1128" y="29"/>
                    </a:lnTo>
                    <a:lnTo>
                      <a:pt x="1126" y="30"/>
                    </a:lnTo>
                    <a:lnTo>
                      <a:pt x="1126" y="30"/>
                    </a:lnTo>
                    <a:lnTo>
                      <a:pt x="1118" y="30"/>
                    </a:lnTo>
                    <a:lnTo>
                      <a:pt x="1118" y="32"/>
                    </a:lnTo>
                    <a:lnTo>
                      <a:pt x="1119" y="32"/>
                    </a:lnTo>
                    <a:lnTo>
                      <a:pt x="1118" y="33"/>
                    </a:lnTo>
                    <a:lnTo>
                      <a:pt x="1118" y="33"/>
                    </a:lnTo>
                    <a:lnTo>
                      <a:pt x="1116" y="33"/>
                    </a:lnTo>
                    <a:lnTo>
                      <a:pt x="1116" y="33"/>
                    </a:lnTo>
                    <a:lnTo>
                      <a:pt x="1115" y="33"/>
                    </a:lnTo>
                    <a:lnTo>
                      <a:pt x="1116" y="33"/>
                    </a:lnTo>
                    <a:lnTo>
                      <a:pt x="1116" y="32"/>
                    </a:lnTo>
                    <a:lnTo>
                      <a:pt x="1116" y="30"/>
                    </a:lnTo>
                    <a:lnTo>
                      <a:pt x="1116" y="29"/>
                    </a:lnTo>
                    <a:lnTo>
                      <a:pt x="1116" y="29"/>
                    </a:lnTo>
                    <a:lnTo>
                      <a:pt x="1116" y="27"/>
                    </a:lnTo>
                    <a:lnTo>
                      <a:pt x="1115" y="27"/>
                    </a:lnTo>
                    <a:lnTo>
                      <a:pt x="1113" y="27"/>
                    </a:lnTo>
                    <a:lnTo>
                      <a:pt x="1110" y="26"/>
                    </a:lnTo>
                    <a:lnTo>
                      <a:pt x="1106" y="25"/>
                    </a:lnTo>
                    <a:lnTo>
                      <a:pt x="1105" y="25"/>
                    </a:lnTo>
                    <a:lnTo>
                      <a:pt x="1103" y="25"/>
                    </a:lnTo>
                    <a:lnTo>
                      <a:pt x="1086" y="25"/>
                    </a:lnTo>
                    <a:lnTo>
                      <a:pt x="1083" y="25"/>
                    </a:lnTo>
                    <a:close/>
                    <a:moveTo>
                      <a:pt x="1196" y="71"/>
                    </a:moveTo>
                    <a:lnTo>
                      <a:pt x="1200" y="71"/>
                    </a:lnTo>
                    <a:lnTo>
                      <a:pt x="1203" y="71"/>
                    </a:lnTo>
                    <a:lnTo>
                      <a:pt x="1206" y="71"/>
                    </a:lnTo>
                    <a:lnTo>
                      <a:pt x="1209" y="69"/>
                    </a:lnTo>
                    <a:lnTo>
                      <a:pt x="1213" y="69"/>
                    </a:lnTo>
                    <a:lnTo>
                      <a:pt x="1217" y="69"/>
                    </a:lnTo>
                    <a:lnTo>
                      <a:pt x="1220" y="69"/>
                    </a:lnTo>
                    <a:lnTo>
                      <a:pt x="1223" y="68"/>
                    </a:lnTo>
                    <a:lnTo>
                      <a:pt x="1226" y="68"/>
                    </a:lnTo>
                    <a:lnTo>
                      <a:pt x="1230" y="68"/>
                    </a:lnTo>
                    <a:lnTo>
                      <a:pt x="1236" y="66"/>
                    </a:lnTo>
                    <a:lnTo>
                      <a:pt x="1243" y="66"/>
                    </a:lnTo>
                    <a:lnTo>
                      <a:pt x="1247" y="66"/>
                    </a:lnTo>
                    <a:lnTo>
                      <a:pt x="1252" y="66"/>
                    </a:lnTo>
                    <a:lnTo>
                      <a:pt x="1253" y="66"/>
                    </a:lnTo>
                    <a:lnTo>
                      <a:pt x="1256" y="66"/>
                    </a:lnTo>
                    <a:lnTo>
                      <a:pt x="1258" y="65"/>
                    </a:lnTo>
                    <a:lnTo>
                      <a:pt x="1260" y="63"/>
                    </a:lnTo>
                    <a:lnTo>
                      <a:pt x="1266" y="63"/>
                    </a:lnTo>
                    <a:lnTo>
                      <a:pt x="1269" y="63"/>
                    </a:lnTo>
                    <a:lnTo>
                      <a:pt x="1273" y="63"/>
                    </a:lnTo>
                    <a:lnTo>
                      <a:pt x="1276" y="62"/>
                    </a:lnTo>
                    <a:lnTo>
                      <a:pt x="1279" y="62"/>
                    </a:lnTo>
                    <a:lnTo>
                      <a:pt x="1282" y="61"/>
                    </a:lnTo>
                    <a:lnTo>
                      <a:pt x="1286" y="58"/>
                    </a:lnTo>
                    <a:lnTo>
                      <a:pt x="1281" y="56"/>
                    </a:lnTo>
                    <a:lnTo>
                      <a:pt x="1278" y="55"/>
                    </a:lnTo>
                    <a:lnTo>
                      <a:pt x="1276" y="53"/>
                    </a:lnTo>
                    <a:lnTo>
                      <a:pt x="1275" y="53"/>
                    </a:lnTo>
                    <a:lnTo>
                      <a:pt x="1273" y="52"/>
                    </a:lnTo>
                    <a:lnTo>
                      <a:pt x="1272" y="52"/>
                    </a:lnTo>
                    <a:lnTo>
                      <a:pt x="1262" y="52"/>
                    </a:lnTo>
                    <a:lnTo>
                      <a:pt x="1262" y="52"/>
                    </a:lnTo>
                    <a:lnTo>
                      <a:pt x="1260" y="52"/>
                    </a:lnTo>
                    <a:lnTo>
                      <a:pt x="1258" y="52"/>
                    </a:lnTo>
                    <a:lnTo>
                      <a:pt x="1255" y="50"/>
                    </a:lnTo>
                    <a:lnTo>
                      <a:pt x="1253" y="50"/>
                    </a:lnTo>
                    <a:lnTo>
                      <a:pt x="1252" y="50"/>
                    </a:lnTo>
                    <a:lnTo>
                      <a:pt x="1247" y="48"/>
                    </a:lnTo>
                    <a:lnTo>
                      <a:pt x="1245" y="48"/>
                    </a:lnTo>
                    <a:lnTo>
                      <a:pt x="1243" y="46"/>
                    </a:lnTo>
                    <a:lnTo>
                      <a:pt x="1240" y="46"/>
                    </a:lnTo>
                    <a:lnTo>
                      <a:pt x="1239" y="46"/>
                    </a:lnTo>
                    <a:lnTo>
                      <a:pt x="1236" y="46"/>
                    </a:lnTo>
                    <a:lnTo>
                      <a:pt x="1235" y="48"/>
                    </a:lnTo>
                    <a:lnTo>
                      <a:pt x="1233" y="48"/>
                    </a:lnTo>
                    <a:lnTo>
                      <a:pt x="1232" y="48"/>
                    </a:lnTo>
                    <a:lnTo>
                      <a:pt x="1230" y="49"/>
                    </a:lnTo>
                    <a:lnTo>
                      <a:pt x="1229" y="50"/>
                    </a:lnTo>
                    <a:lnTo>
                      <a:pt x="1226" y="50"/>
                    </a:lnTo>
                    <a:lnTo>
                      <a:pt x="1226" y="52"/>
                    </a:lnTo>
                    <a:lnTo>
                      <a:pt x="1224" y="52"/>
                    </a:lnTo>
                    <a:lnTo>
                      <a:pt x="1223" y="52"/>
                    </a:lnTo>
                    <a:lnTo>
                      <a:pt x="1223" y="52"/>
                    </a:lnTo>
                    <a:lnTo>
                      <a:pt x="1223" y="50"/>
                    </a:lnTo>
                    <a:lnTo>
                      <a:pt x="1222" y="48"/>
                    </a:lnTo>
                    <a:lnTo>
                      <a:pt x="1222" y="46"/>
                    </a:lnTo>
                    <a:lnTo>
                      <a:pt x="1222" y="43"/>
                    </a:lnTo>
                    <a:lnTo>
                      <a:pt x="1222" y="42"/>
                    </a:lnTo>
                    <a:lnTo>
                      <a:pt x="1223" y="42"/>
                    </a:lnTo>
                    <a:lnTo>
                      <a:pt x="1214" y="42"/>
                    </a:lnTo>
                    <a:lnTo>
                      <a:pt x="1213" y="40"/>
                    </a:lnTo>
                    <a:lnTo>
                      <a:pt x="1213" y="40"/>
                    </a:lnTo>
                    <a:lnTo>
                      <a:pt x="1210" y="40"/>
                    </a:lnTo>
                    <a:lnTo>
                      <a:pt x="1209" y="40"/>
                    </a:lnTo>
                    <a:lnTo>
                      <a:pt x="1207" y="40"/>
                    </a:lnTo>
                    <a:lnTo>
                      <a:pt x="1206" y="40"/>
                    </a:lnTo>
                    <a:lnTo>
                      <a:pt x="1206" y="42"/>
                    </a:lnTo>
                    <a:lnTo>
                      <a:pt x="1206" y="42"/>
                    </a:lnTo>
                    <a:lnTo>
                      <a:pt x="1206" y="42"/>
                    </a:lnTo>
                    <a:lnTo>
                      <a:pt x="1206" y="43"/>
                    </a:lnTo>
                    <a:lnTo>
                      <a:pt x="1207" y="43"/>
                    </a:lnTo>
                    <a:lnTo>
                      <a:pt x="1209" y="45"/>
                    </a:lnTo>
                    <a:lnTo>
                      <a:pt x="1207" y="45"/>
                    </a:lnTo>
                    <a:lnTo>
                      <a:pt x="1204" y="43"/>
                    </a:lnTo>
                    <a:lnTo>
                      <a:pt x="1203" y="43"/>
                    </a:lnTo>
                    <a:lnTo>
                      <a:pt x="1201" y="43"/>
                    </a:lnTo>
                    <a:lnTo>
                      <a:pt x="1198" y="42"/>
                    </a:lnTo>
                    <a:lnTo>
                      <a:pt x="1198" y="42"/>
                    </a:lnTo>
                    <a:lnTo>
                      <a:pt x="1197" y="42"/>
                    </a:lnTo>
                    <a:lnTo>
                      <a:pt x="1196" y="42"/>
                    </a:lnTo>
                    <a:lnTo>
                      <a:pt x="1196" y="42"/>
                    </a:lnTo>
                    <a:lnTo>
                      <a:pt x="1194" y="43"/>
                    </a:lnTo>
                    <a:lnTo>
                      <a:pt x="1193" y="43"/>
                    </a:lnTo>
                    <a:lnTo>
                      <a:pt x="1191" y="45"/>
                    </a:lnTo>
                    <a:lnTo>
                      <a:pt x="1191" y="45"/>
                    </a:lnTo>
                    <a:lnTo>
                      <a:pt x="1191" y="45"/>
                    </a:lnTo>
                    <a:lnTo>
                      <a:pt x="1191" y="46"/>
                    </a:lnTo>
                    <a:lnTo>
                      <a:pt x="1193" y="48"/>
                    </a:lnTo>
                    <a:lnTo>
                      <a:pt x="1194" y="48"/>
                    </a:lnTo>
                    <a:lnTo>
                      <a:pt x="1196" y="48"/>
                    </a:lnTo>
                    <a:lnTo>
                      <a:pt x="1196" y="49"/>
                    </a:lnTo>
                    <a:lnTo>
                      <a:pt x="1197" y="49"/>
                    </a:lnTo>
                    <a:lnTo>
                      <a:pt x="1198" y="49"/>
                    </a:lnTo>
                    <a:lnTo>
                      <a:pt x="1200" y="50"/>
                    </a:lnTo>
                    <a:lnTo>
                      <a:pt x="1197" y="50"/>
                    </a:lnTo>
                    <a:lnTo>
                      <a:pt x="1196" y="50"/>
                    </a:lnTo>
                    <a:lnTo>
                      <a:pt x="1194" y="50"/>
                    </a:lnTo>
                    <a:lnTo>
                      <a:pt x="1194" y="50"/>
                    </a:lnTo>
                    <a:lnTo>
                      <a:pt x="1193" y="50"/>
                    </a:lnTo>
                    <a:lnTo>
                      <a:pt x="1193" y="52"/>
                    </a:lnTo>
                    <a:lnTo>
                      <a:pt x="1193" y="52"/>
                    </a:lnTo>
                    <a:lnTo>
                      <a:pt x="1194" y="52"/>
                    </a:lnTo>
                    <a:lnTo>
                      <a:pt x="1196" y="53"/>
                    </a:lnTo>
                    <a:lnTo>
                      <a:pt x="1197" y="55"/>
                    </a:lnTo>
                    <a:lnTo>
                      <a:pt x="1196" y="55"/>
                    </a:lnTo>
                    <a:lnTo>
                      <a:pt x="1194" y="53"/>
                    </a:lnTo>
                    <a:lnTo>
                      <a:pt x="1193" y="53"/>
                    </a:lnTo>
                    <a:lnTo>
                      <a:pt x="1191" y="55"/>
                    </a:lnTo>
                    <a:lnTo>
                      <a:pt x="1191" y="55"/>
                    </a:lnTo>
                    <a:lnTo>
                      <a:pt x="1191" y="58"/>
                    </a:lnTo>
                    <a:lnTo>
                      <a:pt x="1191" y="59"/>
                    </a:lnTo>
                    <a:lnTo>
                      <a:pt x="1191" y="61"/>
                    </a:lnTo>
                    <a:lnTo>
                      <a:pt x="1191" y="61"/>
                    </a:lnTo>
                    <a:lnTo>
                      <a:pt x="1193" y="61"/>
                    </a:lnTo>
                    <a:lnTo>
                      <a:pt x="1194" y="61"/>
                    </a:lnTo>
                    <a:lnTo>
                      <a:pt x="1194" y="62"/>
                    </a:lnTo>
                    <a:lnTo>
                      <a:pt x="1194" y="63"/>
                    </a:lnTo>
                    <a:lnTo>
                      <a:pt x="1194" y="63"/>
                    </a:lnTo>
                    <a:lnTo>
                      <a:pt x="1193" y="63"/>
                    </a:lnTo>
                    <a:lnTo>
                      <a:pt x="1191" y="65"/>
                    </a:lnTo>
                    <a:lnTo>
                      <a:pt x="1191" y="65"/>
                    </a:lnTo>
                    <a:lnTo>
                      <a:pt x="1191" y="66"/>
                    </a:lnTo>
                    <a:lnTo>
                      <a:pt x="1190" y="68"/>
                    </a:lnTo>
                    <a:lnTo>
                      <a:pt x="1190" y="69"/>
                    </a:lnTo>
                    <a:lnTo>
                      <a:pt x="1188" y="69"/>
                    </a:lnTo>
                    <a:lnTo>
                      <a:pt x="1191" y="71"/>
                    </a:lnTo>
                    <a:lnTo>
                      <a:pt x="1196" y="71"/>
                    </a:lnTo>
                    <a:close/>
                    <a:moveTo>
                      <a:pt x="1752" y="170"/>
                    </a:moveTo>
                    <a:lnTo>
                      <a:pt x="1751" y="170"/>
                    </a:lnTo>
                    <a:lnTo>
                      <a:pt x="1751" y="170"/>
                    </a:lnTo>
                    <a:lnTo>
                      <a:pt x="1752" y="170"/>
                    </a:lnTo>
                    <a:lnTo>
                      <a:pt x="1752" y="170"/>
                    </a:lnTo>
                    <a:lnTo>
                      <a:pt x="1752" y="170"/>
                    </a:lnTo>
                    <a:close/>
                    <a:moveTo>
                      <a:pt x="3030" y="300"/>
                    </a:moveTo>
                    <a:lnTo>
                      <a:pt x="3030" y="300"/>
                    </a:lnTo>
                    <a:lnTo>
                      <a:pt x="3030" y="300"/>
                    </a:lnTo>
                    <a:lnTo>
                      <a:pt x="3027" y="300"/>
                    </a:lnTo>
                    <a:lnTo>
                      <a:pt x="3030" y="300"/>
                    </a:lnTo>
                    <a:lnTo>
                      <a:pt x="3030" y="300"/>
                    </a:lnTo>
                    <a:close/>
                    <a:moveTo>
                      <a:pt x="1752" y="170"/>
                    </a:moveTo>
                    <a:lnTo>
                      <a:pt x="1752" y="170"/>
                    </a:lnTo>
                    <a:lnTo>
                      <a:pt x="1752" y="172"/>
                    </a:lnTo>
                    <a:lnTo>
                      <a:pt x="1752" y="172"/>
                    </a:lnTo>
                    <a:lnTo>
                      <a:pt x="1752" y="170"/>
                    </a:lnTo>
                    <a:lnTo>
                      <a:pt x="1752" y="170"/>
                    </a:lnTo>
                    <a:close/>
                    <a:moveTo>
                      <a:pt x="552" y="1016"/>
                    </a:moveTo>
                    <a:lnTo>
                      <a:pt x="552" y="1016"/>
                    </a:lnTo>
                    <a:lnTo>
                      <a:pt x="552" y="1016"/>
                    </a:lnTo>
                    <a:lnTo>
                      <a:pt x="552" y="1018"/>
                    </a:lnTo>
                    <a:lnTo>
                      <a:pt x="552" y="1018"/>
                    </a:lnTo>
                    <a:lnTo>
                      <a:pt x="552" y="1016"/>
                    </a:lnTo>
                    <a:close/>
                    <a:moveTo>
                      <a:pt x="1902" y="216"/>
                    </a:moveTo>
                    <a:lnTo>
                      <a:pt x="1896" y="213"/>
                    </a:lnTo>
                    <a:lnTo>
                      <a:pt x="1898" y="215"/>
                    </a:lnTo>
                    <a:lnTo>
                      <a:pt x="1899" y="215"/>
                    </a:lnTo>
                    <a:lnTo>
                      <a:pt x="1902" y="216"/>
                    </a:lnTo>
                    <a:lnTo>
                      <a:pt x="1902" y="216"/>
                    </a:lnTo>
                    <a:lnTo>
                      <a:pt x="1902" y="216"/>
                    </a:lnTo>
                    <a:close/>
                    <a:moveTo>
                      <a:pt x="552" y="1016"/>
                    </a:moveTo>
                    <a:lnTo>
                      <a:pt x="552" y="1015"/>
                    </a:lnTo>
                    <a:lnTo>
                      <a:pt x="554" y="1012"/>
                    </a:lnTo>
                    <a:lnTo>
                      <a:pt x="554" y="1011"/>
                    </a:lnTo>
                    <a:lnTo>
                      <a:pt x="555" y="1009"/>
                    </a:lnTo>
                    <a:lnTo>
                      <a:pt x="555" y="1009"/>
                    </a:lnTo>
                    <a:lnTo>
                      <a:pt x="554" y="1009"/>
                    </a:lnTo>
                    <a:lnTo>
                      <a:pt x="554" y="1009"/>
                    </a:lnTo>
                    <a:lnTo>
                      <a:pt x="552" y="1009"/>
                    </a:lnTo>
                    <a:lnTo>
                      <a:pt x="552" y="1011"/>
                    </a:lnTo>
                    <a:lnTo>
                      <a:pt x="551" y="1012"/>
                    </a:lnTo>
                    <a:lnTo>
                      <a:pt x="552" y="1012"/>
                    </a:lnTo>
                    <a:lnTo>
                      <a:pt x="552" y="1015"/>
                    </a:lnTo>
                    <a:lnTo>
                      <a:pt x="552" y="1016"/>
                    </a:lnTo>
                    <a:lnTo>
                      <a:pt x="552" y="1016"/>
                    </a:lnTo>
                    <a:lnTo>
                      <a:pt x="552" y="1016"/>
                    </a:lnTo>
                    <a:lnTo>
                      <a:pt x="552" y="1016"/>
                    </a:lnTo>
                    <a:close/>
                    <a:moveTo>
                      <a:pt x="104" y="355"/>
                    </a:moveTo>
                    <a:lnTo>
                      <a:pt x="105" y="355"/>
                    </a:lnTo>
                    <a:lnTo>
                      <a:pt x="107" y="355"/>
                    </a:lnTo>
                    <a:lnTo>
                      <a:pt x="105" y="355"/>
                    </a:lnTo>
                    <a:lnTo>
                      <a:pt x="104" y="355"/>
                    </a:lnTo>
                    <a:lnTo>
                      <a:pt x="101" y="355"/>
                    </a:lnTo>
                    <a:lnTo>
                      <a:pt x="101" y="355"/>
                    </a:lnTo>
                    <a:lnTo>
                      <a:pt x="101" y="355"/>
                    </a:lnTo>
                    <a:lnTo>
                      <a:pt x="104" y="355"/>
                    </a:lnTo>
                    <a:close/>
                    <a:moveTo>
                      <a:pt x="107" y="353"/>
                    </a:moveTo>
                    <a:lnTo>
                      <a:pt x="105" y="353"/>
                    </a:lnTo>
                    <a:lnTo>
                      <a:pt x="104" y="352"/>
                    </a:lnTo>
                    <a:lnTo>
                      <a:pt x="102" y="352"/>
                    </a:lnTo>
                    <a:lnTo>
                      <a:pt x="102" y="352"/>
                    </a:lnTo>
                    <a:lnTo>
                      <a:pt x="104" y="353"/>
                    </a:lnTo>
                    <a:lnTo>
                      <a:pt x="107" y="353"/>
                    </a:lnTo>
                    <a:close/>
                    <a:moveTo>
                      <a:pt x="3121" y="499"/>
                    </a:moveTo>
                    <a:lnTo>
                      <a:pt x="3122" y="499"/>
                    </a:lnTo>
                    <a:lnTo>
                      <a:pt x="3122" y="499"/>
                    </a:lnTo>
                    <a:lnTo>
                      <a:pt x="3122" y="499"/>
                    </a:lnTo>
                    <a:lnTo>
                      <a:pt x="3121" y="497"/>
                    </a:lnTo>
                    <a:lnTo>
                      <a:pt x="3118" y="497"/>
                    </a:lnTo>
                    <a:lnTo>
                      <a:pt x="3119" y="497"/>
                    </a:lnTo>
                    <a:lnTo>
                      <a:pt x="3121" y="499"/>
                    </a:lnTo>
                    <a:close/>
                    <a:moveTo>
                      <a:pt x="3317" y="412"/>
                    </a:moveTo>
                    <a:lnTo>
                      <a:pt x="3318" y="414"/>
                    </a:lnTo>
                    <a:lnTo>
                      <a:pt x="3317" y="412"/>
                    </a:lnTo>
                    <a:lnTo>
                      <a:pt x="3316" y="412"/>
                    </a:lnTo>
                    <a:lnTo>
                      <a:pt x="3314" y="412"/>
                    </a:lnTo>
                    <a:lnTo>
                      <a:pt x="3311" y="411"/>
                    </a:lnTo>
                    <a:lnTo>
                      <a:pt x="3310" y="411"/>
                    </a:lnTo>
                    <a:lnTo>
                      <a:pt x="3308" y="411"/>
                    </a:lnTo>
                    <a:lnTo>
                      <a:pt x="3307" y="411"/>
                    </a:lnTo>
                    <a:lnTo>
                      <a:pt x="3307" y="411"/>
                    </a:lnTo>
                    <a:lnTo>
                      <a:pt x="3306" y="411"/>
                    </a:lnTo>
                    <a:lnTo>
                      <a:pt x="3307" y="411"/>
                    </a:lnTo>
                    <a:lnTo>
                      <a:pt x="3308" y="411"/>
                    </a:lnTo>
                    <a:lnTo>
                      <a:pt x="3308" y="412"/>
                    </a:lnTo>
                    <a:lnTo>
                      <a:pt x="3310" y="412"/>
                    </a:lnTo>
                    <a:lnTo>
                      <a:pt x="3311" y="412"/>
                    </a:lnTo>
                    <a:lnTo>
                      <a:pt x="3311" y="414"/>
                    </a:lnTo>
                    <a:lnTo>
                      <a:pt x="3311" y="415"/>
                    </a:lnTo>
                    <a:lnTo>
                      <a:pt x="3311" y="417"/>
                    </a:lnTo>
                    <a:lnTo>
                      <a:pt x="3310" y="417"/>
                    </a:lnTo>
                    <a:lnTo>
                      <a:pt x="3308" y="417"/>
                    </a:lnTo>
                    <a:lnTo>
                      <a:pt x="3307" y="417"/>
                    </a:lnTo>
                    <a:lnTo>
                      <a:pt x="3306" y="417"/>
                    </a:lnTo>
                    <a:lnTo>
                      <a:pt x="3304" y="415"/>
                    </a:lnTo>
                    <a:lnTo>
                      <a:pt x="3304" y="415"/>
                    </a:lnTo>
                    <a:lnTo>
                      <a:pt x="3301" y="412"/>
                    </a:lnTo>
                    <a:lnTo>
                      <a:pt x="3298" y="412"/>
                    </a:lnTo>
                    <a:lnTo>
                      <a:pt x="3295" y="409"/>
                    </a:lnTo>
                    <a:lnTo>
                      <a:pt x="3294" y="409"/>
                    </a:lnTo>
                    <a:lnTo>
                      <a:pt x="3293" y="408"/>
                    </a:lnTo>
                    <a:lnTo>
                      <a:pt x="3290" y="408"/>
                    </a:lnTo>
                    <a:lnTo>
                      <a:pt x="3288" y="408"/>
                    </a:lnTo>
                    <a:lnTo>
                      <a:pt x="3291" y="409"/>
                    </a:lnTo>
                    <a:lnTo>
                      <a:pt x="3293" y="411"/>
                    </a:lnTo>
                    <a:lnTo>
                      <a:pt x="3294" y="412"/>
                    </a:lnTo>
                    <a:lnTo>
                      <a:pt x="3295" y="412"/>
                    </a:lnTo>
                    <a:lnTo>
                      <a:pt x="3295" y="412"/>
                    </a:lnTo>
                    <a:lnTo>
                      <a:pt x="3294" y="414"/>
                    </a:lnTo>
                    <a:lnTo>
                      <a:pt x="3294" y="414"/>
                    </a:lnTo>
                    <a:lnTo>
                      <a:pt x="3293" y="414"/>
                    </a:lnTo>
                    <a:lnTo>
                      <a:pt x="3291" y="412"/>
                    </a:lnTo>
                    <a:lnTo>
                      <a:pt x="3288" y="412"/>
                    </a:lnTo>
                    <a:lnTo>
                      <a:pt x="3285" y="412"/>
                    </a:lnTo>
                    <a:lnTo>
                      <a:pt x="3285" y="411"/>
                    </a:lnTo>
                    <a:lnTo>
                      <a:pt x="3284" y="411"/>
                    </a:lnTo>
                    <a:lnTo>
                      <a:pt x="3280" y="409"/>
                    </a:lnTo>
                    <a:lnTo>
                      <a:pt x="3274" y="408"/>
                    </a:lnTo>
                    <a:lnTo>
                      <a:pt x="3269" y="407"/>
                    </a:lnTo>
                    <a:lnTo>
                      <a:pt x="3265" y="405"/>
                    </a:lnTo>
                    <a:lnTo>
                      <a:pt x="3261" y="404"/>
                    </a:lnTo>
                    <a:lnTo>
                      <a:pt x="3256" y="402"/>
                    </a:lnTo>
                    <a:lnTo>
                      <a:pt x="3252" y="401"/>
                    </a:lnTo>
                    <a:lnTo>
                      <a:pt x="3249" y="399"/>
                    </a:lnTo>
                    <a:lnTo>
                      <a:pt x="3249" y="399"/>
                    </a:lnTo>
                    <a:lnTo>
                      <a:pt x="3251" y="401"/>
                    </a:lnTo>
                    <a:lnTo>
                      <a:pt x="3251" y="402"/>
                    </a:lnTo>
                    <a:lnTo>
                      <a:pt x="3249" y="402"/>
                    </a:lnTo>
                    <a:lnTo>
                      <a:pt x="3249" y="402"/>
                    </a:lnTo>
                    <a:lnTo>
                      <a:pt x="3246" y="402"/>
                    </a:lnTo>
                    <a:lnTo>
                      <a:pt x="3245" y="402"/>
                    </a:lnTo>
                    <a:lnTo>
                      <a:pt x="3242" y="401"/>
                    </a:lnTo>
                    <a:lnTo>
                      <a:pt x="3242" y="401"/>
                    </a:lnTo>
                    <a:lnTo>
                      <a:pt x="3241" y="401"/>
                    </a:lnTo>
                    <a:lnTo>
                      <a:pt x="3241" y="399"/>
                    </a:lnTo>
                    <a:lnTo>
                      <a:pt x="3241" y="399"/>
                    </a:lnTo>
                    <a:lnTo>
                      <a:pt x="3238" y="399"/>
                    </a:lnTo>
                    <a:lnTo>
                      <a:pt x="3236" y="398"/>
                    </a:lnTo>
                    <a:lnTo>
                      <a:pt x="3233" y="398"/>
                    </a:lnTo>
                    <a:lnTo>
                      <a:pt x="3232" y="396"/>
                    </a:lnTo>
                    <a:lnTo>
                      <a:pt x="3228" y="395"/>
                    </a:lnTo>
                    <a:lnTo>
                      <a:pt x="3223" y="394"/>
                    </a:lnTo>
                    <a:lnTo>
                      <a:pt x="3215" y="389"/>
                    </a:lnTo>
                    <a:lnTo>
                      <a:pt x="3210" y="388"/>
                    </a:lnTo>
                    <a:lnTo>
                      <a:pt x="3206" y="385"/>
                    </a:lnTo>
                    <a:lnTo>
                      <a:pt x="3200" y="384"/>
                    </a:lnTo>
                    <a:lnTo>
                      <a:pt x="3196" y="384"/>
                    </a:lnTo>
                    <a:lnTo>
                      <a:pt x="3192" y="382"/>
                    </a:lnTo>
                    <a:lnTo>
                      <a:pt x="3186" y="382"/>
                    </a:lnTo>
                    <a:lnTo>
                      <a:pt x="3184" y="382"/>
                    </a:lnTo>
                    <a:lnTo>
                      <a:pt x="3183" y="382"/>
                    </a:lnTo>
                    <a:lnTo>
                      <a:pt x="3181" y="381"/>
                    </a:lnTo>
                    <a:lnTo>
                      <a:pt x="3180" y="379"/>
                    </a:lnTo>
                    <a:lnTo>
                      <a:pt x="3179" y="379"/>
                    </a:lnTo>
                    <a:lnTo>
                      <a:pt x="3177" y="379"/>
                    </a:lnTo>
                    <a:lnTo>
                      <a:pt x="3176" y="379"/>
                    </a:lnTo>
                    <a:lnTo>
                      <a:pt x="3176" y="379"/>
                    </a:lnTo>
                    <a:lnTo>
                      <a:pt x="3174" y="381"/>
                    </a:lnTo>
                    <a:lnTo>
                      <a:pt x="3174" y="381"/>
                    </a:lnTo>
                    <a:lnTo>
                      <a:pt x="3173" y="382"/>
                    </a:lnTo>
                    <a:lnTo>
                      <a:pt x="3173" y="384"/>
                    </a:lnTo>
                    <a:lnTo>
                      <a:pt x="3171" y="385"/>
                    </a:lnTo>
                    <a:lnTo>
                      <a:pt x="3169" y="385"/>
                    </a:lnTo>
                    <a:lnTo>
                      <a:pt x="3167" y="385"/>
                    </a:lnTo>
                    <a:lnTo>
                      <a:pt x="3161" y="385"/>
                    </a:lnTo>
                    <a:lnTo>
                      <a:pt x="3158" y="384"/>
                    </a:lnTo>
                    <a:lnTo>
                      <a:pt x="3156" y="384"/>
                    </a:lnTo>
                    <a:lnTo>
                      <a:pt x="3154" y="384"/>
                    </a:lnTo>
                    <a:lnTo>
                      <a:pt x="3151" y="382"/>
                    </a:lnTo>
                    <a:lnTo>
                      <a:pt x="3150" y="382"/>
                    </a:lnTo>
                    <a:lnTo>
                      <a:pt x="3148" y="381"/>
                    </a:lnTo>
                    <a:lnTo>
                      <a:pt x="3148" y="381"/>
                    </a:lnTo>
                    <a:lnTo>
                      <a:pt x="3147" y="379"/>
                    </a:lnTo>
                    <a:lnTo>
                      <a:pt x="3145" y="378"/>
                    </a:lnTo>
                    <a:lnTo>
                      <a:pt x="3144" y="378"/>
                    </a:lnTo>
                    <a:lnTo>
                      <a:pt x="3143" y="376"/>
                    </a:lnTo>
                    <a:lnTo>
                      <a:pt x="3140" y="376"/>
                    </a:lnTo>
                    <a:lnTo>
                      <a:pt x="3135" y="375"/>
                    </a:lnTo>
                    <a:lnTo>
                      <a:pt x="3131" y="372"/>
                    </a:lnTo>
                    <a:lnTo>
                      <a:pt x="3130" y="372"/>
                    </a:lnTo>
                    <a:lnTo>
                      <a:pt x="3128" y="371"/>
                    </a:lnTo>
                    <a:lnTo>
                      <a:pt x="3127" y="371"/>
                    </a:lnTo>
                    <a:lnTo>
                      <a:pt x="3125" y="371"/>
                    </a:lnTo>
                    <a:lnTo>
                      <a:pt x="3127" y="371"/>
                    </a:lnTo>
                    <a:lnTo>
                      <a:pt x="3128" y="369"/>
                    </a:lnTo>
                    <a:lnTo>
                      <a:pt x="3128" y="369"/>
                    </a:lnTo>
                    <a:lnTo>
                      <a:pt x="3128" y="368"/>
                    </a:lnTo>
                    <a:lnTo>
                      <a:pt x="3127" y="366"/>
                    </a:lnTo>
                    <a:lnTo>
                      <a:pt x="3127" y="366"/>
                    </a:lnTo>
                    <a:lnTo>
                      <a:pt x="3125" y="365"/>
                    </a:lnTo>
                    <a:lnTo>
                      <a:pt x="3124" y="362"/>
                    </a:lnTo>
                    <a:lnTo>
                      <a:pt x="3121" y="360"/>
                    </a:lnTo>
                    <a:lnTo>
                      <a:pt x="3121" y="360"/>
                    </a:lnTo>
                    <a:lnTo>
                      <a:pt x="3119" y="360"/>
                    </a:lnTo>
                    <a:lnTo>
                      <a:pt x="3118" y="359"/>
                    </a:lnTo>
                    <a:lnTo>
                      <a:pt x="3117" y="359"/>
                    </a:lnTo>
                    <a:lnTo>
                      <a:pt x="3117" y="360"/>
                    </a:lnTo>
                    <a:lnTo>
                      <a:pt x="3118" y="360"/>
                    </a:lnTo>
                    <a:lnTo>
                      <a:pt x="3118" y="362"/>
                    </a:lnTo>
                    <a:lnTo>
                      <a:pt x="3119" y="363"/>
                    </a:lnTo>
                    <a:lnTo>
                      <a:pt x="3119" y="363"/>
                    </a:lnTo>
                    <a:lnTo>
                      <a:pt x="3119" y="365"/>
                    </a:lnTo>
                    <a:lnTo>
                      <a:pt x="3118" y="365"/>
                    </a:lnTo>
                    <a:lnTo>
                      <a:pt x="3115" y="365"/>
                    </a:lnTo>
                    <a:lnTo>
                      <a:pt x="3114" y="363"/>
                    </a:lnTo>
                    <a:lnTo>
                      <a:pt x="3112" y="363"/>
                    </a:lnTo>
                    <a:lnTo>
                      <a:pt x="3109" y="362"/>
                    </a:lnTo>
                    <a:lnTo>
                      <a:pt x="3108" y="360"/>
                    </a:lnTo>
                    <a:lnTo>
                      <a:pt x="3106" y="360"/>
                    </a:lnTo>
                    <a:lnTo>
                      <a:pt x="3105" y="359"/>
                    </a:lnTo>
                    <a:lnTo>
                      <a:pt x="3106" y="360"/>
                    </a:lnTo>
                    <a:lnTo>
                      <a:pt x="3106" y="360"/>
                    </a:lnTo>
                    <a:lnTo>
                      <a:pt x="3108" y="360"/>
                    </a:lnTo>
                    <a:lnTo>
                      <a:pt x="3108" y="362"/>
                    </a:lnTo>
                    <a:lnTo>
                      <a:pt x="3106" y="362"/>
                    </a:lnTo>
                    <a:lnTo>
                      <a:pt x="3105" y="362"/>
                    </a:lnTo>
                    <a:lnTo>
                      <a:pt x="3106" y="362"/>
                    </a:lnTo>
                    <a:lnTo>
                      <a:pt x="3108" y="362"/>
                    </a:lnTo>
                    <a:lnTo>
                      <a:pt x="3109" y="363"/>
                    </a:lnTo>
                    <a:lnTo>
                      <a:pt x="3111" y="363"/>
                    </a:lnTo>
                    <a:lnTo>
                      <a:pt x="3112" y="365"/>
                    </a:lnTo>
                    <a:lnTo>
                      <a:pt x="3111" y="366"/>
                    </a:lnTo>
                    <a:lnTo>
                      <a:pt x="3109" y="366"/>
                    </a:lnTo>
                    <a:lnTo>
                      <a:pt x="3108" y="366"/>
                    </a:lnTo>
                    <a:lnTo>
                      <a:pt x="3106" y="366"/>
                    </a:lnTo>
                    <a:lnTo>
                      <a:pt x="3106" y="366"/>
                    </a:lnTo>
                    <a:lnTo>
                      <a:pt x="3105" y="366"/>
                    </a:lnTo>
                    <a:lnTo>
                      <a:pt x="3104" y="366"/>
                    </a:lnTo>
                    <a:lnTo>
                      <a:pt x="3102" y="365"/>
                    </a:lnTo>
                    <a:lnTo>
                      <a:pt x="3102" y="366"/>
                    </a:lnTo>
                    <a:lnTo>
                      <a:pt x="3104" y="366"/>
                    </a:lnTo>
                    <a:lnTo>
                      <a:pt x="3104" y="369"/>
                    </a:lnTo>
                    <a:lnTo>
                      <a:pt x="3106" y="371"/>
                    </a:lnTo>
                    <a:lnTo>
                      <a:pt x="3108" y="372"/>
                    </a:lnTo>
                    <a:lnTo>
                      <a:pt x="3111" y="373"/>
                    </a:lnTo>
                    <a:lnTo>
                      <a:pt x="3112" y="375"/>
                    </a:lnTo>
                    <a:lnTo>
                      <a:pt x="3115" y="375"/>
                    </a:lnTo>
                    <a:lnTo>
                      <a:pt x="3117" y="376"/>
                    </a:lnTo>
                    <a:lnTo>
                      <a:pt x="3118" y="376"/>
                    </a:lnTo>
                    <a:lnTo>
                      <a:pt x="3118" y="376"/>
                    </a:lnTo>
                    <a:lnTo>
                      <a:pt x="3119" y="376"/>
                    </a:lnTo>
                    <a:lnTo>
                      <a:pt x="3121" y="378"/>
                    </a:lnTo>
                    <a:lnTo>
                      <a:pt x="3124" y="378"/>
                    </a:lnTo>
                    <a:lnTo>
                      <a:pt x="3127" y="378"/>
                    </a:lnTo>
                    <a:lnTo>
                      <a:pt x="3130" y="379"/>
                    </a:lnTo>
                    <a:lnTo>
                      <a:pt x="3131" y="379"/>
                    </a:lnTo>
                    <a:lnTo>
                      <a:pt x="3131" y="379"/>
                    </a:lnTo>
                    <a:lnTo>
                      <a:pt x="3132" y="381"/>
                    </a:lnTo>
                    <a:lnTo>
                      <a:pt x="3134" y="381"/>
                    </a:lnTo>
                    <a:lnTo>
                      <a:pt x="3134" y="382"/>
                    </a:lnTo>
                    <a:lnTo>
                      <a:pt x="3134" y="384"/>
                    </a:lnTo>
                    <a:lnTo>
                      <a:pt x="3134" y="384"/>
                    </a:lnTo>
                    <a:lnTo>
                      <a:pt x="3132" y="385"/>
                    </a:lnTo>
                    <a:lnTo>
                      <a:pt x="3132" y="385"/>
                    </a:lnTo>
                    <a:lnTo>
                      <a:pt x="3131" y="385"/>
                    </a:lnTo>
                    <a:lnTo>
                      <a:pt x="3131" y="385"/>
                    </a:lnTo>
                    <a:lnTo>
                      <a:pt x="3132" y="385"/>
                    </a:lnTo>
                    <a:lnTo>
                      <a:pt x="3134" y="385"/>
                    </a:lnTo>
                    <a:lnTo>
                      <a:pt x="3134" y="385"/>
                    </a:lnTo>
                    <a:lnTo>
                      <a:pt x="3135" y="386"/>
                    </a:lnTo>
                    <a:lnTo>
                      <a:pt x="3137" y="386"/>
                    </a:lnTo>
                    <a:lnTo>
                      <a:pt x="3138" y="388"/>
                    </a:lnTo>
                    <a:lnTo>
                      <a:pt x="3140" y="389"/>
                    </a:lnTo>
                    <a:lnTo>
                      <a:pt x="3140" y="391"/>
                    </a:lnTo>
                    <a:lnTo>
                      <a:pt x="3141" y="392"/>
                    </a:lnTo>
                    <a:lnTo>
                      <a:pt x="3141" y="392"/>
                    </a:lnTo>
                    <a:lnTo>
                      <a:pt x="3141" y="394"/>
                    </a:lnTo>
                    <a:lnTo>
                      <a:pt x="3140" y="394"/>
                    </a:lnTo>
                    <a:lnTo>
                      <a:pt x="3140" y="395"/>
                    </a:lnTo>
                    <a:lnTo>
                      <a:pt x="3138" y="395"/>
                    </a:lnTo>
                    <a:lnTo>
                      <a:pt x="3137" y="395"/>
                    </a:lnTo>
                    <a:lnTo>
                      <a:pt x="3137" y="395"/>
                    </a:lnTo>
                    <a:lnTo>
                      <a:pt x="3135" y="395"/>
                    </a:lnTo>
                    <a:lnTo>
                      <a:pt x="3135" y="395"/>
                    </a:lnTo>
                    <a:lnTo>
                      <a:pt x="3134" y="396"/>
                    </a:lnTo>
                    <a:lnTo>
                      <a:pt x="3134" y="396"/>
                    </a:lnTo>
                    <a:lnTo>
                      <a:pt x="3134" y="398"/>
                    </a:lnTo>
                    <a:lnTo>
                      <a:pt x="3134" y="399"/>
                    </a:lnTo>
                    <a:lnTo>
                      <a:pt x="3134" y="401"/>
                    </a:lnTo>
                    <a:lnTo>
                      <a:pt x="3134" y="401"/>
                    </a:lnTo>
                    <a:lnTo>
                      <a:pt x="3134" y="402"/>
                    </a:lnTo>
                    <a:lnTo>
                      <a:pt x="3132" y="402"/>
                    </a:lnTo>
                    <a:lnTo>
                      <a:pt x="3131" y="404"/>
                    </a:lnTo>
                    <a:lnTo>
                      <a:pt x="3131" y="404"/>
                    </a:lnTo>
                    <a:lnTo>
                      <a:pt x="3128" y="405"/>
                    </a:lnTo>
                    <a:lnTo>
                      <a:pt x="3127" y="407"/>
                    </a:lnTo>
                    <a:lnTo>
                      <a:pt x="3125" y="407"/>
                    </a:lnTo>
                    <a:lnTo>
                      <a:pt x="3124" y="408"/>
                    </a:lnTo>
                    <a:lnTo>
                      <a:pt x="3122" y="408"/>
                    </a:lnTo>
                    <a:lnTo>
                      <a:pt x="3122" y="408"/>
                    </a:lnTo>
                    <a:lnTo>
                      <a:pt x="3124" y="408"/>
                    </a:lnTo>
                    <a:lnTo>
                      <a:pt x="3124" y="407"/>
                    </a:lnTo>
                    <a:lnTo>
                      <a:pt x="3125" y="407"/>
                    </a:lnTo>
                    <a:lnTo>
                      <a:pt x="3125" y="405"/>
                    </a:lnTo>
                    <a:lnTo>
                      <a:pt x="3121" y="405"/>
                    </a:lnTo>
                    <a:lnTo>
                      <a:pt x="3117" y="405"/>
                    </a:lnTo>
                    <a:lnTo>
                      <a:pt x="3114" y="405"/>
                    </a:lnTo>
                    <a:lnTo>
                      <a:pt x="3109" y="405"/>
                    </a:lnTo>
                    <a:lnTo>
                      <a:pt x="3105" y="405"/>
                    </a:lnTo>
                    <a:lnTo>
                      <a:pt x="3101" y="405"/>
                    </a:lnTo>
                    <a:lnTo>
                      <a:pt x="3098" y="404"/>
                    </a:lnTo>
                    <a:lnTo>
                      <a:pt x="3099" y="405"/>
                    </a:lnTo>
                    <a:lnTo>
                      <a:pt x="3101" y="407"/>
                    </a:lnTo>
                    <a:lnTo>
                      <a:pt x="3102" y="408"/>
                    </a:lnTo>
                    <a:lnTo>
                      <a:pt x="3104" y="409"/>
                    </a:lnTo>
                    <a:lnTo>
                      <a:pt x="3105" y="411"/>
                    </a:lnTo>
                    <a:lnTo>
                      <a:pt x="3105" y="412"/>
                    </a:lnTo>
                    <a:lnTo>
                      <a:pt x="3108" y="412"/>
                    </a:lnTo>
                    <a:lnTo>
                      <a:pt x="3109" y="414"/>
                    </a:lnTo>
                    <a:lnTo>
                      <a:pt x="3111" y="415"/>
                    </a:lnTo>
                    <a:lnTo>
                      <a:pt x="3114" y="417"/>
                    </a:lnTo>
                    <a:lnTo>
                      <a:pt x="3118" y="417"/>
                    </a:lnTo>
                    <a:lnTo>
                      <a:pt x="3122" y="417"/>
                    </a:lnTo>
                    <a:lnTo>
                      <a:pt x="3124" y="417"/>
                    </a:lnTo>
                    <a:lnTo>
                      <a:pt x="3127" y="417"/>
                    </a:lnTo>
                    <a:lnTo>
                      <a:pt x="3128" y="417"/>
                    </a:lnTo>
                    <a:lnTo>
                      <a:pt x="3128" y="417"/>
                    </a:lnTo>
                    <a:lnTo>
                      <a:pt x="3128" y="415"/>
                    </a:lnTo>
                    <a:lnTo>
                      <a:pt x="3128" y="415"/>
                    </a:lnTo>
                    <a:lnTo>
                      <a:pt x="3128" y="414"/>
                    </a:lnTo>
                    <a:lnTo>
                      <a:pt x="3128" y="414"/>
                    </a:lnTo>
                    <a:lnTo>
                      <a:pt x="3144" y="421"/>
                    </a:lnTo>
                    <a:lnTo>
                      <a:pt x="3144" y="421"/>
                    </a:lnTo>
                    <a:lnTo>
                      <a:pt x="3144" y="421"/>
                    </a:lnTo>
                    <a:lnTo>
                      <a:pt x="3145" y="422"/>
                    </a:lnTo>
                    <a:lnTo>
                      <a:pt x="3145" y="422"/>
                    </a:lnTo>
                    <a:lnTo>
                      <a:pt x="3144" y="421"/>
                    </a:lnTo>
                    <a:lnTo>
                      <a:pt x="3144" y="421"/>
                    </a:lnTo>
                    <a:lnTo>
                      <a:pt x="3144" y="421"/>
                    </a:lnTo>
                    <a:lnTo>
                      <a:pt x="3143" y="421"/>
                    </a:lnTo>
                    <a:lnTo>
                      <a:pt x="3143" y="422"/>
                    </a:lnTo>
                    <a:lnTo>
                      <a:pt x="3143" y="422"/>
                    </a:lnTo>
                    <a:lnTo>
                      <a:pt x="3143" y="424"/>
                    </a:lnTo>
                    <a:lnTo>
                      <a:pt x="3144" y="424"/>
                    </a:lnTo>
                    <a:lnTo>
                      <a:pt x="3145" y="425"/>
                    </a:lnTo>
                    <a:lnTo>
                      <a:pt x="3145" y="425"/>
                    </a:lnTo>
                    <a:lnTo>
                      <a:pt x="3147" y="425"/>
                    </a:lnTo>
                    <a:lnTo>
                      <a:pt x="3148" y="425"/>
                    </a:lnTo>
                    <a:lnTo>
                      <a:pt x="3148" y="425"/>
                    </a:lnTo>
                    <a:lnTo>
                      <a:pt x="3150" y="425"/>
                    </a:lnTo>
                    <a:lnTo>
                      <a:pt x="3150" y="425"/>
                    </a:lnTo>
                    <a:lnTo>
                      <a:pt x="3151" y="425"/>
                    </a:lnTo>
                    <a:lnTo>
                      <a:pt x="3153" y="427"/>
                    </a:lnTo>
                    <a:lnTo>
                      <a:pt x="3154" y="427"/>
                    </a:lnTo>
                    <a:lnTo>
                      <a:pt x="3156" y="428"/>
                    </a:lnTo>
                    <a:lnTo>
                      <a:pt x="3158" y="428"/>
                    </a:lnTo>
                    <a:lnTo>
                      <a:pt x="3158" y="430"/>
                    </a:lnTo>
                    <a:lnTo>
                      <a:pt x="3160" y="431"/>
                    </a:lnTo>
                    <a:lnTo>
                      <a:pt x="3161" y="431"/>
                    </a:lnTo>
                    <a:lnTo>
                      <a:pt x="3161" y="433"/>
                    </a:lnTo>
                    <a:lnTo>
                      <a:pt x="3163" y="433"/>
                    </a:lnTo>
                    <a:lnTo>
                      <a:pt x="3163" y="434"/>
                    </a:lnTo>
                    <a:lnTo>
                      <a:pt x="3163" y="434"/>
                    </a:lnTo>
                    <a:lnTo>
                      <a:pt x="3161" y="434"/>
                    </a:lnTo>
                    <a:lnTo>
                      <a:pt x="3161" y="434"/>
                    </a:lnTo>
                    <a:lnTo>
                      <a:pt x="3160" y="434"/>
                    </a:lnTo>
                    <a:lnTo>
                      <a:pt x="3158" y="434"/>
                    </a:lnTo>
                    <a:lnTo>
                      <a:pt x="3158" y="435"/>
                    </a:lnTo>
                    <a:lnTo>
                      <a:pt x="3157" y="435"/>
                    </a:lnTo>
                    <a:lnTo>
                      <a:pt x="3157" y="437"/>
                    </a:lnTo>
                    <a:lnTo>
                      <a:pt x="3158" y="435"/>
                    </a:lnTo>
                    <a:lnTo>
                      <a:pt x="3160" y="435"/>
                    </a:lnTo>
                    <a:lnTo>
                      <a:pt x="3161" y="435"/>
                    </a:lnTo>
                    <a:lnTo>
                      <a:pt x="3163" y="435"/>
                    </a:lnTo>
                    <a:lnTo>
                      <a:pt x="3164" y="437"/>
                    </a:lnTo>
                    <a:lnTo>
                      <a:pt x="3166" y="438"/>
                    </a:lnTo>
                    <a:lnTo>
                      <a:pt x="3167" y="438"/>
                    </a:lnTo>
                    <a:lnTo>
                      <a:pt x="3170" y="440"/>
                    </a:lnTo>
                    <a:lnTo>
                      <a:pt x="3171" y="440"/>
                    </a:lnTo>
                    <a:lnTo>
                      <a:pt x="3170" y="438"/>
                    </a:lnTo>
                    <a:lnTo>
                      <a:pt x="3169" y="438"/>
                    </a:lnTo>
                    <a:lnTo>
                      <a:pt x="3167" y="437"/>
                    </a:lnTo>
                    <a:lnTo>
                      <a:pt x="3167" y="435"/>
                    </a:lnTo>
                    <a:lnTo>
                      <a:pt x="3166" y="435"/>
                    </a:lnTo>
                    <a:lnTo>
                      <a:pt x="3166" y="434"/>
                    </a:lnTo>
                    <a:lnTo>
                      <a:pt x="3166" y="434"/>
                    </a:lnTo>
                    <a:lnTo>
                      <a:pt x="3167" y="434"/>
                    </a:lnTo>
                    <a:lnTo>
                      <a:pt x="3169" y="435"/>
                    </a:lnTo>
                    <a:lnTo>
                      <a:pt x="3171" y="438"/>
                    </a:lnTo>
                    <a:lnTo>
                      <a:pt x="3174" y="440"/>
                    </a:lnTo>
                    <a:lnTo>
                      <a:pt x="3176" y="441"/>
                    </a:lnTo>
                    <a:lnTo>
                      <a:pt x="3177" y="443"/>
                    </a:lnTo>
                    <a:lnTo>
                      <a:pt x="3179" y="443"/>
                    </a:lnTo>
                    <a:lnTo>
                      <a:pt x="3181" y="443"/>
                    </a:lnTo>
                    <a:lnTo>
                      <a:pt x="3183" y="443"/>
                    </a:lnTo>
                    <a:lnTo>
                      <a:pt x="3184" y="444"/>
                    </a:lnTo>
                    <a:lnTo>
                      <a:pt x="3186" y="444"/>
                    </a:lnTo>
                    <a:lnTo>
                      <a:pt x="3189" y="446"/>
                    </a:lnTo>
                    <a:lnTo>
                      <a:pt x="3190" y="446"/>
                    </a:lnTo>
                    <a:lnTo>
                      <a:pt x="3192" y="446"/>
                    </a:lnTo>
                    <a:lnTo>
                      <a:pt x="3193" y="447"/>
                    </a:lnTo>
                    <a:lnTo>
                      <a:pt x="3194" y="447"/>
                    </a:lnTo>
                    <a:lnTo>
                      <a:pt x="3194" y="448"/>
                    </a:lnTo>
                    <a:lnTo>
                      <a:pt x="3196" y="450"/>
                    </a:lnTo>
                    <a:lnTo>
                      <a:pt x="3196" y="450"/>
                    </a:lnTo>
                    <a:lnTo>
                      <a:pt x="3197" y="451"/>
                    </a:lnTo>
                    <a:lnTo>
                      <a:pt x="3200" y="451"/>
                    </a:lnTo>
                    <a:lnTo>
                      <a:pt x="3202" y="453"/>
                    </a:lnTo>
                    <a:lnTo>
                      <a:pt x="3206" y="454"/>
                    </a:lnTo>
                    <a:lnTo>
                      <a:pt x="3207" y="456"/>
                    </a:lnTo>
                    <a:lnTo>
                      <a:pt x="3210" y="456"/>
                    </a:lnTo>
                    <a:lnTo>
                      <a:pt x="3212" y="457"/>
                    </a:lnTo>
                    <a:lnTo>
                      <a:pt x="3215" y="460"/>
                    </a:lnTo>
                    <a:lnTo>
                      <a:pt x="3216" y="460"/>
                    </a:lnTo>
                    <a:lnTo>
                      <a:pt x="3216" y="460"/>
                    </a:lnTo>
                    <a:lnTo>
                      <a:pt x="3218" y="461"/>
                    </a:lnTo>
                    <a:lnTo>
                      <a:pt x="3218" y="463"/>
                    </a:lnTo>
                    <a:lnTo>
                      <a:pt x="3218" y="463"/>
                    </a:lnTo>
                    <a:lnTo>
                      <a:pt x="3216" y="464"/>
                    </a:lnTo>
                    <a:lnTo>
                      <a:pt x="3216" y="464"/>
                    </a:lnTo>
                    <a:lnTo>
                      <a:pt x="3215" y="464"/>
                    </a:lnTo>
                    <a:lnTo>
                      <a:pt x="3215" y="466"/>
                    </a:lnTo>
                    <a:lnTo>
                      <a:pt x="3215" y="467"/>
                    </a:lnTo>
                    <a:lnTo>
                      <a:pt x="3216" y="467"/>
                    </a:lnTo>
                    <a:lnTo>
                      <a:pt x="3218" y="469"/>
                    </a:lnTo>
                    <a:lnTo>
                      <a:pt x="3218" y="470"/>
                    </a:lnTo>
                    <a:lnTo>
                      <a:pt x="3218" y="471"/>
                    </a:lnTo>
                    <a:lnTo>
                      <a:pt x="3215" y="469"/>
                    </a:lnTo>
                    <a:lnTo>
                      <a:pt x="3210" y="467"/>
                    </a:lnTo>
                    <a:lnTo>
                      <a:pt x="3206" y="466"/>
                    </a:lnTo>
                    <a:lnTo>
                      <a:pt x="3203" y="466"/>
                    </a:lnTo>
                    <a:lnTo>
                      <a:pt x="3194" y="464"/>
                    </a:lnTo>
                    <a:lnTo>
                      <a:pt x="3190" y="463"/>
                    </a:lnTo>
                    <a:lnTo>
                      <a:pt x="3186" y="463"/>
                    </a:lnTo>
                    <a:lnTo>
                      <a:pt x="3184" y="463"/>
                    </a:lnTo>
                    <a:lnTo>
                      <a:pt x="3183" y="463"/>
                    </a:lnTo>
                    <a:lnTo>
                      <a:pt x="3181" y="463"/>
                    </a:lnTo>
                    <a:lnTo>
                      <a:pt x="3179" y="463"/>
                    </a:lnTo>
                    <a:lnTo>
                      <a:pt x="3177" y="463"/>
                    </a:lnTo>
                    <a:lnTo>
                      <a:pt x="3174" y="463"/>
                    </a:lnTo>
                    <a:lnTo>
                      <a:pt x="3173" y="463"/>
                    </a:lnTo>
                    <a:lnTo>
                      <a:pt x="3171" y="463"/>
                    </a:lnTo>
                    <a:lnTo>
                      <a:pt x="3171" y="461"/>
                    </a:lnTo>
                    <a:lnTo>
                      <a:pt x="3171" y="461"/>
                    </a:lnTo>
                    <a:lnTo>
                      <a:pt x="3170" y="461"/>
                    </a:lnTo>
                    <a:lnTo>
                      <a:pt x="3170" y="460"/>
                    </a:lnTo>
                    <a:lnTo>
                      <a:pt x="3169" y="458"/>
                    </a:lnTo>
                    <a:lnTo>
                      <a:pt x="3166" y="457"/>
                    </a:lnTo>
                    <a:lnTo>
                      <a:pt x="3166" y="457"/>
                    </a:lnTo>
                    <a:lnTo>
                      <a:pt x="3164" y="457"/>
                    </a:lnTo>
                    <a:lnTo>
                      <a:pt x="3164" y="457"/>
                    </a:lnTo>
                    <a:lnTo>
                      <a:pt x="3164" y="458"/>
                    </a:lnTo>
                    <a:lnTo>
                      <a:pt x="3166" y="458"/>
                    </a:lnTo>
                    <a:lnTo>
                      <a:pt x="3166" y="460"/>
                    </a:lnTo>
                    <a:lnTo>
                      <a:pt x="3164" y="460"/>
                    </a:lnTo>
                    <a:lnTo>
                      <a:pt x="3163" y="458"/>
                    </a:lnTo>
                    <a:lnTo>
                      <a:pt x="3160" y="458"/>
                    </a:lnTo>
                    <a:lnTo>
                      <a:pt x="3158" y="457"/>
                    </a:lnTo>
                    <a:lnTo>
                      <a:pt x="3157" y="456"/>
                    </a:lnTo>
                    <a:lnTo>
                      <a:pt x="3154" y="454"/>
                    </a:lnTo>
                    <a:lnTo>
                      <a:pt x="3156" y="454"/>
                    </a:lnTo>
                    <a:lnTo>
                      <a:pt x="3156" y="456"/>
                    </a:lnTo>
                    <a:lnTo>
                      <a:pt x="3157" y="457"/>
                    </a:lnTo>
                    <a:lnTo>
                      <a:pt x="3158" y="458"/>
                    </a:lnTo>
                    <a:lnTo>
                      <a:pt x="3158" y="458"/>
                    </a:lnTo>
                    <a:lnTo>
                      <a:pt x="3160" y="460"/>
                    </a:lnTo>
                    <a:lnTo>
                      <a:pt x="3160" y="460"/>
                    </a:lnTo>
                    <a:lnTo>
                      <a:pt x="3161" y="460"/>
                    </a:lnTo>
                    <a:lnTo>
                      <a:pt x="3163" y="461"/>
                    </a:lnTo>
                    <a:lnTo>
                      <a:pt x="3164" y="461"/>
                    </a:lnTo>
                    <a:lnTo>
                      <a:pt x="3166" y="463"/>
                    </a:lnTo>
                    <a:lnTo>
                      <a:pt x="3166" y="463"/>
                    </a:lnTo>
                    <a:lnTo>
                      <a:pt x="3167" y="463"/>
                    </a:lnTo>
                    <a:lnTo>
                      <a:pt x="3169" y="463"/>
                    </a:lnTo>
                    <a:lnTo>
                      <a:pt x="3166" y="463"/>
                    </a:lnTo>
                    <a:lnTo>
                      <a:pt x="3166" y="463"/>
                    </a:lnTo>
                    <a:lnTo>
                      <a:pt x="3164" y="464"/>
                    </a:lnTo>
                    <a:lnTo>
                      <a:pt x="3163" y="466"/>
                    </a:lnTo>
                    <a:lnTo>
                      <a:pt x="3161" y="467"/>
                    </a:lnTo>
                    <a:lnTo>
                      <a:pt x="3160" y="469"/>
                    </a:lnTo>
                    <a:lnTo>
                      <a:pt x="3157" y="471"/>
                    </a:lnTo>
                    <a:lnTo>
                      <a:pt x="3156" y="471"/>
                    </a:lnTo>
                    <a:lnTo>
                      <a:pt x="3154" y="473"/>
                    </a:lnTo>
                    <a:lnTo>
                      <a:pt x="3153" y="474"/>
                    </a:lnTo>
                    <a:lnTo>
                      <a:pt x="3151" y="474"/>
                    </a:lnTo>
                    <a:lnTo>
                      <a:pt x="3148" y="476"/>
                    </a:lnTo>
                    <a:lnTo>
                      <a:pt x="3147" y="476"/>
                    </a:lnTo>
                    <a:lnTo>
                      <a:pt x="3145" y="477"/>
                    </a:lnTo>
                    <a:lnTo>
                      <a:pt x="3144" y="477"/>
                    </a:lnTo>
                    <a:lnTo>
                      <a:pt x="3144" y="477"/>
                    </a:lnTo>
                    <a:lnTo>
                      <a:pt x="3144" y="479"/>
                    </a:lnTo>
                    <a:lnTo>
                      <a:pt x="3145" y="479"/>
                    </a:lnTo>
                    <a:lnTo>
                      <a:pt x="3145" y="480"/>
                    </a:lnTo>
                    <a:lnTo>
                      <a:pt x="3144" y="480"/>
                    </a:lnTo>
                    <a:lnTo>
                      <a:pt x="3141" y="480"/>
                    </a:lnTo>
                    <a:lnTo>
                      <a:pt x="3140" y="480"/>
                    </a:lnTo>
                    <a:lnTo>
                      <a:pt x="3138" y="480"/>
                    </a:lnTo>
                    <a:lnTo>
                      <a:pt x="3137" y="480"/>
                    </a:lnTo>
                    <a:lnTo>
                      <a:pt x="3135" y="480"/>
                    </a:lnTo>
                    <a:lnTo>
                      <a:pt x="3137" y="480"/>
                    </a:lnTo>
                    <a:lnTo>
                      <a:pt x="3138" y="480"/>
                    </a:lnTo>
                    <a:lnTo>
                      <a:pt x="3138" y="482"/>
                    </a:lnTo>
                    <a:lnTo>
                      <a:pt x="3140" y="482"/>
                    </a:lnTo>
                    <a:lnTo>
                      <a:pt x="3140" y="482"/>
                    </a:lnTo>
                    <a:lnTo>
                      <a:pt x="3138" y="483"/>
                    </a:lnTo>
                    <a:lnTo>
                      <a:pt x="3137" y="483"/>
                    </a:lnTo>
                    <a:lnTo>
                      <a:pt x="3135" y="483"/>
                    </a:lnTo>
                    <a:lnTo>
                      <a:pt x="3134" y="483"/>
                    </a:lnTo>
                    <a:lnTo>
                      <a:pt x="3132" y="483"/>
                    </a:lnTo>
                    <a:lnTo>
                      <a:pt x="3131" y="483"/>
                    </a:lnTo>
                    <a:lnTo>
                      <a:pt x="3130" y="484"/>
                    </a:lnTo>
                    <a:lnTo>
                      <a:pt x="3128" y="484"/>
                    </a:lnTo>
                    <a:lnTo>
                      <a:pt x="3130" y="484"/>
                    </a:lnTo>
                    <a:lnTo>
                      <a:pt x="3131" y="486"/>
                    </a:lnTo>
                    <a:lnTo>
                      <a:pt x="3131" y="486"/>
                    </a:lnTo>
                    <a:lnTo>
                      <a:pt x="3131" y="487"/>
                    </a:lnTo>
                    <a:lnTo>
                      <a:pt x="3131" y="487"/>
                    </a:lnTo>
                    <a:lnTo>
                      <a:pt x="3130" y="487"/>
                    </a:lnTo>
                    <a:lnTo>
                      <a:pt x="3128" y="487"/>
                    </a:lnTo>
                    <a:lnTo>
                      <a:pt x="3128" y="487"/>
                    </a:lnTo>
                    <a:lnTo>
                      <a:pt x="3127" y="487"/>
                    </a:lnTo>
                    <a:lnTo>
                      <a:pt x="3124" y="486"/>
                    </a:lnTo>
                    <a:lnTo>
                      <a:pt x="3122" y="486"/>
                    </a:lnTo>
                    <a:lnTo>
                      <a:pt x="3121" y="484"/>
                    </a:lnTo>
                    <a:lnTo>
                      <a:pt x="3119" y="484"/>
                    </a:lnTo>
                    <a:lnTo>
                      <a:pt x="3121" y="486"/>
                    </a:lnTo>
                    <a:lnTo>
                      <a:pt x="3121" y="487"/>
                    </a:lnTo>
                    <a:lnTo>
                      <a:pt x="3122" y="489"/>
                    </a:lnTo>
                    <a:lnTo>
                      <a:pt x="3124" y="490"/>
                    </a:lnTo>
                    <a:lnTo>
                      <a:pt x="3124" y="490"/>
                    </a:lnTo>
                    <a:lnTo>
                      <a:pt x="3125" y="490"/>
                    </a:lnTo>
                    <a:lnTo>
                      <a:pt x="3125" y="492"/>
                    </a:lnTo>
                    <a:lnTo>
                      <a:pt x="3125" y="492"/>
                    </a:lnTo>
                    <a:lnTo>
                      <a:pt x="3124" y="492"/>
                    </a:lnTo>
                    <a:lnTo>
                      <a:pt x="3124" y="492"/>
                    </a:lnTo>
                    <a:lnTo>
                      <a:pt x="3124" y="493"/>
                    </a:lnTo>
                    <a:lnTo>
                      <a:pt x="3124" y="493"/>
                    </a:lnTo>
                    <a:lnTo>
                      <a:pt x="3125" y="493"/>
                    </a:lnTo>
                    <a:lnTo>
                      <a:pt x="3125" y="495"/>
                    </a:lnTo>
                    <a:lnTo>
                      <a:pt x="3124" y="495"/>
                    </a:lnTo>
                    <a:lnTo>
                      <a:pt x="3122" y="495"/>
                    </a:lnTo>
                    <a:lnTo>
                      <a:pt x="3121" y="495"/>
                    </a:lnTo>
                    <a:lnTo>
                      <a:pt x="3118" y="495"/>
                    </a:lnTo>
                    <a:lnTo>
                      <a:pt x="3117" y="495"/>
                    </a:lnTo>
                    <a:lnTo>
                      <a:pt x="3115" y="495"/>
                    </a:lnTo>
                    <a:lnTo>
                      <a:pt x="3114" y="495"/>
                    </a:lnTo>
                    <a:lnTo>
                      <a:pt x="3115" y="495"/>
                    </a:lnTo>
                    <a:lnTo>
                      <a:pt x="3117" y="496"/>
                    </a:lnTo>
                    <a:lnTo>
                      <a:pt x="3118" y="497"/>
                    </a:lnTo>
                    <a:lnTo>
                      <a:pt x="3118" y="497"/>
                    </a:lnTo>
                    <a:lnTo>
                      <a:pt x="3118" y="497"/>
                    </a:lnTo>
                    <a:lnTo>
                      <a:pt x="3118" y="497"/>
                    </a:lnTo>
                    <a:lnTo>
                      <a:pt x="3119" y="500"/>
                    </a:lnTo>
                    <a:lnTo>
                      <a:pt x="3119" y="500"/>
                    </a:lnTo>
                    <a:lnTo>
                      <a:pt x="3119" y="502"/>
                    </a:lnTo>
                    <a:lnTo>
                      <a:pt x="3119" y="502"/>
                    </a:lnTo>
                    <a:lnTo>
                      <a:pt x="3118" y="502"/>
                    </a:lnTo>
                    <a:lnTo>
                      <a:pt x="3117" y="502"/>
                    </a:lnTo>
                    <a:lnTo>
                      <a:pt x="3117" y="502"/>
                    </a:lnTo>
                    <a:lnTo>
                      <a:pt x="3115" y="502"/>
                    </a:lnTo>
                    <a:lnTo>
                      <a:pt x="3115" y="502"/>
                    </a:lnTo>
                    <a:lnTo>
                      <a:pt x="3115" y="503"/>
                    </a:lnTo>
                    <a:lnTo>
                      <a:pt x="3117" y="503"/>
                    </a:lnTo>
                    <a:lnTo>
                      <a:pt x="3118" y="505"/>
                    </a:lnTo>
                    <a:lnTo>
                      <a:pt x="3117" y="505"/>
                    </a:lnTo>
                    <a:lnTo>
                      <a:pt x="3118" y="506"/>
                    </a:lnTo>
                    <a:lnTo>
                      <a:pt x="3118" y="508"/>
                    </a:lnTo>
                    <a:lnTo>
                      <a:pt x="3118" y="508"/>
                    </a:lnTo>
                    <a:lnTo>
                      <a:pt x="3118" y="509"/>
                    </a:lnTo>
                    <a:lnTo>
                      <a:pt x="3117" y="509"/>
                    </a:lnTo>
                    <a:lnTo>
                      <a:pt x="3117" y="509"/>
                    </a:lnTo>
                    <a:lnTo>
                      <a:pt x="3115" y="509"/>
                    </a:lnTo>
                    <a:lnTo>
                      <a:pt x="3114" y="508"/>
                    </a:lnTo>
                    <a:lnTo>
                      <a:pt x="3114" y="509"/>
                    </a:lnTo>
                    <a:lnTo>
                      <a:pt x="3114" y="510"/>
                    </a:lnTo>
                    <a:lnTo>
                      <a:pt x="3114" y="512"/>
                    </a:lnTo>
                    <a:lnTo>
                      <a:pt x="3112" y="512"/>
                    </a:lnTo>
                    <a:lnTo>
                      <a:pt x="3112" y="513"/>
                    </a:lnTo>
                    <a:lnTo>
                      <a:pt x="3111" y="513"/>
                    </a:lnTo>
                    <a:lnTo>
                      <a:pt x="3109" y="513"/>
                    </a:lnTo>
                    <a:lnTo>
                      <a:pt x="3108" y="515"/>
                    </a:lnTo>
                    <a:lnTo>
                      <a:pt x="3109" y="515"/>
                    </a:lnTo>
                    <a:lnTo>
                      <a:pt x="3111" y="515"/>
                    </a:lnTo>
                    <a:lnTo>
                      <a:pt x="3111" y="515"/>
                    </a:lnTo>
                    <a:lnTo>
                      <a:pt x="3111" y="516"/>
                    </a:lnTo>
                    <a:lnTo>
                      <a:pt x="3111" y="516"/>
                    </a:lnTo>
                    <a:lnTo>
                      <a:pt x="3111" y="518"/>
                    </a:lnTo>
                    <a:lnTo>
                      <a:pt x="3109" y="519"/>
                    </a:lnTo>
                    <a:lnTo>
                      <a:pt x="3108" y="519"/>
                    </a:lnTo>
                    <a:lnTo>
                      <a:pt x="3105" y="520"/>
                    </a:lnTo>
                    <a:lnTo>
                      <a:pt x="3104" y="520"/>
                    </a:lnTo>
                    <a:lnTo>
                      <a:pt x="3104" y="520"/>
                    </a:lnTo>
                    <a:lnTo>
                      <a:pt x="3102" y="519"/>
                    </a:lnTo>
                    <a:lnTo>
                      <a:pt x="3102" y="520"/>
                    </a:lnTo>
                    <a:lnTo>
                      <a:pt x="3102" y="520"/>
                    </a:lnTo>
                    <a:lnTo>
                      <a:pt x="3102" y="522"/>
                    </a:lnTo>
                    <a:lnTo>
                      <a:pt x="3102" y="522"/>
                    </a:lnTo>
                    <a:lnTo>
                      <a:pt x="3102" y="522"/>
                    </a:lnTo>
                    <a:lnTo>
                      <a:pt x="3101" y="522"/>
                    </a:lnTo>
                    <a:lnTo>
                      <a:pt x="3101" y="522"/>
                    </a:lnTo>
                    <a:lnTo>
                      <a:pt x="3101" y="523"/>
                    </a:lnTo>
                    <a:lnTo>
                      <a:pt x="3102" y="523"/>
                    </a:lnTo>
                    <a:lnTo>
                      <a:pt x="3104" y="525"/>
                    </a:lnTo>
                    <a:lnTo>
                      <a:pt x="3105" y="526"/>
                    </a:lnTo>
                    <a:lnTo>
                      <a:pt x="3108" y="529"/>
                    </a:lnTo>
                    <a:lnTo>
                      <a:pt x="3109" y="531"/>
                    </a:lnTo>
                    <a:lnTo>
                      <a:pt x="3111" y="532"/>
                    </a:lnTo>
                    <a:lnTo>
                      <a:pt x="3111" y="533"/>
                    </a:lnTo>
                    <a:lnTo>
                      <a:pt x="3112" y="533"/>
                    </a:lnTo>
                    <a:lnTo>
                      <a:pt x="3112" y="535"/>
                    </a:lnTo>
                    <a:lnTo>
                      <a:pt x="3112" y="536"/>
                    </a:lnTo>
                    <a:lnTo>
                      <a:pt x="3112" y="536"/>
                    </a:lnTo>
                    <a:lnTo>
                      <a:pt x="3106" y="533"/>
                    </a:lnTo>
                    <a:lnTo>
                      <a:pt x="3101" y="532"/>
                    </a:lnTo>
                    <a:lnTo>
                      <a:pt x="3091" y="528"/>
                    </a:lnTo>
                    <a:lnTo>
                      <a:pt x="3085" y="525"/>
                    </a:lnTo>
                    <a:lnTo>
                      <a:pt x="3079" y="522"/>
                    </a:lnTo>
                    <a:lnTo>
                      <a:pt x="3073" y="520"/>
                    </a:lnTo>
                    <a:lnTo>
                      <a:pt x="3069" y="519"/>
                    </a:lnTo>
                    <a:lnTo>
                      <a:pt x="3066" y="519"/>
                    </a:lnTo>
                    <a:lnTo>
                      <a:pt x="3063" y="518"/>
                    </a:lnTo>
                    <a:lnTo>
                      <a:pt x="3062" y="518"/>
                    </a:lnTo>
                    <a:lnTo>
                      <a:pt x="3059" y="516"/>
                    </a:lnTo>
                    <a:lnTo>
                      <a:pt x="3053" y="516"/>
                    </a:lnTo>
                    <a:lnTo>
                      <a:pt x="3050" y="516"/>
                    </a:lnTo>
                    <a:lnTo>
                      <a:pt x="3049" y="516"/>
                    </a:lnTo>
                    <a:lnTo>
                      <a:pt x="3046" y="518"/>
                    </a:lnTo>
                    <a:lnTo>
                      <a:pt x="3044" y="519"/>
                    </a:lnTo>
                    <a:lnTo>
                      <a:pt x="3042" y="520"/>
                    </a:lnTo>
                    <a:lnTo>
                      <a:pt x="3039" y="522"/>
                    </a:lnTo>
                    <a:lnTo>
                      <a:pt x="3036" y="522"/>
                    </a:lnTo>
                    <a:lnTo>
                      <a:pt x="3033" y="523"/>
                    </a:lnTo>
                    <a:lnTo>
                      <a:pt x="3030" y="523"/>
                    </a:lnTo>
                    <a:lnTo>
                      <a:pt x="3029" y="523"/>
                    </a:lnTo>
                    <a:lnTo>
                      <a:pt x="3029" y="522"/>
                    </a:lnTo>
                    <a:lnTo>
                      <a:pt x="3029" y="523"/>
                    </a:lnTo>
                    <a:lnTo>
                      <a:pt x="3029" y="523"/>
                    </a:lnTo>
                    <a:lnTo>
                      <a:pt x="3029" y="523"/>
                    </a:lnTo>
                    <a:lnTo>
                      <a:pt x="3030" y="525"/>
                    </a:lnTo>
                    <a:lnTo>
                      <a:pt x="3031" y="525"/>
                    </a:lnTo>
                    <a:lnTo>
                      <a:pt x="3030" y="525"/>
                    </a:lnTo>
                    <a:lnTo>
                      <a:pt x="3030" y="525"/>
                    </a:lnTo>
                    <a:lnTo>
                      <a:pt x="3029" y="525"/>
                    </a:lnTo>
                    <a:lnTo>
                      <a:pt x="3027" y="525"/>
                    </a:lnTo>
                    <a:lnTo>
                      <a:pt x="3026" y="525"/>
                    </a:lnTo>
                    <a:lnTo>
                      <a:pt x="3027" y="526"/>
                    </a:lnTo>
                    <a:lnTo>
                      <a:pt x="3027" y="529"/>
                    </a:lnTo>
                    <a:lnTo>
                      <a:pt x="3027" y="531"/>
                    </a:lnTo>
                    <a:lnTo>
                      <a:pt x="3027" y="532"/>
                    </a:lnTo>
                    <a:lnTo>
                      <a:pt x="3027" y="535"/>
                    </a:lnTo>
                    <a:lnTo>
                      <a:pt x="3027" y="536"/>
                    </a:lnTo>
                    <a:lnTo>
                      <a:pt x="3027" y="538"/>
                    </a:lnTo>
                    <a:lnTo>
                      <a:pt x="3026" y="539"/>
                    </a:lnTo>
                    <a:lnTo>
                      <a:pt x="3024" y="539"/>
                    </a:lnTo>
                    <a:lnTo>
                      <a:pt x="3024" y="539"/>
                    </a:lnTo>
                    <a:lnTo>
                      <a:pt x="3023" y="539"/>
                    </a:lnTo>
                    <a:lnTo>
                      <a:pt x="3023" y="538"/>
                    </a:lnTo>
                    <a:lnTo>
                      <a:pt x="3021" y="536"/>
                    </a:lnTo>
                    <a:lnTo>
                      <a:pt x="3020" y="535"/>
                    </a:lnTo>
                    <a:lnTo>
                      <a:pt x="3019" y="532"/>
                    </a:lnTo>
                    <a:lnTo>
                      <a:pt x="3017" y="531"/>
                    </a:lnTo>
                    <a:lnTo>
                      <a:pt x="3016" y="529"/>
                    </a:lnTo>
                    <a:lnTo>
                      <a:pt x="3016" y="529"/>
                    </a:lnTo>
                    <a:lnTo>
                      <a:pt x="3014" y="529"/>
                    </a:lnTo>
                    <a:lnTo>
                      <a:pt x="3014" y="528"/>
                    </a:lnTo>
                    <a:lnTo>
                      <a:pt x="3013" y="528"/>
                    </a:lnTo>
                    <a:lnTo>
                      <a:pt x="3011" y="526"/>
                    </a:lnTo>
                    <a:lnTo>
                      <a:pt x="3010" y="525"/>
                    </a:lnTo>
                    <a:lnTo>
                      <a:pt x="3008" y="523"/>
                    </a:lnTo>
                    <a:lnTo>
                      <a:pt x="3007" y="522"/>
                    </a:lnTo>
                    <a:lnTo>
                      <a:pt x="3006" y="522"/>
                    </a:lnTo>
                    <a:lnTo>
                      <a:pt x="3004" y="522"/>
                    </a:lnTo>
                    <a:lnTo>
                      <a:pt x="3003" y="522"/>
                    </a:lnTo>
                    <a:lnTo>
                      <a:pt x="3003" y="522"/>
                    </a:lnTo>
                    <a:lnTo>
                      <a:pt x="3001" y="522"/>
                    </a:lnTo>
                    <a:lnTo>
                      <a:pt x="3001" y="523"/>
                    </a:lnTo>
                    <a:lnTo>
                      <a:pt x="3000" y="525"/>
                    </a:lnTo>
                    <a:lnTo>
                      <a:pt x="3000" y="525"/>
                    </a:lnTo>
                    <a:lnTo>
                      <a:pt x="2998" y="526"/>
                    </a:lnTo>
                    <a:lnTo>
                      <a:pt x="2998" y="528"/>
                    </a:lnTo>
                    <a:lnTo>
                      <a:pt x="2997" y="528"/>
                    </a:lnTo>
                    <a:lnTo>
                      <a:pt x="2997" y="528"/>
                    </a:lnTo>
                    <a:lnTo>
                      <a:pt x="2995" y="529"/>
                    </a:lnTo>
                    <a:lnTo>
                      <a:pt x="2995" y="531"/>
                    </a:lnTo>
                    <a:lnTo>
                      <a:pt x="2994" y="531"/>
                    </a:lnTo>
                    <a:lnTo>
                      <a:pt x="2994" y="531"/>
                    </a:lnTo>
                    <a:lnTo>
                      <a:pt x="2993" y="531"/>
                    </a:lnTo>
                    <a:lnTo>
                      <a:pt x="2995" y="532"/>
                    </a:lnTo>
                    <a:lnTo>
                      <a:pt x="2997" y="532"/>
                    </a:lnTo>
                    <a:lnTo>
                      <a:pt x="2997" y="532"/>
                    </a:lnTo>
                    <a:lnTo>
                      <a:pt x="2998" y="532"/>
                    </a:lnTo>
                    <a:lnTo>
                      <a:pt x="3000" y="533"/>
                    </a:lnTo>
                    <a:lnTo>
                      <a:pt x="3000" y="535"/>
                    </a:lnTo>
                    <a:lnTo>
                      <a:pt x="2998" y="536"/>
                    </a:lnTo>
                    <a:lnTo>
                      <a:pt x="2998" y="538"/>
                    </a:lnTo>
                    <a:lnTo>
                      <a:pt x="2998" y="539"/>
                    </a:lnTo>
                    <a:lnTo>
                      <a:pt x="2997" y="539"/>
                    </a:lnTo>
                    <a:lnTo>
                      <a:pt x="2995" y="541"/>
                    </a:lnTo>
                    <a:lnTo>
                      <a:pt x="2994" y="541"/>
                    </a:lnTo>
                    <a:lnTo>
                      <a:pt x="2994" y="539"/>
                    </a:lnTo>
                    <a:lnTo>
                      <a:pt x="2993" y="539"/>
                    </a:lnTo>
                    <a:lnTo>
                      <a:pt x="2993" y="539"/>
                    </a:lnTo>
                    <a:lnTo>
                      <a:pt x="2991" y="538"/>
                    </a:lnTo>
                    <a:lnTo>
                      <a:pt x="2990" y="538"/>
                    </a:lnTo>
                    <a:lnTo>
                      <a:pt x="2988" y="536"/>
                    </a:lnTo>
                    <a:lnTo>
                      <a:pt x="2985" y="533"/>
                    </a:lnTo>
                    <a:lnTo>
                      <a:pt x="2984" y="532"/>
                    </a:lnTo>
                    <a:lnTo>
                      <a:pt x="2982" y="532"/>
                    </a:lnTo>
                    <a:lnTo>
                      <a:pt x="2981" y="532"/>
                    </a:lnTo>
                    <a:lnTo>
                      <a:pt x="2980" y="532"/>
                    </a:lnTo>
                    <a:lnTo>
                      <a:pt x="2978" y="533"/>
                    </a:lnTo>
                    <a:lnTo>
                      <a:pt x="2978" y="533"/>
                    </a:lnTo>
                    <a:lnTo>
                      <a:pt x="2978" y="535"/>
                    </a:lnTo>
                    <a:lnTo>
                      <a:pt x="2977" y="535"/>
                    </a:lnTo>
                    <a:lnTo>
                      <a:pt x="2975" y="533"/>
                    </a:lnTo>
                    <a:lnTo>
                      <a:pt x="2974" y="533"/>
                    </a:lnTo>
                    <a:lnTo>
                      <a:pt x="2972" y="533"/>
                    </a:lnTo>
                    <a:lnTo>
                      <a:pt x="2969" y="532"/>
                    </a:lnTo>
                    <a:lnTo>
                      <a:pt x="2968" y="533"/>
                    </a:lnTo>
                    <a:lnTo>
                      <a:pt x="2967" y="533"/>
                    </a:lnTo>
                    <a:lnTo>
                      <a:pt x="2965" y="533"/>
                    </a:lnTo>
                    <a:lnTo>
                      <a:pt x="2967" y="533"/>
                    </a:lnTo>
                    <a:lnTo>
                      <a:pt x="2968" y="533"/>
                    </a:lnTo>
                    <a:lnTo>
                      <a:pt x="2968" y="533"/>
                    </a:lnTo>
                    <a:lnTo>
                      <a:pt x="2968" y="536"/>
                    </a:lnTo>
                    <a:lnTo>
                      <a:pt x="2968" y="536"/>
                    </a:lnTo>
                    <a:lnTo>
                      <a:pt x="2968" y="538"/>
                    </a:lnTo>
                    <a:lnTo>
                      <a:pt x="2967" y="538"/>
                    </a:lnTo>
                    <a:lnTo>
                      <a:pt x="2967" y="538"/>
                    </a:lnTo>
                    <a:lnTo>
                      <a:pt x="2965" y="536"/>
                    </a:lnTo>
                    <a:lnTo>
                      <a:pt x="2965" y="539"/>
                    </a:lnTo>
                    <a:lnTo>
                      <a:pt x="2967" y="541"/>
                    </a:lnTo>
                    <a:lnTo>
                      <a:pt x="2967" y="541"/>
                    </a:lnTo>
                    <a:lnTo>
                      <a:pt x="2968" y="542"/>
                    </a:lnTo>
                    <a:lnTo>
                      <a:pt x="2968" y="544"/>
                    </a:lnTo>
                    <a:lnTo>
                      <a:pt x="2969" y="544"/>
                    </a:lnTo>
                    <a:lnTo>
                      <a:pt x="2969" y="545"/>
                    </a:lnTo>
                    <a:lnTo>
                      <a:pt x="2968" y="545"/>
                    </a:lnTo>
                    <a:lnTo>
                      <a:pt x="2968" y="545"/>
                    </a:lnTo>
                    <a:lnTo>
                      <a:pt x="2968" y="546"/>
                    </a:lnTo>
                    <a:lnTo>
                      <a:pt x="2968" y="546"/>
                    </a:lnTo>
                    <a:lnTo>
                      <a:pt x="2969" y="548"/>
                    </a:lnTo>
                    <a:lnTo>
                      <a:pt x="2971" y="549"/>
                    </a:lnTo>
                    <a:lnTo>
                      <a:pt x="2972" y="551"/>
                    </a:lnTo>
                    <a:lnTo>
                      <a:pt x="2975" y="552"/>
                    </a:lnTo>
                    <a:lnTo>
                      <a:pt x="2977" y="552"/>
                    </a:lnTo>
                    <a:lnTo>
                      <a:pt x="2978" y="554"/>
                    </a:lnTo>
                    <a:lnTo>
                      <a:pt x="2980" y="554"/>
                    </a:lnTo>
                    <a:lnTo>
                      <a:pt x="2978" y="554"/>
                    </a:lnTo>
                    <a:lnTo>
                      <a:pt x="2977" y="554"/>
                    </a:lnTo>
                    <a:lnTo>
                      <a:pt x="2977" y="554"/>
                    </a:lnTo>
                    <a:lnTo>
                      <a:pt x="2977" y="555"/>
                    </a:lnTo>
                    <a:lnTo>
                      <a:pt x="2977" y="555"/>
                    </a:lnTo>
                    <a:lnTo>
                      <a:pt x="2977" y="557"/>
                    </a:lnTo>
                    <a:lnTo>
                      <a:pt x="2978" y="557"/>
                    </a:lnTo>
                    <a:lnTo>
                      <a:pt x="2980" y="558"/>
                    </a:lnTo>
                    <a:lnTo>
                      <a:pt x="2981" y="559"/>
                    </a:lnTo>
                    <a:lnTo>
                      <a:pt x="2981" y="559"/>
                    </a:lnTo>
                    <a:lnTo>
                      <a:pt x="2982" y="559"/>
                    </a:lnTo>
                    <a:lnTo>
                      <a:pt x="2981" y="559"/>
                    </a:lnTo>
                    <a:lnTo>
                      <a:pt x="2981" y="559"/>
                    </a:lnTo>
                    <a:lnTo>
                      <a:pt x="2978" y="559"/>
                    </a:lnTo>
                    <a:lnTo>
                      <a:pt x="2978" y="559"/>
                    </a:lnTo>
                    <a:lnTo>
                      <a:pt x="2978" y="561"/>
                    </a:lnTo>
                    <a:lnTo>
                      <a:pt x="2981" y="561"/>
                    </a:lnTo>
                    <a:lnTo>
                      <a:pt x="2981" y="562"/>
                    </a:lnTo>
                    <a:lnTo>
                      <a:pt x="2982" y="562"/>
                    </a:lnTo>
                    <a:lnTo>
                      <a:pt x="2982" y="562"/>
                    </a:lnTo>
                    <a:lnTo>
                      <a:pt x="2981" y="562"/>
                    </a:lnTo>
                    <a:lnTo>
                      <a:pt x="2980" y="562"/>
                    </a:lnTo>
                    <a:lnTo>
                      <a:pt x="2980" y="564"/>
                    </a:lnTo>
                    <a:lnTo>
                      <a:pt x="2978" y="565"/>
                    </a:lnTo>
                    <a:lnTo>
                      <a:pt x="2978" y="567"/>
                    </a:lnTo>
                    <a:lnTo>
                      <a:pt x="2978" y="567"/>
                    </a:lnTo>
                    <a:lnTo>
                      <a:pt x="2978" y="570"/>
                    </a:lnTo>
                    <a:lnTo>
                      <a:pt x="2980" y="571"/>
                    </a:lnTo>
                    <a:lnTo>
                      <a:pt x="2981" y="575"/>
                    </a:lnTo>
                    <a:lnTo>
                      <a:pt x="2981" y="577"/>
                    </a:lnTo>
                    <a:lnTo>
                      <a:pt x="2982" y="580"/>
                    </a:lnTo>
                    <a:lnTo>
                      <a:pt x="2982" y="581"/>
                    </a:lnTo>
                    <a:lnTo>
                      <a:pt x="2984" y="581"/>
                    </a:lnTo>
                    <a:lnTo>
                      <a:pt x="2985" y="582"/>
                    </a:lnTo>
                    <a:lnTo>
                      <a:pt x="2985" y="582"/>
                    </a:lnTo>
                    <a:lnTo>
                      <a:pt x="2987" y="584"/>
                    </a:lnTo>
                    <a:lnTo>
                      <a:pt x="2988" y="585"/>
                    </a:lnTo>
                    <a:lnTo>
                      <a:pt x="2988" y="588"/>
                    </a:lnTo>
                    <a:lnTo>
                      <a:pt x="2990" y="590"/>
                    </a:lnTo>
                    <a:lnTo>
                      <a:pt x="2991" y="591"/>
                    </a:lnTo>
                    <a:lnTo>
                      <a:pt x="2993" y="591"/>
                    </a:lnTo>
                    <a:lnTo>
                      <a:pt x="2994" y="593"/>
                    </a:lnTo>
                    <a:lnTo>
                      <a:pt x="2997" y="594"/>
                    </a:lnTo>
                    <a:lnTo>
                      <a:pt x="2998" y="595"/>
                    </a:lnTo>
                    <a:lnTo>
                      <a:pt x="3000" y="595"/>
                    </a:lnTo>
                    <a:lnTo>
                      <a:pt x="3003" y="597"/>
                    </a:lnTo>
                    <a:lnTo>
                      <a:pt x="3006" y="598"/>
                    </a:lnTo>
                    <a:lnTo>
                      <a:pt x="3007" y="598"/>
                    </a:lnTo>
                    <a:lnTo>
                      <a:pt x="3008" y="600"/>
                    </a:lnTo>
                    <a:lnTo>
                      <a:pt x="3007" y="598"/>
                    </a:lnTo>
                    <a:lnTo>
                      <a:pt x="3007" y="595"/>
                    </a:lnTo>
                    <a:lnTo>
                      <a:pt x="3006" y="594"/>
                    </a:lnTo>
                    <a:lnTo>
                      <a:pt x="3006" y="594"/>
                    </a:lnTo>
                    <a:lnTo>
                      <a:pt x="3006" y="593"/>
                    </a:lnTo>
                    <a:lnTo>
                      <a:pt x="3007" y="593"/>
                    </a:lnTo>
                    <a:lnTo>
                      <a:pt x="3007" y="593"/>
                    </a:lnTo>
                    <a:lnTo>
                      <a:pt x="3008" y="593"/>
                    </a:lnTo>
                    <a:lnTo>
                      <a:pt x="3010" y="594"/>
                    </a:lnTo>
                    <a:lnTo>
                      <a:pt x="3011" y="594"/>
                    </a:lnTo>
                    <a:lnTo>
                      <a:pt x="3016" y="594"/>
                    </a:lnTo>
                    <a:lnTo>
                      <a:pt x="3017" y="594"/>
                    </a:lnTo>
                    <a:lnTo>
                      <a:pt x="3020" y="595"/>
                    </a:lnTo>
                    <a:lnTo>
                      <a:pt x="3021" y="595"/>
                    </a:lnTo>
                    <a:lnTo>
                      <a:pt x="3024" y="597"/>
                    </a:lnTo>
                    <a:lnTo>
                      <a:pt x="3026" y="598"/>
                    </a:lnTo>
                    <a:lnTo>
                      <a:pt x="3029" y="600"/>
                    </a:lnTo>
                    <a:lnTo>
                      <a:pt x="3029" y="600"/>
                    </a:lnTo>
                    <a:lnTo>
                      <a:pt x="3029" y="601"/>
                    </a:lnTo>
                    <a:lnTo>
                      <a:pt x="3029" y="603"/>
                    </a:lnTo>
                    <a:lnTo>
                      <a:pt x="3029" y="604"/>
                    </a:lnTo>
                    <a:lnTo>
                      <a:pt x="3029" y="606"/>
                    </a:lnTo>
                    <a:lnTo>
                      <a:pt x="3029" y="607"/>
                    </a:lnTo>
                    <a:lnTo>
                      <a:pt x="3029" y="608"/>
                    </a:lnTo>
                    <a:lnTo>
                      <a:pt x="3029" y="610"/>
                    </a:lnTo>
                    <a:lnTo>
                      <a:pt x="3029" y="610"/>
                    </a:lnTo>
                    <a:lnTo>
                      <a:pt x="3030" y="613"/>
                    </a:lnTo>
                    <a:lnTo>
                      <a:pt x="3030" y="613"/>
                    </a:lnTo>
                    <a:lnTo>
                      <a:pt x="3030" y="614"/>
                    </a:lnTo>
                    <a:lnTo>
                      <a:pt x="3031" y="614"/>
                    </a:lnTo>
                    <a:lnTo>
                      <a:pt x="3033" y="616"/>
                    </a:lnTo>
                    <a:lnTo>
                      <a:pt x="3034" y="617"/>
                    </a:lnTo>
                    <a:lnTo>
                      <a:pt x="3036" y="617"/>
                    </a:lnTo>
                    <a:lnTo>
                      <a:pt x="3039" y="619"/>
                    </a:lnTo>
                    <a:lnTo>
                      <a:pt x="3040" y="620"/>
                    </a:lnTo>
                    <a:lnTo>
                      <a:pt x="3043" y="623"/>
                    </a:lnTo>
                    <a:lnTo>
                      <a:pt x="3043" y="623"/>
                    </a:lnTo>
                    <a:lnTo>
                      <a:pt x="3044" y="624"/>
                    </a:lnTo>
                    <a:lnTo>
                      <a:pt x="3044" y="626"/>
                    </a:lnTo>
                    <a:lnTo>
                      <a:pt x="3046" y="626"/>
                    </a:lnTo>
                    <a:lnTo>
                      <a:pt x="3047" y="627"/>
                    </a:lnTo>
                    <a:lnTo>
                      <a:pt x="3049" y="627"/>
                    </a:lnTo>
                    <a:lnTo>
                      <a:pt x="3050" y="627"/>
                    </a:lnTo>
                    <a:lnTo>
                      <a:pt x="3052" y="627"/>
                    </a:lnTo>
                    <a:lnTo>
                      <a:pt x="3055" y="629"/>
                    </a:lnTo>
                    <a:lnTo>
                      <a:pt x="3056" y="629"/>
                    </a:lnTo>
                    <a:lnTo>
                      <a:pt x="3057" y="629"/>
                    </a:lnTo>
                    <a:lnTo>
                      <a:pt x="3059" y="630"/>
                    </a:lnTo>
                    <a:lnTo>
                      <a:pt x="3060" y="630"/>
                    </a:lnTo>
                    <a:lnTo>
                      <a:pt x="3063" y="633"/>
                    </a:lnTo>
                    <a:lnTo>
                      <a:pt x="3068" y="634"/>
                    </a:lnTo>
                    <a:lnTo>
                      <a:pt x="3069" y="636"/>
                    </a:lnTo>
                    <a:lnTo>
                      <a:pt x="3070" y="637"/>
                    </a:lnTo>
                    <a:lnTo>
                      <a:pt x="3072" y="639"/>
                    </a:lnTo>
                    <a:lnTo>
                      <a:pt x="3073" y="640"/>
                    </a:lnTo>
                    <a:lnTo>
                      <a:pt x="3073" y="642"/>
                    </a:lnTo>
                    <a:lnTo>
                      <a:pt x="3075" y="643"/>
                    </a:lnTo>
                    <a:lnTo>
                      <a:pt x="3075" y="644"/>
                    </a:lnTo>
                    <a:lnTo>
                      <a:pt x="3075" y="646"/>
                    </a:lnTo>
                    <a:lnTo>
                      <a:pt x="3073" y="646"/>
                    </a:lnTo>
                    <a:lnTo>
                      <a:pt x="3072" y="647"/>
                    </a:lnTo>
                    <a:lnTo>
                      <a:pt x="3070" y="647"/>
                    </a:lnTo>
                    <a:lnTo>
                      <a:pt x="3069" y="647"/>
                    </a:lnTo>
                    <a:lnTo>
                      <a:pt x="3068" y="647"/>
                    </a:lnTo>
                    <a:lnTo>
                      <a:pt x="3066" y="647"/>
                    </a:lnTo>
                    <a:lnTo>
                      <a:pt x="3065" y="647"/>
                    </a:lnTo>
                    <a:lnTo>
                      <a:pt x="3062" y="646"/>
                    </a:lnTo>
                    <a:lnTo>
                      <a:pt x="3060" y="644"/>
                    </a:lnTo>
                    <a:lnTo>
                      <a:pt x="3059" y="642"/>
                    </a:lnTo>
                    <a:lnTo>
                      <a:pt x="3057" y="640"/>
                    </a:lnTo>
                    <a:lnTo>
                      <a:pt x="3057" y="639"/>
                    </a:lnTo>
                    <a:lnTo>
                      <a:pt x="3057" y="637"/>
                    </a:lnTo>
                    <a:lnTo>
                      <a:pt x="3059" y="637"/>
                    </a:lnTo>
                    <a:lnTo>
                      <a:pt x="3059" y="636"/>
                    </a:lnTo>
                    <a:lnTo>
                      <a:pt x="3060" y="634"/>
                    </a:lnTo>
                    <a:lnTo>
                      <a:pt x="3060" y="634"/>
                    </a:lnTo>
                    <a:lnTo>
                      <a:pt x="3060" y="633"/>
                    </a:lnTo>
                    <a:lnTo>
                      <a:pt x="3059" y="633"/>
                    </a:lnTo>
                    <a:lnTo>
                      <a:pt x="3059" y="633"/>
                    </a:lnTo>
                    <a:lnTo>
                      <a:pt x="3057" y="633"/>
                    </a:lnTo>
                    <a:lnTo>
                      <a:pt x="3056" y="634"/>
                    </a:lnTo>
                    <a:lnTo>
                      <a:pt x="3056" y="634"/>
                    </a:lnTo>
                    <a:lnTo>
                      <a:pt x="3056" y="636"/>
                    </a:lnTo>
                    <a:lnTo>
                      <a:pt x="3056" y="636"/>
                    </a:lnTo>
                    <a:lnTo>
                      <a:pt x="3057" y="637"/>
                    </a:lnTo>
                    <a:lnTo>
                      <a:pt x="3056" y="636"/>
                    </a:lnTo>
                    <a:lnTo>
                      <a:pt x="3055" y="634"/>
                    </a:lnTo>
                    <a:lnTo>
                      <a:pt x="3053" y="634"/>
                    </a:lnTo>
                    <a:lnTo>
                      <a:pt x="3053" y="634"/>
                    </a:lnTo>
                    <a:lnTo>
                      <a:pt x="3052" y="634"/>
                    </a:lnTo>
                    <a:lnTo>
                      <a:pt x="3050" y="634"/>
                    </a:lnTo>
                    <a:lnTo>
                      <a:pt x="3049" y="636"/>
                    </a:lnTo>
                    <a:lnTo>
                      <a:pt x="3049" y="637"/>
                    </a:lnTo>
                    <a:lnTo>
                      <a:pt x="3050" y="637"/>
                    </a:lnTo>
                    <a:lnTo>
                      <a:pt x="3050" y="637"/>
                    </a:lnTo>
                    <a:lnTo>
                      <a:pt x="3052" y="639"/>
                    </a:lnTo>
                    <a:lnTo>
                      <a:pt x="3052" y="639"/>
                    </a:lnTo>
                    <a:lnTo>
                      <a:pt x="3052" y="640"/>
                    </a:lnTo>
                    <a:lnTo>
                      <a:pt x="3052" y="642"/>
                    </a:lnTo>
                    <a:lnTo>
                      <a:pt x="3052" y="643"/>
                    </a:lnTo>
                    <a:lnTo>
                      <a:pt x="3050" y="644"/>
                    </a:lnTo>
                    <a:lnTo>
                      <a:pt x="3050" y="646"/>
                    </a:lnTo>
                    <a:lnTo>
                      <a:pt x="3050" y="646"/>
                    </a:lnTo>
                    <a:lnTo>
                      <a:pt x="3050" y="647"/>
                    </a:lnTo>
                    <a:lnTo>
                      <a:pt x="3052" y="649"/>
                    </a:lnTo>
                    <a:lnTo>
                      <a:pt x="3052" y="650"/>
                    </a:lnTo>
                    <a:lnTo>
                      <a:pt x="3053" y="652"/>
                    </a:lnTo>
                    <a:lnTo>
                      <a:pt x="3055" y="656"/>
                    </a:lnTo>
                    <a:lnTo>
                      <a:pt x="3056" y="659"/>
                    </a:lnTo>
                    <a:lnTo>
                      <a:pt x="3056" y="660"/>
                    </a:lnTo>
                    <a:lnTo>
                      <a:pt x="3057" y="662"/>
                    </a:lnTo>
                    <a:lnTo>
                      <a:pt x="3060" y="663"/>
                    </a:lnTo>
                    <a:lnTo>
                      <a:pt x="3063" y="668"/>
                    </a:lnTo>
                    <a:lnTo>
                      <a:pt x="3069" y="670"/>
                    </a:lnTo>
                    <a:lnTo>
                      <a:pt x="3070" y="672"/>
                    </a:lnTo>
                    <a:lnTo>
                      <a:pt x="3073" y="675"/>
                    </a:lnTo>
                    <a:lnTo>
                      <a:pt x="3075" y="676"/>
                    </a:lnTo>
                    <a:lnTo>
                      <a:pt x="3078" y="678"/>
                    </a:lnTo>
                    <a:lnTo>
                      <a:pt x="3079" y="678"/>
                    </a:lnTo>
                    <a:lnTo>
                      <a:pt x="3079" y="679"/>
                    </a:lnTo>
                    <a:lnTo>
                      <a:pt x="3082" y="681"/>
                    </a:lnTo>
                    <a:lnTo>
                      <a:pt x="3086" y="681"/>
                    </a:lnTo>
                    <a:lnTo>
                      <a:pt x="3088" y="682"/>
                    </a:lnTo>
                    <a:lnTo>
                      <a:pt x="3089" y="683"/>
                    </a:lnTo>
                    <a:lnTo>
                      <a:pt x="3088" y="683"/>
                    </a:lnTo>
                    <a:lnTo>
                      <a:pt x="3088" y="685"/>
                    </a:lnTo>
                    <a:lnTo>
                      <a:pt x="3088" y="686"/>
                    </a:lnTo>
                    <a:lnTo>
                      <a:pt x="3088" y="688"/>
                    </a:lnTo>
                    <a:lnTo>
                      <a:pt x="3088" y="689"/>
                    </a:lnTo>
                    <a:lnTo>
                      <a:pt x="3088" y="691"/>
                    </a:lnTo>
                    <a:lnTo>
                      <a:pt x="3089" y="691"/>
                    </a:lnTo>
                    <a:lnTo>
                      <a:pt x="3079" y="691"/>
                    </a:lnTo>
                    <a:lnTo>
                      <a:pt x="3079" y="691"/>
                    </a:lnTo>
                    <a:lnTo>
                      <a:pt x="3078" y="691"/>
                    </a:lnTo>
                    <a:lnTo>
                      <a:pt x="3076" y="689"/>
                    </a:lnTo>
                    <a:lnTo>
                      <a:pt x="3073" y="689"/>
                    </a:lnTo>
                    <a:lnTo>
                      <a:pt x="3072" y="688"/>
                    </a:lnTo>
                    <a:lnTo>
                      <a:pt x="3072" y="688"/>
                    </a:lnTo>
                    <a:lnTo>
                      <a:pt x="3069" y="688"/>
                    </a:lnTo>
                    <a:lnTo>
                      <a:pt x="3069" y="688"/>
                    </a:lnTo>
                    <a:lnTo>
                      <a:pt x="3066" y="689"/>
                    </a:lnTo>
                    <a:lnTo>
                      <a:pt x="3065" y="691"/>
                    </a:lnTo>
                    <a:lnTo>
                      <a:pt x="3063" y="692"/>
                    </a:lnTo>
                    <a:lnTo>
                      <a:pt x="3062" y="694"/>
                    </a:lnTo>
                    <a:lnTo>
                      <a:pt x="3062" y="696"/>
                    </a:lnTo>
                    <a:lnTo>
                      <a:pt x="3060" y="698"/>
                    </a:lnTo>
                    <a:lnTo>
                      <a:pt x="3060" y="701"/>
                    </a:lnTo>
                    <a:lnTo>
                      <a:pt x="3059" y="701"/>
                    </a:lnTo>
                    <a:lnTo>
                      <a:pt x="3059" y="701"/>
                    </a:lnTo>
                    <a:lnTo>
                      <a:pt x="3059" y="702"/>
                    </a:lnTo>
                    <a:lnTo>
                      <a:pt x="3060" y="704"/>
                    </a:lnTo>
                    <a:lnTo>
                      <a:pt x="3060" y="705"/>
                    </a:lnTo>
                    <a:lnTo>
                      <a:pt x="3062" y="706"/>
                    </a:lnTo>
                    <a:lnTo>
                      <a:pt x="3063" y="708"/>
                    </a:lnTo>
                    <a:lnTo>
                      <a:pt x="3065" y="709"/>
                    </a:lnTo>
                    <a:lnTo>
                      <a:pt x="3065" y="711"/>
                    </a:lnTo>
                    <a:lnTo>
                      <a:pt x="3066" y="712"/>
                    </a:lnTo>
                    <a:lnTo>
                      <a:pt x="3066" y="712"/>
                    </a:lnTo>
                    <a:lnTo>
                      <a:pt x="3066" y="714"/>
                    </a:lnTo>
                    <a:lnTo>
                      <a:pt x="3068" y="715"/>
                    </a:lnTo>
                    <a:lnTo>
                      <a:pt x="3069" y="717"/>
                    </a:lnTo>
                    <a:lnTo>
                      <a:pt x="3070" y="719"/>
                    </a:lnTo>
                    <a:lnTo>
                      <a:pt x="3072" y="719"/>
                    </a:lnTo>
                    <a:lnTo>
                      <a:pt x="3072" y="721"/>
                    </a:lnTo>
                    <a:lnTo>
                      <a:pt x="3072" y="721"/>
                    </a:lnTo>
                    <a:lnTo>
                      <a:pt x="3073" y="721"/>
                    </a:lnTo>
                    <a:lnTo>
                      <a:pt x="3076" y="724"/>
                    </a:lnTo>
                    <a:lnTo>
                      <a:pt x="3078" y="724"/>
                    </a:lnTo>
                    <a:lnTo>
                      <a:pt x="3079" y="725"/>
                    </a:lnTo>
                    <a:lnTo>
                      <a:pt x="3081" y="727"/>
                    </a:lnTo>
                    <a:lnTo>
                      <a:pt x="3082" y="728"/>
                    </a:lnTo>
                    <a:lnTo>
                      <a:pt x="3085" y="730"/>
                    </a:lnTo>
                    <a:lnTo>
                      <a:pt x="3085" y="731"/>
                    </a:lnTo>
                    <a:lnTo>
                      <a:pt x="3085" y="731"/>
                    </a:lnTo>
                    <a:lnTo>
                      <a:pt x="3083" y="731"/>
                    </a:lnTo>
                    <a:lnTo>
                      <a:pt x="3082" y="731"/>
                    </a:lnTo>
                    <a:lnTo>
                      <a:pt x="3082" y="731"/>
                    </a:lnTo>
                    <a:lnTo>
                      <a:pt x="3081" y="730"/>
                    </a:lnTo>
                    <a:lnTo>
                      <a:pt x="3079" y="730"/>
                    </a:lnTo>
                    <a:lnTo>
                      <a:pt x="3079" y="728"/>
                    </a:lnTo>
                    <a:lnTo>
                      <a:pt x="3079" y="728"/>
                    </a:lnTo>
                    <a:lnTo>
                      <a:pt x="3079" y="727"/>
                    </a:lnTo>
                    <a:lnTo>
                      <a:pt x="3078" y="727"/>
                    </a:lnTo>
                    <a:lnTo>
                      <a:pt x="3078" y="727"/>
                    </a:lnTo>
                    <a:lnTo>
                      <a:pt x="3076" y="728"/>
                    </a:lnTo>
                    <a:lnTo>
                      <a:pt x="3075" y="728"/>
                    </a:lnTo>
                    <a:lnTo>
                      <a:pt x="3075" y="728"/>
                    </a:lnTo>
                    <a:lnTo>
                      <a:pt x="3072" y="728"/>
                    </a:lnTo>
                    <a:lnTo>
                      <a:pt x="3070" y="730"/>
                    </a:lnTo>
                    <a:lnTo>
                      <a:pt x="3069" y="731"/>
                    </a:lnTo>
                    <a:lnTo>
                      <a:pt x="3068" y="732"/>
                    </a:lnTo>
                    <a:lnTo>
                      <a:pt x="3065" y="735"/>
                    </a:lnTo>
                    <a:lnTo>
                      <a:pt x="3063" y="737"/>
                    </a:lnTo>
                    <a:lnTo>
                      <a:pt x="3062" y="737"/>
                    </a:lnTo>
                    <a:lnTo>
                      <a:pt x="3062" y="737"/>
                    </a:lnTo>
                    <a:lnTo>
                      <a:pt x="3060" y="737"/>
                    </a:lnTo>
                    <a:lnTo>
                      <a:pt x="3059" y="735"/>
                    </a:lnTo>
                    <a:lnTo>
                      <a:pt x="3056" y="735"/>
                    </a:lnTo>
                    <a:lnTo>
                      <a:pt x="3055" y="734"/>
                    </a:lnTo>
                    <a:lnTo>
                      <a:pt x="3055" y="734"/>
                    </a:lnTo>
                    <a:lnTo>
                      <a:pt x="3055" y="735"/>
                    </a:lnTo>
                    <a:lnTo>
                      <a:pt x="3055" y="737"/>
                    </a:lnTo>
                    <a:lnTo>
                      <a:pt x="3055" y="737"/>
                    </a:lnTo>
                    <a:lnTo>
                      <a:pt x="3056" y="737"/>
                    </a:lnTo>
                    <a:lnTo>
                      <a:pt x="3057" y="737"/>
                    </a:lnTo>
                    <a:lnTo>
                      <a:pt x="3060" y="737"/>
                    </a:lnTo>
                    <a:lnTo>
                      <a:pt x="3060" y="738"/>
                    </a:lnTo>
                    <a:lnTo>
                      <a:pt x="3060" y="738"/>
                    </a:lnTo>
                    <a:lnTo>
                      <a:pt x="3060" y="738"/>
                    </a:lnTo>
                    <a:lnTo>
                      <a:pt x="3062" y="740"/>
                    </a:lnTo>
                    <a:lnTo>
                      <a:pt x="3062" y="741"/>
                    </a:lnTo>
                    <a:lnTo>
                      <a:pt x="3062" y="741"/>
                    </a:lnTo>
                    <a:lnTo>
                      <a:pt x="3062" y="743"/>
                    </a:lnTo>
                    <a:lnTo>
                      <a:pt x="3062" y="743"/>
                    </a:lnTo>
                    <a:lnTo>
                      <a:pt x="3063" y="744"/>
                    </a:lnTo>
                    <a:lnTo>
                      <a:pt x="3065" y="745"/>
                    </a:lnTo>
                    <a:lnTo>
                      <a:pt x="3065" y="745"/>
                    </a:lnTo>
                    <a:lnTo>
                      <a:pt x="3065" y="747"/>
                    </a:lnTo>
                    <a:lnTo>
                      <a:pt x="3065" y="747"/>
                    </a:lnTo>
                    <a:lnTo>
                      <a:pt x="3065" y="748"/>
                    </a:lnTo>
                    <a:lnTo>
                      <a:pt x="3065" y="748"/>
                    </a:lnTo>
                    <a:lnTo>
                      <a:pt x="3075" y="757"/>
                    </a:lnTo>
                    <a:lnTo>
                      <a:pt x="3075" y="760"/>
                    </a:lnTo>
                    <a:lnTo>
                      <a:pt x="3076" y="761"/>
                    </a:lnTo>
                    <a:lnTo>
                      <a:pt x="3078" y="764"/>
                    </a:lnTo>
                    <a:lnTo>
                      <a:pt x="3078" y="767"/>
                    </a:lnTo>
                    <a:lnTo>
                      <a:pt x="3078" y="771"/>
                    </a:lnTo>
                    <a:lnTo>
                      <a:pt x="3078" y="773"/>
                    </a:lnTo>
                    <a:lnTo>
                      <a:pt x="3076" y="776"/>
                    </a:lnTo>
                    <a:lnTo>
                      <a:pt x="3076" y="777"/>
                    </a:lnTo>
                    <a:lnTo>
                      <a:pt x="3075" y="779"/>
                    </a:lnTo>
                    <a:lnTo>
                      <a:pt x="3075" y="780"/>
                    </a:lnTo>
                    <a:lnTo>
                      <a:pt x="3073" y="781"/>
                    </a:lnTo>
                    <a:lnTo>
                      <a:pt x="3073" y="781"/>
                    </a:lnTo>
                    <a:lnTo>
                      <a:pt x="3073" y="783"/>
                    </a:lnTo>
                    <a:lnTo>
                      <a:pt x="3073" y="783"/>
                    </a:lnTo>
                    <a:lnTo>
                      <a:pt x="3073" y="784"/>
                    </a:lnTo>
                    <a:lnTo>
                      <a:pt x="3075" y="784"/>
                    </a:lnTo>
                    <a:lnTo>
                      <a:pt x="3075" y="786"/>
                    </a:lnTo>
                    <a:lnTo>
                      <a:pt x="3073" y="787"/>
                    </a:lnTo>
                    <a:lnTo>
                      <a:pt x="3072" y="789"/>
                    </a:lnTo>
                    <a:lnTo>
                      <a:pt x="3070" y="792"/>
                    </a:lnTo>
                    <a:lnTo>
                      <a:pt x="3070" y="793"/>
                    </a:lnTo>
                    <a:lnTo>
                      <a:pt x="3069" y="794"/>
                    </a:lnTo>
                    <a:lnTo>
                      <a:pt x="3068" y="796"/>
                    </a:lnTo>
                    <a:lnTo>
                      <a:pt x="3065" y="797"/>
                    </a:lnTo>
                    <a:lnTo>
                      <a:pt x="3065" y="794"/>
                    </a:lnTo>
                    <a:lnTo>
                      <a:pt x="3065" y="793"/>
                    </a:lnTo>
                    <a:lnTo>
                      <a:pt x="3063" y="792"/>
                    </a:lnTo>
                    <a:lnTo>
                      <a:pt x="3062" y="790"/>
                    </a:lnTo>
                    <a:lnTo>
                      <a:pt x="3060" y="789"/>
                    </a:lnTo>
                    <a:lnTo>
                      <a:pt x="3059" y="789"/>
                    </a:lnTo>
                    <a:lnTo>
                      <a:pt x="3055" y="786"/>
                    </a:lnTo>
                    <a:lnTo>
                      <a:pt x="3053" y="784"/>
                    </a:lnTo>
                    <a:lnTo>
                      <a:pt x="3052" y="784"/>
                    </a:lnTo>
                    <a:lnTo>
                      <a:pt x="3049" y="781"/>
                    </a:lnTo>
                    <a:lnTo>
                      <a:pt x="3046" y="780"/>
                    </a:lnTo>
                    <a:lnTo>
                      <a:pt x="3044" y="779"/>
                    </a:lnTo>
                    <a:lnTo>
                      <a:pt x="3044" y="776"/>
                    </a:lnTo>
                    <a:lnTo>
                      <a:pt x="3043" y="774"/>
                    </a:lnTo>
                    <a:lnTo>
                      <a:pt x="3042" y="771"/>
                    </a:lnTo>
                    <a:lnTo>
                      <a:pt x="3040" y="771"/>
                    </a:lnTo>
                    <a:lnTo>
                      <a:pt x="3039" y="768"/>
                    </a:lnTo>
                    <a:lnTo>
                      <a:pt x="3036" y="767"/>
                    </a:lnTo>
                    <a:lnTo>
                      <a:pt x="3033" y="764"/>
                    </a:lnTo>
                    <a:lnTo>
                      <a:pt x="3030" y="761"/>
                    </a:lnTo>
                    <a:lnTo>
                      <a:pt x="3029" y="760"/>
                    </a:lnTo>
                    <a:lnTo>
                      <a:pt x="3027" y="760"/>
                    </a:lnTo>
                    <a:lnTo>
                      <a:pt x="3027" y="758"/>
                    </a:lnTo>
                    <a:lnTo>
                      <a:pt x="3027" y="758"/>
                    </a:lnTo>
                    <a:lnTo>
                      <a:pt x="3024" y="756"/>
                    </a:lnTo>
                    <a:lnTo>
                      <a:pt x="3023" y="754"/>
                    </a:lnTo>
                    <a:lnTo>
                      <a:pt x="3021" y="754"/>
                    </a:lnTo>
                    <a:lnTo>
                      <a:pt x="3020" y="754"/>
                    </a:lnTo>
                    <a:lnTo>
                      <a:pt x="3019" y="754"/>
                    </a:lnTo>
                    <a:lnTo>
                      <a:pt x="3019" y="753"/>
                    </a:lnTo>
                    <a:lnTo>
                      <a:pt x="3017" y="751"/>
                    </a:lnTo>
                    <a:lnTo>
                      <a:pt x="3017" y="751"/>
                    </a:lnTo>
                    <a:lnTo>
                      <a:pt x="3017" y="750"/>
                    </a:lnTo>
                    <a:lnTo>
                      <a:pt x="3019" y="750"/>
                    </a:lnTo>
                    <a:lnTo>
                      <a:pt x="3019" y="750"/>
                    </a:lnTo>
                    <a:lnTo>
                      <a:pt x="3020" y="748"/>
                    </a:lnTo>
                    <a:lnTo>
                      <a:pt x="3017" y="748"/>
                    </a:lnTo>
                    <a:lnTo>
                      <a:pt x="3016" y="748"/>
                    </a:lnTo>
                    <a:lnTo>
                      <a:pt x="3013" y="747"/>
                    </a:lnTo>
                    <a:lnTo>
                      <a:pt x="3010" y="745"/>
                    </a:lnTo>
                    <a:lnTo>
                      <a:pt x="3008" y="744"/>
                    </a:lnTo>
                    <a:lnTo>
                      <a:pt x="3006" y="743"/>
                    </a:lnTo>
                    <a:lnTo>
                      <a:pt x="3004" y="741"/>
                    </a:lnTo>
                    <a:lnTo>
                      <a:pt x="3001" y="738"/>
                    </a:lnTo>
                    <a:lnTo>
                      <a:pt x="2997" y="735"/>
                    </a:lnTo>
                    <a:lnTo>
                      <a:pt x="2993" y="731"/>
                    </a:lnTo>
                    <a:lnTo>
                      <a:pt x="2990" y="727"/>
                    </a:lnTo>
                    <a:lnTo>
                      <a:pt x="2987" y="724"/>
                    </a:lnTo>
                    <a:lnTo>
                      <a:pt x="2985" y="722"/>
                    </a:lnTo>
                    <a:lnTo>
                      <a:pt x="2980" y="718"/>
                    </a:lnTo>
                    <a:lnTo>
                      <a:pt x="2975" y="712"/>
                    </a:lnTo>
                    <a:lnTo>
                      <a:pt x="2969" y="708"/>
                    </a:lnTo>
                    <a:lnTo>
                      <a:pt x="2964" y="704"/>
                    </a:lnTo>
                    <a:lnTo>
                      <a:pt x="2954" y="694"/>
                    </a:lnTo>
                    <a:lnTo>
                      <a:pt x="2942" y="686"/>
                    </a:lnTo>
                    <a:lnTo>
                      <a:pt x="2938" y="682"/>
                    </a:lnTo>
                    <a:lnTo>
                      <a:pt x="2935" y="678"/>
                    </a:lnTo>
                    <a:lnTo>
                      <a:pt x="2926" y="669"/>
                    </a:lnTo>
                    <a:lnTo>
                      <a:pt x="2923" y="666"/>
                    </a:lnTo>
                    <a:lnTo>
                      <a:pt x="2919" y="660"/>
                    </a:lnTo>
                    <a:lnTo>
                      <a:pt x="2915" y="656"/>
                    </a:lnTo>
                    <a:lnTo>
                      <a:pt x="2910" y="652"/>
                    </a:lnTo>
                    <a:lnTo>
                      <a:pt x="2909" y="650"/>
                    </a:lnTo>
                    <a:lnTo>
                      <a:pt x="2909" y="649"/>
                    </a:lnTo>
                    <a:lnTo>
                      <a:pt x="2907" y="647"/>
                    </a:lnTo>
                    <a:lnTo>
                      <a:pt x="2906" y="644"/>
                    </a:lnTo>
                    <a:lnTo>
                      <a:pt x="2905" y="643"/>
                    </a:lnTo>
                    <a:lnTo>
                      <a:pt x="2903" y="642"/>
                    </a:lnTo>
                    <a:lnTo>
                      <a:pt x="2902" y="639"/>
                    </a:lnTo>
                    <a:lnTo>
                      <a:pt x="2899" y="637"/>
                    </a:lnTo>
                    <a:lnTo>
                      <a:pt x="2899" y="636"/>
                    </a:lnTo>
                    <a:lnTo>
                      <a:pt x="2899" y="634"/>
                    </a:lnTo>
                    <a:lnTo>
                      <a:pt x="2897" y="634"/>
                    </a:lnTo>
                    <a:lnTo>
                      <a:pt x="2897" y="633"/>
                    </a:lnTo>
                    <a:lnTo>
                      <a:pt x="2896" y="633"/>
                    </a:lnTo>
                    <a:lnTo>
                      <a:pt x="2896" y="632"/>
                    </a:lnTo>
                    <a:lnTo>
                      <a:pt x="2896" y="630"/>
                    </a:lnTo>
                    <a:lnTo>
                      <a:pt x="2896" y="629"/>
                    </a:lnTo>
                    <a:lnTo>
                      <a:pt x="2896" y="629"/>
                    </a:lnTo>
                    <a:lnTo>
                      <a:pt x="2896" y="627"/>
                    </a:lnTo>
                    <a:lnTo>
                      <a:pt x="2896" y="627"/>
                    </a:lnTo>
                    <a:lnTo>
                      <a:pt x="2896" y="626"/>
                    </a:lnTo>
                    <a:lnTo>
                      <a:pt x="2896" y="626"/>
                    </a:lnTo>
                    <a:lnTo>
                      <a:pt x="2897" y="623"/>
                    </a:lnTo>
                    <a:lnTo>
                      <a:pt x="2897" y="621"/>
                    </a:lnTo>
                    <a:lnTo>
                      <a:pt x="2897" y="620"/>
                    </a:lnTo>
                    <a:lnTo>
                      <a:pt x="2899" y="619"/>
                    </a:lnTo>
                    <a:lnTo>
                      <a:pt x="2900" y="617"/>
                    </a:lnTo>
                    <a:lnTo>
                      <a:pt x="2902" y="617"/>
                    </a:lnTo>
                    <a:lnTo>
                      <a:pt x="2902" y="617"/>
                    </a:lnTo>
                    <a:lnTo>
                      <a:pt x="2902" y="616"/>
                    </a:lnTo>
                    <a:lnTo>
                      <a:pt x="2900" y="614"/>
                    </a:lnTo>
                    <a:lnTo>
                      <a:pt x="2899" y="611"/>
                    </a:lnTo>
                    <a:lnTo>
                      <a:pt x="2899" y="608"/>
                    </a:lnTo>
                    <a:lnTo>
                      <a:pt x="2897" y="607"/>
                    </a:lnTo>
                    <a:lnTo>
                      <a:pt x="2896" y="606"/>
                    </a:lnTo>
                    <a:lnTo>
                      <a:pt x="2894" y="604"/>
                    </a:lnTo>
                    <a:lnTo>
                      <a:pt x="2892" y="604"/>
                    </a:lnTo>
                    <a:lnTo>
                      <a:pt x="2889" y="601"/>
                    </a:lnTo>
                    <a:lnTo>
                      <a:pt x="2887" y="601"/>
                    </a:lnTo>
                    <a:lnTo>
                      <a:pt x="2884" y="600"/>
                    </a:lnTo>
                    <a:lnTo>
                      <a:pt x="2883" y="598"/>
                    </a:lnTo>
                    <a:lnTo>
                      <a:pt x="2883" y="597"/>
                    </a:lnTo>
                    <a:lnTo>
                      <a:pt x="2884" y="597"/>
                    </a:lnTo>
                    <a:lnTo>
                      <a:pt x="2886" y="597"/>
                    </a:lnTo>
                    <a:lnTo>
                      <a:pt x="2889" y="598"/>
                    </a:lnTo>
                    <a:lnTo>
                      <a:pt x="2890" y="598"/>
                    </a:lnTo>
                    <a:lnTo>
                      <a:pt x="2893" y="598"/>
                    </a:lnTo>
                    <a:lnTo>
                      <a:pt x="2894" y="598"/>
                    </a:lnTo>
                    <a:lnTo>
                      <a:pt x="2896" y="597"/>
                    </a:lnTo>
                    <a:lnTo>
                      <a:pt x="2896" y="597"/>
                    </a:lnTo>
                    <a:lnTo>
                      <a:pt x="2896" y="595"/>
                    </a:lnTo>
                    <a:lnTo>
                      <a:pt x="2896" y="595"/>
                    </a:lnTo>
                    <a:lnTo>
                      <a:pt x="2896" y="594"/>
                    </a:lnTo>
                    <a:lnTo>
                      <a:pt x="2894" y="593"/>
                    </a:lnTo>
                    <a:lnTo>
                      <a:pt x="2894" y="593"/>
                    </a:lnTo>
                    <a:lnTo>
                      <a:pt x="2896" y="591"/>
                    </a:lnTo>
                    <a:lnTo>
                      <a:pt x="2896" y="591"/>
                    </a:lnTo>
                    <a:lnTo>
                      <a:pt x="2897" y="591"/>
                    </a:lnTo>
                    <a:lnTo>
                      <a:pt x="2897" y="591"/>
                    </a:lnTo>
                    <a:lnTo>
                      <a:pt x="2899" y="593"/>
                    </a:lnTo>
                    <a:lnTo>
                      <a:pt x="2900" y="591"/>
                    </a:lnTo>
                    <a:lnTo>
                      <a:pt x="2903" y="591"/>
                    </a:lnTo>
                    <a:lnTo>
                      <a:pt x="2905" y="591"/>
                    </a:lnTo>
                    <a:lnTo>
                      <a:pt x="2906" y="590"/>
                    </a:lnTo>
                    <a:lnTo>
                      <a:pt x="2907" y="590"/>
                    </a:lnTo>
                    <a:lnTo>
                      <a:pt x="2907" y="590"/>
                    </a:lnTo>
                    <a:lnTo>
                      <a:pt x="2907" y="588"/>
                    </a:lnTo>
                    <a:lnTo>
                      <a:pt x="2907" y="587"/>
                    </a:lnTo>
                    <a:lnTo>
                      <a:pt x="2907" y="587"/>
                    </a:lnTo>
                    <a:lnTo>
                      <a:pt x="2907" y="585"/>
                    </a:lnTo>
                    <a:lnTo>
                      <a:pt x="2909" y="584"/>
                    </a:lnTo>
                    <a:lnTo>
                      <a:pt x="2909" y="584"/>
                    </a:lnTo>
                    <a:lnTo>
                      <a:pt x="2910" y="584"/>
                    </a:lnTo>
                    <a:lnTo>
                      <a:pt x="2910" y="582"/>
                    </a:lnTo>
                    <a:lnTo>
                      <a:pt x="2910" y="581"/>
                    </a:lnTo>
                    <a:lnTo>
                      <a:pt x="2910" y="581"/>
                    </a:lnTo>
                    <a:lnTo>
                      <a:pt x="2910" y="580"/>
                    </a:lnTo>
                    <a:lnTo>
                      <a:pt x="2912" y="578"/>
                    </a:lnTo>
                    <a:lnTo>
                      <a:pt x="2912" y="578"/>
                    </a:lnTo>
                    <a:lnTo>
                      <a:pt x="2912" y="577"/>
                    </a:lnTo>
                    <a:lnTo>
                      <a:pt x="2912" y="577"/>
                    </a:lnTo>
                    <a:lnTo>
                      <a:pt x="2913" y="575"/>
                    </a:lnTo>
                    <a:lnTo>
                      <a:pt x="2913" y="575"/>
                    </a:lnTo>
                    <a:lnTo>
                      <a:pt x="2915" y="575"/>
                    </a:lnTo>
                    <a:lnTo>
                      <a:pt x="2915" y="575"/>
                    </a:lnTo>
                    <a:lnTo>
                      <a:pt x="2915" y="574"/>
                    </a:lnTo>
                    <a:lnTo>
                      <a:pt x="2913" y="572"/>
                    </a:lnTo>
                    <a:lnTo>
                      <a:pt x="2913" y="571"/>
                    </a:lnTo>
                    <a:lnTo>
                      <a:pt x="2913" y="570"/>
                    </a:lnTo>
                    <a:lnTo>
                      <a:pt x="2913" y="568"/>
                    </a:lnTo>
                    <a:lnTo>
                      <a:pt x="2913" y="567"/>
                    </a:lnTo>
                    <a:lnTo>
                      <a:pt x="2912" y="567"/>
                    </a:lnTo>
                    <a:lnTo>
                      <a:pt x="2912" y="567"/>
                    </a:lnTo>
                    <a:lnTo>
                      <a:pt x="2910" y="565"/>
                    </a:lnTo>
                    <a:lnTo>
                      <a:pt x="2910" y="565"/>
                    </a:lnTo>
                    <a:lnTo>
                      <a:pt x="2909" y="564"/>
                    </a:lnTo>
                    <a:lnTo>
                      <a:pt x="2909" y="562"/>
                    </a:lnTo>
                    <a:lnTo>
                      <a:pt x="2909" y="561"/>
                    </a:lnTo>
                    <a:lnTo>
                      <a:pt x="2909" y="559"/>
                    </a:lnTo>
                    <a:lnTo>
                      <a:pt x="2909" y="559"/>
                    </a:lnTo>
                    <a:lnTo>
                      <a:pt x="2909" y="557"/>
                    </a:lnTo>
                    <a:lnTo>
                      <a:pt x="2910" y="555"/>
                    </a:lnTo>
                    <a:lnTo>
                      <a:pt x="2910" y="552"/>
                    </a:lnTo>
                    <a:lnTo>
                      <a:pt x="2912" y="551"/>
                    </a:lnTo>
                    <a:lnTo>
                      <a:pt x="2912" y="549"/>
                    </a:lnTo>
                    <a:lnTo>
                      <a:pt x="2910" y="549"/>
                    </a:lnTo>
                    <a:lnTo>
                      <a:pt x="2910" y="548"/>
                    </a:lnTo>
                    <a:lnTo>
                      <a:pt x="2910" y="548"/>
                    </a:lnTo>
                    <a:lnTo>
                      <a:pt x="2912" y="546"/>
                    </a:lnTo>
                    <a:lnTo>
                      <a:pt x="2912" y="546"/>
                    </a:lnTo>
                    <a:lnTo>
                      <a:pt x="2913" y="546"/>
                    </a:lnTo>
                    <a:lnTo>
                      <a:pt x="2915" y="546"/>
                    </a:lnTo>
                    <a:lnTo>
                      <a:pt x="2916" y="546"/>
                    </a:lnTo>
                    <a:lnTo>
                      <a:pt x="2916" y="545"/>
                    </a:lnTo>
                    <a:lnTo>
                      <a:pt x="2916" y="544"/>
                    </a:lnTo>
                    <a:lnTo>
                      <a:pt x="2916" y="542"/>
                    </a:lnTo>
                    <a:lnTo>
                      <a:pt x="2916" y="539"/>
                    </a:lnTo>
                    <a:lnTo>
                      <a:pt x="2916" y="536"/>
                    </a:lnTo>
                    <a:lnTo>
                      <a:pt x="2916" y="535"/>
                    </a:lnTo>
                    <a:lnTo>
                      <a:pt x="2916" y="533"/>
                    </a:lnTo>
                    <a:lnTo>
                      <a:pt x="2916" y="533"/>
                    </a:lnTo>
                    <a:lnTo>
                      <a:pt x="2918" y="533"/>
                    </a:lnTo>
                    <a:lnTo>
                      <a:pt x="2918" y="532"/>
                    </a:lnTo>
                    <a:lnTo>
                      <a:pt x="2918" y="532"/>
                    </a:lnTo>
                    <a:lnTo>
                      <a:pt x="2919" y="531"/>
                    </a:lnTo>
                    <a:lnTo>
                      <a:pt x="2919" y="529"/>
                    </a:lnTo>
                    <a:lnTo>
                      <a:pt x="2919" y="528"/>
                    </a:lnTo>
                    <a:lnTo>
                      <a:pt x="2919" y="528"/>
                    </a:lnTo>
                    <a:lnTo>
                      <a:pt x="2919" y="526"/>
                    </a:lnTo>
                    <a:lnTo>
                      <a:pt x="2919" y="526"/>
                    </a:lnTo>
                    <a:lnTo>
                      <a:pt x="2918" y="525"/>
                    </a:lnTo>
                    <a:lnTo>
                      <a:pt x="2916" y="523"/>
                    </a:lnTo>
                    <a:lnTo>
                      <a:pt x="2915" y="523"/>
                    </a:lnTo>
                    <a:lnTo>
                      <a:pt x="2913" y="522"/>
                    </a:lnTo>
                    <a:lnTo>
                      <a:pt x="2915" y="522"/>
                    </a:lnTo>
                    <a:lnTo>
                      <a:pt x="2916" y="520"/>
                    </a:lnTo>
                    <a:lnTo>
                      <a:pt x="2918" y="519"/>
                    </a:lnTo>
                    <a:lnTo>
                      <a:pt x="2920" y="518"/>
                    </a:lnTo>
                    <a:lnTo>
                      <a:pt x="2922" y="518"/>
                    </a:lnTo>
                    <a:lnTo>
                      <a:pt x="2922" y="516"/>
                    </a:lnTo>
                    <a:lnTo>
                      <a:pt x="2923" y="516"/>
                    </a:lnTo>
                    <a:lnTo>
                      <a:pt x="2923" y="516"/>
                    </a:lnTo>
                    <a:lnTo>
                      <a:pt x="2923" y="515"/>
                    </a:lnTo>
                    <a:lnTo>
                      <a:pt x="2923" y="515"/>
                    </a:lnTo>
                    <a:lnTo>
                      <a:pt x="2923" y="515"/>
                    </a:lnTo>
                    <a:lnTo>
                      <a:pt x="2925" y="515"/>
                    </a:lnTo>
                    <a:lnTo>
                      <a:pt x="2926" y="513"/>
                    </a:lnTo>
                    <a:lnTo>
                      <a:pt x="2928" y="512"/>
                    </a:lnTo>
                    <a:lnTo>
                      <a:pt x="2928" y="512"/>
                    </a:lnTo>
                    <a:lnTo>
                      <a:pt x="2929" y="512"/>
                    </a:lnTo>
                    <a:lnTo>
                      <a:pt x="2931" y="512"/>
                    </a:lnTo>
                    <a:lnTo>
                      <a:pt x="2932" y="512"/>
                    </a:lnTo>
                    <a:lnTo>
                      <a:pt x="2932" y="513"/>
                    </a:lnTo>
                    <a:lnTo>
                      <a:pt x="2933" y="515"/>
                    </a:lnTo>
                    <a:lnTo>
                      <a:pt x="2933" y="513"/>
                    </a:lnTo>
                    <a:lnTo>
                      <a:pt x="2935" y="513"/>
                    </a:lnTo>
                    <a:lnTo>
                      <a:pt x="2935" y="513"/>
                    </a:lnTo>
                    <a:lnTo>
                      <a:pt x="2935" y="512"/>
                    </a:lnTo>
                    <a:lnTo>
                      <a:pt x="2936" y="510"/>
                    </a:lnTo>
                    <a:lnTo>
                      <a:pt x="2936" y="508"/>
                    </a:lnTo>
                    <a:lnTo>
                      <a:pt x="2935" y="508"/>
                    </a:lnTo>
                    <a:lnTo>
                      <a:pt x="2933" y="508"/>
                    </a:lnTo>
                    <a:lnTo>
                      <a:pt x="2932" y="508"/>
                    </a:lnTo>
                    <a:lnTo>
                      <a:pt x="2932" y="506"/>
                    </a:lnTo>
                    <a:lnTo>
                      <a:pt x="2931" y="506"/>
                    </a:lnTo>
                    <a:lnTo>
                      <a:pt x="2931" y="505"/>
                    </a:lnTo>
                    <a:lnTo>
                      <a:pt x="2931" y="502"/>
                    </a:lnTo>
                    <a:lnTo>
                      <a:pt x="2931" y="502"/>
                    </a:lnTo>
                    <a:lnTo>
                      <a:pt x="2931" y="500"/>
                    </a:lnTo>
                    <a:lnTo>
                      <a:pt x="2931" y="500"/>
                    </a:lnTo>
                    <a:lnTo>
                      <a:pt x="2931" y="499"/>
                    </a:lnTo>
                    <a:lnTo>
                      <a:pt x="2931" y="499"/>
                    </a:lnTo>
                    <a:lnTo>
                      <a:pt x="2931" y="497"/>
                    </a:lnTo>
                    <a:lnTo>
                      <a:pt x="2929" y="497"/>
                    </a:lnTo>
                    <a:lnTo>
                      <a:pt x="2929" y="497"/>
                    </a:lnTo>
                    <a:lnTo>
                      <a:pt x="2928" y="497"/>
                    </a:lnTo>
                    <a:lnTo>
                      <a:pt x="2926" y="496"/>
                    </a:lnTo>
                    <a:lnTo>
                      <a:pt x="2925" y="496"/>
                    </a:lnTo>
                    <a:lnTo>
                      <a:pt x="2923" y="496"/>
                    </a:lnTo>
                    <a:lnTo>
                      <a:pt x="2923" y="495"/>
                    </a:lnTo>
                    <a:lnTo>
                      <a:pt x="2922" y="495"/>
                    </a:lnTo>
                    <a:lnTo>
                      <a:pt x="2920" y="495"/>
                    </a:lnTo>
                    <a:lnTo>
                      <a:pt x="2920" y="493"/>
                    </a:lnTo>
                    <a:lnTo>
                      <a:pt x="2919" y="492"/>
                    </a:lnTo>
                    <a:lnTo>
                      <a:pt x="2919" y="492"/>
                    </a:lnTo>
                    <a:lnTo>
                      <a:pt x="2919" y="490"/>
                    </a:lnTo>
                    <a:lnTo>
                      <a:pt x="2918" y="489"/>
                    </a:lnTo>
                    <a:lnTo>
                      <a:pt x="2916" y="486"/>
                    </a:lnTo>
                    <a:lnTo>
                      <a:pt x="2915" y="484"/>
                    </a:lnTo>
                    <a:lnTo>
                      <a:pt x="2915" y="483"/>
                    </a:lnTo>
                    <a:lnTo>
                      <a:pt x="2913" y="482"/>
                    </a:lnTo>
                    <a:lnTo>
                      <a:pt x="2912" y="480"/>
                    </a:lnTo>
                    <a:lnTo>
                      <a:pt x="2909" y="480"/>
                    </a:lnTo>
                    <a:lnTo>
                      <a:pt x="2906" y="477"/>
                    </a:lnTo>
                    <a:lnTo>
                      <a:pt x="2906" y="474"/>
                    </a:lnTo>
                    <a:lnTo>
                      <a:pt x="2905" y="473"/>
                    </a:lnTo>
                    <a:lnTo>
                      <a:pt x="2905" y="473"/>
                    </a:lnTo>
                    <a:lnTo>
                      <a:pt x="2903" y="471"/>
                    </a:lnTo>
                    <a:lnTo>
                      <a:pt x="2903" y="470"/>
                    </a:lnTo>
                    <a:lnTo>
                      <a:pt x="2903" y="469"/>
                    </a:lnTo>
                    <a:lnTo>
                      <a:pt x="2903" y="467"/>
                    </a:lnTo>
                    <a:lnTo>
                      <a:pt x="2905" y="466"/>
                    </a:lnTo>
                    <a:lnTo>
                      <a:pt x="2906" y="464"/>
                    </a:lnTo>
                    <a:lnTo>
                      <a:pt x="2906" y="464"/>
                    </a:lnTo>
                    <a:lnTo>
                      <a:pt x="2907" y="464"/>
                    </a:lnTo>
                    <a:lnTo>
                      <a:pt x="2909" y="464"/>
                    </a:lnTo>
                    <a:lnTo>
                      <a:pt x="2906" y="463"/>
                    </a:lnTo>
                    <a:lnTo>
                      <a:pt x="2902" y="463"/>
                    </a:lnTo>
                    <a:lnTo>
                      <a:pt x="2900" y="461"/>
                    </a:lnTo>
                    <a:lnTo>
                      <a:pt x="2899" y="461"/>
                    </a:lnTo>
                    <a:lnTo>
                      <a:pt x="2897" y="460"/>
                    </a:lnTo>
                    <a:lnTo>
                      <a:pt x="2896" y="460"/>
                    </a:lnTo>
                    <a:lnTo>
                      <a:pt x="2893" y="460"/>
                    </a:lnTo>
                    <a:lnTo>
                      <a:pt x="2892" y="460"/>
                    </a:lnTo>
                    <a:lnTo>
                      <a:pt x="2889" y="461"/>
                    </a:lnTo>
                    <a:lnTo>
                      <a:pt x="2884" y="461"/>
                    </a:lnTo>
                    <a:lnTo>
                      <a:pt x="2882" y="463"/>
                    </a:lnTo>
                    <a:lnTo>
                      <a:pt x="2879" y="464"/>
                    </a:lnTo>
                    <a:lnTo>
                      <a:pt x="2876" y="464"/>
                    </a:lnTo>
                    <a:lnTo>
                      <a:pt x="2876" y="466"/>
                    </a:lnTo>
                    <a:lnTo>
                      <a:pt x="2877" y="467"/>
                    </a:lnTo>
                    <a:lnTo>
                      <a:pt x="2877" y="467"/>
                    </a:lnTo>
                    <a:lnTo>
                      <a:pt x="2879" y="467"/>
                    </a:lnTo>
                    <a:lnTo>
                      <a:pt x="2880" y="467"/>
                    </a:lnTo>
                    <a:lnTo>
                      <a:pt x="2883" y="467"/>
                    </a:lnTo>
                    <a:lnTo>
                      <a:pt x="2882" y="469"/>
                    </a:lnTo>
                    <a:lnTo>
                      <a:pt x="2882" y="469"/>
                    </a:lnTo>
                    <a:lnTo>
                      <a:pt x="2882" y="470"/>
                    </a:lnTo>
                    <a:lnTo>
                      <a:pt x="2882" y="470"/>
                    </a:lnTo>
                    <a:lnTo>
                      <a:pt x="2883" y="471"/>
                    </a:lnTo>
                    <a:lnTo>
                      <a:pt x="2884" y="474"/>
                    </a:lnTo>
                    <a:lnTo>
                      <a:pt x="2886" y="476"/>
                    </a:lnTo>
                    <a:lnTo>
                      <a:pt x="2889" y="477"/>
                    </a:lnTo>
                    <a:lnTo>
                      <a:pt x="2889" y="479"/>
                    </a:lnTo>
                    <a:lnTo>
                      <a:pt x="2890" y="480"/>
                    </a:lnTo>
                    <a:lnTo>
                      <a:pt x="2892" y="482"/>
                    </a:lnTo>
                    <a:lnTo>
                      <a:pt x="2893" y="483"/>
                    </a:lnTo>
                    <a:lnTo>
                      <a:pt x="2894" y="483"/>
                    </a:lnTo>
                    <a:lnTo>
                      <a:pt x="2897" y="484"/>
                    </a:lnTo>
                    <a:lnTo>
                      <a:pt x="2900" y="486"/>
                    </a:lnTo>
                    <a:lnTo>
                      <a:pt x="2903" y="487"/>
                    </a:lnTo>
                    <a:lnTo>
                      <a:pt x="2906" y="487"/>
                    </a:lnTo>
                    <a:lnTo>
                      <a:pt x="2905" y="487"/>
                    </a:lnTo>
                    <a:lnTo>
                      <a:pt x="2905" y="487"/>
                    </a:lnTo>
                    <a:lnTo>
                      <a:pt x="2903" y="487"/>
                    </a:lnTo>
                    <a:lnTo>
                      <a:pt x="2902" y="487"/>
                    </a:lnTo>
                    <a:lnTo>
                      <a:pt x="2902" y="489"/>
                    </a:lnTo>
                    <a:lnTo>
                      <a:pt x="2902" y="489"/>
                    </a:lnTo>
                    <a:lnTo>
                      <a:pt x="2902" y="490"/>
                    </a:lnTo>
                    <a:lnTo>
                      <a:pt x="2902" y="492"/>
                    </a:lnTo>
                    <a:lnTo>
                      <a:pt x="2902" y="490"/>
                    </a:lnTo>
                    <a:lnTo>
                      <a:pt x="2900" y="490"/>
                    </a:lnTo>
                    <a:lnTo>
                      <a:pt x="2899" y="489"/>
                    </a:lnTo>
                    <a:lnTo>
                      <a:pt x="2899" y="489"/>
                    </a:lnTo>
                    <a:lnTo>
                      <a:pt x="2897" y="489"/>
                    </a:lnTo>
                    <a:lnTo>
                      <a:pt x="2896" y="487"/>
                    </a:lnTo>
                    <a:lnTo>
                      <a:pt x="2894" y="487"/>
                    </a:lnTo>
                    <a:lnTo>
                      <a:pt x="2893" y="487"/>
                    </a:lnTo>
                    <a:lnTo>
                      <a:pt x="2892" y="487"/>
                    </a:lnTo>
                    <a:lnTo>
                      <a:pt x="2890" y="487"/>
                    </a:lnTo>
                    <a:lnTo>
                      <a:pt x="2890" y="487"/>
                    </a:lnTo>
                    <a:lnTo>
                      <a:pt x="2890" y="487"/>
                    </a:lnTo>
                    <a:lnTo>
                      <a:pt x="2890" y="487"/>
                    </a:lnTo>
                    <a:lnTo>
                      <a:pt x="2892" y="487"/>
                    </a:lnTo>
                    <a:lnTo>
                      <a:pt x="2893" y="487"/>
                    </a:lnTo>
                    <a:lnTo>
                      <a:pt x="2892" y="489"/>
                    </a:lnTo>
                    <a:lnTo>
                      <a:pt x="2889" y="489"/>
                    </a:lnTo>
                    <a:lnTo>
                      <a:pt x="2887" y="489"/>
                    </a:lnTo>
                    <a:lnTo>
                      <a:pt x="2886" y="490"/>
                    </a:lnTo>
                    <a:lnTo>
                      <a:pt x="2884" y="492"/>
                    </a:lnTo>
                    <a:lnTo>
                      <a:pt x="2883" y="493"/>
                    </a:lnTo>
                    <a:lnTo>
                      <a:pt x="2883" y="495"/>
                    </a:lnTo>
                    <a:lnTo>
                      <a:pt x="2883" y="497"/>
                    </a:lnTo>
                    <a:lnTo>
                      <a:pt x="2882" y="497"/>
                    </a:lnTo>
                    <a:lnTo>
                      <a:pt x="2882" y="499"/>
                    </a:lnTo>
                    <a:lnTo>
                      <a:pt x="2882" y="500"/>
                    </a:lnTo>
                    <a:lnTo>
                      <a:pt x="2880" y="503"/>
                    </a:lnTo>
                    <a:lnTo>
                      <a:pt x="2879" y="505"/>
                    </a:lnTo>
                    <a:lnTo>
                      <a:pt x="2877" y="508"/>
                    </a:lnTo>
                    <a:lnTo>
                      <a:pt x="2877" y="509"/>
                    </a:lnTo>
                    <a:lnTo>
                      <a:pt x="2877" y="509"/>
                    </a:lnTo>
                    <a:lnTo>
                      <a:pt x="2877" y="510"/>
                    </a:lnTo>
                    <a:lnTo>
                      <a:pt x="2877" y="512"/>
                    </a:lnTo>
                    <a:lnTo>
                      <a:pt x="2879" y="513"/>
                    </a:lnTo>
                    <a:lnTo>
                      <a:pt x="2877" y="513"/>
                    </a:lnTo>
                    <a:lnTo>
                      <a:pt x="2876" y="513"/>
                    </a:lnTo>
                    <a:lnTo>
                      <a:pt x="2874" y="513"/>
                    </a:lnTo>
                    <a:lnTo>
                      <a:pt x="2873" y="515"/>
                    </a:lnTo>
                    <a:lnTo>
                      <a:pt x="2871" y="515"/>
                    </a:lnTo>
                    <a:lnTo>
                      <a:pt x="2871" y="515"/>
                    </a:lnTo>
                    <a:lnTo>
                      <a:pt x="2871" y="516"/>
                    </a:lnTo>
                    <a:lnTo>
                      <a:pt x="2870" y="516"/>
                    </a:lnTo>
                    <a:lnTo>
                      <a:pt x="2869" y="516"/>
                    </a:lnTo>
                    <a:lnTo>
                      <a:pt x="2869" y="515"/>
                    </a:lnTo>
                    <a:lnTo>
                      <a:pt x="2867" y="515"/>
                    </a:lnTo>
                    <a:lnTo>
                      <a:pt x="2866" y="515"/>
                    </a:lnTo>
                    <a:lnTo>
                      <a:pt x="2866" y="515"/>
                    </a:lnTo>
                    <a:lnTo>
                      <a:pt x="2864" y="513"/>
                    </a:lnTo>
                    <a:lnTo>
                      <a:pt x="2864" y="512"/>
                    </a:lnTo>
                    <a:lnTo>
                      <a:pt x="2864" y="510"/>
                    </a:lnTo>
                    <a:lnTo>
                      <a:pt x="2864" y="509"/>
                    </a:lnTo>
                    <a:lnTo>
                      <a:pt x="2864" y="509"/>
                    </a:lnTo>
                    <a:lnTo>
                      <a:pt x="2863" y="508"/>
                    </a:lnTo>
                    <a:lnTo>
                      <a:pt x="2863" y="506"/>
                    </a:lnTo>
                    <a:lnTo>
                      <a:pt x="2863" y="505"/>
                    </a:lnTo>
                    <a:lnTo>
                      <a:pt x="2861" y="505"/>
                    </a:lnTo>
                    <a:lnTo>
                      <a:pt x="2860" y="505"/>
                    </a:lnTo>
                    <a:lnTo>
                      <a:pt x="2858" y="505"/>
                    </a:lnTo>
                    <a:lnTo>
                      <a:pt x="2858" y="505"/>
                    </a:lnTo>
                    <a:lnTo>
                      <a:pt x="2857" y="506"/>
                    </a:lnTo>
                    <a:lnTo>
                      <a:pt x="2856" y="506"/>
                    </a:lnTo>
                    <a:lnTo>
                      <a:pt x="2854" y="508"/>
                    </a:lnTo>
                    <a:lnTo>
                      <a:pt x="2854" y="508"/>
                    </a:lnTo>
                    <a:lnTo>
                      <a:pt x="2853" y="508"/>
                    </a:lnTo>
                    <a:lnTo>
                      <a:pt x="2853" y="508"/>
                    </a:lnTo>
                    <a:lnTo>
                      <a:pt x="2851" y="506"/>
                    </a:lnTo>
                    <a:lnTo>
                      <a:pt x="2851" y="506"/>
                    </a:lnTo>
                    <a:lnTo>
                      <a:pt x="2851" y="505"/>
                    </a:lnTo>
                    <a:lnTo>
                      <a:pt x="2843" y="497"/>
                    </a:lnTo>
                    <a:lnTo>
                      <a:pt x="2841" y="496"/>
                    </a:lnTo>
                    <a:lnTo>
                      <a:pt x="2841" y="495"/>
                    </a:lnTo>
                    <a:lnTo>
                      <a:pt x="2841" y="495"/>
                    </a:lnTo>
                    <a:lnTo>
                      <a:pt x="2841" y="493"/>
                    </a:lnTo>
                    <a:lnTo>
                      <a:pt x="2841" y="492"/>
                    </a:lnTo>
                    <a:lnTo>
                      <a:pt x="2843" y="492"/>
                    </a:lnTo>
                    <a:lnTo>
                      <a:pt x="2841" y="490"/>
                    </a:lnTo>
                    <a:lnTo>
                      <a:pt x="2840" y="489"/>
                    </a:lnTo>
                    <a:lnTo>
                      <a:pt x="2838" y="486"/>
                    </a:lnTo>
                    <a:lnTo>
                      <a:pt x="2838" y="484"/>
                    </a:lnTo>
                    <a:lnTo>
                      <a:pt x="2837" y="483"/>
                    </a:lnTo>
                    <a:lnTo>
                      <a:pt x="2837" y="482"/>
                    </a:lnTo>
                    <a:lnTo>
                      <a:pt x="2835" y="482"/>
                    </a:lnTo>
                    <a:lnTo>
                      <a:pt x="2832" y="480"/>
                    </a:lnTo>
                    <a:lnTo>
                      <a:pt x="2832" y="480"/>
                    </a:lnTo>
                    <a:lnTo>
                      <a:pt x="2831" y="482"/>
                    </a:lnTo>
                    <a:lnTo>
                      <a:pt x="2830" y="482"/>
                    </a:lnTo>
                    <a:lnTo>
                      <a:pt x="2830" y="483"/>
                    </a:lnTo>
                    <a:lnTo>
                      <a:pt x="2828" y="484"/>
                    </a:lnTo>
                    <a:lnTo>
                      <a:pt x="2828" y="484"/>
                    </a:lnTo>
                    <a:lnTo>
                      <a:pt x="2827" y="486"/>
                    </a:lnTo>
                    <a:lnTo>
                      <a:pt x="2827" y="487"/>
                    </a:lnTo>
                    <a:lnTo>
                      <a:pt x="2825" y="487"/>
                    </a:lnTo>
                    <a:lnTo>
                      <a:pt x="2825" y="487"/>
                    </a:lnTo>
                    <a:lnTo>
                      <a:pt x="2824" y="487"/>
                    </a:lnTo>
                    <a:lnTo>
                      <a:pt x="2824" y="487"/>
                    </a:lnTo>
                    <a:lnTo>
                      <a:pt x="2822" y="486"/>
                    </a:lnTo>
                    <a:lnTo>
                      <a:pt x="2821" y="486"/>
                    </a:lnTo>
                    <a:lnTo>
                      <a:pt x="2819" y="486"/>
                    </a:lnTo>
                    <a:lnTo>
                      <a:pt x="2819" y="484"/>
                    </a:lnTo>
                    <a:lnTo>
                      <a:pt x="2817" y="483"/>
                    </a:lnTo>
                    <a:lnTo>
                      <a:pt x="2817" y="482"/>
                    </a:lnTo>
                    <a:lnTo>
                      <a:pt x="2815" y="482"/>
                    </a:lnTo>
                    <a:lnTo>
                      <a:pt x="2814" y="480"/>
                    </a:lnTo>
                    <a:lnTo>
                      <a:pt x="2811" y="480"/>
                    </a:lnTo>
                    <a:lnTo>
                      <a:pt x="2809" y="482"/>
                    </a:lnTo>
                    <a:lnTo>
                      <a:pt x="2808" y="482"/>
                    </a:lnTo>
                    <a:lnTo>
                      <a:pt x="2807" y="482"/>
                    </a:lnTo>
                    <a:lnTo>
                      <a:pt x="2805" y="483"/>
                    </a:lnTo>
                    <a:lnTo>
                      <a:pt x="2804" y="483"/>
                    </a:lnTo>
                    <a:lnTo>
                      <a:pt x="2802" y="484"/>
                    </a:lnTo>
                    <a:lnTo>
                      <a:pt x="2801" y="484"/>
                    </a:lnTo>
                    <a:lnTo>
                      <a:pt x="2799" y="484"/>
                    </a:lnTo>
                    <a:lnTo>
                      <a:pt x="2798" y="484"/>
                    </a:lnTo>
                    <a:lnTo>
                      <a:pt x="2796" y="484"/>
                    </a:lnTo>
                    <a:lnTo>
                      <a:pt x="2794" y="484"/>
                    </a:lnTo>
                    <a:lnTo>
                      <a:pt x="2791" y="484"/>
                    </a:lnTo>
                    <a:lnTo>
                      <a:pt x="2789" y="484"/>
                    </a:lnTo>
                    <a:lnTo>
                      <a:pt x="2788" y="484"/>
                    </a:lnTo>
                    <a:lnTo>
                      <a:pt x="2786" y="484"/>
                    </a:lnTo>
                    <a:lnTo>
                      <a:pt x="2785" y="484"/>
                    </a:lnTo>
                    <a:lnTo>
                      <a:pt x="2782" y="484"/>
                    </a:lnTo>
                    <a:lnTo>
                      <a:pt x="2779" y="484"/>
                    </a:lnTo>
                    <a:lnTo>
                      <a:pt x="2778" y="484"/>
                    </a:lnTo>
                    <a:lnTo>
                      <a:pt x="2776" y="484"/>
                    </a:lnTo>
                    <a:lnTo>
                      <a:pt x="2776" y="486"/>
                    </a:lnTo>
                    <a:lnTo>
                      <a:pt x="2776" y="486"/>
                    </a:lnTo>
                    <a:lnTo>
                      <a:pt x="2776" y="487"/>
                    </a:lnTo>
                    <a:lnTo>
                      <a:pt x="2776" y="487"/>
                    </a:lnTo>
                    <a:lnTo>
                      <a:pt x="2775" y="487"/>
                    </a:lnTo>
                    <a:lnTo>
                      <a:pt x="2775" y="487"/>
                    </a:lnTo>
                    <a:lnTo>
                      <a:pt x="2773" y="487"/>
                    </a:lnTo>
                    <a:lnTo>
                      <a:pt x="2772" y="487"/>
                    </a:lnTo>
                    <a:lnTo>
                      <a:pt x="2772" y="489"/>
                    </a:lnTo>
                    <a:lnTo>
                      <a:pt x="2770" y="490"/>
                    </a:lnTo>
                    <a:lnTo>
                      <a:pt x="2770" y="492"/>
                    </a:lnTo>
                    <a:lnTo>
                      <a:pt x="2769" y="493"/>
                    </a:lnTo>
                    <a:lnTo>
                      <a:pt x="2768" y="493"/>
                    </a:lnTo>
                    <a:lnTo>
                      <a:pt x="2768" y="495"/>
                    </a:lnTo>
                    <a:lnTo>
                      <a:pt x="2769" y="495"/>
                    </a:lnTo>
                    <a:lnTo>
                      <a:pt x="2770" y="495"/>
                    </a:lnTo>
                    <a:lnTo>
                      <a:pt x="2770" y="496"/>
                    </a:lnTo>
                    <a:lnTo>
                      <a:pt x="2772" y="497"/>
                    </a:lnTo>
                    <a:lnTo>
                      <a:pt x="2773" y="497"/>
                    </a:lnTo>
                    <a:lnTo>
                      <a:pt x="2773" y="499"/>
                    </a:lnTo>
                    <a:lnTo>
                      <a:pt x="2773" y="499"/>
                    </a:lnTo>
                    <a:lnTo>
                      <a:pt x="2773" y="499"/>
                    </a:lnTo>
                    <a:lnTo>
                      <a:pt x="2772" y="500"/>
                    </a:lnTo>
                    <a:lnTo>
                      <a:pt x="2772" y="500"/>
                    </a:lnTo>
                    <a:lnTo>
                      <a:pt x="2770" y="502"/>
                    </a:lnTo>
                    <a:lnTo>
                      <a:pt x="2770" y="502"/>
                    </a:lnTo>
                    <a:lnTo>
                      <a:pt x="2770" y="505"/>
                    </a:lnTo>
                    <a:lnTo>
                      <a:pt x="2770" y="506"/>
                    </a:lnTo>
                    <a:lnTo>
                      <a:pt x="2772" y="509"/>
                    </a:lnTo>
                    <a:lnTo>
                      <a:pt x="2772" y="510"/>
                    </a:lnTo>
                    <a:lnTo>
                      <a:pt x="2773" y="513"/>
                    </a:lnTo>
                    <a:lnTo>
                      <a:pt x="2773" y="515"/>
                    </a:lnTo>
                    <a:lnTo>
                      <a:pt x="2773" y="515"/>
                    </a:lnTo>
                    <a:lnTo>
                      <a:pt x="2772" y="515"/>
                    </a:lnTo>
                    <a:lnTo>
                      <a:pt x="2772" y="516"/>
                    </a:lnTo>
                    <a:lnTo>
                      <a:pt x="2770" y="518"/>
                    </a:lnTo>
                    <a:lnTo>
                      <a:pt x="2770" y="519"/>
                    </a:lnTo>
                    <a:lnTo>
                      <a:pt x="2770" y="519"/>
                    </a:lnTo>
                    <a:lnTo>
                      <a:pt x="2769" y="520"/>
                    </a:lnTo>
                    <a:lnTo>
                      <a:pt x="2768" y="520"/>
                    </a:lnTo>
                    <a:lnTo>
                      <a:pt x="2766" y="523"/>
                    </a:lnTo>
                    <a:lnTo>
                      <a:pt x="2766" y="523"/>
                    </a:lnTo>
                    <a:lnTo>
                      <a:pt x="2765" y="525"/>
                    </a:lnTo>
                    <a:lnTo>
                      <a:pt x="2765" y="526"/>
                    </a:lnTo>
                    <a:lnTo>
                      <a:pt x="2765" y="528"/>
                    </a:lnTo>
                    <a:lnTo>
                      <a:pt x="2765" y="531"/>
                    </a:lnTo>
                    <a:lnTo>
                      <a:pt x="2765" y="532"/>
                    </a:lnTo>
                    <a:lnTo>
                      <a:pt x="2766" y="533"/>
                    </a:lnTo>
                    <a:lnTo>
                      <a:pt x="2766" y="535"/>
                    </a:lnTo>
                    <a:lnTo>
                      <a:pt x="2768" y="535"/>
                    </a:lnTo>
                    <a:lnTo>
                      <a:pt x="2768" y="536"/>
                    </a:lnTo>
                    <a:lnTo>
                      <a:pt x="2768" y="536"/>
                    </a:lnTo>
                    <a:lnTo>
                      <a:pt x="2766" y="536"/>
                    </a:lnTo>
                    <a:lnTo>
                      <a:pt x="2766" y="538"/>
                    </a:lnTo>
                    <a:lnTo>
                      <a:pt x="2766" y="538"/>
                    </a:lnTo>
                    <a:lnTo>
                      <a:pt x="2766" y="539"/>
                    </a:lnTo>
                    <a:lnTo>
                      <a:pt x="2768" y="539"/>
                    </a:lnTo>
                    <a:lnTo>
                      <a:pt x="2768" y="541"/>
                    </a:lnTo>
                    <a:lnTo>
                      <a:pt x="2769" y="542"/>
                    </a:lnTo>
                    <a:lnTo>
                      <a:pt x="2772" y="544"/>
                    </a:lnTo>
                    <a:lnTo>
                      <a:pt x="2772" y="545"/>
                    </a:lnTo>
                    <a:lnTo>
                      <a:pt x="2772" y="545"/>
                    </a:lnTo>
                    <a:lnTo>
                      <a:pt x="2772" y="545"/>
                    </a:lnTo>
                    <a:lnTo>
                      <a:pt x="2772" y="546"/>
                    </a:lnTo>
                    <a:lnTo>
                      <a:pt x="2773" y="548"/>
                    </a:lnTo>
                    <a:lnTo>
                      <a:pt x="2773" y="549"/>
                    </a:lnTo>
                    <a:lnTo>
                      <a:pt x="2775" y="549"/>
                    </a:lnTo>
                    <a:lnTo>
                      <a:pt x="2776" y="551"/>
                    </a:lnTo>
                    <a:lnTo>
                      <a:pt x="2776" y="551"/>
                    </a:lnTo>
                    <a:lnTo>
                      <a:pt x="2778" y="551"/>
                    </a:lnTo>
                    <a:lnTo>
                      <a:pt x="2778" y="551"/>
                    </a:lnTo>
                    <a:lnTo>
                      <a:pt x="2781" y="551"/>
                    </a:lnTo>
                    <a:lnTo>
                      <a:pt x="2782" y="551"/>
                    </a:lnTo>
                    <a:lnTo>
                      <a:pt x="2782" y="549"/>
                    </a:lnTo>
                    <a:lnTo>
                      <a:pt x="2781" y="549"/>
                    </a:lnTo>
                    <a:lnTo>
                      <a:pt x="2781" y="549"/>
                    </a:lnTo>
                    <a:lnTo>
                      <a:pt x="2779" y="548"/>
                    </a:lnTo>
                    <a:lnTo>
                      <a:pt x="2781" y="548"/>
                    </a:lnTo>
                    <a:lnTo>
                      <a:pt x="2782" y="546"/>
                    </a:lnTo>
                    <a:lnTo>
                      <a:pt x="2783" y="546"/>
                    </a:lnTo>
                    <a:lnTo>
                      <a:pt x="2785" y="546"/>
                    </a:lnTo>
                    <a:lnTo>
                      <a:pt x="2786" y="548"/>
                    </a:lnTo>
                    <a:lnTo>
                      <a:pt x="2788" y="548"/>
                    </a:lnTo>
                    <a:lnTo>
                      <a:pt x="2789" y="549"/>
                    </a:lnTo>
                    <a:lnTo>
                      <a:pt x="2792" y="549"/>
                    </a:lnTo>
                    <a:lnTo>
                      <a:pt x="2795" y="551"/>
                    </a:lnTo>
                    <a:lnTo>
                      <a:pt x="2799" y="554"/>
                    </a:lnTo>
                    <a:lnTo>
                      <a:pt x="2802" y="555"/>
                    </a:lnTo>
                    <a:lnTo>
                      <a:pt x="2804" y="557"/>
                    </a:lnTo>
                    <a:lnTo>
                      <a:pt x="2805" y="557"/>
                    </a:lnTo>
                    <a:lnTo>
                      <a:pt x="2802" y="558"/>
                    </a:lnTo>
                    <a:lnTo>
                      <a:pt x="2799" y="558"/>
                    </a:lnTo>
                    <a:lnTo>
                      <a:pt x="2798" y="558"/>
                    </a:lnTo>
                    <a:lnTo>
                      <a:pt x="2795" y="558"/>
                    </a:lnTo>
                    <a:lnTo>
                      <a:pt x="2792" y="557"/>
                    </a:lnTo>
                    <a:lnTo>
                      <a:pt x="2789" y="557"/>
                    </a:lnTo>
                    <a:lnTo>
                      <a:pt x="2788" y="557"/>
                    </a:lnTo>
                    <a:lnTo>
                      <a:pt x="2788" y="558"/>
                    </a:lnTo>
                    <a:lnTo>
                      <a:pt x="2788" y="558"/>
                    </a:lnTo>
                    <a:lnTo>
                      <a:pt x="2788" y="559"/>
                    </a:lnTo>
                    <a:lnTo>
                      <a:pt x="2788" y="559"/>
                    </a:lnTo>
                    <a:lnTo>
                      <a:pt x="2786" y="559"/>
                    </a:lnTo>
                    <a:lnTo>
                      <a:pt x="2785" y="559"/>
                    </a:lnTo>
                    <a:lnTo>
                      <a:pt x="2785" y="559"/>
                    </a:lnTo>
                    <a:lnTo>
                      <a:pt x="2783" y="559"/>
                    </a:lnTo>
                    <a:lnTo>
                      <a:pt x="2779" y="558"/>
                    </a:lnTo>
                    <a:lnTo>
                      <a:pt x="2778" y="558"/>
                    </a:lnTo>
                    <a:lnTo>
                      <a:pt x="2776" y="558"/>
                    </a:lnTo>
                    <a:lnTo>
                      <a:pt x="2775" y="557"/>
                    </a:lnTo>
                    <a:lnTo>
                      <a:pt x="2773" y="557"/>
                    </a:lnTo>
                    <a:lnTo>
                      <a:pt x="2773" y="557"/>
                    </a:lnTo>
                    <a:lnTo>
                      <a:pt x="2770" y="557"/>
                    </a:lnTo>
                    <a:lnTo>
                      <a:pt x="2769" y="557"/>
                    </a:lnTo>
                    <a:lnTo>
                      <a:pt x="2769" y="557"/>
                    </a:lnTo>
                    <a:lnTo>
                      <a:pt x="2768" y="557"/>
                    </a:lnTo>
                    <a:lnTo>
                      <a:pt x="2768" y="558"/>
                    </a:lnTo>
                    <a:lnTo>
                      <a:pt x="2766" y="558"/>
                    </a:lnTo>
                    <a:lnTo>
                      <a:pt x="2766" y="558"/>
                    </a:lnTo>
                    <a:lnTo>
                      <a:pt x="2765" y="559"/>
                    </a:lnTo>
                    <a:lnTo>
                      <a:pt x="2763" y="559"/>
                    </a:lnTo>
                    <a:lnTo>
                      <a:pt x="2763" y="561"/>
                    </a:lnTo>
                    <a:lnTo>
                      <a:pt x="2762" y="561"/>
                    </a:lnTo>
                    <a:lnTo>
                      <a:pt x="2762" y="561"/>
                    </a:lnTo>
                    <a:lnTo>
                      <a:pt x="2762" y="562"/>
                    </a:lnTo>
                    <a:lnTo>
                      <a:pt x="2762" y="564"/>
                    </a:lnTo>
                    <a:lnTo>
                      <a:pt x="2762" y="564"/>
                    </a:lnTo>
                    <a:lnTo>
                      <a:pt x="2763" y="565"/>
                    </a:lnTo>
                    <a:lnTo>
                      <a:pt x="2763" y="565"/>
                    </a:lnTo>
                    <a:lnTo>
                      <a:pt x="2765" y="565"/>
                    </a:lnTo>
                    <a:lnTo>
                      <a:pt x="2762" y="565"/>
                    </a:lnTo>
                    <a:lnTo>
                      <a:pt x="2759" y="564"/>
                    </a:lnTo>
                    <a:lnTo>
                      <a:pt x="2756" y="564"/>
                    </a:lnTo>
                    <a:lnTo>
                      <a:pt x="2753" y="564"/>
                    </a:lnTo>
                    <a:lnTo>
                      <a:pt x="2750" y="562"/>
                    </a:lnTo>
                    <a:lnTo>
                      <a:pt x="2749" y="562"/>
                    </a:lnTo>
                    <a:lnTo>
                      <a:pt x="2746" y="562"/>
                    </a:lnTo>
                    <a:lnTo>
                      <a:pt x="2746" y="562"/>
                    </a:lnTo>
                    <a:lnTo>
                      <a:pt x="2744" y="562"/>
                    </a:lnTo>
                    <a:lnTo>
                      <a:pt x="2744" y="564"/>
                    </a:lnTo>
                    <a:lnTo>
                      <a:pt x="2744" y="564"/>
                    </a:lnTo>
                    <a:lnTo>
                      <a:pt x="2744" y="565"/>
                    </a:lnTo>
                    <a:lnTo>
                      <a:pt x="2744" y="565"/>
                    </a:lnTo>
                    <a:lnTo>
                      <a:pt x="2737" y="565"/>
                    </a:lnTo>
                    <a:lnTo>
                      <a:pt x="2734" y="565"/>
                    </a:lnTo>
                    <a:lnTo>
                      <a:pt x="2732" y="565"/>
                    </a:lnTo>
                    <a:lnTo>
                      <a:pt x="2729" y="564"/>
                    </a:lnTo>
                    <a:lnTo>
                      <a:pt x="2726" y="564"/>
                    </a:lnTo>
                    <a:lnTo>
                      <a:pt x="2721" y="562"/>
                    </a:lnTo>
                    <a:lnTo>
                      <a:pt x="2719" y="559"/>
                    </a:lnTo>
                    <a:lnTo>
                      <a:pt x="2721" y="559"/>
                    </a:lnTo>
                    <a:lnTo>
                      <a:pt x="2723" y="559"/>
                    </a:lnTo>
                    <a:lnTo>
                      <a:pt x="2724" y="559"/>
                    </a:lnTo>
                    <a:lnTo>
                      <a:pt x="2727" y="559"/>
                    </a:lnTo>
                    <a:lnTo>
                      <a:pt x="2729" y="559"/>
                    </a:lnTo>
                    <a:lnTo>
                      <a:pt x="2730" y="559"/>
                    </a:lnTo>
                    <a:lnTo>
                      <a:pt x="2733" y="559"/>
                    </a:lnTo>
                    <a:lnTo>
                      <a:pt x="2734" y="559"/>
                    </a:lnTo>
                    <a:lnTo>
                      <a:pt x="2736" y="559"/>
                    </a:lnTo>
                    <a:lnTo>
                      <a:pt x="2737" y="558"/>
                    </a:lnTo>
                    <a:lnTo>
                      <a:pt x="2740" y="558"/>
                    </a:lnTo>
                    <a:lnTo>
                      <a:pt x="2742" y="557"/>
                    </a:lnTo>
                    <a:lnTo>
                      <a:pt x="2740" y="555"/>
                    </a:lnTo>
                    <a:lnTo>
                      <a:pt x="2737" y="555"/>
                    </a:lnTo>
                    <a:lnTo>
                      <a:pt x="2734" y="555"/>
                    </a:lnTo>
                    <a:lnTo>
                      <a:pt x="2733" y="555"/>
                    </a:lnTo>
                    <a:lnTo>
                      <a:pt x="2732" y="555"/>
                    </a:lnTo>
                    <a:lnTo>
                      <a:pt x="2729" y="555"/>
                    </a:lnTo>
                    <a:lnTo>
                      <a:pt x="2727" y="555"/>
                    </a:lnTo>
                    <a:lnTo>
                      <a:pt x="2724" y="554"/>
                    </a:lnTo>
                    <a:lnTo>
                      <a:pt x="2721" y="552"/>
                    </a:lnTo>
                    <a:lnTo>
                      <a:pt x="2720" y="549"/>
                    </a:lnTo>
                    <a:lnTo>
                      <a:pt x="2717" y="549"/>
                    </a:lnTo>
                    <a:lnTo>
                      <a:pt x="2714" y="548"/>
                    </a:lnTo>
                    <a:lnTo>
                      <a:pt x="2711" y="546"/>
                    </a:lnTo>
                    <a:lnTo>
                      <a:pt x="2708" y="546"/>
                    </a:lnTo>
                    <a:lnTo>
                      <a:pt x="2704" y="545"/>
                    </a:lnTo>
                    <a:lnTo>
                      <a:pt x="2701" y="545"/>
                    </a:lnTo>
                    <a:lnTo>
                      <a:pt x="2701" y="546"/>
                    </a:lnTo>
                    <a:lnTo>
                      <a:pt x="2701" y="548"/>
                    </a:lnTo>
                    <a:lnTo>
                      <a:pt x="2701" y="549"/>
                    </a:lnTo>
                    <a:lnTo>
                      <a:pt x="2700" y="549"/>
                    </a:lnTo>
                    <a:lnTo>
                      <a:pt x="2698" y="549"/>
                    </a:lnTo>
                    <a:lnTo>
                      <a:pt x="2697" y="549"/>
                    </a:lnTo>
                    <a:lnTo>
                      <a:pt x="2695" y="549"/>
                    </a:lnTo>
                    <a:lnTo>
                      <a:pt x="2694" y="549"/>
                    </a:lnTo>
                    <a:lnTo>
                      <a:pt x="2690" y="548"/>
                    </a:lnTo>
                    <a:lnTo>
                      <a:pt x="2687" y="546"/>
                    </a:lnTo>
                    <a:lnTo>
                      <a:pt x="2684" y="546"/>
                    </a:lnTo>
                    <a:lnTo>
                      <a:pt x="2682" y="546"/>
                    </a:lnTo>
                    <a:lnTo>
                      <a:pt x="2682" y="545"/>
                    </a:lnTo>
                    <a:lnTo>
                      <a:pt x="2681" y="545"/>
                    </a:lnTo>
                    <a:lnTo>
                      <a:pt x="2680" y="545"/>
                    </a:lnTo>
                    <a:lnTo>
                      <a:pt x="2677" y="544"/>
                    </a:lnTo>
                    <a:lnTo>
                      <a:pt x="2674" y="542"/>
                    </a:lnTo>
                    <a:lnTo>
                      <a:pt x="2671" y="542"/>
                    </a:lnTo>
                    <a:lnTo>
                      <a:pt x="2668" y="541"/>
                    </a:lnTo>
                    <a:lnTo>
                      <a:pt x="2667" y="541"/>
                    </a:lnTo>
                    <a:lnTo>
                      <a:pt x="2664" y="542"/>
                    </a:lnTo>
                    <a:lnTo>
                      <a:pt x="2662" y="542"/>
                    </a:lnTo>
                    <a:lnTo>
                      <a:pt x="2661" y="544"/>
                    </a:lnTo>
                    <a:lnTo>
                      <a:pt x="2659" y="544"/>
                    </a:lnTo>
                    <a:lnTo>
                      <a:pt x="2659" y="545"/>
                    </a:lnTo>
                    <a:lnTo>
                      <a:pt x="2659" y="545"/>
                    </a:lnTo>
                    <a:lnTo>
                      <a:pt x="2659" y="546"/>
                    </a:lnTo>
                    <a:lnTo>
                      <a:pt x="2661" y="548"/>
                    </a:lnTo>
                    <a:lnTo>
                      <a:pt x="2662" y="548"/>
                    </a:lnTo>
                    <a:lnTo>
                      <a:pt x="2657" y="548"/>
                    </a:lnTo>
                    <a:lnTo>
                      <a:pt x="2657" y="549"/>
                    </a:lnTo>
                    <a:lnTo>
                      <a:pt x="2657" y="549"/>
                    </a:lnTo>
                    <a:lnTo>
                      <a:pt x="2658" y="551"/>
                    </a:lnTo>
                    <a:lnTo>
                      <a:pt x="2659" y="552"/>
                    </a:lnTo>
                    <a:lnTo>
                      <a:pt x="2661" y="552"/>
                    </a:lnTo>
                    <a:lnTo>
                      <a:pt x="2662" y="552"/>
                    </a:lnTo>
                    <a:lnTo>
                      <a:pt x="2664" y="554"/>
                    </a:lnTo>
                    <a:lnTo>
                      <a:pt x="2665" y="555"/>
                    </a:lnTo>
                    <a:lnTo>
                      <a:pt x="2667" y="555"/>
                    </a:lnTo>
                    <a:lnTo>
                      <a:pt x="2667" y="557"/>
                    </a:lnTo>
                    <a:lnTo>
                      <a:pt x="2665" y="555"/>
                    </a:lnTo>
                    <a:lnTo>
                      <a:pt x="2664" y="555"/>
                    </a:lnTo>
                    <a:lnTo>
                      <a:pt x="2662" y="555"/>
                    </a:lnTo>
                    <a:lnTo>
                      <a:pt x="2661" y="555"/>
                    </a:lnTo>
                    <a:lnTo>
                      <a:pt x="2659" y="555"/>
                    </a:lnTo>
                    <a:lnTo>
                      <a:pt x="2658" y="555"/>
                    </a:lnTo>
                    <a:lnTo>
                      <a:pt x="2657" y="555"/>
                    </a:lnTo>
                    <a:lnTo>
                      <a:pt x="2657" y="554"/>
                    </a:lnTo>
                    <a:lnTo>
                      <a:pt x="2654" y="552"/>
                    </a:lnTo>
                    <a:lnTo>
                      <a:pt x="2651" y="552"/>
                    </a:lnTo>
                    <a:lnTo>
                      <a:pt x="2649" y="552"/>
                    </a:lnTo>
                    <a:lnTo>
                      <a:pt x="2646" y="551"/>
                    </a:lnTo>
                    <a:lnTo>
                      <a:pt x="2645" y="552"/>
                    </a:lnTo>
                    <a:lnTo>
                      <a:pt x="2644" y="552"/>
                    </a:lnTo>
                    <a:lnTo>
                      <a:pt x="2641" y="552"/>
                    </a:lnTo>
                    <a:lnTo>
                      <a:pt x="2639" y="554"/>
                    </a:lnTo>
                    <a:lnTo>
                      <a:pt x="2639" y="555"/>
                    </a:lnTo>
                    <a:lnTo>
                      <a:pt x="2641" y="555"/>
                    </a:lnTo>
                    <a:lnTo>
                      <a:pt x="2639" y="555"/>
                    </a:lnTo>
                    <a:lnTo>
                      <a:pt x="2638" y="555"/>
                    </a:lnTo>
                    <a:lnTo>
                      <a:pt x="2638" y="555"/>
                    </a:lnTo>
                    <a:lnTo>
                      <a:pt x="2636" y="555"/>
                    </a:lnTo>
                    <a:lnTo>
                      <a:pt x="2635" y="555"/>
                    </a:lnTo>
                    <a:lnTo>
                      <a:pt x="2633" y="555"/>
                    </a:lnTo>
                    <a:lnTo>
                      <a:pt x="2632" y="554"/>
                    </a:lnTo>
                    <a:lnTo>
                      <a:pt x="2632" y="554"/>
                    </a:lnTo>
                    <a:lnTo>
                      <a:pt x="2631" y="554"/>
                    </a:lnTo>
                    <a:lnTo>
                      <a:pt x="2629" y="552"/>
                    </a:lnTo>
                    <a:lnTo>
                      <a:pt x="2628" y="552"/>
                    </a:lnTo>
                    <a:lnTo>
                      <a:pt x="2625" y="552"/>
                    </a:lnTo>
                    <a:lnTo>
                      <a:pt x="2623" y="552"/>
                    </a:lnTo>
                    <a:lnTo>
                      <a:pt x="2620" y="552"/>
                    </a:lnTo>
                    <a:lnTo>
                      <a:pt x="2619" y="554"/>
                    </a:lnTo>
                    <a:lnTo>
                      <a:pt x="2616" y="554"/>
                    </a:lnTo>
                    <a:lnTo>
                      <a:pt x="2613" y="552"/>
                    </a:lnTo>
                    <a:lnTo>
                      <a:pt x="2612" y="552"/>
                    </a:lnTo>
                    <a:lnTo>
                      <a:pt x="2610" y="552"/>
                    </a:lnTo>
                    <a:lnTo>
                      <a:pt x="2609" y="552"/>
                    </a:lnTo>
                    <a:lnTo>
                      <a:pt x="2609" y="552"/>
                    </a:lnTo>
                    <a:lnTo>
                      <a:pt x="2607" y="552"/>
                    </a:lnTo>
                    <a:lnTo>
                      <a:pt x="2609" y="552"/>
                    </a:lnTo>
                    <a:lnTo>
                      <a:pt x="2609" y="554"/>
                    </a:lnTo>
                    <a:lnTo>
                      <a:pt x="2610" y="554"/>
                    </a:lnTo>
                    <a:lnTo>
                      <a:pt x="2612" y="555"/>
                    </a:lnTo>
                    <a:lnTo>
                      <a:pt x="2612" y="557"/>
                    </a:lnTo>
                    <a:lnTo>
                      <a:pt x="2610" y="557"/>
                    </a:lnTo>
                    <a:lnTo>
                      <a:pt x="2609" y="557"/>
                    </a:lnTo>
                    <a:lnTo>
                      <a:pt x="2607" y="558"/>
                    </a:lnTo>
                    <a:lnTo>
                      <a:pt x="2606" y="558"/>
                    </a:lnTo>
                    <a:lnTo>
                      <a:pt x="2605" y="558"/>
                    </a:lnTo>
                    <a:lnTo>
                      <a:pt x="2603" y="558"/>
                    </a:lnTo>
                    <a:lnTo>
                      <a:pt x="2602" y="558"/>
                    </a:lnTo>
                    <a:lnTo>
                      <a:pt x="2602" y="557"/>
                    </a:lnTo>
                    <a:lnTo>
                      <a:pt x="2599" y="555"/>
                    </a:lnTo>
                    <a:lnTo>
                      <a:pt x="2597" y="552"/>
                    </a:lnTo>
                    <a:lnTo>
                      <a:pt x="2596" y="552"/>
                    </a:lnTo>
                    <a:lnTo>
                      <a:pt x="2595" y="551"/>
                    </a:lnTo>
                    <a:lnTo>
                      <a:pt x="2595" y="551"/>
                    </a:lnTo>
                    <a:lnTo>
                      <a:pt x="2593" y="551"/>
                    </a:lnTo>
                    <a:lnTo>
                      <a:pt x="2589" y="551"/>
                    </a:lnTo>
                    <a:lnTo>
                      <a:pt x="2584" y="551"/>
                    </a:lnTo>
                    <a:lnTo>
                      <a:pt x="2576" y="552"/>
                    </a:lnTo>
                    <a:lnTo>
                      <a:pt x="2571" y="552"/>
                    </a:lnTo>
                    <a:lnTo>
                      <a:pt x="2567" y="552"/>
                    </a:lnTo>
                    <a:lnTo>
                      <a:pt x="2563" y="552"/>
                    </a:lnTo>
                    <a:lnTo>
                      <a:pt x="2558" y="551"/>
                    </a:lnTo>
                    <a:lnTo>
                      <a:pt x="2557" y="551"/>
                    </a:lnTo>
                    <a:lnTo>
                      <a:pt x="2557" y="551"/>
                    </a:lnTo>
                    <a:lnTo>
                      <a:pt x="2554" y="552"/>
                    </a:lnTo>
                    <a:lnTo>
                      <a:pt x="2553" y="552"/>
                    </a:lnTo>
                    <a:lnTo>
                      <a:pt x="2551" y="554"/>
                    </a:lnTo>
                    <a:lnTo>
                      <a:pt x="2548" y="554"/>
                    </a:lnTo>
                    <a:lnTo>
                      <a:pt x="2547" y="554"/>
                    </a:lnTo>
                    <a:lnTo>
                      <a:pt x="2544" y="554"/>
                    </a:lnTo>
                    <a:lnTo>
                      <a:pt x="2543" y="554"/>
                    </a:lnTo>
                    <a:lnTo>
                      <a:pt x="2543" y="554"/>
                    </a:lnTo>
                    <a:lnTo>
                      <a:pt x="2541" y="554"/>
                    </a:lnTo>
                    <a:lnTo>
                      <a:pt x="2540" y="554"/>
                    </a:lnTo>
                    <a:lnTo>
                      <a:pt x="2540" y="554"/>
                    </a:lnTo>
                    <a:lnTo>
                      <a:pt x="2537" y="554"/>
                    </a:lnTo>
                    <a:lnTo>
                      <a:pt x="2535" y="554"/>
                    </a:lnTo>
                    <a:lnTo>
                      <a:pt x="2534" y="554"/>
                    </a:lnTo>
                    <a:lnTo>
                      <a:pt x="2531" y="554"/>
                    </a:lnTo>
                    <a:lnTo>
                      <a:pt x="2530" y="555"/>
                    </a:lnTo>
                    <a:lnTo>
                      <a:pt x="2528" y="557"/>
                    </a:lnTo>
                    <a:lnTo>
                      <a:pt x="2527" y="557"/>
                    </a:lnTo>
                    <a:lnTo>
                      <a:pt x="2525" y="559"/>
                    </a:lnTo>
                    <a:lnTo>
                      <a:pt x="2525" y="561"/>
                    </a:lnTo>
                    <a:lnTo>
                      <a:pt x="2524" y="562"/>
                    </a:lnTo>
                    <a:lnTo>
                      <a:pt x="2524" y="564"/>
                    </a:lnTo>
                    <a:lnTo>
                      <a:pt x="2524" y="564"/>
                    </a:lnTo>
                    <a:lnTo>
                      <a:pt x="2524" y="565"/>
                    </a:lnTo>
                    <a:lnTo>
                      <a:pt x="2524" y="567"/>
                    </a:lnTo>
                    <a:lnTo>
                      <a:pt x="2524" y="568"/>
                    </a:lnTo>
                    <a:lnTo>
                      <a:pt x="2525" y="570"/>
                    </a:lnTo>
                    <a:lnTo>
                      <a:pt x="2525" y="571"/>
                    </a:lnTo>
                    <a:lnTo>
                      <a:pt x="2525" y="572"/>
                    </a:lnTo>
                    <a:lnTo>
                      <a:pt x="2525" y="574"/>
                    </a:lnTo>
                    <a:lnTo>
                      <a:pt x="2524" y="574"/>
                    </a:lnTo>
                    <a:lnTo>
                      <a:pt x="2522" y="575"/>
                    </a:lnTo>
                    <a:lnTo>
                      <a:pt x="2521" y="575"/>
                    </a:lnTo>
                    <a:lnTo>
                      <a:pt x="2518" y="577"/>
                    </a:lnTo>
                    <a:lnTo>
                      <a:pt x="2518" y="578"/>
                    </a:lnTo>
                    <a:lnTo>
                      <a:pt x="2517" y="580"/>
                    </a:lnTo>
                    <a:lnTo>
                      <a:pt x="2515" y="581"/>
                    </a:lnTo>
                    <a:lnTo>
                      <a:pt x="2515" y="582"/>
                    </a:lnTo>
                    <a:lnTo>
                      <a:pt x="2514" y="584"/>
                    </a:lnTo>
                    <a:lnTo>
                      <a:pt x="2514" y="585"/>
                    </a:lnTo>
                    <a:lnTo>
                      <a:pt x="2514" y="587"/>
                    </a:lnTo>
                    <a:lnTo>
                      <a:pt x="2515" y="588"/>
                    </a:lnTo>
                    <a:lnTo>
                      <a:pt x="2515" y="590"/>
                    </a:lnTo>
                    <a:lnTo>
                      <a:pt x="2517" y="591"/>
                    </a:lnTo>
                    <a:lnTo>
                      <a:pt x="2517" y="593"/>
                    </a:lnTo>
                    <a:lnTo>
                      <a:pt x="2518" y="594"/>
                    </a:lnTo>
                    <a:lnTo>
                      <a:pt x="2520" y="595"/>
                    </a:lnTo>
                    <a:lnTo>
                      <a:pt x="2520" y="595"/>
                    </a:lnTo>
                    <a:lnTo>
                      <a:pt x="2521" y="597"/>
                    </a:lnTo>
                    <a:lnTo>
                      <a:pt x="2520" y="597"/>
                    </a:lnTo>
                    <a:lnTo>
                      <a:pt x="2518" y="598"/>
                    </a:lnTo>
                    <a:lnTo>
                      <a:pt x="2517" y="598"/>
                    </a:lnTo>
                    <a:lnTo>
                      <a:pt x="2515" y="600"/>
                    </a:lnTo>
                    <a:lnTo>
                      <a:pt x="2514" y="600"/>
                    </a:lnTo>
                    <a:lnTo>
                      <a:pt x="2514" y="600"/>
                    </a:lnTo>
                    <a:lnTo>
                      <a:pt x="2514" y="600"/>
                    </a:lnTo>
                    <a:lnTo>
                      <a:pt x="2512" y="601"/>
                    </a:lnTo>
                    <a:lnTo>
                      <a:pt x="2512" y="603"/>
                    </a:lnTo>
                    <a:lnTo>
                      <a:pt x="2512" y="606"/>
                    </a:lnTo>
                    <a:lnTo>
                      <a:pt x="2512" y="607"/>
                    </a:lnTo>
                    <a:lnTo>
                      <a:pt x="2512" y="607"/>
                    </a:lnTo>
                    <a:lnTo>
                      <a:pt x="2511" y="608"/>
                    </a:lnTo>
                    <a:lnTo>
                      <a:pt x="2511" y="610"/>
                    </a:lnTo>
                    <a:lnTo>
                      <a:pt x="2509" y="610"/>
                    </a:lnTo>
                    <a:lnTo>
                      <a:pt x="2508" y="611"/>
                    </a:lnTo>
                    <a:lnTo>
                      <a:pt x="2508" y="611"/>
                    </a:lnTo>
                    <a:lnTo>
                      <a:pt x="2507" y="611"/>
                    </a:lnTo>
                    <a:lnTo>
                      <a:pt x="2507" y="613"/>
                    </a:lnTo>
                    <a:lnTo>
                      <a:pt x="2505" y="614"/>
                    </a:lnTo>
                    <a:lnTo>
                      <a:pt x="2504" y="617"/>
                    </a:lnTo>
                    <a:lnTo>
                      <a:pt x="2504" y="617"/>
                    </a:lnTo>
                    <a:lnTo>
                      <a:pt x="2502" y="619"/>
                    </a:lnTo>
                    <a:lnTo>
                      <a:pt x="2502" y="619"/>
                    </a:lnTo>
                    <a:lnTo>
                      <a:pt x="2501" y="620"/>
                    </a:lnTo>
                    <a:lnTo>
                      <a:pt x="2501" y="620"/>
                    </a:lnTo>
                    <a:lnTo>
                      <a:pt x="2501" y="623"/>
                    </a:lnTo>
                    <a:lnTo>
                      <a:pt x="2501" y="626"/>
                    </a:lnTo>
                    <a:lnTo>
                      <a:pt x="2501" y="629"/>
                    </a:lnTo>
                    <a:lnTo>
                      <a:pt x="2501" y="630"/>
                    </a:lnTo>
                    <a:lnTo>
                      <a:pt x="2501" y="632"/>
                    </a:lnTo>
                    <a:lnTo>
                      <a:pt x="2501" y="633"/>
                    </a:lnTo>
                    <a:lnTo>
                      <a:pt x="2501" y="633"/>
                    </a:lnTo>
                    <a:lnTo>
                      <a:pt x="2502" y="634"/>
                    </a:lnTo>
                    <a:lnTo>
                      <a:pt x="2502" y="634"/>
                    </a:lnTo>
                    <a:lnTo>
                      <a:pt x="2502" y="634"/>
                    </a:lnTo>
                    <a:lnTo>
                      <a:pt x="2504" y="636"/>
                    </a:lnTo>
                    <a:lnTo>
                      <a:pt x="2504" y="637"/>
                    </a:lnTo>
                    <a:lnTo>
                      <a:pt x="2504" y="637"/>
                    </a:lnTo>
                    <a:lnTo>
                      <a:pt x="2502" y="637"/>
                    </a:lnTo>
                    <a:lnTo>
                      <a:pt x="2502" y="637"/>
                    </a:lnTo>
                    <a:lnTo>
                      <a:pt x="2501" y="639"/>
                    </a:lnTo>
                    <a:lnTo>
                      <a:pt x="2501" y="640"/>
                    </a:lnTo>
                    <a:lnTo>
                      <a:pt x="2499" y="643"/>
                    </a:lnTo>
                    <a:lnTo>
                      <a:pt x="2499" y="646"/>
                    </a:lnTo>
                    <a:lnTo>
                      <a:pt x="2499" y="647"/>
                    </a:lnTo>
                    <a:lnTo>
                      <a:pt x="2499" y="650"/>
                    </a:lnTo>
                    <a:lnTo>
                      <a:pt x="2499" y="650"/>
                    </a:lnTo>
                    <a:lnTo>
                      <a:pt x="2498" y="652"/>
                    </a:lnTo>
                    <a:lnTo>
                      <a:pt x="2496" y="652"/>
                    </a:lnTo>
                    <a:lnTo>
                      <a:pt x="2496" y="652"/>
                    </a:lnTo>
                    <a:lnTo>
                      <a:pt x="2495" y="652"/>
                    </a:lnTo>
                    <a:lnTo>
                      <a:pt x="2494" y="653"/>
                    </a:lnTo>
                    <a:lnTo>
                      <a:pt x="2494" y="653"/>
                    </a:lnTo>
                    <a:lnTo>
                      <a:pt x="2492" y="655"/>
                    </a:lnTo>
                    <a:lnTo>
                      <a:pt x="2492" y="656"/>
                    </a:lnTo>
                    <a:lnTo>
                      <a:pt x="2492" y="657"/>
                    </a:lnTo>
                    <a:lnTo>
                      <a:pt x="2491" y="657"/>
                    </a:lnTo>
                    <a:lnTo>
                      <a:pt x="2491" y="659"/>
                    </a:lnTo>
                    <a:lnTo>
                      <a:pt x="2489" y="659"/>
                    </a:lnTo>
                    <a:lnTo>
                      <a:pt x="2489" y="659"/>
                    </a:lnTo>
                    <a:lnTo>
                      <a:pt x="2488" y="659"/>
                    </a:lnTo>
                    <a:lnTo>
                      <a:pt x="2488" y="660"/>
                    </a:lnTo>
                    <a:lnTo>
                      <a:pt x="2486" y="660"/>
                    </a:lnTo>
                    <a:lnTo>
                      <a:pt x="2486" y="660"/>
                    </a:lnTo>
                    <a:lnTo>
                      <a:pt x="2485" y="662"/>
                    </a:lnTo>
                    <a:lnTo>
                      <a:pt x="2485" y="663"/>
                    </a:lnTo>
                    <a:lnTo>
                      <a:pt x="2485" y="665"/>
                    </a:lnTo>
                    <a:lnTo>
                      <a:pt x="2485" y="665"/>
                    </a:lnTo>
                    <a:lnTo>
                      <a:pt x="2485" y="666"/>
                    </a:lnTo>
                    <a:lnTo>
                      <a:pt x="2485" y="668"/>
                    </a:lnTo>
                    <a:lnTo>
                      <a:pt x="2483" y="669"/>
                    </a:lnTo>
                    <a:lnTo>
                      <a:pt x="2483" y="669"/>
                    </a:lnTo>
                    <a:lnTo>
                      <a:pt x="2483" y="670"/>
                    </a:lnTo>
                    <a:lnTo>
                      <a:pt x="2482" y="670"/>
                    </a:lnTo>
                    <a:lnTo>
                      <a:pt x="2481" y="672"/>
                    </a:lnTo>
                    <a:lnTo>
                      <a:pt x="2479" y="673"/>
                    </a:lnTo>
                    <a:lnTo>
                      <a:pt x="2478" y="673"/>
                    </a:lnTo>
                    <a:lnTo>
                      <a:pt x="2476" y="675"/>
                    </a:lnTo>
                    <a:lnTo>
                      <a:pt x="2475" y="676"/>
                    </a:lnTo>
                    <a:lnTo>
                      <a:pt x="2475" y="678"/>
                    </a:lnTo>
                    <a:lnTo>
                      <a:pt x="2475" y="678"/>
                    </a:lnTo>
                    <a:lnTo>
                      <a:pt x="2475" y="679"/>
                    </a:lnTo>
                    <a:lnTo>
                      <a:pt x="2475" y="681"/>
                    </a:lnTo>
                    <a:lnTo>
                      <a:pt x="2475" y="682"/>
                    </a:lnTo>
                    <a:lnTo>
                      <a:pt x="2475" y="682"/>
                    </a:lnTo>
                    <a:lnTo>
                      <a:pt x="2478" y="683"/>
                    </a:lnTo>
                    <a:lnTo>
                      <a:pt x="2479" y="685"/>
                    </a:lnTo>
                    <a:lnTo>
                      <a:pt x="2482" y="686"/>
                    </a:lnTo>
                    <a:lnTo>
                      <a:pt x="2483" y="686"/>
                    </a:lnTo>
                    <a:lnTo>
                      <a:pt x="2488" y="686"/>
                    </a:lnTo>
                    <a:lnTo>
                      <a:pt x="2491" y="686"/>
                    </a:lnTo>
                    <a:lnTo>
                      <a:pt x="2492" y="688"/>
                    </a:lnTo>
                    <a:lnTo>
                      <a:pt x="2495" y="688"/>
                    </a:lnTo>
                    <a:lnTo>
                      <a:pt x="2499" y="688"/>
                    </a:lnTo>
                    <a:lnTo>
                      <a:pt x="2504" y="688"/>
                    </a:lnTo>
                    <a:lnTo>
                      <a:pt x="2507" y="688"/>
                    </a:lnTo>
                    <a:lnTo>
                      <a:pt x="2509" y="688"/>
                    </a:lnTo>
                    <a:lnTo>
                      <a:pt x="2512" y="688"/>
                    </a:lnTo>
                    <a:lnTo>
                      <a:pt x="2515" y="689"/>
                    </a:lnTo>
                    <a:lnTo>
                      <a:pt x="2517" y="689"/>
                    </a:lnTo>
                    <a:lnTo>
                      <a:pt x="2520" y="691"/>
                    </a:lnTo>
                    <a:lnTo>
                      <a:pt x="2520" y="692"/>
                    </a:lnTo>
                    <a:lnTo>
                      <a:pt x="2521" y="692"/>
                    </a:lnTo>
                    <a:lnTo>
                      <a:pt x="2521" y="694"/>
                    </a:lnTo>
                    <a:lnTo>
                      <a:pt x="2521" y="694"/>
                    </a:lnTo>
                    <a:lnTo>
                      <a:pt x="2521" y="695"/>
                    </a:lnTo>
                    <a:lnTo>
                      <a:pt x="2522" y="696"/>
                    </a:lnTo>
                    <a:lnTo>
                      <a:pt x="2524" y="698"/>
                    </a:lnTo>
                    <a:lnTo>
                      <a:pt x="2524" y="698"/>
                    </a:lnTo>
                    <a:lnTo>
                      <a:pt x="2525" y="699"/>
                    </a:lnTo>
                    <a:lnTo>
                      <a:pt x="2525" y="699"/>
                    </a:lnTo>
                    <a:lnTo>
                      <a:pt x="2527" y="699"/>
                    </a:lnTo>
                    <a:lnTo>
                      <a:pt x="2527" y="701"/>
                    </a:lnTo>
                    <a:lnTo>
                      <a:pt x="2528" y="701"/>
                    </a:lnTo>
                    <a:lnTo>
                      <a:pt x="2528" y="702"/>
                    </a:lnTo>
                    <a:lnTo>
                      <a:pt x="2528" y="704"/>
                    </a:lnTo>
                    <a:lnTo>
                      <a:pt x="2530" y="704"/>
                    </a:lnTo>
                    <a:lnTo>
                      <a:pt x="2530" y="706"/>
                    </a:lnTo>
                    <a:lnTo>
                      <a:pt x="2530" y="708"/>
                    </a:lnTo>
                    <a:lnTo>
                      <a:pt x="2530" y="709"/>
                    </a:lnTo>
                    <a:lnTo>
                      <a:pt x="2531" y="711"/>
                    </a:lnTo>
                    <a:lnTo>
                      <a:pt x="2532" y="711"/>
                    </a:lnTo>
                    <a:lnTo>
                      <a:pt x="2534" y="712"/>
                    </a:lnTo>
                    <a:lnTo>
                      <a:pt x="2535" y="712"/>
                    </a:lnTo>
                    <a:lnTo>
                      <a:pt x="2538" y="712"/>
                    </a:lnTo>
                    <a:lnTo>
                      <a:pt x="2540" y="712"/>
                    </a:lnTo>
                    <a:lnTo>
                      <a:pt x="2543" y="711"/>
                    </a:lnTo>
                    <a:lnTo>
                      <a:pt x="2544" y="711"/>
                    </a:lnTo>
                    <a:lnTo>
                      <a:pt x="2544" y="711"/>
                    </a:lnTo>
                    <a:lnTo>
                      <a:pt x="2544" y="709"/>
                    </a:lnTo>
                    <a:lnTo>
                      <a:pt x="2544" y="708"/>
                    </a:lnTo>
                    <a:lnTo>
                      <a:pt x="2543" y="708"/>
                    </a:lnTo>
                    <a:lnTo>
                      <a:pt x="2543" y="706"/>
                    </a:lnTo>
                    <a:lnTo>
                      <a:pt x="2543" y="706"/>
                    </a:lnTo>
                    <a:lnTo>
                      <a:pt x="2541" y="705"/>
                    </a:lnTo>
                    <a:lnTo>
                      <a:pt x="2541" y="705"/>
                    </a:lnTo>
                    <a:lnTo>
                      <a:pt x="2541" y="704"/>
                    </a:lnTo>
                    <a:lnTo>
                      <a:pt x="2540" y="704"/>
                    </a:lnTo>
                    <a:lnTo>
                      <a:pt x="2540" y="704"/>
                    </a:lnTo>
                    <a:lnTo>
                      <a:pt x="2538" y="704"/>
                    </a:lnTo>
                    <a:lnTo>
                      <a:pt x="2538" y="704"/>
                    </a:lnTo>
                    <a:lnTo>
                      <a:pt x="2537" y="704"/>
                    </a:lnTo>
                    <a:lnTo>
                      <a:pt x="2535" y="704"/>
                    </a:lnTo>
                    <a:lnTo>
                      <a:pt x="2535" y="702"/>
                    </a:lnTo>
                    <a:lnTo>
                      <a:pt x="2535" y="701"/>
                    </a:lnTo>
                    <a:lnTo>
                      <a:pt x="2535" y="701"/>
                    </a:lnTo>
                    <a:lnTo>
                      <a:pt x="2535" y="699"/>
                    </a:lnTo>
                    <a:lnTo>
                      <a:pt x="2535" y="699"/>
                    </a:lnTo>
                    <a:lnTo>
                      <a:pt x="2537" y="699"/>
                    </a:lnTo>
                    <a:lnTo>
                      <a:pt x="2538" y="698"/>
                    </a:lnTo>
                    <a:lnTo>
                      <a:pt x="2540" y="698"/>
                    </a:lnTo>
                    <a:lnTo>
                      <a:pt x="2543" y="698"/>
                    </a:lnTo>
                    <a:lnTo>
                      <a:pt x="2544" y="698"/>
                    </a:lnTo>
                    <a:lnTo>
                      <a:pt x="2545" y="698"/>
                    </a:lnTo>
                    <a:lnTo>
                      <a:pt x="2545" y="696"/>
                    </a:lnTo>
                    <a:lnTo>
                      <a:pt x="2545" y="696"/>
                    </a:lnTo>
                    <a:lnTo>
                      <a:pt x="2545" y="695"/>
                    </a:lnTo>
                    <a:lnTo>
                      <a:pt x="2545" y="694"/>
                    </a:lnTo>
                    <a:lnTo>
                      <a:pt x="2545" y="694"/>
                    </a:lnTo>
                    <a:lnTo>
                      <a:pt x="2545" y="692"/>
                    </a:lnTo>
                    <a:lnTo>
                      <a:pt x="2545" y="694"/>
                    </a:lnTo>
                    <a:lnTo>
                      <a:pt x="2547" y="694"/>
                    </a:lnTo>
                    <a:lnTo>
                      <a:pt x="2548" y="695"/>
                    </a:lnTo>
                    <a:lnTo>
                      <a:pt x="2547" y="695"/>
                    </a:lnTo>
                    <a:lnTo>
                      <a:pt x="2547" y="696"/>
                    </a:lnTo>
                    <a:lnTo>
                      <a:pt x="2545" y="696"/>
                    </a:lnTo>
                    <a:lnTo>
                      <a:pt x="2545" y="698"/>
                    </a:lnTo>
                    <a:lnTo>
                      <a:pt x="2547" y="698"/>
                    </a:lnTo>
                    <a:lnTo>
                      <a:pt x="2545" y="698"/>
                    </a:lnTo>
                    <a:lnTo>
                      <a:pt x="2545" y="699"/>
                    </a:lnTo>
                    <a:lnTo>
                      <a:pt x="2544" y="701"/>
                    </a:lnTo>
                    <a:lnTo>
                      <a:pt x="2543" y="702"/>
                    </a:lnTo>
                    <a:lnTo>
                      <a:pt x="2543" y="702"/>
                    </a:lnTo>
                    <a:lnTo>
                      <a:pt x="2543" y="704"/>
                    </a:lnTo>
                    <a:lnTo>
                      <a:pt x="2541" y="704"/>
                    </a:lnTo>
                    <a:lnTo>
                      <a:pt x="2543" y="704"/>
                    </a:lnTo>
                    <a:lnTo>
                      <a:pt x="2544" y="706"/>
                    </a:lnTo>
                    <a:lnTo>
                      <a:pt x="2545" y="706"/>
                    </a:lnTo>
                    <a:lnTo>
                      <a:pt x="2548" y="708"/>
                    </a:lnTo>
                    <a:lnTo>
                      <a:pt x="2550" y="708"/>
                    </a:lnTo>
                    <a:lnTo>
                      <a:pt x="2553" y="708"/>
                    </a:lnTo>
                    <a:lnTo>
                      <a:pt x="2554" y="708"/>
                    </a:lnTo>
                    <a:lnTo>
                      <a:pt x="2556" y="708"/>
                    </a:lnTo>
                    <a:lnTo>
                      <a:pt x="2556" y="709"/>
                    </a:lnTo>
                    <a:lnTo>
                      <a:pt x="2556" y="709"/>
                    </a:lnTo>
                    <a:lnTo>
                      <a:pt x="2556" y="711"/>
                    </a:lnTo>
                    <a:lnTo>
                      <a:pt x="2554" y="712"/>
                    </a:lnTo>
                    <a:lnTo>
                      <a:pt x="2554" y="714"/>
                    </a:lnTo>
                    <a:lnTo>
                      <a:pt x="2554" y="717"/>
                    </a:lnTo>
                    <a:lnTo>
                      <a:pt x="2553" y="718"/>
                    </a:lnTo>
                    <a:lnTo>
                      <a:pt x="2553" y="719"/>
                    </a:lnTo>
                    <a:lnTo>
                      <a:pt x="2553" y="719"/>
                    </a:lnTo>
                    <a:lnTo>
                      <a:pt x="2553" y="721"/>
                    </a:lnTo>
                    <a:lnTo>
                      <a:pt x="2554" y="721"/>
                    </a:lnTo>
                    <a:lnTo>
                      <a:pt x="2556" y="721"/>
                    </a:lnTo>
                    <a:lnTo>
                      <a:pt x="2558" y="721"/>
                    </a:lnTo>
                    <a:lnTo>
                      <a:pt x="2560" y="721"/>
                    </a:lnTo>
                    <a:lnTo>
                      <a:pt x="2563" y="721"/>
                    </a:lnTo>
                    <a:lnTo>
                      <a:pt x="2566" y="719"/>
                    </a:lnTo>
                    <a:lnTo>
                      <a:pt x="2567" y="718"/>
                    </a:lnTo>
                    <a:lnTo>
                      <a:pt x="2570" y="717"/>
                    </a:lnTo>
                    <a:lnTo>
                      <a:pt x="2570" y="717"/>
                    </a:lnTo>
                    <a:lnTo>
                      <a:pt x="2571" y="715"/>
                    </a:lnTo>
                    <a:lnTo>
                      <a:pt x="2571" y="714"/>
                    </a:lnTo>
                    <a:lnTo>
                      <a:pt x="2571" y="712"/>
                    </a:lnTo>
                    <a:lnTo>
                      <a:pt x="2571" y="711"/>
                    </a:lnTo>
                    <a:lnTo>
                      <a:pt x="2571" y="709"/>
                    </a:lnTo>
                    <a:lnTo>
                      <a:pt x="2571" y="708"/>
                    </a:lnTo>
                    <a:lnTo>
                      <a:pt x="2573" y="708"/>
                    </a:lnTo>
                    <a:lnTo>
                      <a:pt x="2574" y="708"/>
                    </a:lnTo>
                    <a:lnTo>
                      <a:pt x="2574" y="709"/>
                    </a:lnTo>
                    <a:lnTo>
                      <a:pt x="2576" y="709"/>
                    </a:lnTo>
                    <a:lnTo>
                      <a:pt x="2576" y="711"/>
                    </a:lnTo>
                    <a:lnTo>
                      <a:pt x="2577" y="714"/>
                    </a:lnTo>
                    <a:lnTo>
                      <a:pt x="2577" y="715"/>
                    </a:lnTo>
                    <a:lnTo>
                      <a:pt x="2576" y="717"/>
                    </a:lnTo>
                    <a:lnTo>
                      <a:pt x="2576" y="719"/>
                    </a:lnTo>
                    <a:lnTo>
                      <a:pt x="2576" y="721"/>
                    </a:lnTo>
                    <a:lnTo>
                      <a:pt x="2577" y="721"/>
                    </a:lnTo>
                    <a:lnTo>
                      <a:pt x="2579" y="719"/>
                    </a:lnTo>
                    <a:lnTo>
                      <a:pt x="2579" y="719"/>
                    </a:lnTo>
                    <a:lnTo>
                      <a:pt x="2580" y="719"/>
                    </a:lnTo>
                    <a:lnTo>
                      <a:pt x="2580" y="719"/>
                    </a:lnTo>
                    <a:lnTo>
                      <a:pt x="2582" y="718"/>
                    </a:lnTo>
                    <a:lnTo>
                      <a:pt x="2582" y="717"/>
                    </a:lnTo>
                    <a:lnTo>
                      <a:pt x="2580" y="715"/>
                    </a:lnTo>
                    <a:lnTo>
                      <a:pt x="2579" y="714"/>
                    </a:lnTo>
                    <a:lnTo>
                      <a:pt x="2579" y="711"/>
                    </a:lnTo>
                    <a:lnTo>
                      <a:pt x="2577" y="709"/>
                    </a:lnTo>
                    <a:lnTo>
                      <a:pt x="2577" y="708"/>
                    </a:lnTo>
                    <a:lnTo>
                      <a:pt x="2576" y="706"/>
                    </a:lnTo>
                    <a:lnTo>
                      <a:pt x="2576" y="706"/>
                    </a:lnTo>
                    <a:lnTo>
                      <a:pt x="2576" y="705"/>
                    </a:lnTo>
                    <a:lnTo>
                      <a:pt x="2574" y="705"/>
                    </a:lnTo>
                    <a:lnTo>
                      <a:pt x="2574" y="705"/>
                    </a:lnTo>
                    <a:lnTo>
                      <a:pt x="2573" y="705"/>
                    </a:lnTo>
                    <a:lnTo>
                      <a:pt x="2571" y="704"/>
                    </a:lnTo>
                    <a:lnTo>
                      <a:pt x="2571" y="704"/>
                    </a:lnTo>
                    <a:lnTo>
                      <a:pt x="2570" y="702"/>
                    </a:lnTo>
                    <a:lnTo>
                      <a:pt x="2569" y="699"/>
                    </a:lnTo>
                    <a:lnTo>
                      <a:pt x="2569" y="698"/>
                    </a:lnTo>
                    <a:lnTo>
                      <a:pt x="2567" y="698"/>
                    </a:lnTo>
                    <a:lnTo>
                      <a:pt x="2569" y="698"/>
                    </a:lnTo>
                    <a:lnTo>
                      <a:pt x="2570" y="698"/>
                    </a:lnTo>
                    <a:lnTo>
                      <a:pt x="2573" y="699"/>
                    </a:lnTo>
                    <a:lnTo>
                      <a:pt x="2576" y="699"/>
                    </a:lnTo>
                    <a:lnTo>
                      <a:pt x="2577" y="699"/>
                    </a:lnTo>
                    <a:lnTo>
                      <a:pt x="2579" y="701"/>
                    </a:lnTo>
                    <a:lnTo>
                      <a:pt x="2580" y="701"/>
                    </a:lnTo>
                    <a:lnTo>
                      <a:pt x="2582" y="701"/>
                    </a:lnTo>
                    <a:lnTo>
                      <a:pt x="2584" y="701"/>
                    </a:lnTo>
                    <a:lnTo>
                      <a:pt x="2586" y="701"/>
                    </a:lnTo>
                    <a:lnTo>
                      <a:pt x="2587" y="701"/>
                    </a:lnTo>
                    <a:lnTo>
                      <a:pt x="2589" y="699"/>
                    </a:lnTo>
                    <a:lnTo>
                      <a:pt x="2590" y="698"/>
                    </a:lnTo>
                    <a:lnTo>
                      <a:pt x="2593" y="698"/>
                    </a:lnTo>
                    <a:lnTo>
                      <a:pt x="2595" y="698"/>
                    </a:lnTo>
                    <a:lnTo>
                      <a:pt x="2596" y="698"/>
                    </a:lnTo>
                    <a:lnTo>
                      <a:pt x="2597" y="698"/>
                    </a:lnTo>
                    <a:lnTo>
                      <a:pt x="2599" y="699"/>
                    </a:lnTo>
                    <a:lnTo>
                      <a:pt x="2602" y="701"/>
                    </a:lnTo>
                    <a:lnTo>
                      <a:pt x="2606" y="704"/>
                    </a:lnTo>
                    <a:lnTo>
                      <a:pt x="2609" y="705"/>
                    </a:lnTo>
                    <a:lnTo>
                      <a:pt x="2612" y="708"/>
                    </a:lnTo>
                    <a:lnTo>
                      <a:pt x="2613" y="709"/>
                    </a:lnTo>
                    <a:lnTo>
                      <a:pt x="2615" y="711"/>
                    </a:lnTo>
                    <a:lnTo>
                      <a:pt x="2616" y="711"/>
                    </a:lnTo>
                    <a:lnTo>
                      <a:pt x="2616" y="712"/>
                    </a:lnTo>
                    <a:lnTo>
                      <a:pt x="2618" y="714"/>
                    </a:lnTo>
                    <a:lnTo>
                      <a:pt x="2622" y="714"/>
                    </a:lnTo>
                    <a:lnTo>
                      <a:pt x="2625" y="715"/>
                    </a:lnTo>
                    <a:lnTo>
                      <a:pt x="2626" y="717"/>
                    </a:lnTo>
                    <a:lnTo>
                      <a:pt x="2628" y="717"/>
                    </a:lnTo>
                    <a:lnTo>
                      <a:pt x="2629" y="718"/>
                    </a:lnTo>
                    <a:lnTo>
                      <a:pt x="2631" y="719"/>
                    </a:lnTo>
                    <a:lnTo>
                      <a:pt x="2633" y="721"/>
                    </a:lnTo>
                    <a:lnTo>
                      <a:pt x="2636" y="721"/>
                    </a:lnTo>
                    <a:lnTo>
                      <a:pt x="2638" y="722"/>
                    </a:lnTo>
                    <a:lnTo>
                      <a:pt x="2639" y="722"/>
                    </a:lnTo>
                    <a:lnTo>
                      <a:pt x="2642" y="722"/>
                    </a:lnTo>
                    <a:lnTo>
                      <a:pt x="2642" y="724"/>
                    </a:lnTo>
                    <a:lnTo>
                      <a:pt x="2644" y="724"/>
                    </a:lnTo>
                    <a:lnTo>
                      <a:pt x="2645" y="724"/>
                    </a:lnTo>
                    <a:lnTo>
                      <a:pt x="2645" y="725"/>
                    </a:lnTo>
                    <a:lnTo>
                      <a:pt x="2648" y="727"/>
                    </a:lnTo>
                    <a:lnTo>
                      <a:pt x="2651" y="727"/>
                    </a:lnTo>
                    <a:lnTo>
                      <a:pt x="2654" y="730"/>
                    </a:lnTo>
                    <a:lnTo>
                      <a:pt x="2655" y="730"/>
                    </a:lnTo>
                    <a:lnTo>
                      <a:pt x="2657" y="731"/>
                    </a:lnTo>
                    <a:lnTo>
                      <a:pt x="2658" y="731"/>
                    </a:lnTo>
                    <a:lnTo>
                      <a:pt x="2658" y="732"/>
                    </a:lnTo>
                    <a:lnTo>
                      <a:pt x="2658" y="734"/>
                    </a:lnTo>
                    <a:lnTo>
                      <a:pt x="2659" y="734"/>
                    </a:lnTo>
                    <a:lnTo>
                      <a:pt x="2658" y="735"/>
                    </a:lnTo>
                    <a:lnTo>
                      <a:pt x="2658" y="735"/>
                    </a:lnTo>
                    <a:lnTo>
                      <a:pt x="2657" y="735"/>
                    </a:lnTo>
                    <a:lnTo>
                      <a:pt x="2657" y="734"/>
                    </a:lnTo>
                    <a:lnTo>
                      <a:pt x="2657" y="734"/>
                    </a:lnTo>
                    <a:lnTo>
                      <a:pt x="2657" y="734"/>
                    </a:lnTo>
                    <a:lnTo>
                      <a:pt x="2657" y="735"/>
                    </a:lnTo>
                    <a:lnTo>
                      <a:pt x="2657" y="735"/>
                    </a:lnTo>
                    <a:lnTo>
                      <a:pt x="2657" y="737"/>
                    </a:lnTo>
                    <a:lnTo>
                      <a:pt x="2655" y="737"/>
                    </a:lnTo>
                    <a:lnTo>
                      <a:pt x="2654" y="735"/>
                    </a:lnTo>
                    <a:lnTo>
                      <a:pt x="2651" y="734"/>
                    </a:lnTo>
                    <a:lnTo>
                      <a:pt x="2649" y="734"/>
                    </a:lnTo>
                    <a:lnTo>
                      <a:pt x="2648" y="732"/>
                    </a:lnTo>
                    <a:lnTo>
                      <a:pt x="2646" y="732"/>
                    </a:lnTo>
                    <a:lnTo>
                      <a:pt x="2644" y="731"/>
                    </a:lnTo>
                    <a:lnTo>
                      <a:pt x="2642" y="731"/>
                    </a:lnTo>
                    <a:lnTo>
                      <a:pt x="2644" y="732"/>
                    </a:lnTo>
                    <a:lnTo>
                      <a:pt x="2645" y="734"/>
                    </a:lnTo>
                    <a:lnTo>
                      <a:pt x="2649" y="735"/>
                    </a:lnTo>
                    <a:lnTo>
                      <a:pt x="2654" y="738"/>
                    </a:lnTo>
                    <a:lnTo>
                      <a:pt x="2658" y="740"/>
                    </a:lnTo>
                    <a:lnTo>
                      <a:pt x="2659" y="740"/>
                    </a:lnTo>
                    <a:lnTo>
                      <a:pt x="2662" y="741"/>
                    </a:lnTo>
                    <a:lnTo>
                      <a:pt x="2664" y="743"/>
                    </a:lnTo>
                    <a:lnTo>
                      <a:pt x="2664" y="744"/>
                    </a:lnTo>
                    <a:lnTo>
                      <a:pt x="2665" y="745"/>
                    </a:lnTo>
                    <a:lnTo>
                      <a:pt x="2667" y="747"/>
                    </a:lnTo>
                    <a:lnTo>
                      <a:pt x="2667" y="750"/>
                    </a:lnTo>
                    <a:lnTo>
                      <a:pt x="2667" y="751"/>
                    </a:lnTo>
                    <a:lnTo>
                      <a:pt x="2667" y="753"/>
                    </a:lnTo>
                    <a:lnTo>
                      <a:pt x="2668" y="753"/>
                    </a:lnTo>
                    <a:lnTo>
                      <a:pt x="2668" y="754"/>
                    </a:lnTo>
                    <a:lnTo>
                      <a:pt x="2670" y="756"/>
                    </a:lnTo>
                    <a:lnTo>
                      <a:pt x="2672" y="756"/>
                    </a:lnTo>
                    <a:lnTo>
                      <a:pt x="2674" y="756"/>
                    </a:lnTo>
                    <a:lnTo>
                      <a:pt x="2675" y="757"/>
                    </a:lnTo>
                    <a:lnTo>
                      <a:pt x="2678" y="757"/>
                    </a:lnTo>
                    <a:lnTo>
                      <a:pt x="2680" y="757"/>
                    </a:lnTo>
                    <a:lnTo>
                      <a:pt x="2680" y="757"/>
                    </a:lnTo>
                    <a:lnTo>
                      <a:pt x="2681" y="758"/>
                    </a:lnTo>
                    <a:lnTo>
                      <a:pt x="2681" y="760"/>
                    </a:lnTo>
                    <a:lnTo>
                      <a:pt x="2682" y="761"/>
                    </a:lnTo>
                    <a:lnTo>
                      <a:pt x="2682" y="763"/>
                    </a:lnTo>
                    <a:lnTo>
                      <a:pt x="2684" y="764"/>
                    </a:lnTo>
                    <a:lnTo>
                      <a:pt x="2684" y="764"/>
                    </a:lnTo>
                    <a:lnTo>
                      <a:pt x="2685" y="766"/>
                    </a:lnTo>
                    <a:lnTo>
                      <a:pt x="2687" y="766"/>
                    </a:lnTo>
                    <a:lnTo>
                      <a:pt x="2687" y="766"/>
                    </a:lnTo>
                    <a:lnTo>
                      <a:pt x="2687" y="767"/>
                    </a:lnTo>
                    <a:lnTo>
                      <a:pt x="2685" y="768"/>
                    </a:lnTo>
                    <a:lnTo>
                      <a:pt x="2685" y="770"/>
                    </a:lnTo>
                    <a:lnTo>
                      <a:pt x="2685" y="771"/>
                    </a:lnTo>
                    <a:lnTo>
                      <a:pt x="2685" y="771"/>
                    </a:lnTo>
                    <a:lnTo>
                      <a:pt x="2685" y="773"/>
                    </a:lnTo>
                    <a:lnTo>
                      <a:pt x="2685" y="774"/>
                    </a:lnTo>
                    <a:lnTo>
                      <a:pt x="2684" y="774"/>
                    </a:lnTo>
                    <a:lnTo>
                      <a:pt x="2684" y="776"/>
                    </a:lnTo>
                    <a:lnTo>
                      <a:pt x="2682" y="777"/>
                    </a:lnTo>
                    <a:lnTo>
                      <a:pt x="2682" y="779"/>
                    </a:lnTo>
                    <a:lnTo>
                      <a:pt x="2684" y="780"/>
                    </a:lnTo>
                    <a:lnTo>
                      <a:pt x="2684" y="781"/>
                    </a:lnTo>
                    <a:lnTo>
                      <a:pt x="2685" y="781"/>
                    </a:lnTo>
                    <a:lnTo>
                      <a:pt x="2685" y="783"/>
                    </a:lnTo>
                    <a:lnTo>
                      <a:pt x="2687" y="783"/>
                    </a:lnTo>
                    <a:lnTo>
                      <a:pt x="2687" y="783"/>
                    </a:lnTo>
                    <a:lnTo>
                      <a:pt x="2685" y="784"/>
                    </a:lnTo>
                    <a:lnTo>
                      <a:pt x="2685" y="784"/>
                    </a:lnTo>
                    <a:lnTo>
                      <a:pt x="2685" y="786"/>
                    </a:lnTo>
                    <a:lnTo>
                      <a:pt x="2684" y="786"/>
                    </a:lnTo>
                    <a:lnTo>
                      <a:pt x="2685" y="787"/>
                    </a:lnTo>
                    <a:lnTo>
                      <a:pt x="2685" y="789"/>
                    </a:lnTo>
                    <a:lnTo>
                      <a:pt x="2687" y="790"/>
                    </a:lnTo>
                    <a:lnTo>
                      <a:pt x="2688" y="792"/>
                    </a:lnTo>
                    <a:lnTo>
                      <a:pt x="2688" y="793"/>
                    </a:lnTo>
                    <a:lnTo>
                      <a:pt x="2690" y="794"/>
                    </a:lnTo>
                    <a:lnTo>
                      <a:pt x="2691" y="796"/>
                    </a:lnTo>
                    <a:lnTo>
                      <a:pt x="2691" y="797"/>
                    </a:lnTo>
                    <a:lnTo>
                      <a:pt x="2691" y="799"/>
                    </a:lnTo>
                    <a:lnTo>
                      <a:pt x="2691" y="800"/>
                    </a:lnTo>
                    <a:lnTo>
                      <a:pt x="2691" y="802"/>
                    </a:lnTo>
                    <a:lnTo>
                      <a:pt x="2691" y="803"/>
                    </a:lnTo>
                    <a:lnTo>
                      <a:pt x="2693" y="805"/>
                    </a:lnTo>
                    <a:lnTo>
                      <a:pt x="2693" y="806"/>
                    </a:lnTo>
                    <a:lnTo>
                      <a:pt x="2694" y="806"/>
                    </a:lnTo>
                    <a:lnTo>
                      <a:pt x="2694" y="807"/>
                    </a:lnTo>
                    <a:lnTo>
                      <a:pt x="2695" y="809"/>
                    </a:lnTo>
                    <a:lnTo>
                      <a:pt x="2697" y="809"/>
                    </a:lnTo>
                    <a:lnTo>
                      <a:pt x="2698" y="812"/>
                    </a:lnTo>
                    <a:lnTo>
                      <a:pt x="2700" y="816"/>
                    </a:lnTo>
                    <a:lnTo>
                      <a:pt x="2703" y="819"/>
                    </a:lnTo>
                    <a:lnTo>
                      <a:pt x="2704" y="820"/>
                    </a:lnTo>
                    <a:lnTo>
                      <a:pt x="2706" y="820"/>
                    </a:lnTo>
                    <a:lnTo>
                      <a:pt x="2707" y="822"/>
                    </a:lnTo>
                    <a:lnTo>
                      <a:pt x="2708" y="823"/>
                    </a:lnTo>
                    <a:lnTo>
                      <a:pt x="2710" y="823"/>
                    </a:lnTo>
                    <a:lnTo>
                      <a:pt x="2710" y="823"/>
                    </a:lnTo>
                    <a:lnTo>
                      <a:pt x="2710" y="823"/>
                    </a:lnTo>
                    <a:lnTo>
                      <a:pt x="2710" y="825"/>
                    </a:lnTo>
                    <a:lnTo>
                      <a:pt x="2710" y="826"/>
                    </a:lnTo>
                    <a:lnTo>
                      <a:pt x="2710" y="826"/>
                    </a:lnTo>
                    <a:lnTo>
                      <a:pt x="2710" y="829"/>
                    </a:lnTo>
                    <a:lnTo>
                      <a:pt x="2711" y="830"/>
                    </a:lnTo>
                    <a:lnTo>
                      <a:pt x="2713" y="832"/>
                    </a:lnTo>
                    <a:lnTo>
                      <a:pt x="2716" y="833"/>
                    </a:lnTo>
                    <a:lnTo>
                      <a:pt x="2716" y="835"/>
                    </a:lnTo>
                    <a:lnTo>
                      <a:pt x="2719" y="838"/>
                    </a:lnTo>
                    <a:lnTo>
                      <a:pt x="2719" y="839"/>
                    </a:lnTo>
                    <a:lnTo>
                      <a:pt x="2719" y="839"/>
                    </a:lnTo>
                    <a:lnTo>
                      <a:pt x="2720" y="841"/>
                    </a:lnTo>
                    <a:lnTo>
                      <a:pt x="2720" y="842"/>
                    </a:lnTo>
                    <a:lnTo>
                      <a:pt x="2720" y="843"/>
                    </a:lnTo>
                    <a:lnTo>
                      <a:pt x="2720" y="845"/>
                    </a:lnTo>
                    <a:lnTo>
                      <a:pt x="2719" y="846"/>
                    </a:lnTo>
                    <a:lnTo>
                      <a:pt x="2720" y="846"/>
                    </a:lnTo>
                    <a:lnTo>
                      <a:pt x="2720" y="846"/>
                    </a:lnTo>
                    <a:lnTo>
                      <a:pt x="2721" y="848"/>
                    </a:lnTo>
                    <a:lnTo>
                      <a:pt x="2723" y="849"/>
                    </a:lnTo>
                    <a:lnTo>
                      <a:pt x="2723" y="851"/>
                    </a:lnTo>
                    <a:lnTo>
                      <a:pt x="2723" y="852"/>
                    </a:lnTo>
                    <a:lnTo>
                      <a:pt x="2723" y="854"/>
                    </a:lnTo>
                    <a:lnTo>
                      <a:pt x="2721" y="855"/>
                    </a:lnTo>
                    <a:lnTo>
                      <a:pt x="2723" y="855"/>
                    </a:lnTo>
                    <a:lnTo>
                      <a:pt x="2723" y="854"/>
                    </a:lnTo>
                    <a:lnTo>
                      <a:pt x="2724" y="855"/>
                    </a:lnTo>
                    <a:lnTo>
                      <a:pt x="2726" y="855"/>
                    </a:lnTo>
                    <a:lnTo>
                      <a:pt x="2726" y="855"/>
                    </a:lnTo>
                    <a:lnTo>
                      <a:pt x="2726" y="856"/>
                    </a:lnTo>
                    <a:lnTo>
                      <a:pt x="2727" y="858"/>
                    </a:lnTo>
                    <a:lnTo>
                      <a:pt x="2729" y="859"/>
                    </a:lnTo>
                    <a:lnTo>
                      <a:pt x="2729" y="862"/>
                    </a:lnTo>
                    <a:lnTo>
                      <a:pt x="2730" y="865"/>
                    </a:lnTo>
                    <a:lnTo>
                      <a:pt x="2730" y="865"/>
                    </a:lnTo>
                    <a:lnTo>
                      <a:pt x="2730" y="867"/>
                    </a:lnTo>
                    <a:lnTo>
                      <a:pt x="2732" y="867"/>
                    </a:lnTo>
                    <a:lnTo>
                      <a:pt x="2732" y="868"/>
                    </a:lnTo>
                    <a:lnTo>
                      <a:pt x="2733" y="869"/>
                    </a:lnTo>
                    <a:lnTo>
                      <a:pt x="2733" y="871"/>
                    </a:lnTo>
                    <a:lnTo>
                      <a:pt x="2733" y="872"/>
                    </a:lnTo>
                    <a:lnTo>
                      <a:pt x="2733" y="872"/>
                    </a:lnTo>
                    <a:lnTo>
                      <a:pt x="2732" y="875"/>
                    </a:lnTo>
                    <a:lnTo>
                      <a:pt x="2730" y="877"/>
                    </a:lnTo>
                    <a:lnTo>
                      <a:pt x="2729" y="879"/>
                    </a:lnTo>
                    <a:lnTo>
                      <a:pt x="2727" y="882"/>
                    </a:lnTo>
                    <a:lnTo>
                      <a:pt x="2724" y="887"/>
                    </a:lnTo>
                    <a:lnTo>
                      <a:pt x="2724" y="888"/>
                    </a:lnTo>
                    <a:lnTo>
                      <a:pt x="2724" y="890"/>
                    </a:lnTo>
                    <a:lnTo>
                      <a:pt x="2724" y="892"/>
                    </a:lnTo>
                    <a:lnTo>
                      <a:pt x="2724" y="894"/>
                    </a:lnTo>
                    <a:lnTo>
                      <a:pt x="2724" y="897"/>
                    </a:lnTo>
                    <a:lnTo>
                      <a:pt x="2726" y="900"/>
                    </a:lnTo>
                    <a:lnTo>
                      <a:pt x="2726" y="903"/>
                    </a:lnTo>
                    <a:lnTo>
                      <a:pt x="2726" y="905"/>
                    </a:lnTo>
                    <a:lnTo>
                      <a:pt x="2724" y="907"/>
                    </a:lnTo>
                    <a:lnTo>
                      <a:pt x="2724" y="910"/>
                    </a:lnTo>
                    <a:lnTo>
                      <a:pt x="2724" y="910"/>
                    </a:lnTo>
                    <a:lnTo>
                      <a:pt x="2723" y="911"/>
                    </a:lnTo>
                    <a:lnTo>
                      <a:pt x="2723" y="914"/>
                    </a:lnTo>
                    <a:lnTo>
                      <a:pt x="2723" y="916"/>
                    </a:lnTo>
                    <a:lnTo>
                      <a:pt x="2724" y="918"/>
                    </a:lnTo>
                    <a:lnTo>
                      <a:pt x="2724" y="920"/>
                    </a:lnTo>
                    <a:lnTo>
                      <a:pt x="2724" y="921"/>
                    </a:lnTo>
                    <a:lnTo>
                      <a:pt x="2724" y="923"/>
                    </a:lnTo>
                    <a:lnTo>
                      <a:pt x="2724" y="924"/>
                    </a:lnTo>
                    <a:lnTo>
                      <a:pt x="2724" y="924"/>
                    </a:lnTo>
                    <a:lnTo>
                      <a:pt x="2726" y="926"/>
                    </a:lnTo>
                    <a:lnTo>
                      <a:pt x="2726" y="926"/>
                    </a:lnTo>
                    <a:lnTo>
                      <a:pt x="2727" y="926"/>
                    </a:lnTo>
                    <a:lnTo>
                      <a:pt x="2727" y="927"/>
                    </a:lnTo>
                    <a:lnTo>
                      <a:pt x="2727" y="927"/>
                    </a:lnTo>
                    <a:lnTo>
                      <a:pt x="2727" y="929"/>
                    </a:lnTo>
                    <a:lnTo>
                      <a:pt x="2726" y="930"/>
                    </a:lnTo>
                    <a:lnTo>
                      <a:pt x="2724" y="933"/>
                    </a:lnTo>
                    <a:lnTo>
                      <a:pt x="2724" y="933"/>
                    </a:lnTo>
                    <a:lnTo>
                      <a:pt x="2724" y="934"/>
                    </a:lnTo>
                    <a:lnTo>
                      <a:pt x="2726" y="937"/>
                    </a:lnTo>
                    <a:lnTo>
                      <a:pt x="2726" y="940"/>
                    </a:lnTo>
                    <a:lnTo>
                      <a:pt x="2726" y="943"/>
                    </a:lnTo>
                    <a:lnTo>
                      <a:pt x="2726" y="946"/>
                    </a:lnTo>
                    <a:lnTo>
                      <a:pt x="2724" y="949"/>
                    </a:lnTo>
                    <a:lnTo>
                      <a:pt x="2724" y="953"/>
                    </a:lnTo>
                    <a:lnTo>
                      <a:pt x="2723" y="956"/>
                    </a:lnTo>
                    <a:lnTo>
                      <a:pt x="2721" y="957"/>
                    </a:lnTo>
                    <a:lnTo>
                      <a:pt x="2720" y="959"/>
                    </a:lnTo>
                    <a:lnTo>
                      <a:pt x="2720" y="960"/>
                    </a:lnTo>
                    <a:lnTo>
                      <a:pt x="2720" y="960"/>
                    </a:lnTo>
                    <a:lnTo>
                      <a:pt x="2719" y="962"/>
                    </a:lnTo>
                    <a:lnTo>
                      <a:pt x="2719" y="963"/>
                    </a:lnTo>
                    <a:lnTo>
                      <a:pt x="2719" y="966"/>
                    </a:lnTo>
                    <a:lnTo>
                      <a:pt x="2717" y="967"/>
                    </a:lnTo>
                    <a:lnTo>
                      <a:pt x="2717" y="969"/>
                    </a:lnTo>
                    <a:lnTo>
                      <a:pt x="2716" y="969"/>
                    </a:lnTo>
                    <a:lnTo>
                      <a:pt x="2716" y="970"/>
                    </a:lnTo>
                    <a:lnTo>
                      <a:pt x="2716" y="973"/>
                    </a:lnTo>
                    <a:lnTo>
                      <a:pt x="2716" y="975"/>
                    </a:lnTo>
                    <a:lnTo>
                      <a:pt x="2716" y="976"/>
                    </a:lnTo>
                    <a:lnTo>
                      <a:pt x="2716" y="978"/>
                    </a:lnTo>
                    <a:lnTo>
                      <a:pt x="2716" y="978"/>
                    </a:lnTo>
                    <a:lnTo>
                      <a:pt x="2716" y="979"/>
                    </a:lnTo>
                    <a:lnTo>
                      <a:pt x="2716" y="979"/>
                    </a:lnTo>
                    <a:lnTo>
                      <a:pt x="2714" y="980"/>
                    </a:lnTo>
                    <a:lnTo>
                      <a:pt x="2713" y="980"/>
                    </a:lnTo>
                    <a:lnTo>
                      <a:pt x="2713" y="980"/>
                    </a:lnTo>
                    <a:lnTo>
                      <a:pt x="2711" y="982"/>
                    </a:lnTo>
                    <a:lnTo>
                      <a:pt x="2711" y="983"/>
                    </a:lnTo>
                    <a:lnTo>
                      <a:pt x="2711" y="985"/>
                    </a:lnTo>
                    <a:lnTo>
                      <a:pt x="2711" y="986"/>
                    </a:lnTo>
                    <a:lnTo>
                      <a:pt x="2711" y="988"/>
                    </a:lnTo>
                    <a:lnTo>
                      <a:pt x="2711" y="989"/>
                    </a:lnTo>
                    <a:lnTo>
                      <a:pt x="2711" y="989"/>
                    </a:lnTo>
                    <a:lnTo>
                      <a:pt x="2710" y="989"/>
                    </a:lnTo>
                    <a:lnTo>
                      <a:pt x="2710" y="991"/>
                    </a:lnTo>
                    <a:lnTo>
                      <a:pt x="2708" y="991"/>
                    </a:lnTo>
                    <a:lnTo>
                      <a:pt x="2708" y="992"/>
                    </a:lnTo>
                    <a:lnTo>
                      <a:pt x="2708" y="992"/>
                    </a:lnTo>
                    <a:lnTo>
                      <a:pt x="2707" y="993"/>
                    </a:lnTo>
                    <a:lnTo>
                      <a:pt x="2707" y="995"/>
                    </a:lnTo>
                    <a:lnTo>
                      <a:pt x="2707" y="995"/>
                    </a:lnTo>
                    <a:lnTo>
                      <a:pt x="2707" y="996"/>
                    </a:lnTo>
                    <a:lnTo>
                      <a:pt x="2708" y="998"/>
                    </a:lnTo>
                    <a:lnTo>
                      <a:pt x="2708" y="1001"/>
                    </a:lnTo>
                    <a:lnTo>
                      <a:pt x="2708" y="1002"/>
                    </a:lnTo>
                    <a:lnTo>
                      <a:pt x="2708" y="1003"/>
                    </a:lnTo>
                    <a:lnTo>
                      <a:pt x="2707" y="1003"/>
                    </a:lnTo>
                    <a:lnTo>
                      <a:pt x="2706" y="1005"/>
                    </a:lnTo>
                    <a:lnTo>
                      <a:pt x="2706" y="1006"/>
                    </a:lnTo>
                    <a:lnTo>
                      <a:pt x="2704" y="1006"/>
                    </a:lnTo>
                    <a:lnTo>
                      <a:pt x="2706" y="1006"/>
                    </a:lnTo>
                    <a:lnTo>
                      <a:pt x="2706" y="1008"/>
                    </a:lnTo>
                    <a:lnTo>
                      <a:pt x="2707" y="1009"/>
                    </a:lnTo>
                    <a:lnTo>
                      <a:pt x="2707" y="1009"/>
                    </a:lnTo>
                    <a:lnTo>
                      <a:pt x="2707" y="1011"/>
                    </a:lnTo>
                    <a:lnTo>
                      <a:pt x="2707" y="1012"/>
                    </a:lnTo>
                    <a:lnTo>
                      <a:pt x="2706" y="1015"/>
                    </a:lnTo>
                    <a:lnTo>
                      <a:pt x="2706" y="1018"/>
                    </a:lnTo>
                    <a:lnTo>
                      <a:pt x="2704" y="1019"/>
                    </a:lnTo>
                    <a:lnTo>
                      <a:pt x="2703" y="1022"/>
                    </a:lnTo>
                    <a:lnTo>
                      <a:pt x="2703" y="1022"/>
                    </a:lnTo>
                    <a:lnTo>
                      <a:pt x="2701" y="1024"/>
                    </a:lnTo>
                    <a:lnTo>
                      <a:pt x="2698" y="1027"/>
                    </a:lnTo>
                    <a:lnTo>
                      <a:pt x="2695" y="1029"/>
                    </a:lnTo>
                    <a:lnTo>
                      <a:pt x="2693" y="1032"/>
                    </a:lnTo>
                    <a:lnTo>
                      <a:pt x="2688" y="1034"/>
                    </a:lnTo>
                    <a:lnTo>
                      <a:pt x="2682" y="1040"/>
                    </a:lnTo>
                    <a:lnTo>
                      <a:pt x="2677" y="1044"/>
                    </a:lnTo>
                    <a:lnTo>
                      <a:pt x="2675" y="1044"/>
                    </a:lnTo>
                    <a:lnTo>
                      <a:pt x="2674" y="1044"/>
                    </a:lnTo>
                    <a:lnTo>
                      <a:pt x="2671" y="1045"/>
                    </a:lnTo>
                    <a:lnTo>
                      <a:pt x="2671" y="1045"/>
                    </a:lnTo>
                    <a:lnTo>
                      <a:pt x="2670" y="1045"/>
                    </a:lnTo>
                    <a:lnTo>
                      <a:pt x="2668" y="1044"/>
                    </a:lnTo>
                    <a:lnTo>
                      <a:pt x="2667" y="1044"/>
                    </a:lnTo>
                    <a:lnTo>
                      <a:pt x="2667" y="1044"/>
                    </a:lnTo>
                    <a:lnTo>
                      <a:pt x="2665" y="1044"/>
                    </a:lnTo>
                    <a:lnTo>
                      <a:pt x="2664" y="1042"/>
                    </a:lnTo>
                    <a:lnTo>
                      <a:pt x="2664" y="1042"/>
                    </a:lnTo>
                    <a:lnTo>
                      <a:pt x="2662" y="1042"/>
                    </a:lnTo>
                    <a:lnTo>
                      <a:pt x="2661" y="1042"/>
                    </a:lnTo>
                    <a:lnTo>
                      <a:pt x="2659" y="1042"/>
                    </a:lnTo>
                    <a:lnTo>
                      <a:pt x="2658" y="1041"/>
                    </a:lnTo>
                    <a:lnTo>
                      <a:pt x="2657" y="1041"/>
                    </a:lnTo>
                    <a:lnTo>
                      <a:pt x="2655" y="1041"/>
                    </a:lnTo>
                    <a:lnTo>
                      <a:pt x="2654" y="1040"/>
                    </a:lnTo>
                    <a:lnTo>
                      <a:pt x="2652" y="1040"/>
                    </a:lnTo>
                    <a:lnTo>
                      <a:pt x="2651" y="1038"/>
                    </a:lnTo>
                    <a:lnTo>
                      <a:pt x="2651" y="1037"/>
                    </a:lnTo>
                    <a:lnTo>
                      <a:pt x="2649" y="1037"/>
                    </a:lnTo>
                    <a:lnTo>
                      <a:pt x="2648" y="1037"/>
                    </a:lnTo>
                    <a:lnTo>
                      <a:pt x="2648" y="1037"/>
                    </a:lnTo>
                    <a:lnTo>
                      <a:pt x="2646" y="1038"/>
                    </a:lnTo>
                    <a:lnTo>
                      <a:pt x="2646" y="1038"/>
                    </a:lnTo>
                    <a:lnTo>
                      <a:pt x="2646" y="1037"/>
                    </a:lnTo>
                    <a:lnTo>
                      <a:pt x="2645" y="1037"/>
                    </a:lnTo>
                    <a:lnTo>
                      <a:pt x="2645" y="1035"/>
                    </a:lnTo>
                    <a:lnTo>
                      <a:pt x="2644" y="1034"/>
                    </a:lnTo>
                    <a:lnTo>
                      <a:pt x="2642" y="1032"/>
                    </a:lnTo>
                    <a:lnTo>
                      <a:pt x="2641" y="1029"/>
                    </a:lnTo>
                    <a:lnTo>
                      <a:pt x="2639" y="1028"/>
                    </a:lnTo>
                    <a:lnTo>
                      <a:pt x="2639" y="1028"/>
                    </a:lnTo>
                    <a:lnTo>
                      <a:pt x="2639" y="1027"/>
                    </a:lnTo>
                    <a:lnTo>
                      <a:pt x="2639" y="1027"/>
                    </a:lnTo>
                    <a:lnTo>
                      <a:pt x="2638" y="1027"/>
                    </a:lnTo>
                    <a:lnTo>
                      <a:pt x="2638" y="1028"/>
                    </a:lnTo>
                    <a:lnTo>
                      <a:pt x="2638" y="1028"/>
                    </a:lnTo>
                    <a:lnTo>
                      <a:pt x="2638" y="1029"/>
                    </a:lnTo>
                    <a:lnTo>
                      <a:pt x="2636" y="1029"/>
                    </a:lnTo>
                    <a:lnTo>
                      <a:pt x="2636" y="1031"/>
                    </a:lnTo>
                    <a:lnTo>
                      <a:pt x="2636" y="1031"/>
                    </a:lnTo>
                    <a:lnTo>
                      <a:pt x="2636" y="1032"/>
                    </a:lnTo>
                    <a:lnTo>
                      <a:pt x="2635" y="1032"/>
                    </a:lnTo>
                    <a:lnTo>
                      <a:pt x="2633" y="1031"/>
                    </a:lnTo>
                    <a:lnTo>
                      <a:pt x="2632" y="1031"/>
                    </a:lnTo>
                    <a:lnTo>
                      <a:pt x="2632" y="1029"/>
                    </a:lnTo>
                    <a:lnTo>
                      <a:pt x="2632" y="1029"/>
                    </a:lnTo>
                    <a:lnTo>
                      <a:pt x="2632" y="1028"/>
                    </a:lnTo>
                    <a:lnTo>
                      <a:pt x="2631" y="1028"/>
                    </a:lnTo>
                    <a:lnTo>
                      <a:pt x="2631" y="1027"/>
                    </a:lnTo>
                    <a:lnTo>
                      <a:pt x="2629" y="1027"/>
                    </a:lnTo>
                    <a:lnTo>
                      <a:pt x="2629" y="1027"/>
                    </a:lnTo>
                    <a:lnTo>
                      <a:pt x="2628" y="1027"/>
                    </a:lnTo>
                    <a:lnTo>
                      <a:pt x="2628" y="1028"/>
                    </a:lnTo>
                    <a:lnTo>
                      <a:pt x="2626" y="1028"/>
                    </a:lnTo>
                    <a:lnTo>
                      <a:pt x="2626" y="1029"/>
                    </a:lnTo>
                    <a:lnTo>
                      <a:pt x="2626" y="1029"/>
                    </a:lnTo>
                    <a:lnTo>
                      <a:pt x="2626" y="1032"/>
                    </a:lnTo>
                    <a:lnTo>
                      <a:pt x="2626" y="1034"/>
                    </a:lnTo>
                    <a:lnTo>
                      <a:pt x="2626" y="1035"/>
                    </a:lnTo>
                    <a:lnTo>
                      <a:pt x="2626" y="1037"/>
                    </a:lnTo>
                    <a:lnTo>
                      <a:pt x="2626" y="1037"/>
                    </a:lnTo>
                    <a:lnTo>
                      <a:pt x="2625" y="1038"/>
                    </a:lnTo>
                    <a:lnTo>
                      <a:pt x="2625" y="1038"/>
                    </a:lnTo>
                    <a:lnTo>
                      <a:pt x="2625" y="1038"/>
                    </a:lnTo>
                    <a:lnTo>
                      <a:pt x="2625" y="1040"/>
                    </a:lnTo>
                    <a:lnTo>
                      <a:pt x="2625" y="1041"/>
                    </a:lnTo>
                    <a:lnTo>
                      <a:pt x="2625" y="1044"/>
                    </a:lnTo>
                    <a:lnTo>
                      <a:pt x="2625" y="1045"/>
                    </a:lnTo>
                    <a:lnTo>
                      <a:pt x="2625" y="1047"/>
                    </a:lnTo>
                    <a:lnTo>
                      <a:pt x="2623" y="1047"/>
                    </a:lnTo>
                    <a:lnTo>
                      <a:pt x="2622" y="1047"/>
                    </a:lnTo>
                    <a:lnTo>
                      <a:pt x="2619" y="1045"/>
                    </a:lnTo>
                    <a:lnTo>
                      <a:pt x="2618" y="1045"/>
                    </a:lnTo>
                    <a:lnTo>
                      <a:pt x="2615" y="1045"/>
                    </a:lnTo>
                    <a:lnTo>
                      <a:pt x="2613" y="1045"/>
                    </a:lnTo>
                    <a:lnTo>
                      <a:pt x="2612" y="1045"/>
                    </a:lnTo>
                    <a:lnTo>
                      <a:pt x="2610" y="1047"/>
                    </a:lnTo>
                    <a:lnTo>
                      <a:pt x="2612" y="1047"/>
                    </a:lnTo>
                    <a:lnTo>
                      <a:pt x="2613" y="1048"/>
                    </a:lnTo>
                    <a:lnTo>
                      <a:pt x="2615" y="1050"/>
                    </a:lnTo>
                    <a:lnTo>
                      <a:pt x="2616" y="1051"/>
                    </a:lnTo>
                    <a:lnTo>
                      <a:pt x="2616" y="1053"/>
                    </a:lnTo>
                    <a:lnTo>
                      <a:pt x="2616" y="1054"/>
                    </a:lnTo>
                    <a:lnTo>
                      <a:pt x="2616" y="1055"/>
                    </a:lnTo>
                    <a:lnTo>
                      <a:pt x="2616" y="1058"/>
                    </a:lnTo>
                    <a:lnTo>
                      <a:pt x="2613" y="1054"/>
                    </a:lnTo>
                    <a:lnTo>
                      <a:pt x="2612" y="1051"/>
                    </a:lnTo>
                    <a:lnTo>
                      <a:pt x="2610" y="1050"/>
                    </a:lnTo>
                    <a:lnTo>
                      <a:pt x="2609" y="1047"/>
                    </a:lnTo>
                    <a:lnTo>
                      <a:pt x="2607" y="1047"/>
                    </a:lnTo>
                    <a:lnTo>
                      <a:pt x="2605" y="1045"/>
                    </a:lnTo>
                    <a:lnTo>
                      <a:pt x="2602" y="1044"/>
                    </a:lnTo>
                    <a:lnTo>
                      <a:pt x="2602" y="1042"/>
                    </a:lnTo>
                    <a:lnTo>
                      <a:pt x="2603" y="1042"/>
                    </a:lnTo>
                    <a:lnTo>
                      <a:pt x="2605" y="1041"/>
                    </a:lnTo>
                    <a:lnTo>
                      <a:pt x="2606" y="1040"/>
                    </a:lnTo>
                    <a:lnTo>
                      <a:pt x="2607" y="1040"/>
                    </a:lnTo>
                    <a:lnTo>
                      <a:pt x="2609" y="1040"/>
                    </a:lnTo>
                    <a:lnTo>
                      <a:pt x="2610" y="1040"/>
                    </a:lnTo>
                    <a:lnTo>
                      <a:pt x="2612" y="1038"/>
                    </a:lnTo>
                    <a:lnTo>
                      <a:pt x="2612" y="1038"/>
                    </a:lnTo>
                    <a:lnTo>
                      <a:pt x="2613" y="1038"/>
                    </a:lnTo>
                    <a:lnTo>
                      <a:pt x="2615" y="1037"/>
                    </a:lnTo>
                    <a:lnTo>
                      <a:pt x="2615" y="1037"/>
                    </a:lnTo>
                    <a:lnTo>
                      <a:pt x="2615" y="1035"/>
                    </a:lnTo>
                    <a:lnTo>
                      <a:pt x="2615" y="1034"/>
                    </a:lnTo>
                    <a:lnTo>
                      <a:pt x="2616" y="1032"/>
                    </a:lnTo>
                    <a:lnTo>
                      <a:pt x="2615" y="1029"/>
                    </a:lnTo>
                    <a:lnTo>
                      <a:pt x="2615" y="1029"/>
                    </a:lnTo>
                    <a:lnTo>
                      <a:pt x="2615" y="1027"/>
                    </a:lnTo>
                    <a:lnTo>
                      <a:pt x="2612" y="1024"/>
                    </a:lnTo>
                    <a:lnTo>
                      <a:pt x="2612" y="1022"/>
                    </a:lnTo>
                    <a:lnTo>
                      <a:pt x="2609" y="1019"/>
                    </a:lnTo>
                    <a:lnTo>
                      <a:pt x="2607" y="1018"/>
                    </a:lnTo>
                    <a:lnTo>
                      <a:pt x="2606" y="1015"/>
                    </a:lnTo>
                    <a:lnTo>
                      <a:pt x="2605" y="1012"/>
                    </a:lnTo>
                    <a:lnTo>
                      <a:pt x="2587" y="986"/>
                    </a:lnTo>
                    <a:lnTo>
                      <a:pt x="2586" y="985"/>
                    </a:lnTo>
                    <a:lnTo>
                      <a:pt x="2584" y="983"/>
                    </a:lnTo>
                    <a:lnTo>
                      <a:pt x="2583" y="982"/>
                    </a:lnTo>
                    <a:lnTo>
                      <a:pt x="2582" y="980"/>
                    </a:lnTo>
                    <a:lnTo>
                      <a:pt x="2580" y="979"/>
                    </a:lnTo>
                    <a:lnTo>
                      <a:pt x="2580" y="978"/>
                    </a:lnTo>
                    <a:lnTo>
                      <a:pt x="2580" y="978"/>
                    </a:lnTo>
                    <a:lnTo>
                      <a:pt x="2582" y="978"/>
                    </a:lnTo>
                    <a:lnTo>
                      <a:pt x="2582" y="978"/>
                    </a:lnTo>
                    <a:lnTo>
                      <a:pt x="2583" y="976"/>
                    </a:lnTo>
                    <a:lnTo>
                      <a:pt x="2584" y="976"/>
                    </a:lnTo>
                    <a:lnTo>
                      <a:pt x="2586" y="976"/>
                    </a:lnTo>
                    <a:lnTo>
                      <a:pt x="2587" y="976"/>
                    </a:lnTo>
                    <a:lnTo>
                      <a:pt x="2587" y="975"/>
                    </a:lnTo>
                    <a:lnTo>
                      <a:pt x="2589" y="973"/>
                    </a:lnTo>
                    <a:lnTo>
                      <a:pt x="2589" y="973"/>
                    </a:lnTo>
                    <a:lnTo>
                      <a:pt x="2590" y="972"/>
                    </a:lnTo>
                    <a:lnTo>
                      <a:pt x="2590" y="972"/>
                    </a:lnTo>
                    <a:lnTo>
                      <a:pt x="2590" y="970"/>
                    </a:lnTo>
                    <a:lnTo>
                      <a:pt x="2590" y="970"/>
                    </a:lnTo>
                    <a:lnTo>
                      <a:pt x="2590" y="969"/>
                    </a:lnTo>
                    <a:lnTo>
                      <a:pt x="2590" y="967"/>
                    </a:lnTo>
                    <a:lnTo>
                      <a:pt x="2592" y="967"/>
                    </a:lnTo>
                    <a:lnTo>
                      <a:pt x="2592" y="966"/>
                    </a:lnTo>
                    <a:lnTo>
                      <a:pt x="2593" y="966"/>
                    </a:lnTo>
                    <a:lnTo>
                      <a:pt x="2593" y="966"/>
                    </a:lnTo>
                    <a:lnTo>
                      <a:pt x="2595" y="966"/>
                    </a:lnTo>
                    <a:lnTo>
                      <a:pt x="2596" y="965"/>
                    </a:lnTo>
                    <a:lnTo>
                      <a:pt x="2597" y="966"/>
                    </a:lnTo>
                    <a:lnTo>
                      <a:pt x="2600" y="966"/>
                    </a:lnTo>
                    <a:lnTo>
                      <a:pt x="2602" y="967"/>
                    </a:lnTo>
                    <a:lnTo>
                      <a:pt x="2605" y="967"/>
                    </a:lnTo>
                    <a:lnTo>
                      <a:pt x="2606" y="969"/>
                    </a:lnTo>
                    <a:lnTo>
                      <a:pt x="2607" y="969"/>
                    </a:lnTo>
                    <a:lnTo>
                      <a:pt x="2607" y="969"/>
                    </a:lnTo>
                    <a:lnTo>
                      <a:pt x="2609" y="970"/>
                    </a:lnTo>
                    <a:lnTo>
                      <a:pt x="2610" y="970"/>
                    </a:lnTo>
                    <a:lnTo>
                      <a:pt x="2612" y="972"/>
                    </a:lnTo>
                    <a:lnTo>
                      <a:pt x="2615" y="973"/>
                    </a:lnTo>
                    <a:lnTo>
                      <a:pt x="2619" y="973"/>
                    </a:lnTo>
                    <a:lnTo>
                      <a:pt x="2620" y="973"/>
                    </a:lnTo>
                    <a:lnTo>
                      <a:pt x="2622" y="973"/>
                    </a:lnTo>
                    <a:lnTo>
                      <a:pt x="2623" y="973"/>
                    </a:lnTo>
                    <a:lnTo>
                      <a:pt x="2625" y="973"/>
                    </a:lnTo>
                    <a:lnTo>
                      <a:pt x="2625" y="973"/>
                    </a:lnTo>
                    <a:lnTo>
                      <a:pt x="2625" y="972"/>
                    </a:lnTo>
                    <a:lnTo>
                      <a:pt x="2625" y="970"/>
                    </a:lnTo>
                    <a:lnTo>
                      <a:pt x="2625" y="969"/>
                    </a:lnTo>
                    <a:lnTo>
                      <a:pt x="2625" y="967"/>
                    </a:lnTo>
                    <a:lnTo>
                      <a:pt x="2623" y="966"/>
                    </a:lnTo>
                    <a:lnTo>
                      <a:pt x="2623" y="965"/>
                    </a:lnTo>
                    <a:lnTo>
                      <a:pt x="2622" y="963"/>
                    </a:lnTo>
                    <a:lnTo>
                      <a:pt x="2622" y="962"/>
                    </a:lnTo>
                    <a:lnTo>
                      <a:pt x="2622" y="960"/>
                    </a:lnTo>
                    <a:lnTo>
                      <a:pt x="2622" y="960"/>
                    </a:lnTo>
                    <a:lnTo>
                      <a:pt x="2623" y="959"/>
                    </a:lnTo>
                    <a:lnTo>
                      <a:pt x="2623" y="959"/>
                    </a:lnTo>
                    <a:lnTo>
                      <a:pt x="2625" y="957"/>
                    </a:lnTo>
                    <a:lnTo>
                      <a:pt x="2625" y="956"/>
                    </a:lnTo>
                    <a:lnTo>
                      <a:pt x="2626" y="956"/>
                    </a:lnTo>
                    <a:lnTo>
                      <a:pt x="2626" y="954"/>
                    </a:lnTo>
                    <a:lnTo>
                      <a:pt x="2626" y="953"/>
                    </a:lnTo>
                    <a:lnTo>
                      <a:pt x="2625" y="952"/>
                    </a:lnTo>
                    <a:lnTo>
                      <a:pt x="2625" y="950"/>
                    </a:lnTo>
                    <a:lnTo>
                      <a:pt x="2625" y="949"/>
                    </a:lnTo>
                    <a:lnTo>
                      <a:pt x="2623" y="949"/>
                    </a:lnTo>
                    <a:lnTo>
                      <a:pt x="2623" y="947"/>
                    </a:lnTo>
                    <a:lnTo>
                      <a:pt x="2623" y="947"/>
                    </a:lnTo>
                    <a:lnTo>
                      <a:pt x="2623" y="946"/>
                    </a:lnTo>
                    <a:lnTo>
                      <a:pt x="2623" y="944"/>
                    </a:lnTo>
                    <a:lnTo>
                      <a:pt x="2625" y="943"/>
                    </a:lnTo>
                    <a:lnTo>
                      <a:pt x="2623" y="943"/>
                    </a:lnTo>
                    <a:lnTo>
                      <a:pt x="2623" y="941"/>
                    </a:lnTo>
                    <a:lnTo>
                      <a:pt x="2622" y="941"/>
                    </a:lnTo>
                    <a:lnTo>
                      <a:pt x="2622" y="940"/>
                    </a:lnTo>
                    <a:lnTo>
                      <a:pt x="2622" y="940"/>
                    </a:lnTo>
                    <a:lnTo>
                      <a:pt x="2623" y="940"/>
                    </a:lnTo>
                    <a:lnTo>
                      <a:pt x="2623" y="939"/>
                    </a:lnTo>
                    <a:lnTo>
                      <a:pt x="2623" y="939"/>
                    </a:lnTo>
                    <a:lnTo>
                      <a:pt x="2623" y="937"/>
                    </a:lnTo>
                    <a:lnTo>
                      <a:pt x="2623" y="934"/>
                    </a:lnTo>
                    <a:lnTo>
                      <a:pt x="2623" y="934"/>
                    </a:lnTo>
                    <a:lnTo>
                      <a:pt x="2622" y="933"/>
                    </a:lnTo>
                    <a:lnTo>
                      <a:pt x="2622" y="931"/>
                    </a:lnTo>
                    <a:lnTo>
                      <a:pt x="2620" y="930"/>
                    </a:lnTo>
                    <a:lnTo>
                      <a:pt x="2620" y="930"/>
                    </a:lnTo>
                    <a:lnTo>
                      <a:pt x="2620" y="929"/>
                    </a:lnTo>
                    <a:lnTo>
                      <a:pt x="2620" y="927"/>
                    </a:lnTo>
                    <a:lnTo>
                      <a:pt x="2620" y="927"/>
                    </a:lnTo>
                    <a:lnTo>
                      <a:pt x="2620" y="927"/>
                    </a:lnTo>
                    <a:lnTo>
                      <a:pt x="2622" y="927"/>
                    </a:lnTo>
                    <a:lnTo>
                      <a:pt x="2620" y="926"/>
                    </a:lnTo>
                    <a:lnTo>
                      <a:pt x="2619" y="924"/>
                    </a:lnTo>
                    <a:lnTo>
                      <a:pt x="2619" y="921"/>
                    </a:lnTo>
                    <a:lnTo>
                      <a:pt x="2618" y="920"/>
                    </a:lnTo>
                    <a:lnTo>
                      <a:pt x="2616" y="918"/>
                    </a:lnTo>
                    <a:lnTo>
                      <a:pt x="2616" y="917"/>
                    </a:lnTo>
                    <a:lnTo>
                      <a:pt x="2616" y="910"/>
                    </a:lnTo>
                    <a:lnTo>
                      <a:pt x="2615" y="910"/>
                    </a:lnTo>
                    <a:lnTo>
                      <a:pt x="2615" y="908"/>
                    </a:lnTo>
                    <a:lnTo>
                      <a:pt x="2615" y="908"/>
                    </a:lnTo>
                    <a:lnTo>
                      <a:pt x="2613" y="907"/>
                    </a:lnTo>
                    <a:lnTo>
                      <a:pt x="2613" y="905"/>
                    </a:lnTo>
                    <a:lnTo>
                      <a:pt x="2613" y="904"/>
                    </a:lnTo>
                    <a:lnTo>
                      <a:pt x="2612" y="903"/>
                    </a:lnTo>
                    <a:lnTo>
                      <a:pt x="2613" y="903"/>
                    </a:lnTo>
                    <a:lnTo>
                      <a:pt x="2613" y="901"/>
                    </a:lnTo>
                    <a:lnTo>
                      <a:pt x="2615" y="900"/>
                    </a:lnTo>
                    <a:lnTo>
                      <a:pt x="2616" y="900"/>
                    </a:lnTo>
                    <a:lnTo>
                      <a:pt x="2616" y="898"/>
                    </a:lnTo>
                    <a:lnTo>
                      <a:pt x="2618" y="898"/>
                    </a:lnTo>
                    <a:lnTo>
                      <a:pt x="2618" y="897"/>
                    </a:lnTo>
                    <a:lnTo>
                      <a:pt x="2618" y="897"/>
                    </a:lnTo>
                    <a:lnTo>
                      <a:pt x="2619" y="895"/>
                    </a:lnTo>
                    <a:lnTo>
                      <a:pt x="2619" y="894"/>
                    </a:lnTo>
                    <a:lnTo>
                      <a:pt x="2618" y="892"/>
                    </a:lnTo>
                    <a:lnTo>
                      <a:pt x="2616" y="891"/>
                    </a:lnTo>
                    <a:lnTo>
                      <a:pt x="2615" y="891"/>
                    </a:lnTo>
                    <a:lnTo>
                      <a:pt x="2613" y="890"/>
                    </a:lnTo>
                    <a:lnTo>
                      <a:pt x="2612" y="888"/>
                    </a:lnTo>
                    <a:lnTo>
                      <a:pt x="2612" y="887"/>
                    </a:lnTo>
                    <a:lnTo>
                      <a:pt x="2610" y="887"/>
                    </a:lnTo>
                    <a:lnTo>
                      <a:pt x="2609" y="885"/>
                    </a:lnTo>
                    <a:lnTo>
                      <a:pt x="2609" y="884"/>
                    </a:lnTo>
                    <a:lnTo>
                      <a:pt x="2607" y="882"/>
                    </a:lnTo>
                    <a:lnTo>
                      <a:pt x="2607" y="882"/>
                    </a:lnTo>
                    <a:lnTo>
                      <a:pt x="2607" y="881"/>
                    </a:lnTo>
                    <a:lnTo>
                      <a:pt x="2607" y="881"/>
                    </a:lnTo>
                    <a:lnTo>
                      <a:pt x="2607" y="879"/>
                    </a:lnTo>
                    <a:lnTo>
                      <a:pt x="2607" y="879"/>
                    </a:lnTo>
                    <a:lnTo>
                      <a:pt x="2607" y="878"/>
                    </a:lnTo>
                    <a:lnTo>
                      <a:pt x="2607" y="877"/>
                    </a:lnTo>
                    <a:lnTo>
                      <a:pt x="2607" y="877"/>
                    </a:lnTo>
                    <a:lnTo>
                      <a:pt x="2606" y="877"/>
                    </a:lnTo>
                    <a:lnTo>
                      <a:pt x="2606" y="875"/>
                    </a:lnTo>
                    <a:lnTo>
                      <a:pt x="2605" y="875"/>
                    </a:lnTo>
                    <a:lnTo>
                      <a:pt x="2603" y="875"/>
                    </a:lnTo>
                    <a:lnTo>
                      <a:pt x="2602" y="875"/>
                    </a:lnTo>
                    <a:lnTo>
                      <a:pt x="2600" y="874"/>
                    </a:lnTo>
                    <a:lnTo>
                      <a:pt x="2599" y="874"/>
                    </a:lnTo>
                    <a:lnTo>
                      <a:pt x="2597" y="872"/>
                    </a:lnTo>
                    <a:lnTo>
                      <a:pt x="2595" y="872"/>
                    </a:lnTo>
                    <a:lnTo>
                      <a:pt x="2593" y="872"/>
                    </a:lnTo>
                    <a:lnTo>
                      <a:pt x="2592" y="874"/>
                    </a:lnTo>
                    <a:lnTo>
                      <a:pt x="2589" y="874"/>
                    </a:lnTo>
                    <a:lnTo>
                      <a:pt x="2587" y="875"/>
                    </a:lnTo>
                    <a:lnTo>
                      <a:pt x="2587" y="875"/>
                    </a:lnTo>
                    <a:lnTo>
                      <a:pt x="2586" y="875"/>
                    </a:lnTo>
                    <a:lnTo>
                      <a:pt x="2586" y="877"/>
                    </a:lnTo>
                    <a:lnTo>
                      <a:pt x="2584" y="878"/>
                    </a:lnTo>
                    <a:lnTo>
                      <a:pt x="2584" y="879"/>
                    </a:lnTo>
                    <a:lnTo>
                      <a:pt x="2583" y="879"/>
                    </a:lnTo>
                    <a:lnTo>
                      <a:pt x="2582" y="881"/>
                    </a:lnTo>
                    <a:lnTo>
                      <a:pt x="2582" y="884"/>
                    </a:lnTo>
                    <a:lnTo>
                      <a:pt x="2579" y="882"/>
                    </a:lnTo>
                    <a:lnTo>
                      <a:pt x="2577" y="882"/>
                    </a:lnTo>
                    <a:lnTo>
                      <a:pt x="2573" y="882"/>
                    </a:lnTo>
                    <a:lnTo>
                      <a:pt x="2570" y="882"/>
                    </a:lnTo>
                    <a:lnTo>
                      <a:pt x="2569" y="884"/>
                    </a:lnTo>
                    <a:lnTo>
                      <a:pt x="2566" y="885"/>
                    </a:lnTo>
                    <a:lnTo>
                      <a:pt x="2566" y="887"/>
                    </a:lnTo>
                    <a:lnTo>
                      <a:pt x="2564" y="887"/>
                    </a:lnTo>
                    <a:lnTo>
                      <a:pt x="2564" y="888"/>
                    </a:lnTo>
                    <a:lnTo>
                      <a:pt x="2564" y="890"/>
                    </a:lnTo>
                    <a:lnTo>
                      <a:pt x="2564" y="890"/>
                    </a:lnTo>
                    <a:lnTo>
                      <a:pt x="2563" y="891"/>
                    </a:lnTo>
                    <a:lnTo>
                      <a:pt x="2563" y="892"/>
                    </a:lnTo>
                    <a:lnTo>
                      <a:pt x="2561" y="892"/>
                    </a:lnTo>
                    <a:lnTo>
                      <a:pt x="2560" y="892"/>
                    </a:lnTo>
                    <a:lnTo>
                      <a:pt x="2558" y="894"/>
                    </a:lnTo>
                    <a:lnTo>
                      <a:pt x="2556" y="894"/>
                    </a:lnTo>
                    <a:lnTo>
                      <a:pt x="2553" y="894"/>
                    </a:lnTo>
                    <a:lnTo>
                      <a:pt x="2550" y="894"/>
                    </a:lnTo>
                    <a:lnTo>
                      <a:pt x="2547" y="894"/>
                    </a:lnTo>
                    <a:lnTo>
                      <a:pt x="2545" y="894"/>
                    </a:lnTo>
                    <a:lnTo>
                      <a:pt x="2545" y="894"/>
                    </a:lnTo>
                    <a:lnTo>
                      <a:pt x="2544" y="894"/>
                    </a:lnTo>
                    <a:lnTo>
                      <a:pt x="2543" y="894"/>
                    </a:lnTo>
                    <a:lnTo>
                      <a:pt x="2543" y="892"/>
                    </a:lnTo>
                    <a:lnTo>
                      <a:pt x="2543" y="892"/>
                    </a:lnTo>
                    <a:lnTo>
                      <a:pt x="2541" y="892"/>
                    </a:lnTo>
                    <a:lnTo>
                      <a:pt x="2540" y="892"/>
                    </a:lnTo>
                    <a:lnTo>
                      <a:pt x="2537" y="892"/>
                    </a:lnTo>
                    <a:lnTo>
                      <a:pt x="2535" y="892"/>
                    </a:lnTo>
                    <a:lnTo>
                      <a:pt x="2535" y="892"/>
                    </a:lnTo>
                    <a:lnTo>
                      <a:pt x="2534" y="894"/>
                    </a:lnTo>
                    <a:lnTo>
                      <a:pt x="2532" y="894"/>
                    </a:lnTo>
                    <a:lnTo>
                      <a:pt x="2531" y="894"/>
                    </a:lnTo>
                    <a:lnTo>
                      <a:pt x="2530" y="894"/>
                    </a:lnTo>
                    <a:lnTo>
                      <a:pt x="2528" y="892"/>
                    </a:lnTo>
                    <a:lnTo>
                      <a:pt x="2527" y="892"/>
                    </a:lnTo>
                    <a:lnTo>
                      <a:pt x="2524" y="891"/>
                    </a:lnTo>
                    <a:lnTo>
                      <a:pt x="2521" y="888"/>
                    </a:lnTo>
                    <a:lnTo>
                      <a:pt x="2518" y="887"/>
                    </a:lnTo>
                    <a:lnTo>
                      <a:pt x="2517" y="885"/>
                    </a:lnTo>
                    <a:lnTo>
                      <a:pt x="2515" y="884"/>
                    </a:lnTo>
                    <a:lnTo>
                      <a:pt x="2514" y="882"/>
                    </a:lnTo>
                    <a:lnTo>
                      <a:pt x="2512" y="881"/>
                    </a:lnTo>
                    <a:lnTo>
                      <a:pt x="2512" y="881"/>
                    </a:lnTo>
                    <a:lnTo>
                      <a:pt x="2512" y="879"/>
                    </a:lnTo>
                    <a:lnTo>
                      <a:pt x="2512" y="877"/>
                    </a:lnTo>
                    <a:lnTo>
                      <a:pt x="2511" y="875"/>
                    </a:lnTo>
                    <a:lnTo>
                      <a:pt x="2509" y="872"/>
                    </a:lnTo>
                    <a:lnTo>
                      <a:pt x="2508" y="871"/>
                    </a:lnTo>
                    <a:lnTo>
                      <a:pt x="2508" y="869"/>
                    </a:lnTo>
                    <a:lnTo>
                      <a:pt x="2505" y="868"/>
                    </a:lnTo>
                    <a:lnTo>
                      <a:pt x="2501" y="867"/>
                    </a:lnTo>
                    <a:lnTo>
                      <a:pt x="2501" y="865"/>
                    </a:lnTo>
                    <a:lnTo>
                      <a:pt x="2499" y="865"/>
                    </a:lnTo>
                    <a:lnTo>
                      <a:pt x="2499" y="864"/>
                    </a:lnTo>
                    <a:lnTo>
                      <a:pt x="2498" y="864"/>
                    </a:lnTo>
                    <a:lnTo>
                      <a:pt x="2498" y="862"/>
                    </a:lnTo>
                    <a:lnTo>
                      <a:pt x="2498" y="861"/>
                    </a:lnTo>
                    <a:lnTo>
                      <a:pt x="2498" y="859"/>
                    </a:lnTo>
                    <a:lnTo>
                      <a:pt x="2496" y="858"/>
                    </a:lnTo>
                    <a:lnTo>
                      <a:pt x="2496" y="858"/>
                    </a:lnTo>
                    <a:lnTo>
                      <a:pt x="2495" y="858"/>
                    </a:lnTo>
                    <a:lnTo>
                      <a:pt x="2494" y="858"/>
                    </a:lnTo>
                    <a:lnTo>
                      <a:pt x="2492" y="858"/>
                    </a:lnTo>
                    <a:lnTo>
                      <a:pt x="2489" y="858"/>
                    </a:lnTo>
                    <a:lnTo>
                      <a:pt x="2486" y="856"/>
                    </a:lnTo>
                    <a:lnTo>
                      <a:pt x="2483" y="856"/>
                    </a:lnTo>
                    <a:lnTo>
                      <a:pt x="2482" y="855"/>
                    </a:lnTo>
                    <a:lnTo>
                      <a:pt x="2479" y="854"/>
                    </a:lnTo>
                    <a:lnTo>
                      <a:pt x="2476" y="852"/>
                    </a:lnTo>
                    <a:lnTo>
                      <a:pt x="2475" y="851"/>
                    </a:lnTo>
                    <a:lnTo>
                      <a:pt x="2473" y="849"/>
                    </a:lnTo>
                    <a:lnTo>
                      <a:pt x="2472" y="848"/>
                    </a:lnTo>
                    <a:lnTo>
                      <a:pt x="2470" y="846"/>
                    </a:lnTo>
                    <a:lnTo>
                      <a:pt x="2469" y="846"/>
                    </a:lnTo>
                    <a:lnTo>
                      <a:pt x="2468" y="846"/>
                    </a:lnTo>
                    <a:lnTo>
                      <a:pt x="2466" y="846"/>
                    </a:lnTo>
                    <a:lnTo>
                      <a:pt x="2463" y="846"/>
                    </a:lnTo>
                    <a:lnTo>
                      <a:pt x="2463" y="845"/>
                    </a:lnTo>
                    <a:lnTo>
                      <a:pt x="2462" y="845"/>
                    </a:lnTo>
                    <a:lnTo>
                      <a:pt x="2460" y="843"/>
                    </a:lnTo>
                    <a:lnTo>
                      <a:pt x="2459" y="842"/>
                    </a:lnTo>
                    <a:lnTo>
                      <a:pt x="2459" y="841"/>
                    </a:lnTo>
                    <a:lnTo>
                      <a:pt x="2457" y="841"/>
                    </a:lnTo>
                    <a:lnTo>
                      <a:pt x="2457" y="841"/>
                    </a:lnTo>
                    <a:lnTo>
                      <a:pt x="2457" y="842"/>
                    </a:lnTo>
                    <a:lnTo>
                      <a:pt x="2457" y="843"/>
                    </a:lnTo>
                    <a:lnTo>
                      <a:pt x="2456" y="843"/>
                    </a:lnTo>
                    <a:lnTo>
                      <a:pt x="2455" y="842"/>
                    </a:lnTo>
                    <a:lnTo>
                      <a:pt x="2452" y="842"/>
                    </a:lnTo>
                    <a:lnTo>
                      <a:pt x="2449" y="842"/>
                    </a:lnTo>
                    <a:lnTo>
                      <a:pt x="2447" y="842"/>
                    </a:lnTo>
                    <a:lnTo>
                      <a:pt x="2446" y="841"/>
                    </a:lnTo>
                    <a:lnTo>
                      <a:pt x="2443" y="841"/>
                    </a:lnTo>
                    <a:lnTo>
                      <a:pt x="2443" y="839"/>
                    </a:lnTo>
                    <a:lnTo>
                      <a:pt x="2442" y="839"/>
                    </a:lnTo>
                    <a:lnTo>
                      <a:pt x="2440" y="838"/>
                    </a:lnTo>
                    <a:lnTo>
                      <a:pt x="2439" y="838"/>
                    </a:lnTo>
                    <a:lnTo>
                      <a:pt x="2437" y="838"/>
                    </a:lnTo>
                    <a:lnTo>
                      <a:pt x="2436" y="838"/>
                    </a:lnTo>
                    <a:lnTo>
                      <a:pt x="2432" y="838"/>
                    </a:lnTo>
                    <a:lnTo>
                      <a:pt x="2430" y="838"/>
                    </a:lnTo>
                    <a:lnTo>
                      <a:pt x="2427" y="838"/>
                    </a:lnTo>
                    <a:lnTo>
                      <a:pt x="2426" y="838"/>
                    </a:lnTo>
                    <a:lnTo>
                      <a:pt x="2421" y="838"/>
                    </a:lnTo>
                    <a:lnTo>
                      <a:pt x="2420" y="838"/>
                    </a:lnTo>
                    <a:lnTo>
                      <a:pt x="2419" y="838"/>
                    </a:lnTo>
                    <a:lnTo>
                      <a:pt x="2416" y="836"/>
                    </a:lnTo>
                    <a:lnTo>
                      <a:pt x="2414" y="835"/>
                    </a:lnTo>
                    <a:lnTo>
                      <a:pt x="2411" y="833"/>
                    </a:lnTo>
                    <a:lnTo>
                      <a:pt x="2407" y="830"/>
                    </a:lnTo>
                    <a:lnTo>
                      <a:pt x="2406" y="829"/>
                    </a:lnTo>
                    <a:lnTo>
                      <a:pt x="2404" y="829"/>
                    </a:lnTo>
                    <a:lnTo>
                      <a:pt x="2403" y="828"/>
                    </a:lnTo>
                    <a:lnTo>
                      <a:pt x="2403" y="826"/>
                    </a:lnTo>
                    <a:lnTo>
                      <a:pt x="2401" y="823"/>
                    </a:lnTo>
                    <a:lnTo>
                      <a:pt x="2400" y="820"/>
                    </a:lnTo>
                    <a:lnTo>
                      <a:pt x="2398" y="819"/>
                    </a:lnTo>
                    <a:lnTo>
                      <a:pt x="2398" y="818"/>
                    </a:lnTo>
                    <a:lnTo>
                      <a:pt x="2395" y="816"/>
                    </a:lnTo>
                    <a:lnTo>
                      <a:pt x="2394" y="816"/>
                    </a:lnTo>
                    <a:lnTo>
                      <a:pt x="2393" y="815"/>
                    </a:lnTo>
                    <a:lnTo>
                      <a:pt x="2391" y="815"/>
                    </a:lnTo>
                    <a:lnTo>
                      <a:pt x="2390" y="813"/>
                    </a:lnTo>
                    <a:lnTo>
                      <a:pt x="2388" y="812"/>
                    </a:lnTo>
                    <a:lnTo>
                      <a:pt x="2387" y="810"/>
                    </a:lnTo>
                    <a:lnTo>
                      <a:pt x="2387" y="809"/>
                    </a:lnTo>
                    <a:lnTo>
                      <a:pt x="2384" y="806"/>
                    </a:lnTo>
                    <a:lnTo>
                      <a:pt x="2381" y="803"/>
                    </a:lnTo>
                    <a:lnTo>
                      <a:pt x="2378" y="800"/>
                    </a:lnTo>
                    <a:lnTo>
                      <a:pt x="2375" y="797"/>
                    </a:lnTo>
                    <a:lnTo>
                      <a:pt x="2371" y="794"/>
                    </a:lnTo>
                    <a:lnTo>
                      <a:pt x="2370" y="792"/>
                    </a:lnTo>
                    <a:lnTo>
                      <a:pt x="2367" y="789"/>
                    </a:lnTo>
                    <a:lnTo>
                      <a:pt x="2364" y="786"/>
                    </a:lnTo>
                    <a:lnTo>
                      <a:pt x="2362" y="784"/>
                    </a:lnTo>
                    <a:lnTo>
                      <a:pt x="2361" y="784"/>
                    </a:lnTo>
                    <a:lnTo>
                      <a:pt x="2358" y="781"/>
                    </a:lnTo>
                    <a:lnTo>
                      <a:pt x="2357" y="781"/>
                    </a:lnTo>
                    <a:lnTo>
                      <a:pt x="2355" y="780"/>
                    </a:lnTo>
                    <a:lnTo>
                      <a:pt x="2355" y="780"/>
                    </a:lnTo>
                    <a:lnTo>
                      <a:pt x="2352" y="779"/>
                    </a:lnTo>
                    <a:lnTo>
                      <a:pt x="2351" y="777"/>
                    </a:lnTo>
                    <a:lnTo>
                      <a:pt x="2349" y="776"/>
                    </a:lnTo>
                    <a:lnTo>
                      <a:pt x="2348" y="774"/>
                    </a:lnTo>
                    <a:lnTo>
                      <a:pt x="2346" y="773"/>
                    </a:lnTo>
                    <a:lnTo>
                      <a:pt x="2346" y="771"/>
                    </a:lnTo>
                    <a:lnTo>
                      <a:pt x="2345" y="771"/>
                    </a:lnTo>
                    <a:lnTo>
                      <a:pt x="2344" y="771"/>
                    </a:lnTo>
                    <a:lnTo>
                      <a:pt x="2342" y="770"/>
                    </a:lnTo>
                    <a:lnTo>
                      <a:pt x="2339" y="768"/>
                    </a:lnTo>
                    <a:lnTo>
                      <a:pt x="2339" y="767"/>
                    </a:lnTo>
                    <a:lnTo>
                      <a:pt x="2338" y="766"/>
                    </a:lnTo>
                    <a:lnTo>
                      <a:pt x="2336" y="763"/>
                    </a:lnTo>
                    <a:lnTo>
                      <a:pt x="2335" y="761"/>
                    </a:lnTo>
                    <a:lnTo>
                      <a:pt x="2335" y="760"/>
                    </a:lnTo>
                    <a:lnTo>
                      <a:pt x="2331" y="757"/>
                    </a:lnTo>
                    <a:lnTo>
                      <a:pt x="2326" y="756"/>
                    </a:lnTo>
                    <a:lnTo>
                      <a:pt x="2325" y="756"/>
                    </a:lnTo>
                    <a:lnTo>
                      <a:pt x="2323" y="754"/>
                    </a:lnTo>
                    <a:lnTo>
                      <a:pt x="2322" y="753"/>
                    </a:lnTo>
                    <a:lnTo>
                      <a:pt x="2320" y="751"/>
                    </a:lnTo>
                    <a:lnTo>
                      <a:pt x="2319" y="751"/>
                    </a:lnTo>
                    <a:lnTo>
                      <a:pt x="2318" y="750"/>
                    </a:lnTo>
                    <a:lnTo>
                      <a:pt x="2318" y="748"/>
                    </a:lnTo>
                    <a:lnTo>
                      <a:pt x="2316" y="748"/>
                    </a:lnTo>
                    <a:lnTo>
                      <a:pt x="2316" y="747"/>
                    </a:lnTo>
                    <a:lnTo>
                      <a:pt x="2315" y="747"/>
                    </a:lnTo>
                    <a:lnTo>
                      <a:pt x="2315" y="745"/>
                    </a:lnTo>
                    <a:lnTo>
                      <a:pt x="2315" y="744"/>
                    </a:lnTo>
                    <a:lnTo>
                      <a:pt x="2313" y="744"/>
                    </a:lnTo>
                    <a:lnTo>
                      <a:pt x="2312" y="743"/>
                    </a:lnTo>
                    <a:lnTo>
                      <a:pt x="2310" y="743"/>
                    </a:lnTo>
                    <a:lnTo>
                      <a:pt x="2310" y="743"/>
                    </a:lnTo>
                    <a:lnTo>
                      <a:pt x="2309" y="743"/>
                    </a:lnTo>
                    <a:lnTo>
                      <a:pt x="2308" y="741"/>
                    </a:lnTo>
                    <a:lnTo>
                      <a:pt x="2306" y="741"/>
                    </a:lnTo>
                    <a:lnTo>
                      <a:pt x="2303" y="740"/>
                    </a:lnTo>
                    <a:lnTo>
                      <a:pt x="2300" y="738"/>
                    </a:lnTo>
                    <a:lnTo>
                      <a:pt x="2299" y="738"/>
                    </a:lnTo>
                    <a:lnTo>
                      <a:pt x="2297" y="737"/>
                    </a:lnTo>
                    <a:lnTo>
                      <a:pt x="2297" y="737"/>
                    </a:lnTo>
                    <a:lnTo>
                      <a:pt x="2296" y="735"/>
                    </a:lnTo>
                    <a:lnTo>
                      <a:pt x="2295" y="734"/>
                    </a:lnTo>
                    <a:lnTo>
                      <a:pt x="2293" y="734"/>
                    </a:lnTo>
                    <a:lnTo>
                      <a:pt x="2292" y="732"/>
                    </a:lnTo>
                    <a:lnTo>
                      <a:pt x="2289" y="732"/>
                    </a:lnTo>
                    <a:lnTo>
                      <a:pt x="2287" y="731"/>
                    </a:lnTo>
                    <a:lnTo>
                      <a:pt x="2286" y="731"/>
                    </a:lnTo>
                    <a:lnTo>
                      <a:pt x="2284" y="731"/>
                    </a:lnTo>
                    <a:lnTo>
                      <a:pt x="2283" y="731"/>
                    </a:lnTo>
                    <a:lnTo>
                      <a:pt x="2283" y="731"/>
                    </a:lnTo>
                    <a:lnTo>
                      <a:pt x="2282" y="731"/>
                    </a:lnTo>
                    <a:lnTo>
                      <a:pt x="2280" y="731"/>
                    </a:lnTo>
                    <a:lnTo>
                      <a:pt x="2279" y="731"/>
                    </a:lnTo>
                    <a:lnTo>
                      <a:pt x="2279" y="732"/>
                    </a:lnTo>
                    <a:lnTo>
                      <a:pt x="2277" y="734"/>
                    </a:lnTo>
                    <a:lnTo>
                      <a:pt x="2277" y="734"/>
                    </a:lnTo>
                    <a:lnTo>
                      <a:pt x="2276" y="734"/>
                    </a:lnTo>
                    <a:lnTo>
                      <a:pt x="2274" y="732"/>
                    </a:lnTo>
                    <a:lnTo>
                      <a:pt x="2273" y="732"/>
                    </a:lnTo>
                    <a:lnTo>
                      <a:pt x="2271" y="731"/>
                    </a:lnTo>
                    <a:lnTo>
                      <a:pt x="2267" y="730"/>
                    </a:lnTo>
                    <a:lnTo>
                      <a:pt x="2266" y="730"/>
                    </a:lnTo>
                    <a:lnTo>
                      <a:pt x="2264" y="728"/>
                    </a:lnTo>
                    <a:lnTo>
                      <a:pt x="2263" y="728"/>
                    </a:lnTo>
                    <a:lnTo>
                      <a:pt x="2263" y="728"/>
                    </a:lnTo>
                    <a:lnTo>
                      <a:pt x="2263" y="728"/>
                    </a:lnTo>
                    <a:lnTo>
                      <a:pt x="2261" y="727"/>
                    </a:lnTo>
                    <a:lnTo>
                      <a:pt x="2260" y="727"/>
                    </a:lnTo>
                    <a:lnTo>
                      <a:pt x="2258" y="725"/>
                    </a:lnTo>
                    <a:lnTo>
                      <a:pt x="2257" y="725"/>
                    </a:lnTo>
                    <a:lnTo>
                      <a:pt x="2256" y="725"/>
                    </a:lnTo>
                    <a:lnTo>
                      <a:pt x="2253" y="725"/>
                    </a:lnTo>
                    <a:lnTo>
                      <a:pt x="2251" y="725"/>
                    </a:lnTo>
                    <a:lnTo>
                      <a:pt x="2251" y="724"/>
                    </a:lnTo>
                    <a:lnTo>
                      <a:pt x="2250" y="724"/>
                    </a:lnTo>
                    <a:lnTo>
                      <a:pt x="2248" y="722"/>
                    </a:lnTo>
                    <a:lnTo>
                      <a:pt x="2247" y="721"/>
                    </a:lnTo>
                    <a:lnTo>
                      <a:pt x="2245" y="721"/>
                    </a:lnTo>
                    <a:lnTo>
                      <a:pt x="2244" y="721"/>
                    </a:lnTo>
                    <a:lnTo>
                      <a:pt x="2243" y="721"/>
                    </a:lnTo>
                    <a:lnTo>
                      <a:pt x="2238" y="721"/>
                    </a:lnTo>
                    <a:lnTo>
                      <a:pt x="2234" y="721"/>
                    </a:lnTo>
                    <a:lnTo>
                      <a:pt x="2231" y="721"/>
                    </a:lnTo>
                    <a:lnTo>
                      <a:pt x="2227" y="722"/>
                    </a:lnTo>
                    <a:lnTo>
                      <a:pt x="2221" y="722"/>
                    </a:lnTo>
                    <a:lnTo>
                      <a:pt x="2217" y="722"/>
                    </a:lnTo>
                    <a:lnTo>
                      <a:pt x="2215" y="722"/>
                    </a:lnTo>
                    <a:lnTo>
                      <a:pt x="2214" y="722"/>
                    </a:lnTo>
                    <a:lnTo>
                      <a:pt x="2209" y="722"/>
                    </a:lnTo>
                    <a:lnTo>
                      <a:pt x="2205" y="722"/>
                    </a:lnTo>
                    <a:lnTo>
                      <a:pt x="2202" y="724"/>
                    </a:lnTo>
                    <a:lnTo>
                      <a:pt x="2198" y="725"/>
                    </a:lnTo>
                    <a:lnTo>
                      <a:pt x="2195" y="725"/>
                    </a:lnTo>
                    <a:lnTo>
                      <a:pt x="2192" y="727"/>
                    </a:lnTo>
                    <a:lnTo>
                      <a:pt x="2189" y="728"/>
                    </a:lnTo>
                    <a:lnTo>
                      <a:pt x="2186" y="728"/>
                    </a:lnTo>
                    <a:lnTo>
                      <a:pt x="2185" y="730"/>
                    </a:lnTo>
                    <a:lnTo>
                      <a:pt x="2183" y="730"/>
                    </a:lnTo>
                    <a:lnTo>
                      <a:pt x="2182" y="731"/>
                    </a:lnTo>
                    <a:lnTo>
                      <a:pt x="2181" y="731"/>
                    </a:lnTo>
                    <a:lnTo>
                      <a:pt x="2181" y="732"/>
                    </a:lnTo>
                    <a:lnTo>
                      <a:pt x="2179" y="735"/>
                    </a:lnTo>
                    <a:lnTo>
                      <a:pt x="2178" y="737"/>
                    </a:lnTo>
                    <a:lnTo>
                      <a:pt x="2176" y="740"/>
                    </a:lnTo>
                    <a:lnTo>
                      <a:pt x="2175" y="740"/>
                    </a:lnTo>
                    <a:lnTo>
                      <a:pt x="2175" y="741"/>
                    </a:lnTo>
                    <a:lnTo>
                      <a:pt x="2173" y="743"/>
                    </a:lnTo>
                    <a:lnTo>
                      <a:pt x="2172" y="743"/>
                    </a:lnTo>
                    <a:lnTo>
                      <a:pt x="2173" y="744"/>
                    </a:lnTo>
                    <a:lnTo>
                      <a:pt x="2175" y="745"/>
                    </a:lnTo>
                    <a:lnTo>
                      <a:pt x="2176" y="745"/>
                    </a:lnTo>
                    <a:lnTo>
                      <a:pt x="2178" y="747"/>
                    </a:lnTo>
                    <a:lnTo>
                      <a:pt x="2179" y="747"/>
                    </a:lnTo>
                    <a:lnTo>
                      <a:pt x="2179" y="747"/>
                    </a:lnTo>
                    <a:lnTo>
                      <a:pt x="2181" y="747"/>
                    </a:lnTo>
                    <a:lnTo>
                      <a:pt x="2183" y="745"/>
                    </a:lnTo>
                    <a:lnTo>
                      <a:pt x="2183" y="745"/>
                    </a:lnTo>
                    <a:lnTo>
                      <a:pt x="2185" y="745"/>
                    </a:lnTo>
                    <a:lnTo>
                      <a:pt x="2188" y="747"/>
                    </a:lnTo>
                    <a:lnTo>
                      <a:pt x="2189" y="747"/>
                    </a:lnTo>
                    <a:lnTo>
                      <a:pt x="2192" y="750"/>
                    </a:lnTo>
                    <a:lnTo>
                      <a:pt x="2194" y="751"/>
                    </a:lnTo>
                    <a:lnTo>
                      <a:pt x="2195" y="751"/>
                    </a:lnTo>
                    <a:lnTo>
                      <a:pt x="2196" y="754"/>
                    </a:lnTo>
                    <a:lnTo>
                      <a:pt x="2198" y="756"/>
                    </a:lnTo>
                    <a:lnTo>
                      <a:pt x="2199" y="757"/>
                    </a:lnTo>
                    <a:lnTo>
                      <a:pt x="2201" y="758"/>
                    </a:lnTo>
                    <a:lnTo>
                      <a:pt x="2202" y="761"/>
                    </a:lnTo>
                    <a:lnTo>
                      <a:pt x="2204" y="763"/>
                    </a:lnTo>
                    <a:lnTo>
                      <a:pt x="2204" y="764"/>
                    </a:lnTo>
                    <a:lnTo>
                      <a:pt x="2204" y="764"/>
                    </a:lnTo>
                    <a:lnTo>
                      <a:pt x="2204" y="767"/>
                    </a:lnTo>
                    <a:lnTo>
                      <a:pt x="2204" y="767"/>
                    </a:lnTo>
                    <a:lnTo>
                      <a:pt x="2202" y="768"/>
                    </a:lnTo>
                    <a:lnTo>
                      <a:pt x="2201" y="770"/>
                    </a:lnTo>
                    <a:lnTo>
                      <a:pt x="2199" y="771"/>
                    </a:lnTo>
                    <a:lnTo>
                      <a:pt x="2198" y="771"/>
                    </a:lnTo>
                    <a:lnTo>
                      <a:pt x="2196" y="774"/>
                    </a:lnTo>
                    <a:lnTo>
                      <a:pt x="2196" y="776"/>
                    </a:lnTo>
                    <a:lnTo>
                      <a:pt x="2196" y="779"/>
                    </a:lnTo>
                    <a:lnTo>
                      <a:pt x="2196" y="780"/>
                    </a:lnTo>
                    <a:lnTo>
                      <a:pt x="2196" y="783"/>
                    </a:lnTo>
                    <a:lnTo>
                      <a:pt x="2196" y="784"/>
                    </a:lnTo>
                    <a:lnTo>
                      <a:pt x="2196" y="786"/>
                    </a:lnTo>
                    <a:lnTo>
                      <a:pt x="2196" y="787"/>
                    </a:lnTo>
                    <a:lnTo>
                      <a:pt x="2196" y="789"/>
                    </a:lnTo>
                    <a:lnTo>
                      <a:pt x="2196" y="789"/>
                    </a:lnTo>
                    <a:lnTo>
                      <a:pt x="2198" y="790"/>
                    </a:lnTo>
                    <a:lnTo>
                      <a:pt x="2198" y="793"/>
                    </a:lnTo>
                    <a:lnTo>
                      <a:pt x="2198" y="794"/>
                    </a:lnTo>
                    <a:lnTo>
                      <a:pt x="2198" y="794"/>
                    </a:lnTo>
                    <a:lnTo>
                      <a:pt x="2198" y="796"/>
                    </a:lnTo>
                    <a:lnTo>
                      <a:pt x="2196" y="797"/>
                    </a:lnTo>
                    <a:lnTo>
                      <a:pt x="2196" y="799"/>
                    </a:lnTo>
                    <a:lnTo>
                      <a:pt x="2198" y="799"/>
                    </a:lnTo>
                    <a:lnTo>
                      <a:pt x="2198" y="800"/>
                    </a:lnTo>
                    <a:lnTo>
                      <a:pt x="2199" y="802"/>
                    </a:lnTo>
                    <a:lnTo>
                      <a:pt x="2199" y="802"/>
                    </a:lnTo>
                    <a:lnTo>
                      <a:pt x="2199" y="803"/>
                    </a:lnTo>
                    <a:lnTo>
                      <a:pt x="2199" y="805"/>
                    </a:lnTo>
                    <a:lnTo>
                      <a:pt x="2198" y="806"/>
                    </a:lnTo>
                    <a:lnTo>
                      <a:pt x="2198" y="806"/>
                    </a:lnTo>
                    <a:lnTo>
                      <a:pt x="2198" y="807"/>
                    </a:lnTo>
                    <a:lnTo>
                      <a:pt x="2196" y="809"/>
                    </a:lnTo>
                    <a:lnTo>
                      <a:pt x="2196" y="810"/>
                    </a:lnTo>
                    <a:lnTo>
                      <a:pt x="2196" y="812"/>
                    </a:lnTo>
                    <a:lnTo>
                      <a:pt x="2196" y="815"/>
                    </a:lnTo>
                    <a:lnTo>
                      <a:pt x="2198" y="815"/>
                    </a:lnTo>
                    <a:lnTo>
                      <a:pt x="2199" y="815"/>
                    </a:lnTo>
                    <a:lnTo>
                      <a:pt x="2201" y="816"/>
                    </a:lnTo>
                    <a:lnTo>
                      <a:pt x="2202" y="816"/>
                    </a:lnTo>
                    <a:lnTo>
                      <a:pt x="2204" y="818"/>
                    </a:lnTo>
                    <a:lnTo>
                      <a:pt x="2205" y="818"/>
                    </a:lnTo>
                    <a:lnTo>
                      <a:pt x="2205" y="819"/>
                    </a:lnTo>
                    <a:lnTo>
                      <a:pt x="2207" y="820"/>
                    </a:lnTo>
                    <a:lnTo>
                      <a:pt x="2207" y="822"/>
                    </a:lnTo>
                    <a:lnTo>
                      <a:pt x="2207" y="822"/>
                    </a:lnTo>
                    <a:lnTo>
                      <a:pt x="2207" y="823"/>
                    </a:lnTo>
                    <a:lnTo>
                      <a:pt x="2205" y="823"/>
                    </a:lnTo>
                    <a:lnTo>
                      <a:pt x="2205" y="823"/>
                    </a:lnTo>
                    <a:lnTo>
                      <a:pt x="2204" y="825"/>
                    </a:lnTo>
                    <a:lnTo>
                      <a:pt x="2202" y="825"/>
                    </a:lnTo>
                    <a:lnTo>
                      <a:pt x="2199" y="825"/>
                    </a:lnTo>
                    <a:lnTo>
                      <a:pt x="2198" y="826"/>
                    </a:lnTo>
                    <a:lnTo>
                      <a:pt x="2196" y="826"/>
                    </a:lnTo>
                    <a:lnTo>
                      <a:pt x="2195" y="826"/>
                    </a:lnTo>
                    <a:lnTo>
                      <a:pt x="2195" y="826"/>
                    </a:lnTo>
                    <a:lnTo>
                      <a:pt x="2192" y="826"/>
                    </a:lnTo>
                    <a:lnTo>
                      <a:pt x="2191" y="828"/>
                    </a:lnTo>
                    <a:lnTo>
                      <a:pt x="2191" y="830"/>
                    </a:lnTo>
                    <a:lnTo>
                      <a:pt x="2189" y="832"/>
                    </a:lnTo>
                    <a:lnTo>
                      <a:pt x="2188" y="835"/>
                    </a:lnTo>
                    <a:lnTo>
                      <a:pt x="2186" y="836"/>
                    </a:lnTo>
                    <a:lnTo>
                      <a:pt x="2186" y="838"/>
                    </a:lnTo>
                    <a:lnTo>
                      <a:pt x="2185" y="838"/>
                    </a:lnTo>
                    <a:lnTo>
                      <a:pt x="2183" y="838"/>
                    </a:lnTo>
                    <a:lnTo>
                      <a:pt x="2181" y="838"/>
                    </a:lnTo>
                    <a:lnTo>
                      <a:pt x="2179" y="838"/>
                    </a:lnTo>
                    <a:lnTo>
                      <a:pt x="2176" y="838"/>
                    </a:lnTo>
                    <a:lnTo>
                      <a:pt x="2173" y="836"/>
                    </a:lnTo>
                    <a:lnTo>
                      <a:pt x="2172" y="835"/>
                    </a:lnTo>
                    <a:lnTo>
                      <a:pt x="2171" y="835"/>
                    </a:lnTo>
                    <a:lnTo>
                      <a:pt x="2169" y="835"/>
                    </a:lnTo>
                    <a:lnTo>
                      <a:pt x="2165" y="835"/>
                    </a:lnTo>
                    <a:lnTo>
                      <a:pt x="2160" y="835"/>
                    </a:lnTo>
                    <a:lnTo>
                      <a:pt x="2158" y="833"/>
                    </a:lnTo>
                    <a:lnTo>
                      <a:pt x="2156" y="833"/>
                    </a:lnTo>
                    <a:lnTo>
                      <a:pt x="2153" y="832"/>
                    </a:lnTo>
                    <a:lnTo>
                      <a:pt x="2152" y="832"/>
                    </a:lnTo>
                    <a:lnTo>
                      <a:pt x="2149" y="830"/>
                    </a:lnTo>
                    <a:lnTo>
                      <a:pt x="2147" y="829"/>
                    </a:lnTo>
                    <a:lnTo>
                      <a:pt x="2145" y="826"/>
                    </a:lnTo>
                    <a:lnTo>
                      <a:pt x="2142" y="825"/>
                    </a:lnTo>
                    <a:lnTo>
                      <a:pt x="2140" y="823"/>
                    </a:lnTo>
                    <a:lnTo>
                      <a:pt x="2137" y="823"/>
                    </a:lnTo>
                    <a:lnTo>
                      <a:pt x="2134" y="823"/>
                    </a:lnTo>
                    <a:lnTo>
                      <a:pt x="2133" y="823"/>
                    </a:lnTo>
                    <a:lnTo>
                      <a:pt x="2132" y="825"/>
                    </a:lnTo>
                    <a:lnTo>
                      <a:pt x="2130" y="826"/>
                    </a:lnTo>
                    <a:lnTo>
                      <a:pt x="2127" y="826"/>
                    </a:lnTo>
                    <a:lnTo>
                      <a:pt x="2127" y="828"/>
                    </a:lnTo>
                    <a:lnTo>
                      <a:pt x="2124" y="828"/>
                    </a:lnTo>
                    <a:lnTo>
                      <a:pt x="2123" y="829"/>
                    </a:lnTo>
                    <a:lnTo>
                      <a:pt x="2120" y="829"/>
                    </a:lnTo>
                    <a:lnTo>
                      <a:pt x="2119" y="828"/>
                    </a:lnTo>
                    <a:lnTo>
                      <a:pt x="2116" y="826"/>
                    </a:lnTo>
                    <a:lnTo>
                      <a:pt x="2113" y="825"/>
                    </a:lnTo>
                    <a:lnTo>
                      <a:pt x="2110" y="822"/>
                    </a:lnTo>
                    <a:lnTo>
                      <a:pt x="2108" y="822"/>
                    </a:lnTo>
                    <a:lnTo>
                      <a:pt x="2106" y="820"/>
                    </a:lnTo>
                    <a:lnTo>
                      <a:pt x="2103" y="819"/>
                    </a:lnTo>
                    <a:lnTo>
                      <a:pt x="2100" y="819"/>
                    </a:lnTo>
                    <a:lnTo>
                      <a:pt x="2098" y="818"/>
                    </a:lnTo>
                    <a:lnTo>
                      <a:pt x="2096" y="818"/>
                    </a:lnTo>
                    <a:lnTo>
                      <a:pt x="2094" y="818"/>
                    </a:lnTo>
                    <a:lnTo>
                      <a:pt x="2093" y="818"/>
                    </a:lnTo>
                    <a:lnTo>
                      <a:pt x="2090" y="818"/>
                    </a:lnTo>
                    <a:lnTo>
                      <a:pt x="2088" y="818"/>
                    </a:lnTo>
                    <a:lnTo>
                      <a:pt x="2084" y="819"/>
                    </a:lnTo>
                    <a:lnTo>
                      <a:pt x="2081" y="820"/>
                    </a:lnTo>
                    <a:lnTo>
                      <a:pt x="2077" y="823"/>
                    </a:lnTo>
                    <a:lnTo>
                      <a:pt x="2074" y="826"/>
                    </a:lnTo>
                    <a:lnTo>
                      <a:pt x="2072" y="826"/>
                    </a:lnTo>
                    <a:lnTo>
                      <a:pt x="2071" y="828"/>
                    </a:lnTo>
                    <a:lnTo>
                      <a:pt x="2070" y="829"/>
                    </a:lnTo>
                    <a:lnTo>
                      <a:pt x="2070" y="830"/>
                    </a:lnTo>
                    <a:lnTo>
                      <a:pt x="2068" y="830"/>
                    </a:lnTo>
                    <a:lnTo>
                      <a:pt x="2068" y="832"/>
                    </a:lnTo>
                    <a:lnTo>
                      <a:pt x="2068" y="835"/>
                    </a:lnTo>
                    <a:lnTo>
                      <a:pt x="2068" y="836"/>
                    </a:lnTo>
                    <a:lnTo>
                      <a:pt x="2067" y="836"/>
                    </a:lnTo>
                    <a:lnTo>
                      <a:pt x="2065" y="838"/>
                    </a:lnTo>
                    <a:lnTo>
                      <a:pt x="2064" y="838"/>
                    </a:lnTo>
                    <a:lnTo>
                      <a:pt x="2062" y="839"/>
                    </a:lnTo>
                    <a:lnTo>
                      <a:pt x="2059" y="839"/>
                    </a:lnTo>
                    <a:lnTo>
                      <a:pt x="2058" y="839"/>
                    </a:lnTo>
                    <a:lnTo>
                      <a:pt x="2057" y="839"/>
                    </a:lnTo>
                    <a:lnTo>
                      <a:pt x="2054" y="841"/>
                    </a:lnTo>
                    <a:lnTo>
                      <a:pt x="2049" y="841"/>
                    </a:lnTo>
                    <a:lnTo>
                      <a:pt x="2045" y="841"/>
                    </a:lnTo>
                    <a:lnTo>
                      <a:pt x="2044" y="841"/>
                    </a:lnTo>
                    <a:lnTo>
                      <a:pt x="2042" y="841"/>
                    </a:lnTo>
                    <a:lnTo>
                      <a:pt x="2041" y="842"/>
                    </a:lnTo>
                    <a:lnTo>
                      <a:pt x="2041" y="843"/>
                    </a:lnTo>
                    <a:lnTo>
                      <a:pt x="2031" y="843"/>
                    </a:lnTo>
                    <a:lnTo>
                      <a:pt x="2031" y="843"/>
                    </a:lnTo>
                    <a:lnTo>
                      <a:pt x="2029" y="845"/>
                    </a:lnTo>
                    <a:lnTo>
                      <a:pt x="2026" y="846"/>
                    </a:lnTo>
                    <a:lnTo>
                      <a:pt x="2025" y="846"/>
                    </a:lnTo>
                    <a:lnTo>
                      <a:pt x="2023" y="848"/>
                    </a:lnTo>
                    <a:lnTo>
                      <a:pt x="2023" y="849"/>
                    </a:lnTo>
                    <a:lnTo>
                      <a:pt x="2022" y="849"/>
                    </a:lnTo>
                    <a:lnTo>
                      <a:pt x="2021" y="851"/>
                    </a:lnTo>
                    <a:lnTo>
                      <a:pt x="2019" y="851"/>
                    </a:lnTo>
                    <a:lnTo>
                      <a:pt x="2018" y="849"/>
                    </a:lnTo>
                    <a:lnTo>
                      <a:pt x="2013" y="849"/>
                    </a:lnTo>
                    <a:lnTo>
                      <a:pt x="2012" y="849"/>
                    </a:lnTo>
                    <a:lnTo>
                      <a:pt x="2010" y="849"/>
                    </a:lnTo>
                    <a:lnTo>
                      <a:pt x="2008" y="849"/>
                    </a:lnTo>
                    <a:lnTo>
                      <a:pt x="2006" y="849"/>
                    </a:lnTo>
                    <a:lnTo>
                      <a:pt x="2000" y="848"/>
                    </a:lnTo>
                    <a:lnTo>
                      <a:pt x="1997" y="848"/>
                    </a:lnTo>
                    <a:lnTo>
                      <a:pt x="1995" y="848"/>
                    </a:lnTo>
                    <a:lnTo>
                      <a:pt x="1992" y="846"/>
                    </a:lnTo>
                    <a:lnTo>
                      <a:pt x="1989" y="846"/>
                    </a:lnTo>
                    <a:lnTo>
                      <a:pt x="1984" y="845"/>
                    </a:lnTo>
                    <a:lnTo>
                      <a:pt x="1980" y="845"/>
                    </a:lnTo>
                    <a:lnTo>
                      <a:pt x="1976" y="843"/>
                    </a:lnTo>
                    <a:lnTo>
                      <a:pt x="1971" y="843"/>
                    </a:lnTo>
                    <a:lnTo>
                      <a:pt x="1969" y="843"/>
                    </a:lnTo>
                    <a:lnTo>
                      <a:pt x="1964" y="843"/>
                    </a:lnTo>
                    <a:lnTo>
                      <a:pt x="1961" y="842"/>
                    </a:lnTo>
                    <a:lnTo>
                      <a:pt x="1958" y="841"/>
                    </a:lnTo>
                    <a:lnTo>
                      <a:pt x="1957" y="841"/>
                    </a:lnTo>
                    <a:lnTo>
                      <a:pt x="1956" y="839"/>
                    </a:lnTo>
                    <a:lnTo>
                      <a:pt x="1954" y="838"/>
                    </a:lnTo>
                    <a:lnTo>
                      <a:pt x="1951" y="836"/>
                    </a:lnTo>
                    <a:lnTo>
                      <a:pt x="1948" y="833"/>
                    </a:lnTo>
                    <a:lnTo>
                      <a:pt x="1947" y="833"/>
                    </a:lnTo>
                    <a:lnTo>
                      <a:pt x="1946" y="832"/>
                    </a:lnTo>
                    <a:lnTo>
                      <a:pt x="1944" y="829"/>
                    </a:lnTo>
                    <a:lnTo>
                      <a:pt x="1943" y="828"/>
                    </a:lnTo>
                    <a:lnTo>
                      <a:pt x="1941" y="828"/>
                    </a:lnTo>
                    <a:lnTo>
                      <a:pt x="1940" y="826"/>
                    </a:lnTo>
                    <a:lnTo>
                      <a:pt x="1938" y="826"/>
                    </a:lnTo>
                    <a:lnTo>
                      <a:pt x="1937" y="826"/>
                    </a:lnTo>
                    <a:lnTo>
                      <a:pt x="1935" y="826"/>
                    </a:lnTo>
                    <a:lnTo>
                      <a:pt x="1934" y="826"/>
                    </a:lnTo>
                    <a:lnTo>
                      <a:pt x="1930" y="826"/>
                    </a:lnTo>
                    <a:lnTo>
                      <a:pt x="1927" y="825"/>
                    </a:lnTo>
                    <a:lnTo>
                      <a:pt x="1925" y="825"/>
                    </a:lnTo>
                    <a:lnTo>
                      <a:pt x="1922" y="825"/>
                    </a:lnTo>
                    <a:lnTo>
                      <a:pt x="1921" y="823"/>
                    </a:lnTo>
                    <a:lnTo>
                      <a:pt x="1920" y="822"/>
                    </a:lnTo>
                    <a:lnTo>
                      <a:pt x="1917" y="820"/>
                    </a:lnTo>
                    <a:lnTo>
                      <a:pt x="1914" y="818"/>
                    </a:lnTo>
                    <a:lnTo>
                      <a:pt x="1912" y="816"/>
                    </a:lnTo>
                    <a:lnTo>
                      <a:pt x="1911" y="816"/>
                    </a:lnTo>
                    <a:lnTo>
                      <a:pt x="1909" y="815"/>
                    </a:lnTo>
                    <a:lnTo>
                      <a:pt x="1907" y="815"/>
                    </a:lnTo>
                    <a:lnTo>
                      <a:pt x="1905" y="815"/>
                    </a:lnTo>
                    <a:lnTo>
                      <a:pt x="1902" y="815"/>
                    </a:lnTo>
                    <a:lnTo>
                      <a:pt x="1902" y="815"/>
                    </a:lnTo>
                    <a:lnTo>
                      <a:pt x="1898" y="815"/>
                    </a:lnTo>
                    <a:lnTo>
                      <a:pt x="1895" y="815"/>
                    </a:lnTo>
                    <a:lnTo>
                      <a:pt x="1892" y="815"/>
                    </a:lnTo>
                    <a:lnTo>
                      <a:pt x="1891" y="815"/>
                    </a:lnTo>
                    <a:lnTo>
                      <a:pt x="1888" y="813"/>
                    </a:lnTo>
                    <a:lnTo>
                      <a:pt x="1885" y="813"/>
                    </a:lnTo>
                    <a:lnTo>
                      <a:pt x="1882" y="812"/>
                    </a:lnTo>
                    <a:lnTo>
                      <a:pt x="1879" y="812"/>
                    </a:lnTo>
                    <a:lnTo>
                      <a:pt x="1876" y="812"/>
                    </a:lnTo>
                    <a:lnTo>
                      <a:pt x="1873" y="812"/>
                    </a:lnTo>
                    <a:lnTo>
                      <a:pt x="1871" y="812"/>
                    </a:lnTo>
                    <a:lnTo>
                      <a:pt x="1868" y="812"/>
                    </a:lnTo>
                    <a:lnTo>
                      <a:pt x="1863" y="813"/>
                    </a:lnTo>
                    <a:lnTo>
                      <a:pt x="1858" y="815"/>
                    </a:lnTo>
                    <a:lnTo>
                      <a:pt x="1852" y="816"/>
                    </a:lnTo>
                    <a:lnTo>
                      <a:pt x="1847" y="818"/>
                    </a:lnTo>
                    <a:lnTo>
                      <a:pt x="1843" y="819"/>
                    </a:lnTo>
                    <a:lnTo>
                      <a:pt x="1840" y="819"/>
                    </a:lnTo>
                    <a:lnTo>
                      <a:pt x="1837" y="819"/>
                    </a:lnTo>
                    <a:lnTo>
                      <a:pt x="1836" y="819"/>
                    </a:lnTo>
                    <a:lnTo>
                      <a:pt x="1833" y="819"/>
                    </a:lnTo>
                    <a:lnTo>
                      <a:pt x="1830" y="819"/>
                    </a:lnTo>
                    <a:lnTo>
                      <a:pt x="1827" y="818"/>
                    </a:lnTo>
                    <a:lnTo>
                      <a:pt x="1827" y="818"/>
                    </a:lnTo>
                    <a:lnTo>
                      <a:pt x="1826" y="818"/>
                    </a:lnTo>
                    <a:lnTo>
                      <a:pt x="1823" y="816"/>
                    </a:lnTo>
                    <a:lnTo>
                      <a:pt x="1821" y="815"/>
                    </a:lnTo>
                    <a:lnTo>
                      <a:pt x="1820" y="815"/>
                    </a:lnTo>
                    <a:lnTo>
                      <a:pt x="1819" y="815"/>
                    </a:lnTo>
                    <a:lnTo>
                      <a:pt x="1817" y="815"/>
                    </a:lnTo>
                    <a:lnTo>
                      <a:pt x="1816" y="815"/>
                    </a:lnTo>
                    <a:lnTo>
                      <a:pt x="1814" y="813"/>
                    </a:lnTo>
                    <a:lnTo>
                      <a:pt x="1810" y="812"/>
                    </a:lnTo>
                    <a:lnTo>
                      <a:pt x="1809" y="812"/>
                    </a:lnTo>
                    <a:lnTo>
                      <a:pt x="1807" y="812"/>
                    </a:lnTo>
                    <a:lnTo>
                      <a:pt x="1807" y="810"/>
                    </a:lnTo>
                    <a:lnTo>
                      <a:pt x="1806" y="810"/>
                    </a:lnTo>
                    <a:lnTo>
                      <a:pt x="1803" y="809"/>
                    </a:lnTo>
                    <a:lnTo>
                      <a:pt x="1801" y="807"/>
                    </a:lnTo>
                    <a:lnTo>
                      <a:pt x="1800" y="806"/>
                    </a:lnTo>
                    <a:lnTo>
                      <a:pt x="1798" y="806"/>
                    </a:lnTo>
                    <a:lnTo>
                      <a:pt x="1797" y="805"/>
                    </a:lnTo>
                    <a:lnTo>
                      <a:pt x="1796" y="802"/>
                    </a:lnTo>
                    <a:lnTo>
                      <a:pt x="1794" y="800"/>
                    </a:lnTo>
                    <a:lnTo>
                      <a:pt x="1794" y="799"/>
                    </a:lnTo>
                    <a:lnTo>
                      <a:pt x="1794" y="799"/>
                    </a:lnTo>
                    <a:lnTo>
                      <a:pt x="1794" y="797"/>
                    </a:lnTo>
                    <a:lnTo>
                      <a:pt x="1793" y="796"/>
                    </a:lnTo>
                    <a:lnTo>
                      <a:pt x="1791" y="796"/>
                    </a:lnTo>
                    <a:lnTo>
                      <a:pt x="1790" y="793"/>
                    </a:lnTo>
                    <a:lnTo>
                      <a:pt x="1788" y="792"/>
                    </a:lnTo>
                    <a:lnTo>
                      <a:pt x="1785" y="789"/>
                    </a:lnTo>
                    <a:lnTo>
                      <a:pt x="1784" y="787"/>
                    </a:lnTo>
                    <a:lnTo>
                      <a:pt x="1783" y="784"/>
                    </a:lnTo>
                    <a:lnTo>
                      <a:pt x="1781" y="784"/>
                    </a:lnTo>
                    <a:lnTo>
                      <a:pt x="1781" y="783"/>
                    </a:lnTo>
                    <a:lnTo>
                      <a:pt x="1781" y="783"/>
                    </a:lnTo>
                    <a:lnTo>
                      <a:pt x="1780" y="783"/>
                    </a:lnTo>
                    <a:lnTo>
                      <a:pt x="1775" y="781"/>
                    </a:lnTo>
                    <a:lnTo>
                      <a:pt x="1772" y="781"/>
                    </a:lnTo>
                    <a:lnTo>
                      <a:pt x="1765" y="780"/>
                    </a:lnTo>
                    <a:lnTo>
                      <a:pt x="1759" y="779"/>
                    </a:lnTo>
                    <a:lnTo>
                      <a:pt x="1757" y="779"/>
                    </a:lnTo>
                    <a:lnTo>
                      <a:pt x="1754" y="777"/>
                    </a:lnTo>
                    <a:lnTo>
                      <a:pt x="1749" y="776"/>
                    </a:lnTo>
                    <a:lnTo>
                      <a:pt x="1746" y="776"/>
                    </a:lnTo>
                    <a:lnTo>
                      <a:pt x="1739" y="774"/>
                    </a:lnTo>
                    <a:lnTo>
                      <a:pt x="1731" y="773"/>
                    </a:lnTo>
                    <a:lnTo>
                      <a:pt x="1728" y="771"/>
                    </a:lnTo>
                    <a:lnTo>
                      <a:pt x="1725" y="771"/>
                    </a:lnTo>
                    <a:lnTo>
                      <a:pt x="1721" y="770"/>
                    </a:lnTo>
                    <a:lnTo>
                      <a:pt x="1716" y="770"/>
                    </a:lnTo>
                    <a:lnTo>
                      <a:pt x="1712" y="768"/>
                    </a:lnTo>
                    <a:lnTo>
                      <a:pt x="1709" y="767"/>
                    </a:lnTo>
                    <a:lnTo>
                      <a:pt x="1706" y="766"/>
                    </a:lnTo>
                    <a:lnTo>
                      <a:pt x="1702" y="764"/>
                    </a:lnTo>
                    <a:lnTo>
                      <a:pt x="1699" y="761"/>
                    </a:lnTo>
                    <a:lnTo>
                      <a:pt x="1696" y="760"/>
                    </a:lnTo>
                    <a:lnTo>
                      <a:pt x="1696" y="761"/>
                    </a:lnTo>
                    <a:lnTo>
                      <a:pt x="1696" y="763"/>
                    </a:lnTo>
                    <a:lnTo>
                      <a:pt x="1696" y="766"/>
                    </a:lnTo>
                    <a:lnTo>
                      <a:pt x="1695" y="767"/>
                    </a:lnTo>
                    <a:lnTo>
                      <a:pt x="1695" y="768"/>
                    </a:lnTo>
                    <a:lnTo>
                      <a:pt x="1695" y="770"/>
                    </a:lnTo>
                    <a:lnTo>
                      <a:pt x="1693" y="771"/>
                    </a:lnTo>
                    <a:lnTo>
                      <a:pt x="1693" y="771"/>
                    </a:lnTo>
                    <a:lnTo>
                      <a:pt x="1692" y="773"/>
                    </a:lnTo>
                    <a:lnTo>
                      <a:pt x="1690" y="773"/>
                    </a:lnTo>
                    <a:lnTo>
                      <a:pt x="1689" y="774"/>
                    </a:lnTo>
                    <a:lnTo>
                      <a:pt x="1689" y="776"/>
                    </a:lnTo>
                    <a:lnTo>
                      <a:pt x="1689" y="777"/>
                    </a:lnTo>
                    <a:lnTo>
                      <a:pt x="1689" y="777"/>
                    </a:lnTo>
                    <a:lnTo>
                      <a:pt x="1689" y="779"/>
                    </a:lnTo>
                    <a:lnTo>
                      <a:pt x="1690" y="780"/>
                    </a:lnTo>
                    <a:lnTo>
                      <a:pt x="1689" y="780"/>
                    </a:lnTo>
                    <a:lnTo>
                      <a:pt x="1687" y="780"/>
                    </a:lnTo>
                    <a:lnTo>
                      <a:pt x="1687" y="780"/>
                    </a:lnTo>
                    <a:lnTo>
                      <a:pt x="1686" y="781"/>
                    </a:lnTo>
                    <a:lnTo>
                      <a:pt x="1686" y="783"/>
                    </a:lnTo>
                    <a:lnTo>
                      <a:pt x="1686" y="783"/>
                    </a:lnTo>
                    <a:lnTo>
                      <a:pt x="1686" y="786"/>
                    </a:lnTo>
                    <a:lnTo>
                      <a:pt x="1686" y="787"/>
                    </a:lnTo>
                    <a:lnTo>
                      <a:pt x="1687" y="790"/>
                    </a:lnTo>
                    <a:lnTo>
                      <a:pt x="1689" y="793"/>
                    </a:lnTo>
                    <a:lnTo>
                      <a:pt x="1690" y="794"/>
                    </a:lnTo>
                    <a:lnTo>
                      <a:pt x="1692" y="796"/>
                    </a:lnTo>
                    <a:lnTo>
                      <a:pt x="1692" y="796"/>
                    </a:lnTo>
                    <a:lnTo>
                      <a:pt x="1693" y="797"/>
                    </a:lnTo>
                    <a:lnTo>
                      <a:pt x="1693" y="799"/>
                    </a:lnTo>
                    <a:lnTo>
                      <a:pt x="1695" y="800"/>
                    </a:lnTo>
                    <a:lnTo>
                      <a:pt x="1696" y="803"/>
                    </a:lnTo>
                    <a:lnTo>
                      <a:pt x="1697" y="805"/>
                    </a:lnTo>
                    <a:lnTo>
                      <a:pt x="1697" y="805"/>
                    </a:lnTo>
                    <a:lnTo>
                      <a:pt x="1699" y="806"/>
                    </a:lnTo>
                    <a:lnTo>
                      <a:pt x="1702" y="806"/>
                    </a:lnTo>
                    <a:lnTo>
                      <a:pt x="1703" y="806"/>
                    </a:lnTo>
                    <a:lnTo>
                      <a:pt x="1703" y="807"/>
                    </a:lnTo>
                    <a:lnTo>
                      <a:pt x="1706" y="809"/>
                    </a:lnTo>
                    <a:lnTo>
                      <a:pt x="1706" y="810"/>
                    </a:lnTo>
                    <a:lnTo>
                      <a:pt x="1708" y="810"/>
                    </a:lnTo>
                    <a:lnTo>
                      <a:pt x="1708" y="812"/>
                    </a:lnTo>
                    <a:lnTo>
                      <a:pt x="1708" y="815"/>
                    </a:lnTo>
                    <a:lnTo>
                      <a:pt x="1709" y="816"/>
                    </a:lnTo>
                    <a:lnTo>
                      <a:pt x="1709" y="819"/>
                    </a:lnTo>
                    <a:lnTo>
                      <a:pt x="1709" y="820"/>
                    </a:lnTo>
                    <a:lnTo>
                      <a:pt x="1709" y="822"/>
                    </a:lnTo>
                    <a:lnTo>
                      <a:pt x="1708" y="823"/>
                    </a:lnTo>
                    <a:lnTo>
                      <a:pt x="1706" y="825"/>
                    </a:lnTo>
                    <a:lnTo>
                      <a:pt x="1706" y="825"/>
                    </a:lnTo>
                    <a:lnTo>
                      <a:pt x="1705" y="826"/>
                    </a:lnTo>
                    <a:lnTo>
                      <a:pt x="1703" y="826"/>
                    </a:lnTo>
                    <a:lnTo>
                      <a:pt x="1702" y="826"/>
                    </a:lnTo>
                    <a:lnTo>
                      <a:pt x="1700" y="828"/>
                    </a:lnTo>
                    <a:lnTo>
                      <a:pt x="1699" y="829"/>
                    </a:lnTo>
                    <a:lnTo>
                      <a:pt x="1699" y="829"/>
                    </a:lnTo>
                    <a:lnTo>
                      <a:pt x="1697" y="830"/>
                    </a:lnTo>
                    <a:lnTo>
                      <a:pt x="1696" y="832"/>
                    </a:lnTo>
                    <a:lnTo>
                      <a:pt x="1696" y="832"/>
                    </a:lnTo>
                    <a:lnTo>
                      <a:pt x="1693" y="832"/>
                    </a:lnTo>
                    <a:lnTo>
                      <a:pt x="1692" y="830"/>
                    </a:lnTo>
                    <a:lnTo>
                      <a:pt x="1687" y="830"/>
                    </a:lnTo>
                    <a:lnTo>
                      <a:pt x="1683" y="829"/>
                    </a:lnTo>
                    <a:lnTo>
                      <a:pt x="1680" y="829"/>
                    </a:lnTo>
                    <a:lnTo>
                      <a:pt x="1679" y="829"/>
                    </a:lnTo>
                    <a:lnTo>
                      <a:pt x="1676" y="828"/>
                    </a:lnTo>
                    <a:lnTo>
                      <a:pt x="1674" y="826"/>
                    </a:lnTo>
                    <a:lnTo>
                      <a:pt x="1670" y="826"/>
                    </a:lnTo>
                    <a:lnTo>
                      <a:pt x="1666" y="825"/>
                    </a:lnTo>
                    <a:lnTo>
                      <a:pt x="1663" y="823"/>
                    </a:lnTo>
                    <a:lnTo>
                      <a:pt x="1661" y="823"/>
                    </a:lnTo>
                    <a:lnTo>
                      <a:pt x="1659" y="823"/>
                    </a:lnTo>
                    <a:lnTo>
                      <a:pt x="1659" y="823"/>
                    </a:lnTo>
                    <a:lnTo>
                      <a:pt x="1657" y="823"/>
                    </a:lnTo>
                    <a:lnTo>
                      <a:pt x="1654" y="825"/>
                    </a:lnTo>
                    <a:lnTo>
                      <a:pt x="1653" y="825"/>
                    </a:lnTo>
                    <a:lnTo>
                      <a:pt x="1651" y="825"/>
                    </a:lnTo>
                    <a:lnTo>
                      <a:pt x="1650" y="826"/>
                    </a:lnTo>
                    <a:lnTo>
                      <a:pt x="1650" y="826"/>
                    </a:lnTo>
                    <a:lnTo>
                      <a:pt x="1648" y="826"/>
                    </a:lnTo>
                    <a:lnTo>
                      <a:pt x="1648" y="826"/>
                    </a:lnTo>
                    <a:lnTo>
                      <a:pt x="1646" y="826"/>
                    </a:lnTo>
                    <a:lnTo>
                      <a:pt x="1643" y="826"/>
                    </a:lnTo>
                    <a:lnTo>
                      <a:pt x="1641" y="826"/>
                    </a:lnTo>
                    <a:lnTo>
                      <a:pt x="1638" y="825"/>
                    </a:lnTo>
                    <a:lnTo>
                      <a:pt x="1637" y="825"/>
                    </a:lnTo>
                    <a:lnTo>
                      <a:pt x="1637" y="823"/>
                    </a:lnTo>
                    <a:lnTo>
                      <a:pt x="1635" y="823"/>
                    </a:lnTo>
                    <a:lnTo>
                      <a:pt x="1634" y="823"/>
                    </a:lnTo>
                    <a:lnTo>
                      <a:pt x="1631" y="823"/>
                    </a:lnTo>
                    <a:lnTo>
                      <a:pt x="1630" y="822"/>
                    </a:lnTo>
                    <a:lnTo>
                      <a:pt x="1627" y="822"/>
                    </a:lnTo>
                    <a:lnTo>
                      <a:pt x="1622" y="819"/>
                    </a:lnTo>
                    <a:lnTo>
                      <a:pt x="1618" y="818"/>
                    </a:lnTo>
                    <a:lnTo>
                      <a:pt x="1618" y="816"/>
                    </a:lnTo>
                    <a:lnTo>
                      <a:pt x="1617" y="815"/>
                    </a:lnTo>
                    <a:lnTo>
                      <a:pt x="1614" y="812"/>
                    </a:lnTo>
                    <a:lnTo>
                      <a:pt x="1612" y="810"/>
                    </a:lnTo>
                    <a:lnTo>
                      <a:pt x="1611" y="809"/>
                    </a:lnTo>
                    <a:lnTo>
                      <a:pt x="1609" y="809"/>
                    </a:lnTo>
                    <a:lnTo>
                      <a:pt x="1607" y="809"/>
                    </a:lnTo>
                    <a:lnTo>
                      <a:pt x="1604" y="807"/>
                    </a:lnTo>
                    <a:lnTo>
                      <a:pt x="1601" y="807"/>
                    </a:lnTo>
                    <a:lnTo>
                      <a:pt x="1598" y="807"/>
                    </a:lnTo>
                    <a:lnTo>
                      <a:pt x="1594" y="807"/>
                    </a:lnTo>
                    <a:lnTo>
                      <a:pt x="1591" y="807"/>
                    </a:lnTo>
                    <a:lnTo>
                      <a:pt x="1588" y="807"/>
                    </a:lnTo>
                    <a:lnTo>
                      <a:pt x="1585" y="806"/>
                    </a:lnTo>
                    <a:lnTo>
                      <a:pt x="1581" y="806"/>
                    </a:lnTo>
                    <a:lnTo>
                      <a:pt x="1581" y="806"/>
                    </a:lnTo>
                    <a:lnTo>
                      <a:pt x="1579" y="806"/>
                    </a:lnTo>
                    <a:lnTo>
                      <a:pt x="1578" y="806"/>
                    </a:lnTo>
                    <a:lnTo>
                      <a:pt x="1578" y="805"/>
                    </a:lnTo>
                    <a:lnTo>
                      <a:pt x="1576" y="803"/>
                    </a:lnTo>
                    <a:lnTo>
                      <a:pt x="1576" y="803"/>
                    </a:lnTo>
                    <a:lnTo>
                      <a:pt x="1575" y="803"/>
                    </a:lnTo>
                    <a:lnTo>
                      <a:pt x="1575" y="803"/>
                    </a:lnTo>
                    <a:lnTo>
                      <a:pt x="1573" y="803"/>
                    </a:lnTo>
                    <a:lnTo>
                      <a:pt x="1572" y="803"/>
                    </a:lnTo>
                    <a:lnTo>
                      <a:pt x="1572" y="803"/>
                    </a:lnTo>
                    <a:lnTo>
                      <a:pt x="1571" y="805"/>
                    </a:lnTo>
                    <a:lnTo>
                      <a:pt x="1569" y="805"/>
                    </a:lnTo>
                    <a:lnTo>
                      <a:pt x="1568" y="803"/>
                    </a:lnTo>
                    <a:lnTo>
                      <a:pt x="1568" y="803"/>
                    </a:lnTo>
                    <a:lnTo>
                      <a:pt x="1566" y="802"/>
                    </a:lnTo>
                    <a:lnTo>
                      <a:pt x="1565" y="802"/>
                    </a:lnTo>
                    <a:lnTo>
                      <a:pt x="1563" y="800"/>
                    </a:lnTo>
                    <a:lnTo>
                      <a:pt x="1562" y="800"/>
                    </a:lnTo>
                    <a:lnTo>
                      <a:pt x="1562" y="802"/>
                    </a:lnTo>
                    <a:lnTo>
                      <a:pt x="1562" y="802"/>
                    </a:lnTo>
                    <a:lnTo>
                      <a:pt x="1560" y="803"/>
                    </a:lnTo>
                    <a:lnTo>
                      <a:pt x="1559" y="803"/>
                    </a:lnTo>
                    <a:lnTo>
                      <a:pt x="1558" y="803"/>
                    </a:lnTo>
                    <a:lnTo>
                      <a:pt x="1555" y="803"/>
                    </a:lnTo>
                    <a:lnTo>
                      <a:pt x="1555" y="803"/>
                    </a:lnTo>
                    <a:lnTo>
                      <a:pt x="1553" y="803"/>
                    </a:lnTo>
                    <a:lnTo>
                      <a:pt x="1552" y="803"/>
                    </a:lnTo>
                    <a:lnTo>
                      <a:pt x="1552" y="803"/>
                    </a:lnTo>
                    <a:lnTo>
                      <a:pt x="1550" y="805"/>
                    </a:lnTo>
                    <a:lnTo>
                      <a:pt x="1549" y="806"/>
                    </a:lnTo>
                    <a:lnTo>
                      <a:pt x="1547" y="806"/>
                    </a:lnTo>
                    <a:lnTo>
                      <a:pt x="1547" y="806"/>
                    </a:lnTo>
                    <a:lnTo>
                      <a:pt x="1546" y="806"/>
                    </a:lnTo>
                    <a:lnTo>
                      <a:pt x="1546" y="807"/>
                    </a:lnTo>
                    <a:lnTo>
                      <a:pt x="1545" y="809"/>
                    </a:lnTo>
                    <a:lnTo>
                      <a:pt x="1545" y="809"/>
                    </a:lnTo>
                    <a:lnTo>
                      <a:pt x="1543" y="809"/>
                    </a:lnTo>
                    <a:lnTo>
                      <a:pt x="1543" y="810"/>
                    </a:lnTo>
                    <a:lnTo>
                      <a:pt x="1542" y="810"/>
                    </a:lnTo>
                    <a:lnTo>
                      <a:pt x="1540" y="810"/>
                    </a:lnTo>
                    <a:lnTo>
                      <a:pt x="1537" y="812"/>
                    </a:lnTo>
                    <a:lnTo>
                      <a:pt x="1537" y="812"/>
                    </a:lnTo>
                    <a:lnTo>
                      <a:pt x="1537" y="812"/>
                    </a:lnTo>
                    <a:lnTo>
                      <a:pt x="1536" y="813"/>
                    </a:lnTo>
                    <a:lnTo>
                      <a:pt x="1536" y="813"/>
                    </a:lnTo>
                    <a:lnTo>
                      <a:pt x="1534" y="815"/>
                    </a:lnTo>
                    <a:lnTo>
                      <a:pt x="1533" y="816"/>
                    </a:lnTo>
                    <a:lnTo>
                      <a:pt x="1533" y="818"/>
                    </a:lnTo>
                    <a:lnTo>
                      <a:pt x="1530" y="818"/>
                    </a:lnTo>
                    <a:lnTo>
                      <a:pt x="1529" y="818"/>
                    </a:lnTo>
                    <a:lnTo>
                      <a:pt x="1527" y="818"/>
                    </a:lnTo>
                    <a:lnTo>
                      <a:pt x="1526" y="819"/>
                    </a:lnTo>
                    <a:lnTo>
                      <a:pt x="1524" y="819"/>
                    </a:lnTo>
                    <a:lnTo>
                      <a:pt x="1524" y="820"/>
                    </a:lnTo>
                    <a:lnTo>
                      <a:pt x="1523" y="820"/>
                    </a:lnTo>
                    <a:lnTo>
                      <a:pt x="1523" y="820"/>
                    </a:lnTo>
                    <a:lnTo>
                      <a:pt x="1522" y="822"/>
                    </a:lnTo>
                    <a:lnTo>
                      <a:pt x="1520" y="822"/>
                    </a:lnTo>
                    <a:lnTo>
                      <a:pt x="1519" y="823"/>
                    </a:lnTo>
                    <a:lnTo>
                      <a:pt x="1519" y="823"/>
                    </a:lnTo>
                    <a:lnTo>
                      <a:pt x="1517" y="825"/>
                    </a:lnTo>
                    <a:lnTo>
                      <a:pt x="1517" y="825"/>
                    </a:lnTo>
                    <a:lnTo>
                      <a:pt x="1516" y="825"/>
                    </a:lnTo>
                    <a:lnTo>
                      <a:pt x="1513" y="826"/>
                    </a:lnTo>
                    <a:lnTo>
                      <a:pt x="1511" y="826"/>
                    </a:lnTo>
                    <a:lnTo>
                      <a:pt x="1510" y="826"/>
                    </a:lnTo>
                    <a:lnTo>
                      <a:pt x="1510" y="826"/>
                    </a:lnTo>
                    <a:lnTo>
                      <a:pt x="1511" y="828"/>
                    </a:lnTo>
                    <a:lnTo>
                      <a:pt x="1513" y="829"/>
                    </a:lnTo>
                    <a:lnTo>
                      <a:pt x="1513" y="830"/>
                    </a:lnTo>
                    <a:lnTo>
                      <a:pt x="1514" y="830"/>
                    </a:lnTo>
                    <a:lnTo>
                      <a:pt x="1514" y="832"/>
                    </a:lnTo>
                    <a:lnTo>
                      <a:pt x="1516" y="832"/>
                    </a:lnTo>
                    <a:lnTo>
                      <a:pt x="1513" y="832"/>
                    </a:lnTo>
                    <a:lnTo>
                      <a:pt x="1511" y="833"/>
                    </a:lnTo>
                    <a:lnTo>
                      <a:pt x="1510" y="833"/>
                    </a:lnTo>
                    <a:lnTo>
                      <a:pt x="1509" y="835"/>
                    </a:lnTo>
                    <a:lnTo>
                      <a:pt x="1506" y="836"/>
                    </a:lnTo>
                    <a:lnTo>
                      <a:pt x="1504" y="836"/>
                    </a:lnTo>
                    <a:lnTo>
                      <a:pt x="1504" y="838"/>
                    </a:lnTo>
                    <a:lnTo>
                      <a:pt x="1504" y="838"/>
                    </a:lnTo>
                    <a:lnTo>
                      <a:pt x="1506" y="838"/>
                    </a:lnTo>
                    <a:lnTo>
                      <a:pt x="1507" y="838"/>
                    </a:lnTo>
                    <a:lnTo>
                      <a:pt x="1506" y="839"/>
                    </a:lnTo>
                    <a:lnTo>
                      <a:pt x="1504" y="839"/>
                    </a:lnTo>
                    <a:lnTo>
                      <a:pt x="1503" y="839"/>
                    </a:lnTo>
                    <a:lnTo>
                      <a:pt x="1503" y="839"/>
                    </a:lnTo>
                    <a:lnTo>
                      <a:pt x="1501" y="839"/>
                    </a:lnTo>
                    <a:lnTo>
                      <a:pt x="1500" y="839"/>
                    </a:lnTo>
                    <a:lnTo>
                      <a:pt x="1500" y="839"/>
                    </a:lnTo>
                    <a:lnTo>
                      <a:pt x="1498" y="838"/>
                    </a:lnTo>
                    <a:lnTo>
                      <a:pt x="1498" y="839"/>
                    </a:lnTo>
                    <a:lnTo>
                      <a:pt x="1498" y="839"/>
                    </a:lnTo>
                    <a:lnTo>
                      <a:pt x="1497" y="841"/>
                    </a:lnTo>
                    <a:lnTo>
                      <a:pt x="1497" y="841"/>
                    </a:lnTo>
                    <a:lnTo>
                      <a:pt x="1496" y="841"/>
                    </a:lnTo>
                    <a:lnTo>
                      <a:pt x="1494" y="841"/>
                    </a:lnTo>
                    <a:lnTo>
                      <a:pt x="1493" y="841"/>
                    </a:lnTo>
                    <a:lnTo>
                      <a:pt x="1491" y="841"/>
                    </a:lnTo>
                    <a:lnTo>
                      <a:pt x="1490" y="841"/>
                    </a:lnTo>
                    <a:lnTo>
                      <a:pt x="1487" y="841"/>
                    </a:lnTo>
                    <a:lnTo>
                      <a:pt x="1485" y="841"/>
                    </a:lnTo>
                    <a:lnTo>
                      <a:pt x="1485" y="841"/>
                    </a:lnTo>
                    <a:lnTo>
                      <a:pt x="1484" y="841"/>
                    </a:lnTo>
                    <a:lnTo>
                      <a:pt x="1484" y="842"/>
                    </a:lnTo>
                    <a:lnTo>
                      <a:pt x="1484" y="843"/>
                    </a:lnTo>
                    <a:lnTo>
                      <a:pt x="1483" y="845"/>
                    </a:lnTo>
                    <a:lnTo>
                      <a:pt x="1481" y="848"/>
                    </a:lnTo>
                    <a:lnTo>
                      <a:pt x="1478" y="849"/>
                    </a:lnTo>
                    <a:lnTo>
                      <a:pt x="1477" y="851"/>
                    </a:lnTo>
                    <a:lnTo>
                      <a:pt x="1474" y="852"/>
                    </a:lnTo>
                    <a:lnTo>
                      <a:pt x="1471" y="852"/>
                    </a:lnTo>
                    <a:lnTo>
                      <a:pt x="1470" y="852"/>
                    </a:lnTo>
                    <a:lnTo>
                      <a:pt x="1468" y="852"/>
                    </a:lnTo>
                    <a:lnTo>
                      <a:pt x="1468" y="852"/>
                    </a:lnTo>
                    <a:lnTo>
                      <a:pt x="1467" y="852"/>
                    </a:lnTo>
                    <a:lnTo>
                      <a:pt x="1465" y="852"/>
                    </a:lnTo>
                    <a:lnTo>
                      <a:pt x="1465" y="851"/>
                    </a:lnTo>
                    <a:lnTo>
                      <a:pt x="1464" y="851"/>
                    </a:lnTo>
                    <a:lnTo>
                      <a:pt x="1464" y="849"/>
                    </a:lnTo>
                    <a:lnTo>
                      <a:pt x="1462" y="848"/>
                    </a:lnTo>
                    <a:lnTo>
                      <a:pt x="1462" y="846"/>
                    </a:lnTo>
                    <a:lnTo>
                      <a:pt x="1461" y="846"/>
                    </a:lnTo>
                    <a:lnTo>
                      <a:pt x="1460" y="845"/>
                    </a:lnTo>
                    <a:lnTo>
                      <a:pt x="1457" y="845"/>
                    </a:lnTo>
                    <a:lnTo>
                      <a:pt x="1455" y="845"/>
                    </a:lnTo>
                    <a:lnTo>
                      <a:pt x="1454" y="843"/>
                    </a:lnTo>
                    <a:lnTo>
                      <a:pt x="1451" y="842"/>
                    </a:lnTo>
                    <a:lnTo>
                      <a:pt x="1449" y="841"/>
                    </a:lnTo>
                    <a:lnTo>
                      <a:pt x="1448" y="839"/>
                    </a:lnTo>
                    <a:lnTo>
                      <a:pt x="1448" y="839"/>
                    </a:lnTo>
                    <a:lnTo>
                      <a:pt x="1445" y="838"/>
                    </a:lnTo>
                    <a:lnTo>
                      <a:pt x="1445" y="836"/>
                    </a:lnTo>
                    <a:lnTo>
                      <a:pt x="1444" y="836"/>
                    </a:lnTo>
                    <a:lnTo>
                      <a:pt x="1444" y="836"/>
                    </a:lnTo>
                    <a:lnTo>
                      <a:pt x="1444" y="835"/>
                    </a:lnTo>
                    <a:lnTo>
                      <a:pt x="1444" y="833"/>
                    </a:lnTo>
                    <a:lnTo>
                      <a:pt x="1444" y="832"/>
                    </a:lnTo>
                    <a:lnTo>
                      <a:pt x="1442" y="832"/>
                    </a:lnTo>
                    <a:lnTo>
                      <a:pt x="1442" y="830"/>
                    </a:lnTo>
                    <a:lnTo>
                      <a:pt x="1442" y="830"/>
                    </a:lnTo>
                    <a:lnTo>
                      <a:pt x="1441" y="830"/>
                    </a:lnTo>
                    <a:lnTo>
                      <a:pt x="1441" y="830"/>
                    </a:lnTo>
                    <a:lnTo>
                      <a:pt x="1441" y="832"/>
                    </a:lnTo>
                    <a:lnTo>
                      <a:pt x="1439" y="832"/>
                    </a:lnTo>
                    <a:lnTo>
                      <a:pt x="1439" y="833"/>
                    </a:lnTo>
                    <a:lnTo>
                      <a:pt x="1436" y="835"/>
                    </a:lnTo>
                    <a:lnTo>
                      <a:pt x="1436" y="835"/>
                    </a:lnTo>
                    <a:lnTo>
                      <a:pt x="1435" y="836"/>
                    </a:lnTo>
                    <a:lnTo>
                      <a:pt x="1435" y="836"/>
                    </a:lnTo>
                    <a:lnTo>
                      <a:pt x="1435" y="838"/>
                    </a:lnTo>
                    <a:lnTo>
                      <a:pt x="1435" y="839"/>
                    </a:lnTo>
                    <a:lnTo>
                      <a:pt x="1435" y="839"/>
                    </a:lnTo>
                    <a:lnTo>
                      <a:pt x="1434" y="839"/>
                    </a:lnTo>
                    <a:lnTo>
                      <a:pt x="1434" y="841"/>
                    </a:lnTo>
                    <a:lnTo>
                      <a:pt x="1434" y="841"/>
                    </a:lnTo>
                    <a:lnTo>
                      <a:pt x="1432" y="839"/>
                    </a:lnTo>
                    <a:lnTo>
                      <a:pt x="1431" y="839"/>
                    </a:lnTo>
                    <a:lnTo>
                      <a:pt x="1429" y="838"/>
                    </a:lnTo>
                    <a:lnTo>
                      <a:pt x="1428" y="838"/>
                    </a:lnTo>
                    <a:lnTo>
                      <a:pt x="1426" y="838"/>
                    </a:lnTo>
                    <a:lnTo>
                      <a:pt x="1426" y="838"/>
                    </a:lnTo>
                    <a:lnTo>
                      <a:pt x="1425" y="838"/>
                    </a:lnTo>
                    <a:lnTo>
                      <a:pt x="1423" y="838"/>
                    </a:lnTo>
                    <a:lnTo>
                      <a:pt x="1421" y="838"/>
                    </a:lnTo>
                    <a:lnTo>
                      <a:pt x="1418" y="838"/>
                    </a:lnTo>
                    <a:lnTo>
                      <a:pt x="1416" y="836"/>
                    </a:lnTo>
                    <a:lnTo>
                      <a:pt x="1413" y="836"/>
                    </a:lnTo>
                    <a:lnTo>
                      <a:pt x="1410" y="836"/>
                    </a:lnTo>
                    <a:lnTo>
                      <a:pt x="1410" y="835"/>
                    </a:lnTo>
                    <a:lnTo>
                      <a:pt x="1409" y="835"/>
                    </a:lnTo>
                    <a:lnTo>
                      <a:pt x="1408" y="833"/>
                    </a:lnTo>
                    <a:lnTo>
                      <a:pt x="1406" y="832"/>
                    </a:lnTo>
                    <a:lnTo>
                      <a:pt x="1403" y="830"/>
                    </a:lnTo>
                    <a:lnTo>
                      <a:pt x="1402" y="829"/>
                    </a:lnTo>
                    <a:lnTo>
                      <a:pt x="1400" y="825"/>
                    </a:lnTo>
                    <a:lnTo>
                      <a:pt x="1399" y="823"/>
                    </a:lnTo>
                    <a:lnTo>
                      <a:pt x="1399" y="823"/>
                    </a:lnTo>
                    <a:lnTo>
                      <a:pt x="1397" y="822"/>
                    </a:lnTo>
                    <a:lnTo>
                      <a:pt x="1396" y="822"/>
                    </a:lnTo>
                    <a:lnTo>
                      <a:pt x="1396" y="820"/>
                    </a:lnTo>
                    <a:lnTo>
                      <a:pt x="1395" y="820"/>
                    </a:lnTo>
                    <a:lnTo>
                      <a:pt x="1392" y="819"/>
                    </a:lnTo>
                    <a:lnTo>
                      <a:pt x="1387" y="819"/>
                    </a:lnTo>
                    <a:lnTo>
                      <a:pt x="1385" y="818"/>
                    </a:lnTo>
                    <a:lnTo>
                      <a:pt x="1382" y="816"/>
                    </a:lnTo>
                    <a:lnTo>
                      <a:pt x="1380" y="815"/>
                    </a:lnTo>
                    <a:lnTo>
                      <a:pt x="1380" y="815"/>
                    </a:lnTo>
                    <a:lnTo>
                      <a:pt x="1379" y="813"/>
                    </a:lnTo>
                    <a:lnTo>
                      <a:pt x="1379" y="812"/>
                    </a:lnTo>
                    <a:lnTo>
                      <a:pt x="1377" y="810"/>
                    </a:lnTo>
                    <a:lnTo>
                      <a:pt x="1376" y="809"/>
                    </a:lnTo>
                    <a:lnTo>
                      <a:pt x="1372" y="806"/>
                    </a:lnTo>
                    <a:lnTo>
                      <a:pt x="1369" y="803"/>
                    </a:lnTo>
                    <a:lnTo>
                      <a:pt x="1364" y="800"/>
                    </a:lnTo>
                    <a:lnTo>
                      <a:pt x="1361" y="799"/>
                    </a:lnTo>
                    <a:lnTo>
                      <a:pt x="1357" y="797"/>
                    </a:lnTo>
                    <a:lnTo>
                      <a:pt x="1353" y="796"/>
                    </a:lnTo>
                    <a:lnTo>
                      <a:pt x="1348" y="794"/>
                    </a:lnTo>
                    <a:lnTo>
                      <a:pt x="1348" y="794"/>
                    </a:lnTo>
                    <a:lnTo>
                      <a:pt x="1347" y="794"/>
                    </a:lnTo>
                    <a:lnTo>
                      <a:pt x="1347" y="794"/>
                    </a:lnTo>
                    <a:lnTo>
                      <a:pt x="1346" y="794"/>
                    </a:lnTo>
                    <a:lnTo>
                      <a:pt x="1344" y="794"/>
                    </a:lnTo>
                    <a:lnTo>
                      <a:pt x="1344" y="794"/>
                    </a:lnTo>
                    <a:lnTo>
                      <a:pt x="1343" y="796"/>
                    </a:lnTo>
                    <a:lnTo>
                      <a:pt x="1343" y="796"/>
                    </a:lnTo>
                    <a:lnTo>
                      <a:pt x="1341" y="797"/>
                    </a:lnTo>
                    <a:lnTo>
                      <a:pt x="1341" y="797"/>
                    </a:lnTo>
                    <a:lnTo>
                      <a:pt x="1340" y="797"/>
                    </a:lnTo>
                    <a:lnTo>
                      <a:pt x="1338" y="797"/>
                    </a:lnTo>
                    <a:lnTo>
                      <a:pt x="1338" y="797"/>
                    </a:lnTo>
                    <a:lnTo>
                      <a:pt x="1337" y="797"/>
                    </a:lnTo>
                    <a:lnTo>
                      <a:pt x="1335" y="799"/>
                    </a:lnTo>
                    <a:lnTo>
                      <a:pt x="1335" y="799"/>
                    </a:lnTo>
                    <a:lnTo>
                      <a:pt x="1334" y="800"/>
                    </a:lnTo>
                    <a:lnTo>
                      <a:pt x="1334" y="802"/>
                    </a:lnTo>
                    <a:lnTo>
                      <a:pt x="1334" y="802"/>
                    </a:lnTo>
                    <a:lnTo>
                      <a:pt x="1333" y="803"/>
                    </a:lnTo>
                    <a:lnTo>
                      <a:pt x="1331" y="803"/>
                    </a:lnTo>
                    <a:lnTo>
                      <a:pt x="1330" y="803"/>
                    </a:lnTo>
                    <a:lnTo>
                      <a:pt x="1328" y="803"/>
                    </a:lnTo>
                    <a:lnTo>
                      <a:pt x="1328" y="803"/>
                    </a:lnTo>
                    <a:lnTo>
                      <a:pt x="1327" y="803"/>
                    </a:lnTo>
                    <a:lnTo>
                      <a:pt x="1327" y="803"/>
                    </a:lnTo>
                    <a:lnTo>
                      <a:pt x="1325" y="803"/>
                    </a:lnTo>
                    <a:lnTo>
                      <a:pt x="1325" y="803"/>
                    </a:lnTo>
                    <a:lnTo>
                      <a:pt x="1324" y="803"/>
                    </a:lnTo>
                    <a:lnTo>
                      <a:pt x="1322" y="803"/>
                    </a:lnTo>
                    <a:lnTo>
                      <a:pt x="1322" y="802"/>
                    </a:lnTo>
                    <a:lnTo>
                      <a:pt x="1321" y="802"/>
                    </a:lnTo>
                    <a:lnTo>
                      <a:pt x="1321" y="800"/>
                    </a:lnTo>
                    <a:lnTo>
                      <a:pt x="1320" y="800"/>
                    </a:lnTo>
                    <a:lnTo>
                      <a:pt x="1318" y="800"/>
                    </a:lnTo>
                    <a:lnTo>
                      <a:pt x="1315" y="802"/>
                    </a:lnTo>
                    <a:lnTo>
                      <a:pt x="1312" y="803"/>
                    </a:lnTo>
                    <a:lnTo>
                      <a:pt x="1311" y="803"/>
                    </a:lnTo>
                    <a:lnTo>
                      <a:pt x="1310" y="803"/>
                    </a:lnTo>
                    <a:lnTo>
                      <a:pt x="1301" y="794"/>
                    </a:lnTo>
                    <a:lnTo>
                      <a:pt x="1299" y="794"/>
                    </a:lnTo>
                    <a:lnTo>
                      <a:pt x="1299" y="794"/>
                    </a:lnTo>
                    <a:lnTo>
                      <a:pt x="1298" y="796"/>
                    </a:lnTo>
                    <a:lnTo>
                      <a:pt x="1298" y="796"/>
                    </a:lnTo>
                    <a:lnTo>
                      <a:pt x="1297" y="796"/>
                    </a:lnTo>
                    <a:lnTo>
                      <a:pt x="1295" y="794"/>
                    </a:lnTo>
                    <a:lnTo>
                      <a:pt x="1295" y="794"/>
                    </a:lnTo>
                    <a:lnTo>
                      <a:pt x="1295" y="793"/>
                    </a:lnTo>
                    <a:lnTo>
                      <a:pt x="1295" y="792"/>
                    </a:lnTo>
                    <a:lnTo>
                      <a:pt x="1295" y="792"/>
                    </a:lnTo>
                    <a:lnTo>
                      <a:pt x="1295" y="790"/>
                    </a:lnTo>
                    <a:lnTo>
                      <a:pt x="1295" y="789"/>
                    </a:lnTo>
                    <a:lnTo>
                      <a:pt x="1294" y="789"/>
                    </a:lnTo>
                    <a:lnTo>
                      <a:pt x="1294" y="789"/>
                    </a:lnTo>
                    <a:lnTo>
                      <a:pt x="1292" y="789"/>
                    </a:lnTo>
                    <a:lnTo>
                      <a:pt x="1291" y="789"/>
                    </a:lnTo>
                    <a:lnTo>
                      <a:pt x="1291" y="789"/>
                    </a:lnTo>
                    <a:lnTo>
                      <a:pt x="1289" y="787"/>
                    </a:lnTo>
                    <a:lnTo>
                      <a:pt x="1288" y="786"/>
                    </a:lnTo>
                    <a:lnTo>
                      <a:pt x="1288" y="786"/>
                    </a:lnTo>
                    <a:lnTo>
                      <a:pt x="1286" y="786"/>
                    </a:lnTo>
                    <a:lnTo>
                      <a:pt x="1285" y="786"/>
                    </a:lnTo>
                    <a:lnTo>
                      <a:pt x="1284" y="786"/>
                    </a:lnTo>
                    <a:lnTo>
                      <a:pt x="1284" y="786"/>
                    </a:lnTo>
                    <a:lnTo>
                      <a:pt x="1282" y="787"/>
                    </a:lnTo>
                    <a:lnTo>
                      <a:pt x="1281" y="787"/>
                    </a:lnTo>
                    <a:lnTo>
                      <a:pt x="1281" y="789"/>
                    </a:lnTo>
                    <a:lnTo>
                      <a:pt x="1281" y="789"/>
                    </a:lnTo>
                    <a:lnTo>
                      <a:pt x="1279" y="789"/>
                    </a:lnTo>
                    <a:lnTo>
                      <a:pt x="1279" y="790"/>
                    </a:lnTo>
                    <a:lnTo>
                      <a:pt x="1279" y="790"/>
                    </a:lnTo>
                    <a:lnTo>
                      <a:pt x="1281" y="792"/>
                    </a:lnTo>
                    <a:lnTo>
                      <a:pt x="1281" y="792"/>
                    </a:lnTo>
                    <a:lnTo>
                      <a:pt x="1281" y="793"/>
                    </a:lnTo>
                    <a:lnTo>
                      <a:pt x="1281" y="793"/>
                    </a:lnTo>
                    <a:lnTo>
                      <a:pt x="1281" y="793"/>
                    </a:lnTo>
                    <a:lnTo>
                      <a:pt x="1281" y="794"/>
                    </a:lnTo>
                    <a:lnTo>
                      <a:pt x="1279" y="796"/>
                    </a:lnTo>
                    <a:lnTo>
                      <a:pt x="1279" y="796"/>
                    </a:lnTo>
                    <a:lnTo>
                      <a:pt x="1278" y="797"/>
                    </a:lnTo>
                    <a:lnTo>
                      <a:pt x="1276" y="797"/>
                    </a:lnTo>
                    <a:lnTo>
                      <a:pt x="1276" y="799"/>
                    </a:lnTo>
                    <a:lnTo>
                      <a:pt x="1275" y="799"/>
                    </a:lnTo>
                    <a:lnTo>
                      <a:pt x="1273" y="799"/>
                    </a:lnTo>
                    <a:lnTo>
                      <a:pt x="1275" y="799"/>
                    </a:lnTo>
                    <a:lnTo>
                      <a:pt x="1275" y="800"/>
                    </a:lnTo>
                    <a:lnTo>
                      <a:pt x="1275" y="800"/>
                    </a:lnTo>
                    <a:lnTo>
                      <a:pt x="1273" y="800"/>
                    </a:lnTo>
                    <a:lnTo>
                      <a:pt x="1272" y="800"/>
                    </a:lnTo>
                    <a:lnTo>
                      <a:pt x="1271" y="799"/>
                    </a:lnTo>
                    <a:lnTo>
                      <a:pt x="1268" y="797"/>
                    </a:lnTo>
                    <a:lnTo>
                      <a:pt x="1266" y="796"/>
                    </a:lnTo>
                    <a:lnTo>
                      <a:pt x="1265" y="796"/>
                    </a:lnTo>
                    <a:lnTo>
                      <a:pt x="1262" y="792"/>
                    </a:lnTo>
                    <a:lnTo>
                      <a:pt x="1259" y="789"/>
                    </a:lnTo>
                    <a:lnTo>
                      <a:pt x="1256" y="786"/>
                    </a:lnTo>
                    <a:lnTo>
                      <a:pt x="1255" y="783"/>
                    </a:lnTo>
                    <a:lnTo>
                      <a:pt x="1253" y="781"/>
                    </a:lnTo>
                    <a:lnTo>
                      <a:pt x="1252" y="780"/>
                    </a:lnTo>
                    <a:lnTo>
                      <a:pt x="1247" y="776"/>
                    </a:lnTo>
                    <a:lnTo>
                      <a:pt x="1243" y="771"/>
                    </a:lnTo>
                    <a:lnTo>
                      <a:pt x="1239" y="768"/>
                    </a:lnTo>
                    <a:lnTo>
                      <a:pt x="1235" y="764"/>
                    </a:lnTo>
                    <a:lnTo>
                      <a:pt x="1230" y="761"/>
                    </a:lnTo>
                    <a:lnTo>
                      <a:pt x="1227" y="757"/>
                    </a:lnTo>
                    <a:lnTo>
                      <a:pt x="1224" y="756"/>
                    </a:lnTo>
                    <a:lnTo>
                      <a:pt x="1220" y="751"/>
                    </a:lnTo>
                    <a:lnTo>
                      <a:pt x="1216" y="747"/>
                    </a:lnTo>
                    <a:lnTo>
                      <a:pt x="1211" y="743"/>
                    </a:lnTo>
                    <a:lnTo>
                      <a:pt x="1209" y="740"/>
                    </a:lnTo>
                    <a:lnTo>
                      <a:pt x="1204" y="737"/>
                    </a:lnTo>
                    <a:lnTo>
                      <a:pt x="1201" y="734"/>
                    </a:lnTo>
                    <a:lnTo>
                      <a:pt x="1197" y="731"/>
                    </a:lnTo>
                    <a:lnTo>
                      <a:pt x="1193" y="728"/>
                    </a:lnTo>
                    <a:lnTo>
                      <a:pt x="1188" y="725"/>
                    </a:lnTo>
                    <a:lnTo>
                      <a:pt x="1184" y="722"/>
                    </a:lnTo>
                    <a:lnTo>
                      <a:pt x="1178" y="719"/>
                    </a:lnTo>
                    <a:lnTo>
                      <a:pt x="1168" y="714"/>
                    </a:lnTo>
                    <a:lnTo>
                      <a:pt x="1162" y="711"/>
                    </a:lnTo>
                    <a:lnTo>
                      <a:pt x="1158" y="708"/>
                    </a:lnTo>
                    <a:lnTo>
                      <a:pt x="1154" y="705"/>
                    </a:lnTo>
                    <a:lnTo>
                      <a:pt x="1148" y="704"/>
                    </a:lnTo>
                    <a:lnTo>
                      <a:pt x="1151" y="704"/>
                    </a:lnTo>
                    <a:lnTo>
                      <a:pt x="1152" y="704"/>
                    </a:lnTo>
                    <a:lnTo>
                      <a:pt x="1154" y="704"/>
                    </a:lnTo>
                    <a:lnTo>
                      <a:pt x="1154" y="704"/>
                    </a:lnTo>
                    <a:lnTo>
                      <a:pt x="1155" y="704"/>
                    </a:lnTo>
                    <a:lnTo>
                      <a:pt x="1155" y="702"/>
                    </a:lnTo>
                    <a:lnTo>
                      <a:pt x="1157" y="701"/>
                    </a:lnTo>
                    <a:lnTo>
                      <a:pt x="1157" y="699"/>
                    </a:lnTo>
                    <a:lnTo>
                      <a:pt x="1157" y="699"/>
                    </a:lnTo>
                    <a:lnTo>
                      <a:pt x="1157" y="698"/>
                    </a:lnTo>
                    <a:lnTo>
                      <a:pt x="1157" y="698"/>
                    </a:lnTo>
                    <a:lnTo>
                      <a:pt x="1155" y="698"/>
                    </a:lnTo>
                    <a:lnTo>
                      <a:pt x="1155" y="698"/>
                    </a:lnTo>
                    <a:lnTo>
                      <a:pt x="1155" y="696"/>
                    </a:lnTo>
                    <a:lnTo>
                      <a:pt x="1155" y="696"/>
                    </a:lnTo>
                    <a:lnTo>
                      <a:pt x="1155" y="696"/>
                    </a:lnTo>
                    <a:lnTo>
                      <a:pt x="1157" y="695"/>
                    </a:lnTo>
                    <a:lnTo>
                      <a:pt x="1157" y="694"/>
                    </a:lnTo>
                    <a:lnTo>
                      <a:pt x="1155" y="695"/>
                    </a:lnTo>
                    <a:lnTo>
                      <a:pt x="1154" y="695"/>
                    </a:lnTo>
                    <a:lnTo>
                      <a:pt x="1152" y="695"/>
                    </a:lnTo>
                    <a:lnTo>
                      <a:pt x="1151" y="695"/>
                    </a:lnTo>
                    <a:lnTo>
                      <a:pt x="1148" y="696"/>
                    </a:lnTo>
                    <a:lnTo>
                      <a:pt x="1147" y="696"/>
                    </a:lnTo>
                    <a:lnTo>
                      <a:pt x="1145" y="698"/>
                    </a:lnTo>
                    <a:lnTo>
                      <a:pt x="1145" y="698"/>
                    </a:lnTo>
                    <a:lnTo>
                      <a:pt x="1144" y="698"/>
                    </a:lnTo>
                    <a:lnTo>
                      <a:pt x="1144" y="698"/>
                    </a:lnTo>
                    <a:lnTo>
                      <a:pt x="1142" y="699"/>
                    </a:lnTo>
                    <a:lnTo>
                      <a:pt x="1139" y="701"/>
                    </a:lnTo>
                    <a:lnTo>
                      <a:pt x="1139" y="701"/>
                    </a:lnTo>
                    <a:lnTo>
                      <a:pt x="1138" y="702"/>
                    </a:lnTo>
                    <a:lnTo>
                      <a:pt x="1136" y="702"/>
                    </a:lnTo>
                    <a:lnTo>
                      <a:pt x="1135" y="702"/>
                    </a:lnTo>
                    <a:lnTo>
                      <a:pt x="1131" y="704"/>
                    </a:lnTo>
                    <a:lnTo>
                      <a:pt x="1129" y="704"/>
                    </a:lnTo>
                    <a:lnTo>
                      <a:pt x="1128" y="704"/>
                    </a:lnTo>
                    <a:lnTo>
                      <a:pt x="1129" y="704"/>
                    </a:lnTo>
                    <a:lnTo>
                      <a:pt x="1129" y="705"/>
                    </a:lnTo>
                    <a:lnTo>
                      <a:pt x="1129" y="705"/>
                    </a:lnTo>
                    <a:lnTo>
                      <a:pt x="1129" y="706"/>
                    </a:lnTo>
                    <a:lnTo>
                      <a:pt x="1128" y="708"/>
                    </a:lnTo>
                    <a:lnTo>
                      <a:pt x="1126" y="709"/>
                    </a:lnTo>
                    <a:lnTo>
                      <a:pt x="1125" y="709"/>
                    </a:lnTo>
                    <a:lnTo>
                      <a:pt x="1122" y="711"/>
                    </a:lnTo>
                    <a:lnTo>
                      <a:pt x="1122" y="711"/>
                    </a:lnTo>
                    <a:lnTo>
                      <a:pt x="1121" y="711"/>
                    </a:lnTo>
                    <a:lnTo>
                      <a:pt x="1118" y="712"/>
                    </a:lnTo>
                    <a:lnTo>
                      <a:pt x="1116" y="714"/>
                    </a:lnTo>
                    <a:lnTo>
                      <a:pt x="1115" y="714"/>
                    </a:lnTo>
                    <a:lnTo>
                      <a:pt x="1113" y="715"/>
                    </a:lnTo>
                    <a:lnTo>
                      <a:pt x="1112" y="717"/>
                    </a:lnTo>
                    <a:lnTo>
                      <a:pt x="1112" y="718"/>
                    </a:lnTo>
                    <a:lnTo>
                      <a:pt x="1112" y="721"/>
                    </a:lnTo>
                    <a:lnTo>
                      <a:pt x="1112" y="721"/>
                    </a:lnTo>
                    <a:lnTo>
                      <a:pt x="1112" y="722"/>
                    </a:lnTo>
                    <a:lnTo>
                      <a:pt x="1110" y="722"/>
                    </a:lnTo>
                    <a:lnTo>
                      <a:pt x="1109" y="722"/>
                    </a:lnTo>
                    <a:lnTo>
                      <a:pt x="1109" y="721"/>
                    </a:lnTo>
                    <a:lnTo>
                      <a:pt x="1109" y="721"/>
                    </a:lnTo>
                    <a:lnTo>
                      <a:pt x="1109" y="721"/>
                    </a:lnTo>
                    <a:lnTo>
                      <a:pt x="1108" y="719"/>
                    </a:lnTo>
                    <a:lnTo>
                      <a:pt x="1106" y="719"/>
                    </a:lnTo>
                    <a:lnTo>
                      <a:pt x="1105" y="719"/>
                    </a:lnTo>
                    <a:lnTo>
                      <a:pt x="1105" y="719"/>
                    </a:lnTo>
                    <a:lnTo>
                      <a:pt x="1105" y="718"/>
                    </a:lnTo>
                    <a:lnTo>
                      <a:pt x="1103" y="718"/>
                    </a:lnTo>
                    <a:lnTo>
                      <a:pt x="1103" y="718"/>
                    </a:lnTo>
                    <a:lnTo>
                      <a:pt x="1103" y="717"/>
                    </a:lnTo>
                    <a:lnTo>
                      <a:pt x="1102" y="717"/>
                    </a:lnTo>
                    <a:lnTo>
                      <a:pt x="1100" y="717"/>
                    </a:lnTo>
                    <a:lnTo>
                      <a:pt x="1099" y="717"/>
                    </a:lnTo>
                    <a:lnTo>
                      <a:pt x="1096" y="717"/>
                    </a:lnTo>
                    <a:lnTo>
                      <a:pt x="1095" y="718"/>
                    </a:lnTo>
                    <a:lnTo>
                      <a:pt x="1093" y="719"/>
                    </a:lnTo>
                    <a:lnTo>
                      <a:pt x="1090" y="721"/>
                    </a:lnTo>
                    <a:lnTo>
                      <a:pt x="1089" y="721"/>
                    </a:lnTo>
                    <a:lnTo>
                      <a:pt x="1089" y="722"/>
                    </a:lnTo>
                    <a:lnTo>
                      <a:pt x="1087" y="721"/>
                    </a:lnTo>
                    <a:lnTo>
                      <a:pt x="1087" y="721"/>
                    </a:lnTo>
                    <a:lnTo>
                      <a:pt x="1087" y="721"/>
                    </a:lnTo>
                    <a:lnTo>
                      <a:pt x="1086" y="721"/>
                    </a:lnTo>
                    <a:lnTo>
                      <a:pt x="1085" y="719"/>
                    </a:lnTo>
                    <a:lnTo>
                      <a:pt x="1085" y="719"/>
                    </a:lnTo>
                    <a:lnTo>
                      <a:pt x="1083" y="718"/>
                    </a:lnTo>
                    <a:lnTo>
                      <a:pt x="1083" y="717"/>
                    </a:lnTo>
                    <a:lnTo>
                      <a:pt x="1083" y="717"/>
                    </a:lnTo>
                    <a:lnTo>
                      <a:pt x="1082" y="715"/>
                    </a:lnTo>
                    <a:lnTo>
                      <a:pt x="1083" y="714"/>
                    </a:lnTo>
                    <a:lnTo>
                      <a:pt x="1083" y="714"/>
                    </a:lnTo>
                    <a:lnTo>
                      <a:pt x="1083" y="712"/>
                    </a:lnTo>
                    <a:lnTo>
                      <a:pt x="1085" y="711"/>
                    </a:lnTo>
                    <a:lnTo>
                      <a:pt x="1087" y="711"/>
                    </a:lnTo>
                    <a:lnTo>
                      <a:pt x="1087" y="711"/>
                    </a:lnTo>
                    <a:lnTo>
                      <a:pt x="1090" y="711"/>
                    </a:lnTo>
                    <a:lnTo>
                      <a:pt x="1092" y="711"/>
                    </a:lnTo>
                    <a:lnTo>
                      <a:pt x="1090" y="711"/>
                    </a:lnTo>
                    <a:lnTo>
                      <a:pt x="1090" y="709"/>
                    </a:lnTo>
                    <a:lnTo>
                      <a:pt x="1090" y="706"/>
                    </a:lnTo>
                    <a:lnTo>
                      <a:pt x="1089" y="705"/>
                    </a:lnTo>
                    <a:lnTo>
                      <a:pt x="1089" y="704"/>
                    </a:lnTo>
                    <a:lnTo>
                      <a:pt x="1089" y="704"/>
                    </a:lnTo>
                    <a:lnTo>
                      <a:pt x="1087" y="704"/>
                    </a:lnTo>
                    <a:lnTo>
                      <a:pt x="1087" y="705"/>
                    </a:lnTo>
                    <a:lnTo>
                      <a:pt x="1087" y="705"/>
                    </a:lnTo>
                    <a:lnTo>
                      <a:pt x="1086" y="706"/>
                    </a:lnTo>
                    <a:lnTo>
                      <a:pt x="1085" y="706"/>
                    </a:lnTo>
                    <a:lnTo>
                      <a:pt x="1083" y="708"/>
                    </a:lnTo>
                    <a:lnTo>
                      <a:pt x="1080" y="708"/>
                    </a:lnTo>
                    <a:lnTo>
                      <a:pt x="1079" y="706"/>
                    </a:lnTo>
                    <a:lnTo>
                      <a:pt x="1076" y="706"/>
                    </a:lnTo>
                    <a:lnTo>
                      <a:pt x="1074" y="705"/>
                    </a:lnTo>
                    <a:lnTo>
                      <a:pt x="1072" y="704"/>
                    </a:lnTo>
                    <a:lnTo>
                      <a:pt x="1070" y="704"/>
                    </a:lnTo>
                    <a:lnTo>
                      <a:pt x="1069" y="704"/>
                    </a:lnTo>
                    <a:lnTo>
                      <a:pt x="1067" y="702"/>
                    </a:lnTo>
                    <a:lnTo>
                      <a:pt x="1066" y="702"/>
                    </a:lnTo>
                    <a:lnTo>
                      <a:pt x="1064" y="704"/>
                    </a:lnTo>
                    <a:lnTo>
                      <a:pt x="1064" y="704"/>
                    </a:lnTo>
                    <a:lnTo>
                      <a:pt x="1063" y="704"/>
                    </a:lnTo>
                    <a:lnTo>
                      <a:pt x="1063" y="704"/>
                    </a:lnTo>
                    <a:lnTo>
                      <a:pt x="1063" y="705"/>
                    </a:lnTo>
                    <a:lnTo>
                      <a:pt x="1063" y="705"/>
                    </a:lnTo>
                    <a:lnTo>
                      <a:pt x="1064" y="705"/>
                    </a:lnTo>
                    <a:lnTo>
                      <a:pt x="1066" y="705"/>
                    </a:lnTo>
                    <a:lnTo>
                      <a:pt x="1066" y="706"/>
                    </a:lnTo>
                    <a:lnTo>
                      <a:pt x="1064" y="706"/>
                    </a:lnTo>
                    <a:lnTo>
                      <a:pt x="1063" y="708"/>
                    </a:lnTo>
                    <a:lnTo>
                      <a:pt x="1063" y="708"/>
                    </a:lnTo>
                    <a:lnTo>
                      <a:pt x="1061" y="708"/>
                    </a:lnTo>
                    <a:lnTo>
                      <a:pt x="1060" y="706"/>
                    </a:lnTo>
                    <a:lnTo>
                      <a:pt x="1060" y="706"/>
                    </a:lnTo>
                    <a:lnTo>
                      <a:pt x="1059" y="705"/>
                    </a:lnTo>
                    <a:lnTo>
                      <a:pt x="1059" y="705"/>
                    </a:lnTo>
                    <a:lnTo>
                      <a:pt x="1059" y="704"/>
                    </a:lnTo>
                    <a:lnTo>
                      <a:pt x="1059" y="704"/>
                    </a:lnTo>
                    <a:lnTo>
                      <a:pt x="1060" y="704"/>
                    </a:lnTo>
                    <a:lnTo>
                      <a:pt x="1057" y="702"/>
                    </a:lnTo>
                    <a:lnTo>
                      <a:pt x="1056" y="702"/>
                    </a:lnTo>
                    <a:lnTo>
                      <a:pt x="1054" y="701"/>
                    </a:lnTo>
                    <a:lnTo>
                      <a:pt x="1053" y="699"/>
                    </a:lnTo>
                    <a:lnTo>
                      <a:pt x="1051" y="696"/>
                    </a:lnTo>
                    <a:lnTo>
                      <a:pt x="1050" y="695"/>
                    </a:lnTo>
                    <a:lnTo>
                      <a:pt x="1048" y="694"/>
                    </a:lnTo>
                    <a:lnTo>
                      <a:pt x="1048" y="696"/>
                    </a:lnTo>
                    <a:lnTo>
                      <a:pt x="1048" y="698"/>
                    </a:lnTo>
                    <a:lnTo>
                      <a:pt x="1050" y="699"/>
                    </a:lnTo>
                    <a:lnTo>
                      <a:pt x="1050" y="699"/>
                    </a:lnTo>
                    <a:lnTo>
                      <a:pt x="1047" y="699"/>
                    </a:lnTo>
                    <a:lnTo>
                      <a:pt x="1046" y="699"/>
                    </a:lnTo>
                    <a:lnTo>
                      <a:pt x="1044" y="699"/>
                    </a:lnTo>
                    <a:lnTo>
                      <a:pt x="1044" y="699"/>
                    </a:lnTo>
                    <a:lnTo>
                      <a:pt x="1043" y="701"/>
                    </a:lnTo>
                    <a:lnTo>
                      <a:pt x="1043" y="701"/>
                    </a:lnTo>
                    <a:lnTo>
                      <a:pt x="1043" y="702"/>
                    </a:lnTo>
                    <a:lnTo>
                      <a:pt x="1041" y="702"/>
                    </a:lnTo>
                    <a:lnTo>
                      <a:pt x="1041" y="702"/>
                    </a:lnTo>
                    <a:lnTo>
                      <a:pt x="1038" y="704"/>
                    </a:lnTo>
                    <a:lnTo>
                      <a:pt x="1037" y="704"/>
                    </a:lnTo>
                    <a:lnTo>
                      <a:pt x="1035" y="702"/>
                    </a:lnTo>
                    <a:lnTo>
                      <a:pt x="1033" y="702"/>
                    </a:lnTo>
                    <a:lnTo>
                      <a:pt x="1031" y="702"/>
                    </a:lnTo>
                    <a:lnTo>
                      <a:pt x="1030" y="701"/>
                    </a:lnTo>
                    <a:lnTo>
                      <a:pt x="1028" y="701"/>
                    </a:lnTo>
                    <a:lnTo>
                      <a:pt x="1027" y="701"/>
                    </a:lnTo>
                    <a:lnTo>
                      <a:pt x="1024" y="699"/>
                    </a:lnTo>
                    <a:lnTo>
                      <a:pt x="1024" y="698"/>
                    </a:lnTo>
                    <a:lnTo>
                      <a:pt x="1023" y="698"/>
                    </a:lnTo>
                    <a:lnTo>
                      <a:pt x="1024" y="696"/>
                    </a:lnTo>
                    <a:lnTo>
                      <a:pt x="1025" y="696"/>
                    </a:lnTo>
                    <a:lnTo>
                      <a:pt x="1025" y="696"/>
                    </a:lnTo>
                    <a:lnTo>
                      <a:pt x="1027" y="696"/>
                    </a:lnTo>
                    <a:lnTo>
                      <a:pt x="1027" y="695"/>
                    </a:lnTo>
                    <a:lnTo>
                      <a:pt x="1027" y="695"/>
                    </a:lnTo>
                    <a:lnTo>
                      <a:pt x="1025" y="694"/>
                    </a:lnTo>
                    <a:lnTo>
                      <a:pt x="1025" y="692"/>
                    </a:lnTo>
                    <a:lnTo>
                      <a:pt x="1025" y="689"/>
                    </a:lnTo>
                    <a:lnTo>
                      <a:pt x="1025" y="688"/>
                    </a:lnTo>
                    <a:lnTo>
                      <a:pt x="1025" y="688"/>
                    </a:lnTo>
                    <a:lnTo>
                      <a:pt x="1025" y="686"/>
                    </a:lnTo>
                    <a:lnTo>
                      <a:pt x="1025" y="686"/>
                    </a:lnTo>
                    <a:lnTo>
                      <a:pt x="1023" y="686"/>
                    </a:lnTo>
                    <a:lnTo>
                      <a:pt x="1021" y="685"/>
                    </a:lnTo>
                    <a:lnTo>
                      <a:pt x="1020" y="685"/>
                    </a:lnTo>
                    <a:lnTo>
                      <a:pt x="1018" y="685"/>
                    </a:lnTo>
                    <a:lnTo>
                      <a:pt x="1018" y="683"/>
                    </a:lnTo>
                    <a:lnTo>
                      <a:pt x="1017" y="683"/>
                    </a:lnTo>
                    <a:lnTo>
                      <a:pt x="1017" y="682"/>
                    </a:lnTo>
                    <a:lnTo>
                      <a:pt x="1015" y="681"/>
                    </a:lnTo>
                    <a:lnTo>
                      <a:pt x="1014" y="678"/>
                    </a:lnTo>
                    <a:lnTo>
                      <a:pt x="1012" y="673"/>
                    </a:lnTo>
                    <a:lnTo>
                      <a:pt x="1012" y="672"/>
                    </a:lnTo>
                    <a:lnTo>
                      <a:pt x="1011" y="670"/>
                    </a:lnTo>
                    <a:lnTo>
                      <a:pt x="1010" y="670"/>
                    </a:lnTo>
                    <a:lnTo>
                      <a:pt x="1007" y="669"/>
                    </a:lnTo>
                    <a:lnTo>
                      <a:pt x="1005" y="669"/>
                    </a:lnTo>
                    <a:lnTo>
                      <a:pt x="1004" y="669"/>
                    </a:lnTo>
                    <a:lnTo>
                      <a:pt x="1002" y="669"/>
                    </a:lnTo>
                    <a:lnTo>
                      <a:pt x="1001" y="669"/>
                    </a:lnTo>
                    <a:lnTo>
                      <a:pt x="1001" y="670"/>
                    </a:lnTo>
                    <a:lnTo>
                      <a:pt x="999" y="670"/>
                    </a:lnTo>
                    <a:lnTo>
                      <a:pt x="998" y="672"/>
                    </a:lnTo>
                    <a:lnTo>
                      <a:pt x="995" y="672"/>
                    </a:lnTo>
                    <a:lnTo>
                      <a:pt x="994" y="672"/>
                    </a:lnTo>
                    <a:lnTo>
                      <a:pt x="991" y="672"/>
                    </a:lnTo>
                    <a:lnTo>
                      <a:pt x="989" y="670"/>
                    </a:lnTo>
                    <a:lnTo>
                      <a:pt x="986" y="670"/>
                    </a:lnTo>
                    <a:lnTo>
                      <a:pt x="982" y="669"/>
                    </a:lnTo>
                    <a:lnTo>
                      <a:pt x="982" y="668"/>
                    </a:lnTo>
                    <a:lnTo>
                      <a:pt x="981" y="668"/>
                    </a:lnTo>
                    <a:lnTo>
                      <a:pt x="979" y="666"/>
                    </a:lnTo>
                    <a:lnTo>
                      <a:pt x="978" y="666"/>
                    </a:lnTo>
                    <a:lnTo>
                      <a:pt x="976" y="666"/>
                    </a:lnTo>
                    <a:lnTo>
                      <a:pt x="973" y="666"/>
                    </a:lnTo>
                    <a:lnTo>
                      <a:pt x="972" y="666"/>
                    </a:lnTo>
                    <a:lnTo>
                      <a:pt x="972" y="668"/>
                    </a:lnTo>
                    <a:lnTo>
                      <a:pt x="971" y="668"/>
                    </a:lnTo>
                    <a:lnTo>
                      <a:pt x="969" y="666"/>
                    </a:lnTo>
                    <a:lnTo>
                      <a:pt x="968" y="666"/>
                    </a:lnTo>
                    <a:lnTo>
                      <a:pt x="966" y="666"/>
                    </a:lnTo>
                    <a:lnTo>
                      <a:pt x="966" y="666"/>
                    </a:lnTo>
                    <a:lnTo>
                      <a:pt x="966" y="666"/>
                    </a:lnTo>
                    <a:lnTo>
                      <a:pt x="966" y="668"/>
                    </a:lnTo>
                    <a:lnTo>
                      <a:pt x="966" y="668"/>
                    </a:lnTo>
                    <a:lnTo>
                      <a:pt x="966" y="669"/>
                    </a:lnTo>
                    <a:lnTo>
                      <a:pt x="965" y="669"/>
                    </a:lnTo>
                    <a:lnTo>
                      <a:pt x="965" y="669"/>
                    </a:lnTo>
                    <a:lnTo>
                      <a:pt x="963" y="669"/>
                    </a:lnTo>
                    <a:lnTo>
                      <a:pt x="963" y="668"/>
                    </a:lnTo>
                    <a:lnTo>
                      <a:pt x="962" y="668"/>
                    </a:lnTo>
                    <a:lnTo>
                      <a:pt x="961" y="666"/>
                    </a:lnTo>
                    <a:lnTo>
                      <a:pt x="959" y="666"/>
                    </a:lnTo>
                    <a:lnTo>
                      <a:pt x="961" y="666"/>
                    </a:lnTo>
                    <a:lnTo>
                      <a:pt x="961" y="668"/>
                    </a:lnTo>
                    <a:lnTo>
                      <a:pt x="961" y="669"/>
                    </a:lnTo>
                    <a:lnTo>
                      <a:pt x="961" y="669"/>
                    </a:lnTo>
                    <a:lnTo>
                      <a:pt x="959" y="670"/>
                    </a:lnTo>
                    <a:lnTo>
                      <a:pt x="958" y="670"/>
                    </a:lnTo>
                    <a:lnTo>
                      <a:pt x="956" y="670"/>
                    </a:lnTo>
                    <a:lnTo>
                      <a:pt x="955" y="670"/>
                    </a:lnTo>
                    <a:lnTo>
                      <a:pt x="953" y="670"/>
                    </a:lnTo>
                    <a:lnTo>
                      <a:pt x="953" y="672"/>
                    </a:lnTo>
                    <a:lnTo>
                      <a:pt x="952" y="672"/>
                    </a:lnTo>
                    <a:lnTo>
                      <a:pt x="952" y="672"/>
                    </a:lnTo>
                    <a:lnTo>
                      <a:pt x="950" y="673"/>
                    </a:lnTo>
                    <a:lnTo>
                      <a:pt x="950" y="673"/>
                    </a:lnTo>
                    <a:lnTo>
                      <a:pt x="952" y="673"/>
                    </a:lnTo>
                    <a:lnTo>
                      <a:pt x="952" y="673"/>
                    </a:lnTo>
                    <a:lnTo>
                      <a:pt x="953" y="673"/>
                    </a:lnTo>
                    <a:lnTo>
                      <a:pt x="953" y="673"/>
                    </a:lnTo>
                    <a:lnTo>
                      <a:pt x="952" y="676"/>
                    </a:lnTo>
                    <a:lnTo>
                      <a:pt x="950" y="678"/>
                    </a:lnTo>
                    <a:lnTo>
                      <a:pt x="949" y="679"/>
                    </a:lnTo>
                    <a:lnTo>
                      <a:pt x="946" y="681"/>
                    </a:lnTo>
                    <a:lnTo>
                      <a:pt x="945" y="682"/>
                    </a:lnTo>
                    <a:lnTo>
                      <a:pt x="942" y="682"/>
                    </a:lnTo>
                    <a:lnTo>
                      <a:pt x="939" y="683"/>
                    </a:lnTo>
                    <a:lnTo>
                      <a:pt x="936" y="683"/>
                    </a:lnTo>
                    <a:lnTo>
                      <a:pt x="935" y="683"/>
                    </a:lnTo>
                    <a:lnTo>
                      <a:pt x="932" y="683"/>
                    </a:lnTo>
                    <a:lnTo>
                      <a:pt x="929" y="685"/>
                    </a:lnTo>
                    <a:lnTo>
                      <a:pt x="924" y="685"/>
                    </a:lnTo>
                    <a:lnTo>
                      <a:pt x="922" y="686"/>
                    </a:lnTo>
                    <a:lnTo>
                      <a:pt x="919" y="686"/>
                    </a:lnTo>
                    <a:lnTo>
                      <a:pt x="917" y="686"/>
                    </a:lnTo>
                    <a:lnTo>
                      <a:pt x="916" y="686"/>
                    </a:lnTo>
                    <a:lnTo>
                      <a:pt x="914" y="686"/>
                    </a:lnTo>
                    <a:lnTo>
                      <a:pt x="913" y="686"/>
                    </a:lnTo>
                    <a:lnTo>
                      <a:pt x="909" y="686"/>
                    </a:lnTo>
                    <a:lnTo>
                      <a:pt x="903" y="688"/>
                    </a:lnTo>
                    <a:lnTo>
                      <a:pt x="900" y="688"/>
                    </a:lnTo>
                    <a:lnTo>
                      <a:pt x="898" y="688"/>
                    </a:lnTo>
                    <a:lnTo>
                      <a:pt x="897" y="689"/>
                    </a:lnTo>
                    <a:lnTo>
                      <a:pt x="894" y="689"/>
                    </a:lnTo>
                    <a:lnTo>
                      <a:pt x="893" y="691"/>
                    </a:lnTo>
                    <a:lnTo>
                      <a:pt x="891" y="691"/>
                    </a:lnTo>
                    <a:lnTo>
                      <a:pt x="891" y="692"/>
                    </a:lnTo>
                    <a:lnTo>
                      <a:pt x="891" y="694"/>
                    </a:lnTo>
                    <a:lnTo>
                      <a:pt x="891" y="695"/>
                    </a:lnTo>
                    <a:lnTo>
                      <a:pt x="891" y="695"/>
                    </a:lnTo>
                    <a:lnTo>
                      <a:pt x="891" y="696"/>
                    </a:lnTo>
                    <a:lnTo>
                      <a:pt x="890" y="696"/>
                    </a:lnTo>
                    <a:lnTo>
                      <a:pt x="890" y="698"/>
                    </a:lnTo>
                    <a:lnTo>
                      <a:pt x="890" y="698"/>
                    </a:lnTo>
                    <a:lnTo>
                      <a:pt x="888" y="698"/>
                    </a:lnTo>
                    <a:lnTo>
                      <a:pt x="888" y="698"/>
                    </a:lnTo>
                    <a:lnTo>
                      <a:pt x="887" y="696"/>
                    </a:lnTo>
                    <a:lnTo>
                      <a:pt x="886" y="696"/>
                    </a:lnTo>
                    <a:lnTo>
                      <a:pt x="884" y="696"/>
                    </a:lnTo>
                    <a:lnTo>
                      <a:pt x="884" y="696"/>
                    </a:lnTo>
                    <a:lnTo>
                      <a:pt x="881" y="696"/>
                    </a:lnTo>
                    <a:lnTo>
                      <a:pt x="880" y="696"/>
                    </a:lnTo>
                    <a:lnTo>
                      <a:pt x="880" y="698"/>
                    </a:lnTo>
                    <a:lnTo>
                      <a:pt x="878" y="696"/>
                    </a:lnTo>
                    <a:lnTo>
                      <a:pt x="877" y="696"/>
                    </a:lnTo>
                    <a:lnTo>
                      <a:pt x="877" y="696"/>
                    </a:lnTo>
                    <a:lnTo>
                      <a:pt x="875" y="696"/>
                    </a:lnTo>
                    <a:lnTo>
                      <a:pt x="873" y="696"/>
                    </a:lnTo>
                    <a:lnTo>
                      <a:pt x="871" y="696"/>
                    </a:lnTo>
                    <a:lnTo>
                      <a:pt x="871" y="698"/>
                    </a:lnTo>
                    <a:lnTo>
                      <a:pt x="870" y="698"/>
                    </a:lnTo>
                    <a:lnTo>
                      <a:pt x="868" y="698"/>
                    </a:lnTo>
                    <a:lnTo>
                      <a:pt x="868" y="698"/>
                    </a:lnTo>
                    <a:lnTo>
                      <a:pt x="867" y="698"/>
                    </a:lnTo>
                    <a:lnTo>
                      <a:pt x="865" y="698"/>
                    </a:lnTo>
                    <a:lnTo>
                      <a:pt x="865" y="698"/>
                    </a:lnTo>
                    <a:lnTo>
                      <a:pt x="865" y="698"/>
                    </a:lnTo>
                    <a:lnTo>
                      <a:pt x="865" y="699"/>
                    </a:lnTo>
                    <a:lnTo>
                      <a:pt x="865" y="701"/>
                    </a:lnTo>
                    <a:lnTo>
                      <a:pt x="864" y="701"/>
                    </a:lnTo>
                    <a:lnTo>
                      <a:pt x="862" y="699"/>
                    </a:lnTo>
                    <a:lnTo>
                      <a:pt x="862" y="699"/>
                    </a:lnTo>
                    <a:lnTo>
                      <a:pt x="861" y="699"/>
                    </a:lnTo>
                    <a:lnTo>
                      <a:pt x="858" y="699"/>
                    </a:lnTo>
                    <a:lnTo>
                      <a:pt x="855" y="699"/>
                    </a:lnTo>
                    <a:lnTo>
                      <a:pt x="852" y="699"/>
                    </a:lnTo>
                    <a:lnTo>
                      <a:pt x="851" y="699"/>
                    </a:lnTo>
                    <a:lnTo>
                      <a:pt x="849" y="701"/>
                    </a:lnTo>
                    <a:lnTo>
                      <a:pt x="849" y="701"/>
                    </a:lnTo>
                    <a:lnTo>
                      <a:pt x="848" y="701"/>
                    </a:lnTo>
                    <a:lnTo>
                      <a:pt x="848" y="702"/>
                    </a:lnTo>
                    <a:lnTo>
                      <a:pt x="848" y="704"/>
                    </a:lnTo>
                    <a:lnTo>
                      <a:pt x="848" y="704"/>
                    </a:lnTo>
                    <a:lnTo>
                      <a:pt x="847" y="704"/>
                    </a:lnTo>
                    <a:lnTo>
                      <a:pt x="847" y="705"/>
                    </a:lnTo>
                    <a:lnTo>
                      <a:pt x="845" y="705"/>
                    </a:lnTo>
                    <a:lnTo>
                      <a:pt x="844" y="705"/>
                    </a:lnTo>
                    <a:lnTo>
                      <a:pt x="841" y="704"/>
                    </a:lnTo>
                    <a:lnTo>
                      <a:pt x="839" y="704"/>
                    </a:lnTo>
                    <a:lnTo>
                      <a:pt x="838" y="704"/>
                    </a:lnTo>
                    <a:lnTo>
                      <a:pt x="836" y="705"/>
                    </a:lnTo>
                    <a:lnTo>
                      <a:pt x="836" y="705"/>
                    </a:lnTo>
                    <a:lnTo>
                      <a:pt x="836" y="705"/>
                    </a:lnTo>
                    <a:lnTo>
                      <a:pt x="836" y="706"/>
                    </a:lnTo>
                    <a:lnTo>
                      <a:pt x="836" y="708"/>
                    </a:lnTo>
                    <a:lnTo>
                      <a:pt x="835" y="708"/>
                    </a:lnTo>
                    <a:lnTo>
                      <a:pt x="834" y="708"/>
                    </a:lnTo>
                    <a:lnTo>
                      <a:pt x="832" y="706"/>
                    </a:lnTo>
                    <a:lnTo>
                      <a:pt x="829" y="706"/>
                    </a:lnTo>
                    <a:lnTo>
                      <a:pt x="828" y="705"/>
                    </a:lnTo>
                    <a:lnTo>
                      <a:pt x="828" y="705"/>
                    </a:lnTo>
                    <a:lnTo>
                      <a:pt x="826" y="705"/>
                    </a:lnTo>
                    <a:lnTo>
                      <a:pt x="826" y="706"/>
                    </a:lnTo>
                    <a:lnTo>
                      <a:pt x="823" y="706"/>
                    </a:lnTo>
                    <a:lnTo>
                      <a:pt x="822" y="708"/>
                    </a:lnTo>
                    <a:lnTo>
                      <a:pt x="821" y="708"/>
                    </a:lnTo>
                    <a:lnTo>
                      <a:pt x="819" y="708"/>
                    </a:lnTo>
                    <a:lnTo>
                      <a:pt x="818" y="708"/>
                    </a:lnTo>
                    <a:lnTo>
                      <a:pt x="818" y="708"/>
                    </a:lnTo>
                    <a:lnTo>
                      <a:pt x="816" y="708"/>
                    </a:lnTo>
                    <a:lnTo>
                      <a:pt x="815" y="708"/>
                    </a:lnTo>
                    <a:lnTo>
                      <a:pt x="812" y="706"/>
                    </a:lnTo>
                    <a:lnTo>
                      <a:pt x="811" y="706"/>
                    </a:lnTo>
                    <a:lnTo>
                      <a:pt x="808" y="705"/>
                    </a:lnTo>
                    <a:lnTo>
                      <a:pt x="806" y="705"/>
                    </a:lnTo>
                    <a:lnTo>
                      <a:pt x="806" y="706"/>
                    </a:lnTo>
                    <a:lnTo>
                      <a:pt x="805" y="706"/>
                    </a:lnTo>
                    <a:lnTo>
                      <a:pt x="805" y="706"/>
                    </a:lnTo>
                    <a:lnTo>
                      <a:pt x="805" y="708"/>
                    </a:lnTo>
                    <a:lnTo>
                      <a:pt x="805" y="708"/>
                    </a:lnTo>
                    <a:lnTo>
                      <a:pt x="803" y="708"/>
                    </a:lnTo>
                    <a:lnTo>
                      <a:pt x="803" y="708"/>
                    </a:lnTo>
                    <a:lnTo>
                      <a:pt x="802" y="708"/>
                    </a:lnTo>
                    <a:lnTo>
                      <a:pt x="800" y="708"/>
                    </a:lnTo>
                    <a:lnTo>
                      <a:pt x="800" y="708"/>
                    </a:lnTo>
                    <a:lnTo>
                      <a:pt x="799" y="708"/>
                    </a:lnTo>
                    <a:lnTo>
                      <a:pt x="800" y="709"/>
                    </a:lnTo>
                    <a:lnTo>
                      <a:pt x="802" y="711"/>
                    </a:lnTo>
                    <a:lnTo>
                      <a:pt x="803" y="712"/>
                    </a:lnTo>
                    <a:lnTo>
                      <a:pt x="803" y="714"/>
                    </a:lnTo>
                    <a:lnTo>
                      <a:pt x="803" y="715"/>
                    </a:lnTo>
                    <a:lnTo>
                      <a:pt x="803" y="715"/>
                    </a:lnTo>
                    <a:lnTo>
                      <a:pt x="803" y="717"/>
                    </a:lnTo>
                    <a:lnTo>
                      <a:pt x="802" y="717"/>
                    </a:lnTo>
                    <a:lnTo>
                      <a:pt x="802" y="717"/>
                    </a:lnTo>
                    <a:lnTo>
                      <a:pt x="800" y="717"/>
                    </a:lnTo>
                    <a:lnTo>
                      <a:pt x="799" y="717"/>
                    </a:lnTo>
                    <a:lnTo>
                      <a:pt x="800" y="718"/>
                    </a:lnTo>
                    <a:lnTo>
                      <a:pt x="802" y="718"/>
                    </a:lnTo>
                    <a:lnTo>
                      <a:pt x="805" y="719"/>
                    </a:lnTo>
                    <a:lnTo>
                      <a:pt x="808" y="719"/>
                    </a:lnTo>
                    <a:lnTo>
                      <a:pt x="809" y="719"/>
                    </a:lnTo>
                    <a:lnTo>
                      <a:pt x="811" y="721"/>
                    </a:lnTo>
                    <a:lnTo>
                      <a:pt x="811" y="719"/>
                    </a:lnTo>
                    <a:lnTo>
                      <a:pt x="812" y="719"/>
                    </a:lnTo>
                    <a:lnTo>
                      <a:pt x="813" y="719"/>
                    </a:lnTo>
                    <a:lnTo>
                      <a:pt x="813" y="719"/>
                    </a:lnTo>
                    <a:lnTo>
                      <a:pt x="815" y="719"/>
                    </a:lnTo>
                    <a:lnTo>
                      <a:pt x="815" y="719"/>
                    </a:lnTo>
                    <a:lnTo>
                      <a:pt x="816" y="721"/>
                    </a:lnTo>
                    <a:lnTo>
                      <a:pt x="815" y="721"/>
                    </a:lnTo>
                    <a:lnTo>
                      <a:pt x="815" y="721"/>
                    </a:lnTo>
                    <a:lnTo>
                      <a:pt x="813" y="722"/>
                    </a:lnTo>
                    <a:lnTo>
                      <a:pt x="812" y="722"/>
                    </a:lnTo>
                    <a:lnTo>
                      <a:pt x="811" y="724"/>
                    </a:lnTo>
                    <a:lnTo>
                      <a:pt x="809" y="725"/>
                    </a:lnTo>
                    <a:lnTo>
                      <a:pt x="809" y="725"/>
                    </a:lnTo>
                    <a:lnTo>
                      <a:pt x="808" y="725"/>
                    </a:lnTo>
                    <a:lnTo>
                      <a:pt x="808" y="727"/>
                    </a:lnTo>
                    <a:lnTo>
                      <a:pt x="808" y="727"/>
                    </a:lnTo>
                    <a:lnTo>
                      <a:pt x="809" y="727"/>
                    </a:lnTo>
                    <a:lnTo>
                      <a:pt x="809" y="728"/>
                    </a:lnTo>
                    <a:lnTo>
                      <a:pt x="811" y="728"/>
                    </a:lnTo>
                    <a:lnTo>
                      <a:pt x="813" y="728"/>
                    </a:lnTo>
                    <a:lnTo>
                      <a:pt x="816" y="728"/>
                    </a:lnTo>
                    <a:lnTo>
                      <a:pt x="819" y="728"/>
                    </a:lnTo>
                    <a:lnTo>
                      <a:pt x="822" y="730"/>
                    </a:lnTo>
                    <a:lnTo>
                      <a:pt x="823" y="730"/>
                    </a:lnTo>
                    <a:lnTo>
                      <a:pt x="826" y="730"/>
                    </a:lnTo>
                    <a:lnTo>
                      <a:pt x="828" y="731"/>
                    </a:lnTo>
                    <a:lnTo>
                      <a:pt x="831" y="731"/>
                    </a:lnTo>
                    <a:lnTo>
                      <a:pt x="832" y="732"/>
                    </a:lnTo>
                    <a:lnTo>
                      <a:pt x="832" y="734"/>
                    </a:lnTo>
                    <a:lnTo>
                      <a:pt x="834" y="734"/>
                    </a:lnTo>
                    <a:lnTo>
                      <a:pt x="834" y="735"/>
                    </a:lnTo>
                    <a:lnTo>
                      <a:pt x="834" y="735"/>
                    </a:lnTo>
                    <a:lnTo>
                      <a:pt x="832" y="735"/>
                    </a:lnTo>
                    <a:lnTo>
                      <a:pt x="832" y="737"/>
                    </a:lnTo>
                    <a:lnTo>
                      <a:pt x="831" y="737"/>
                    </a:lnTo>
                    <a:lnTo>
                      <a:pt x="829" y="737"/>
                    </a:lnTo>
                    <a:lnTo>
                      <a:pt x="828" y="737"/>
                    </a:lnTo>
                    <a:lnTo>
                      <a:pt x="826" y="737"/>
                    </a:lnTo>
                    <a:lnTo>
                      <a:pt x="826" y="737"/>
                    </a:lnTo>
                    <a:lnTo>
                      <a:pt x="825" y="737"/>
                    </a:lnTo>
                    <a:lnTo>
                      <a:pt x="823" y="737"/>
                    </a:lnTo>
                    <a:lnTo>
                      <a:pt x="821" y="737"/>
                    </a:lnTo>
                    <a:lnTo>
                      <a:pt x="819" y="737"/>
                    </a:lnTo>
                    <a:lnTo>
                      <a:pt x="818" y="737"/>
                    </a:lnTo>
                    <a:lnTo>
                      <a:pt x="818" y="735"/>
                    </a:lnTo>
                    <a:lnTo>
                      <a:pt x="816" y="734"/>
                    </a:lnTo>
                    <a:lnTo>
                      <a:pt x="815" y="734"/>
                    </a:lnTo>
                    <a:lnTo>
                      <a:pt x="813" y="735"/>
                    </a:lnTo>
                    <a:lnTo>
                      <a:pt x="812" y="735"/>
                    </a:lnTo>
                    <a:lnTo>
                      <a:pt x="811" y="737"/>
                    </a:lnTo>
                    <a:lnTo>
                      <a:pt x="809" y="737"/>
                    </a:lnTo>
                    <a:lnTo>
                      <a:pt x="808" y="737"/>
                    </a:lnTo>
                    <a:lnTo>
                      <a:pt x="809" y="738"/>
                    </a:lnTo>
                    <a:lnTo>
                      <a:pt x="809" y="738"/>
                    </a:lnTo>
                    <a:lnTo>
                      <a:pt x="809" y="738"/>
                    </a:lnTo>
                    <a:lnTo>
                      <a:pt x="808" y="740"/>
                    </a:lnTo>
                    <a:lnTo>
                      <a:pt x="808" y="741"/>
                    </a:lnTo>
                    <a:lnTo>
                      <a:pt x="806" y="741"/>
                    </a:lnTo>
                    <a:lnTo>
                      <a:pt x="806" y="743"/>
                    </a:lnTo>
                    <a:lnTo>
                      <a:pt x="805" y="743"/>
                    </a:lnTo>
                    <a:lnTo>
                      <a:pt x="805" y="743"/>
                    </a:lnTo>
                    <a:lnTo>
                      <a:pt x="805" y="744"/>
                    </a:lnTo>
                    <a:lnTo>
                      <a:pt x="805" y="744"/>
                    </a:lnTo>
                    <a:lnTo>
                      <a:pt x="806" y="745"/>
                    </a:lnTo>
                    <a:lnTo>
                      <a:pt x="808" y="748"/>
                    </a:lnTo>
                    <a:lnTo>
                      <a:pt x="809" y="750"/>
                    </a:lnTo>
                    <a:lnTo>
                      <a:pt x="811" y="751"/>
                    </a:lnTo>
                    <a:lnTo>
                      <a:pt x="813" y="753"/>
                    </a:lnTo>
                    <a:lnTo>
                      <a:pt x="815" y="754"/>
                    </a:lnTo>
                    <a:lnTo>
                      <a:pt x="815" y="754"/>
                    </a:lnTo>
                    <a:lnTo>
                      <a:pt x="816" y="754"/>
                    </a:lnTo>
                    <a:lnTo>
                      <a:pt x="815" y="756"/>
                    </a:lnTo>
                    <a:lnTo>
                      <a:pt x="815" y="756"/>
                    </a:lnTo>
                    <a:lnTo>
                      <a:pt x="813" y="757"/>
                    </a:lnTo>
                    <a:lnTo>
                      <a:pt x="812" y="758"/>
                    </a:lnTo>
                    <a:lnTo>
                      <a:pt x="811" y="758"/>
                    </a:lnTo>
                    <a:lnTo>
                      <a:pt x="811" y="760"/>
                    </a:lnTo>
                    <a:lnTo>
                      <a:pt x="811" y="760"/>
                    </a:lnTo>
                    <a:lnTo>
                      <a:pt x="809" y="760"/>
                    </a:lnTo>
                    <a:lnTo>
                      <a:pt x="808" y="760"/>
                    </a:lnTo>
                    <a:lnTo>
                      <a:pt x="806" y="760"/>
                    </a:lnTo>
                    <a:lnTo>
                      <a:pt x="806" y="760"/>
                    </a:lnTo>
                    <a:lnTo>
                      <a:pt x="805" y="760"/>
                    </a:lnTo>
                    <a:lnTo>
                      <a:pt x="805" y="760"/>
                    </a:lnTo>
                    <a:lnTo>
                      <a:pt x="803" y="761"/>
                    </a:lnTo>
                    <a:lnTo>
                      <a:pt x="802" y="761"/>
                    </a:lnTo>
                    <a:lnTo>
                      <a:pt x="800" y="761"/>
                    </a:lnTo>
                    <a:lnTo>
                      <a:pt x="800" y="763"/>
                    </a:lnTo>
                    <a:lnTo>
                      <a:pt x="799" y="763"/>
                    </a:lnTo>
                    <a:lnTo>
                      <a:pt x="798" y="764"/>
                    </a:lnTo>
                    <a:lnTo>
                      <a:pt x="795" y="764"/>
                    </a:lnTo>
                    <a:lnTo>
                      <a:pt x="793" y="766"/>
                    </a:lnTo>
                    <a:lnTo>
                      <a:pt x="793" y="767"/>
                    </a:lnTo>
                    <a:lnTo>
                      <a:pt x="793" y="767"/>
                    </a:lnTo>
                    <a:lnTo>
                      <a:pt x="795" y="768"/>
                    </a:lnTo>
                    <a:lnTo>
                      <a:pt x="795" y="768"/>
                    </a:lnTo>
                    <a:lnTo>
                      <a:pt x="796" y="770"/>
                    </a:lnTo>
                    <a:lnTo>
                      <a:pt x="799" y="770"/>
                    </a:lnTo>
                    <a:lnTo>
                      <a:pt x="802" y="770"/>
                    </a:lnTo>
                    <a:lnTo>
                      <a:pt x="803" y="770"/>
                    </a:lnTo>
                    <a:lnTo>
                      <a:pt x="803" y="770"/>
                    </a:lnTo>
                    <a:lnTo>
                      <a:pt x="805" y="771"/>
                    </a:lnTo>
                    <a:lnTo>
                      <a:pt x="805" y="771"/>
                    </a:lnTo>
                    <a:lnTo>
                      <a:pt x="805" y="771"/>
                    </a:lnTo>
                    <a:lnTo>
                      <a:pt x="806" y="771"/>
                    </a:lnTo>
                    <a:lnTo>
                      <a:pt x="808" y="773"/>
                    </a:lnTo>
                    <a:lnTo>
                      <a:pt x="809" y="774"/>
                    </a:lnTo>
                    <a:lnTo>
                      <a:pt x="811" y="774"/>
                    </a:lnTo>
                    <a:lnTo>
                      <a:pt x="812" y="776"/>
                    </a:lnTo>
                    <a:lnTo>
                      <a:pt x="812" y="776"/>
                    </a:lnTo>
                    <a:lnTo>
                      <a:pt x="813" y="776"/>
                    </a:lnTo>
                    <a:lnTo>
                      <a:pt x="815" y="776"/>
                    </a:lnTo>
                    <a:lnTo>
                      <a:pt x="816" y="777"/>
                    </a:lnTo>
                    <a:lnTo>
                      <a:pt x="818" y="777"/>
                    </a:lnTo>
                    <a:lnTo>
                      <a:pt x="819" y="777"/>
                    </a:lnTo>
                    <a:lnTo>
                      <a:pt x="821" y="779"/>
                    </a:lnTo>
                    <a:lnTo>
                      <a:pt x="822" y="779"/>
                    </a:lnTo>
                    <a:lnTo>
                      <a:pt x="823" y="779"/>
                    </a:lnTo>
                    <a:lnTo>
                      <a:pt x="825" y="780"/>
                    </a:lnTo>
                    <a:lnTo>
                      <a:pt x="826" y="780"/>
                    </a:lnTo>
                    <a:lnTo>
                      <a:pt x="828" y="780"/>
                    </a:lnTo>
                    <a:lnTo>
                      <a:pt x="829" y="781"/>
                    </a:lnTo>
                    <a:lnTo>
                      <a:pt x="831" y="783"/>
                    </a:lnTo>
                    <a:lnTo>
                      <a:pt x="832" y="783"/>
                    </a:lnTo>
                    <a:lnTo>
                      <a:pt x="834" y="784"/>
                    </a:lnTo>
                    <a:lnTo>
                      <a:pt x="835" y="784"/>
                    </a:lnTo>
                    <a:lnTo>
                      <a:pt x="835" y="786"/>
                    </a:lnTo>
                    <a:lnTo>
                      <a:pt x="838" y="786"/>
                    </a:lnTo>
                    <a:lnTo>
                      <a:pt x="839" y="786"/>
                    </a:lnTo>
                    <a:lnTo>
                      <a:pt x="838" y="787"/>
                    </a:lnTo>
                    <a:lnTo>
                      <a:pt x="838" y="787"/>
                    </a:lnTo>
                    <a:lnTo>
                      <a:pt x="836" y="787"/>
                    </a:lnTo>
                    <a:lnTo>
                      <a:pt x="836" y="789"/>
                    </a:lnTo>
                    <a:lnTo>
                      <a:pt x="836" y="790"/>
                    </a:lnTo>
                    <a:lnTo>
                      <a:pt x="836" y="792"/>
                    </a:lnTo>
                    <a:lnTo>
                      <a:pt x="838" y="793"/>
                    </a:lnTo>
                    <a:lnTo>
                      <a:pt x="838" y="794"/>
                    </a:lnTo>
                    <a:lnTo>
                      <a:pt x="839" y="796"/>
                    </a:lnTo>
                    <a:lnTo>
                      <a:pt x="839" y="797"/>
                    </a:lnTo>
                    <a:lnTo>
                      <a:pt x="839" y="799"/>
                    </a:lnTo>
                    <a:lnTo>
                      <a:pt x="838" y="799"/>
                    </a:lnTo>
                    <a:lnTo>
                      <a:pt x="838" y="800"/>
                    </a:lnTo>
                    <a:lnTo>
                      <a:pt x="836" y="802"/>
                    </a:lnTo>
                    <a:lnTo>
                      <a:pt x="835" y="802"/>
                    </a:lnTo>
                    <a:lnTo>
                      <a:pt x="834" y="803"/>
                    </a:lnTo>
                    <a:lnTo>
                      <a:pt x="829" y="805"/>
                    </a:lnTo>
                    <a:lnTo>
                      <a:pt x="826" y="805"/>
                    </a:lnTo>
                    <a:lnTo>
                      <a:pt x="823" y="806"/>
                    </a:lnTo>
                    <a:lnTo>
                      <a:pt x="822" y="806"/>
                    </a:lnTo>
                    <a:lnTo>
                      <a:pt x="821" y="806"/>
                    </a:lnTo>
                    <a:lnTo>
                      <a:pt x="819" y="806"/>
                    </a:lnTo>
                    <a:lnTo>
                      <a:pt x="819" y="806"/>
                    </a:lnTo>
                    <a:lnTo>
                      <a:pt x="816" y="806"/>
                    </a:lnTo>
                    <a:lnTo>
                      <a:pt x="815" y="806"/>
                    </a:lnTo>
                    <a:lnTo>
                      <a:pt x="813" y="806"/>
                    </a:lnTo>
                    <a:lnTo>
                      <a:pt x="812" y="805"/>
                    </a:lnTo>
                    <a:lnTo>
                      <a:pt x="812" y="805"/>
                    </a:lnTo>
                    <a:lnTo>
                      <a:pt x="811" y="803"/>
                    </a:lnTo>
                    <a:lnTo>
                      <a:pt x="811" y="803"/>
                    </a:lnTo>
                    <a:lnTo>
                      <a:pt x="811" y="802"/>
                    </a:lnTo>
                    <a:lnTo>
                      <a:pt x="809" y="802"/>
                    </a:lnTo>
                    <a:lnTo>
                      <a:pt x="809" y="800"/>
                    </a:lnTo>
                    <a:lnTo>
                      <a:pt x="808" y="800"/>
                    </a:lnTo>
                    <a:lnTo>
                      <a:pt x="808" y="799"/>
                    </a:lnTo>
                    <a:lnTo>
                      <a:pt x="806" y="799"/>
                    </a:lnTo>
                    <a:lnTo>
                      <a:pt x="806" y="800"/>
                    </a:lnTo>
                    <a:lnTo>
                      <a:pt x="805" y="800"/>
                    </a:lnTo>
                    <a:lnTo>
                      <a:pt x="803" y="800"/>
                    </a:lnTo>
                    <a:lnTo>
                      <a:pt x="803" y="800"/>
                    </a:lnTo>
                    <a:lnTo>
                      <a:pt x="803" y="802"/>
                    </a:lnTo>
                    <a:lnTo>
                      <a:pt x="802" y="802"/>
                    </a:lnTo>
                    <a:lnTo>
                      <a:pt x="802" y="805"/>
                    </a:lnTo>
                    <a:lnTo>
                      <a:pt x="802" y="806"/>
                    </a:lnTo>
                    <a:lnTo>
                      <a:pt x="802" y="806"/>
                    </a:lnTo>
                    <a:lnTo>
                      <a:pt x="802" y="807"/>
                    </a:lnTo>
                    <a:lnTo>
                      <a:pt x="800" y="807"/>
                    </a:lnTo>
                    <a:lnTo>
                      <a:pt x="800" y="807"/>
                    </a:lnTo>
                    <a:lnTo>
                      <a:pt x="798" y="809"/>
                    </a:lnTo>
                    <a:lnTo>
                      <a:pt x="796" y="809"/>
                    </a:lnTo>
                    <a:lnTo>
                      <a:pt x="796" y="807"/>
                    </a:lnTo>
                    <a:lnTo>
                      <a:pt x="795" y="806"/>
                    </a:lnTo>
                    <a:lnTo>
                      <a:pt x="793" y="806"/>
                    </a:lnTo>
                    <a:lnTo>
                      <a:pt x="792" y="806"/>
                    </a:lnTo>
                    <a:lnTo>
                      <a:pt x="790" y="806"/>
                    </a:lnTo>
                    <a:lnTo>
                      <a:pt x="787" y="805"/>
                    </a:lnTo>
                    <a:lnTo>
                      <a:pt x="786" y="805"/>
                    </a:lnTo>
                    <a:lnTo>
                      <a:pt x="785" y="803"/>
                    </a:lnTo>
                    <a:lnTo>
                      <a:pt x="780" y="803"/>
                    </a:lnTo>
                    <a:lnTo>
                      <a:pt x="779" y="803"/>
                    </a:lnTo>
                    <a:lnTo>
                      <a:pt x="776" y="803"/>
                    </a:lnTo>
                    <a:lnTo>
                      <a:pt x="774" y="802"/>
                    </a:lnTo>
                    <a:lnTo>
                      <a:pt x="773" y="800"/>
                    </a:lnTo>
                    <a:lnTo>
                      <a:pt x="772" y="799"/>
                    </a:lnTo>
                    <a:lnTo>
                      <a:pt x="770" y="797"/>
                    </a:lnTo>
                    <a:lnTo>
                      <a:pt x="770" y="796"/>
                    </a:lnTo>
                    <a:lnTo>
                      <a:pt x="769" y="794"/>
                    </a:lnTo>
                    <a:lnTo>
                      <a:pt x="767" y="793"/>
                    </a:lnTo>
                    <a:lnTo>
                      <a:pt x="766" y="792"/>
                    </a:lnTo>
                    <a:lnTo>
                      <a:pt x="764" y="792"/>
                    </a:lnTo>
                    <a:lnTo>
                      <a:pt x="763" y="790"/>
                    </a:lnTo>
                    <a:lnTo>
                      <a:pt x="760" y="790"/>
                    </a:lnTo>
                    <a:lnTo>
                      <a:pt x="760" y="790"/>
                    </a:lnTo>
                    <a:lnTo>
                      <a:pt x="759" y="792"/>
                    </a:lnTo>
                    <a:lnTo>
                      <a:pt x="759" y="792"/>
                    </a:lnTo>
                    <a:lnTo>
                      <a:pt x="757" y="793"/>
                    </a:lnTo>
                    <a:lnTo>
                      <a:pt x="756" y="793"/>
                    </a:lnTo>
                    <a:lnTo>
                      <a:pt x="756" y="793"/>
                    </a:lnTo>
                    <a:lnTo>
                      <a:pt x="754" y="793"/>
                    </a:lnTo>
                    <a:lnTo>
                      <a:pt x="753" y="792"/>
                    </a:lnTo>
                    <a:lnTo>
                      <a:pt x="751" y="792"/>
                    </a:lnTo>
                    <a:lnTo>
                      <a:pt x="751" y="792"/>
                    </a:lnTo>
                    <a:lnTo>
                      <a:pt x="751" y="793"/>
                    </a:lnTo>
                    <a:lnTo>
                      <a:pt x="750" y="794"/>
                    </a:lnTo>
                    <a:lnTo>
                      <a:pt x="750" y="796"/>
                    </a:lnTo>
                    <a:lnTo>
                      <a:pt x="750" y="797"/>
                    </a:lnTo>
                    <a:lnTo>
                      <a:pt x="750" y="797"/>
                    </a:lnTo>
                    <a:lnTo>
                      <a:pt x="748" y="797"/>
                    </a:lnTo>
                    <a:lnTo>
                      <a:pt x="747" y="799"/>
                    </a:lnTo>
                    <a:lnTo>
                      <a:pt x="747" y="799"/>
                    </a:lnTo>
                    <a:lnTo>
                      <a:pt x="746" y="799"/>
                    </a:lnTo>
                    <a:lnTo>
                      <a:pt x="746" y="797"/>
                    </a:lnTo>
                    <a:lnTo>
                      <a:pt x="744" y="797"/>
                    </a:lnTo>
                    <a:lnTo>
                      <a:pt x="743" y="797"/>
                    </a:lnTo>
                    <a:lnTo>
                      <a:pt x="741" y="797"/>
                    </a:lnTo>
                    <a:lnTo>
                      <a:pt x="740" y="796"/>
                    </a:lnTo>
                    <a:lnTo>
                      <a:pt x="738" y="794"/>
                    </a:lnTo>
                    <a:lnTo>
                      <a:pt x="737" y="794"/>
                    </a:lnTo>
                    <a:lnTo>
                      <a:pt x="737" y="794"/>
                    </a:lnTo>
                    <a:lnTo>
                      <a:pt x="736" y="794"/>
                    </a:lnTo>
                    <a:lnTo>
                      <a:pt x="736" y="793"/>
                    </a:lnTo>
                    <a:lnTo>
                      <a:pt x="736" y="793"/>
                    </a:lnTo>
                    <a:lnTo>
                      <a:pt x="734" y="793"/>
                    </a:lnTo>
                    <a:lnTo>
                      <a:pt x="733" y="792"/>
                    </a:lnTo>
                    <a:lnTo>
                      <a:pt x="730" y="792"/>
                    </a:lnTo>
                    <a:lnTo>
                      <a:pt x="728" y="792"/>
                    </a:lnTo>
                    <a:lnTo>
                      <a:pt x="725" y="793"/>
                    </a:lnTo>
                    <a:lnTo>
                      <a:pt x="725" y="793"/>
                    </a:lnTo>
                    <a:lnTo>
                      <a:pt x="725" y="793"/>
                    </a:lnTo>
                    <a:lnTo>
                      <a:pt x="724" y="793"/>
                    </a:lnTo>
                    <a:lnTo>
                      <a:pt x="724" y="794"/>
                    </a:lnTo>
                    <a:lnTo>
                      <a:pt x="724" y="794"/>
                    </a:lnTo>
                    <a:lnTo>
                      <a:pt x="723" y="794"/>
                    </a:lnTo>
                    <a:lnTo>
                      <a:pt x="723" y="794"/>
                    </a:lnTo>
                    <a:lnTo>
                      <a:pt x="721" y="794"/>
                    </a:lnTo>
                    <a:lnTo>
                      <a:pt x="720" y="794"/>
                    </a:lnTo>
                    <a:lnTo>
                      <a:pt x="720" y="794"/>
                    </a:lnTo>
                    <a:lnTo>
                      <a:pt x="718" y="796"/>
                    </a:lnTo>
                    <a:lnTo>
                      <a:pt x="718" y="796"/>
                    </a:lnTo>
                    <a:lnTo>
                      <a:pt x="717" y="797"/>
                    </a:lnTo>
                    <a:lnTo>
                      <a:pt x="715" y="797"/>
                    </a:lnTo>
                    <a:lnTo>
                      <a:pt x="715" y="799"/>
                    </a:lnTo>
                    <a:lnTo>
                      <a:pt x="714" y="800"/>
                    </a:lnTo>
                    <a:lnTo>
                      <a:pt x="714" y="802"/>
                    </a:lnTo>
                    <a:lnTo>
                      <a:pt x="712" y="803"/>
                    </a:lnTo>
                    <a:lnTo>
                      <a:pt x="712" y="805"/>
                    </a:lnTo>
                    <a:lnTo>
                      <a:pt x="711" y="806"/>
                    </a:lnTo>
                    <a:lnTo>
                      <a:pt x="708" y="807"/>
                    </a:lnTo>
                    <a:lnTo>
                      <a:pt x="707" y="807"/>
                    </a:lnTo>
                    <a:lnTo>
                      <a:pt x="707" y="807"/>
                    </a:lnTo>
                    <a:lnTo>
                      <a:pt x="705" y="807"/>
                    </a:lnTo>
                    <a:lnTo>
                      <a:pt x="702" y="806"/>
                    </a:lnTo>
                    <a:lnTo>
                      <a:pt x="702" y="806"/>
                    </a:lnTo>
                    <a:lnTo>
                      <a:pt x="701" y="805"/>
                    </a:lnTo>
                    <a:lnTo>
                      <a:pt x="699" y="805"/>
                    </a:lnTo>
                    <a:lnTo>
                      <a:pt x="697" y="803"/>
                    </a:lnTo>
                    <a:lnTo>
                      <a:pt x="692" y="802"/>
                    </a:lnTo>
                    <a:lnTo>
                      <a:pt x="691" y="802"/>
                    </a:lnTo>
                    <a:lnTo>
                      <a:pt x="689" y="800"/>
                    </a:lnTo>
                    <a:lnTo>
                      <a:pt x="688" y="799"/>
                    </a:lnTo>
                    <a:lnTo>
                      <a:pt x="686" y="797"/>
                    </a:lnTo>
                    <a:lnTo>
                      <a:pt x="684" y="796"/>
                    </a:lnTo>
                    <a:lnTo>
                      <a:pt x="682" y="794"/>
                    </a:lnTo>
                    <a:lnTo>
                      <a:pt x="681" y="794"/>
                    </a:lnTo>
                    <a:lnTo>
                      <a:pt x="678" y="793"/>
                    </a:lnTo>
                    <a:lnTo>
                      <a:pt x="676" y="793"/>
                    </a:lnTo>
                    <a:lnTo>
                      <a:pt x="676" y="794"/>
                    </a:lnTo>
                    <a:lnTo>
                      <a:pt x="676" y="796"/>
                    </a:lnTo>
                    <a:lnTo>
                      <a:pt x="676" y="796"/>
                    </a:lnTo>
                    <a:lnTo>
                      <a:pt x="678" y="799"/>
                    </a:lnTo>
                    <a:lnTo>
                      <a:pt x="678" y="802"/>
                    </a:lnTo>
                    <a:lnTo>
                      <a:pt x="678" y="802"/>
                    </a:lnTo>
                    <a:lnTo>
                      <a:pt x="679" y="803"/>
                    </a:lnTo>
                    <a:lnTo>
                      <a:pt x="679" y="805"/>
                    </a:lnTo>
                    <a:lnTo>
                      <a:pt x="681" y="806"/>
                    </a:lnTo>
                    <a:lnTo>
                      <a:pt x="681" y="806"/>
                    </a:lnTo>
                    <a:lnTo>
                      <a:pt x="681" y="807"/>
                    </a:lnTo>
                    <a:lnTo>
                      <a:pt x="681" y="809"/>
                    </a:lnTo>
                    <a:lnTo>
                      <a:pt x="679" y="809"/>
                    </a:lnTo>
                    <a:lnTo>
                      <a:pt x="678" y="809"/>
                    </a:lnTo>
                    <a:lnTo>
                      <a:pt x="676" y="809"/>
                    </a:lnTo>
                    <a:lnTo>
                      <a:pt x="676" y="809"/>
                    </a:lnTo>
                    <a:lnTo>
                      <a:pt x="675" y="807"/>
                    </a:lnTo>
                    <a:lnTo>
                      <a:pt x="675" y="806"/>
                    </a:lnTo>
                    <a:lnTo>
                      <a:pt x="675" y="805"/>
                    </a:lnTo>
                    <a:lnTo>
                      <a:pt x="675" y="803"/>
                    </a:lnTo>
                    <a:lnTo>
                      <a:pt x="675" y="803"/>
                    </a:lnTo>
                    <a:lnTo>
                      <a:pt x="675" y="802"/>
                    </a:lnTo>
                    <a:lnTo>
                      <a:pt x="676" y="800"/>
                    </a:lnTo>
                    <a:lnTo>
                      <a:pt x="675" y="800"/>
                    </a:lnTo>
                    <a:lnTo>
                      <a:pt x="675" y="799"/>
                    </a:lnTo>
                    <a:lnTo>
                      <a:pt x="675" y="797"/>
                    </a:lnTo>
                    <a:lnTo>
                      <a:pt x="672" y="797"/>
                    </a:lnTo>
                    <a:lnTo>
                      <a:pt x="672" y="796"/>
                    </a:lnTo>
                    <a:lnTo>
                      <a:pt x="669" y="794"/>
                    </a:lnTo>
                    <a:lnTo>
                      <a:pt x="668" y="793"/>
                    </a:lnTo>
                    <a:lnTo>
                      <a:pt x="666" y="793"/>
                    </a:lnTo>
                    <a:lnTo>
                      <a:pt x="665" y="792"/>
                    </a:lnTo>
                    <a:lnTo>
                      <a:pt x="663" y="790"/>
                    </a:lnTo>
                    <a:lnTo>
                      <a:pt x="662" y="790"/>
                    </a:lnTo>
                    <a:lnTo>
                      <a:pt x="661" y="789"/>
                    </a:lnTo>
                    <a:lnTo>
                      <a:pt x="659" y="789"/>
                    </a:lnTo>
                    <a:lnTo>
                      <a:pt x="658" y="789"/>
                    </a:lnTo>
                    <a:lnTo>
                      <a:pt x="656" y="789"/>
                    </a:lnTo>
                    <a:lnTo>
                      <a:pt x="655" y="789"/>
                    </a:lnTo>
                    <a:lnTo>
                      <a:pt x="653" y="789"/>
                    </a:lnTo>
                    <a:lnTo>
                      <a:pt x="652" y="787"/>
                    </a:lnTo>
                    <a:lnTo>
                      <a:pt x="650" y="786"/>
                    </a:lnTo>
                    <a:lnTo>
                      <a:pt x="649" y="783"/>
                    </a:lnTo>
                    <a:lnTo>
                      <a:pt x="648" y="781"/>
                    </a:lnTo>
                    <a:lnTo>
                      <a:pt x="645" y="781"/>
                    </a:lnTo>
                    <a:lnTo>
                      <a:pt x="643" y="780"/>
                    </a:lnTo>
                    <a:lnTo>
                      <a:pt x="642" y="780"/>
                    </a:lnTo>
                    <a:lnTo>
                      <a:pt x="637" y="780"/>
                    </a:lnTo>
                    <a:lnTo>
                      <a:pt x="635" y="780"/>
                    </a:lnTo>
                    <a:lnTo>
                      <a:pt x="632" y="781"/>
                    </a:lnTo>
                    <a:lnTo>
                      <a:pt x="627" y="781"/>
                    </a:lnTo>
                    <a:lnTo>
                      <a:pt x="626" y="781"/>
                    </a:lnTo>
                    <a:lnTo>
                      <a:pt x="624" y="780"/>
                    </a:lnTo>
                    <a:lnTo>
                      <a:pt x="623" y="780"/>
                    </a:lnTo>
                    <a:lnTo>
                      <a:pt x="622" y="779"/>
                    </a:lnTo>
                    <a:lnTo>
                      <a:pt x="620" y="777"/>
                    </a:lnTo>
                    <a:lnTo>
                      <a:pt x="620" y="776"/>
                    </a:lnTo>
                    <a:lnTo>
                      <a:pt x="620" y="774"/>
                    </a:lnTo>
                    <a:lnTo>
                      <a:pt x="619" y="771"/>
                    </a:lnTo>
                    <a:lnTo>
                      <a:pt x="617" y="771"/>
                    </a:lnTo>
                    <a:lnTo>
                      <a:pt x="617" y="773"/>
                    </a:lnTo>
                    <a:lnTo>
                      <a:pt x="616" y="773"/>
                    </a:lnTo>
                    <a:lnTo>
                      <a:pt x="614" y="774"/>
                    </a:lnTo>
                    <a:lnTo>
                      <a:pt x="613" y="774"/>
                    </a:lnTo>
                    <a:lnTo>
                      <a:pt x="611" y="774"/>
                    </a:lnTo>
                    <a:lnTo>
                      <a:pt x="609" y="774"/>
                    </a:lnTo>
                    <a:lnTo>
                      <a:pt x="607" y="774"/>
                    </a:lnTo>
                    <a:lnTo>
                      <a:pt x="607" y="776"/>
                    </a:lnTo>
                    <a:lnTo>
                      <a:pt x="607" y="779"/>
                    </a:lnTo>
                    <a:lnTo>
                      <a:pt x="606" y="779"/>
                    </a:lnTo>
                    <a:lnTo>
                      <a:pt x="606" y="780"/>
                    </a:lnTo>
                    <a:lnTo>
                      <a:pt x="604" y="780"/>
                    </a:lnTo>
                    <a:lnTo>
                      <a:pt x="604" y="780"/>
                    </a:lnTo>
                    <a:lnTo>
                      <a:pt x="603" y="780"/>
                    </a:lnTo>
                    <a:lnTo>
                      <a:pt x="603" y="779"/>
                    </a:lnTo>
                    <a:lnTo>
                      <a:pt x="603" y="779"/>
                    </a:lnTo>
                    <a:lnTo>
                      <a:pt x="601" y="780"/>
                    </a:lnTo>
                    <a:lnTo>
                      <a:pt x="600" y="780"/>
                    </a:lnTo>
                    <a:lnTo>
                      <a:pt x="599" y="780"/>
                    </a:lnTo>
                    <a:lnTo>
                      <a:pt x="599" y="780"/>
                    </a:lnTo>
                    <a:lnTo>
                      <a:pt x="597" y="779"/>
                    </a:lnTo>
                    <a:lnTo>
                      <a:pt x="597" y="779"/>
                    </a:lnTo>
                    <a:lnTo>
                      <a:pt x="596" y="779"/>
                    </a:lnTo>
                    <a:lnTo>
                      <a:pt x="596" y="777"/>
                    </a:lnTo>
                    <a:lnTo>
                      <a:pt x="596" y="777"/>
                    </a:lnTo>
                    <a:lnTo>
                      <a:pt x="596" y="776"/>
                    </a:lnTo>
                    <a:lnTo>
                      <a:pt x="594" y="776"/>
                    </a:lnTo>
                    <a:lnTo>
                      <a:pt x="594" y="776"/>
                    </a:lnTo>
                    <a:lnTo>
                      <a:pt x="591" y="774"/>
                    </a:lnTo>
                    <a:lnTo>
                      <a:pt x="590" y="774"/>
                    </a:lnTo>
                    <a:lnTo>
                      <a:pt x="587" y="773"/>
                    </a:lnTo>
                    <a:lnTo>
                      <a:pt x="586" y="773"/>
                    </a:lnTo>
                    <a:lnTo>
                      <a:pt x="583" y="771"/>
                    </a:lnTo>
                    <a:lnTo>
                      <a:pt x="583" y="771"/>
                    </a:lnTo>
                    <a:lnTo>
                      <a:pt x="581" y="771"/>
                    </a:lnTo>
                    <a:lnTo>
                      <a:pt x="581" y="773"/>
                    </a:lnTo>
                    <a:lnTo>
                      <a:pt x="581" y="776"/>
                    </a:lnTo>
                    <a:lnTo>
                      <a:pt x="583" y="776"/>
                    </a:lnTo>
                    <a:lnTo>
                      <a:pt x="583" y="777"/>
                    </a:lnTo>
                    <a:lnTo>
                      <a:pt x="581" y="776"/>
                    </a:lnTo>
                    <a:lnTo>
                      <a:pt x="581" y="776"/>
                    </a:lnTo>
                    <a:lnTo>
                      <a:pt x="580" y="776"/>
                    </a:lnTo>
                    <a:lnTo>
                      <a:pt x="578" y="777"/>
                    </a:lnTo>
                    <a:lnTo>
                      <a:pt x="578" y="777"/>
                    </a:lnTo>
                    <a:lnTo>
                      <a:pt x="577" y="779"/>
                    </a:lnTo>
                    <a:lnTo>
                      <a:pt x="577" y="780"/>
                    </a:lnTo>
                    <a:lnTo>
                      <a:pt x="577" y="781"/>
                    </a:lnTo>
                    <a:lnTo>
                      <a:pt x="575" y="783"/>
                    </a:lnTo>
                    <a:lnTo>
                      <a:pt x="574" y="784"/>
                    </a:lnTo>
                    <a:lnTo>
                      <a:pt x="574" y="784"/>
                    </a:lnTo>
                    <a:lnTo>
                      <a:pt x="571" y="786"/>
                    </a:lnTo>
                    <a:lnTo>
                      <a:pt x="568" y="787"/>
                    </a:lnTo>
                    <a:lnTo>
                      <a:pt x="568" y="789"/>
                    </a:lnTo>
                    <a:lnTo>
                      <a:pt x="567" y="789"/>
                    </a:lnTo>
                    <a:lnTo>
                      <a:pt x="567" y="789"/>
                    </a:lnTo>
                    <a:lnTo>
                      <a:pt x="565" y="789"/>
                    </a:lnTo>
                    <a:lnTo>
                      <a:pt x="564" y="790"/>
                    </a:lnTo>
                    <a:lnTo>
                      <a:pt x="562" y="790"/>
                    </a:lnTo>
                    <a:lnTo>
                      <a:pt x="562" y="792"/>
                    </a:lnTo>
                    <a:lnTo>
                      <a:pt x="561" y="792"/>
                    </a:lnTo>
                    <a:lnTo>
                      <a:pt x="560" y="792"/>
                    </a:lnTo>
                    <a:lnTo>
                      <a:pt x="557" y="792"/>
                    </a:lnTo>
                    <a:lnTo>
                      <a:pt x="555" y="792"/>
                    </a:lnTo>
                    <a:lnTo>
                      <a:pt x="555" y="793"/>
                    </a:lnTo>
                    <a:lnTo>
                      <a:pt x="554" y="793"/>
                    </a:lnTo>
                    <a:lnTo>
                      <a:pt x="552" y="794"/>
                    </a:lnTo>
                    <a:lnTo>
                      <a:pt x="552" y="794"/>
                    </a:lnTo>
                    <a:lnTo>
                      <a:pt x="554" y="796"/>
                    </a:lnTo>
                    <a:lnTo>
                      <a:pt x="554" y="796"/>
                    </a:lnTo>
                    <a:lnTo>
                      <a:pt x="555" y="797"/>
                    </a:lnTo>
                    <a:lnTo>
                      <a:pt x="555" y="799"/>
                    </a:lnTo>
                    <a:lnTo>
                      <a:pt x="555" y="800"/>
                    </a:lnTo>
                    <a:lnTo>
                      <a:pt x="551" y="803"/>
                    </a:lnTo>
                    <a:lnTo>
                      <a:pt x="547" y="805"/>
                    </a:lnTo>
                    <a:lnTo>
                      <a:pt x="545" y="805"/>
                    </a:lnTo>
                    <a:lnTo>
                      <a:pt x="542" y="806"/>
                    </a:lnTo>
                    <a:lnTo>
                      <a:pt x="541" y="806"/>
                    </a:lnTo>
                    <a:lnTo>
                      <a:pt x="539" y="806"/>
                    </a:lnTo>
                    <a:lnTo>
                      <a:pt x="541" y="807"/>
                    </a:lnTo>
                    <a:lnTo>
                      <a:pt x="542" y="809"/>
                    </a:lnTo>
                    <a:lnTo>
                      <a:pt x="542" y="810"/>
                    </a:lnTo>
                    <a:lnTo>
                      <a:pt x="544" y="812"/>
                    </a:lnTo>
                    <a:lnTo>
                      <a:pt x="545" y="815"/>
                    </a:lnTo>
                    <a:lnTo>
                      <a:pt x="547" y="816"/>
                    </a:lnTo>
                    <a:lnTo>
                      <a:pt x="547" y="818"/>
                    </a:lnTo>
                    <a:lnTo>
                      <a:pt x="547" y="819"/>
                    </a:lnTo>
                    <a:lnTo>
                      <a:pt x="548" y="819"/>
                    </a:lnTo>
                    <a:lnTo>
                      <a:pt x="548" y="822"/>
                    </a:lnTo>
                    <a:lnTo>
                      <a:pt x="548" y="823"/>
                    </a:lnTo>
                    <a:lnTo>
                      <a:pt x="548" y="823"/>
                    </a:lnTo>
                    <a:lnTo>
                      <a:pt x="548" y="825"/>
                    </a:lnTo>
                    <a:lnTo>
                      <a:pt x="547" y="826"/>
                    </a:lnTo>
                    <a:lnTo>
                      <a:pt x="547" y="826"/>
                    </a:lnTo>
                    <a:lnTo>
                      <a:pt x="545" y="828"/>
                    </a:lnTo>
                    <a:lnTo>
                      <a:pt x="544" y="828"/>
                    </a:lnTo>
                    <a:lnTo>
                      <a:pt x="542" y="828"/>
                    </a:lnTo>
                    <a:lnTo>
                      <a:pt x="541" y="829"/>
                    </a:lnTo>
                    <a:lnTo>
                      <a:pt x="539" y="829"/>
                    </a:lnTo>
                    <a:lnTo>
                      <a:pt x="538" y="829"/>
                    </a:lnTo>
                    <a:lnTo>
                      <a:pt x="535" y="829"/>
                    </a:lnTo>
                    <a:lnTo>
                      <a:pt x="534" y="828"/>
                    </a:lnTo>
                    <a:lnTo>
                      <a:pt x="534" y="828"/>
                    </a:lnTo>
                    <a:lnTo>
                      <a:pt x="532" y="826"/>
                    </a:lnTo>
                    <a:lnTo>
                      <a:pt x="531" y="825"/>
                    </a:lnTo>
                    <a:lnTo>
                      <a:pt x="529" y="822"/>
                    </a:lnTo>
                    <a:lnTo>
                      <a:pt x="526" y="819"/>
                    </a:lnTo>
                    <a:lnTo>
                      <a:pt x="524" y="816"/>
                    </a:lnTo>
                    <a:lnTo>
                      <a:pt x="522" y="815"/>
                    </a:lnTo>
                    <a:lnTo>
                      <a:pt x="521" y="813"/>
                    </a:lnTo>
                    <a:lnTo>
                      <a:pt x="519" y="813"/>
                    </a:lnTo>
                    <a:lnTo>
                      <a:pt x="518" y="812"/>
                    </a:lnTo>
                    <a:lnTo>
                      <a:pt x="516" y="812"/>
                    </a:lnTo>
                    <a:lnTo>
                      <a:pt x="516" y="812"/>
                    </a:lnTo>
                    <a:lnTo>
                      <a:pt x="515" y="812"/>
                    </a:lnTo>
                    <a:lnTo>
                      <a:pt x="513" y="812"/>
                    </a:lnTo>
                    <a:lnTo>
                      <a:pt x="513" y="813"/>
                    </a:lnTo>
                    <a:lnTo>
                      <a:pt x="512" y="813"/>
                    </a:lnTo>
                    <a:lnTo>
                      <a:pt x="512" y="815"/>
                    </a:lnTo>
                    <a:lnTo>
                      <a:pt x="512" y="815"/>
                    </a:lnTo>
                    <a:lnTo>
                      <a:pt x="511" y="818"/>
                    </a:lnTo>
                    <a:lnTo>
                      <a:pt x="512" y="820"/>
                    </a:lnTo>
                    <a:lnTo>
                      <a:pt x="512" y="823"/>
                    </a:lnTo>
                    <a:lnTo>
                      <a:pt x="511" y="825"/>
                    </a:lnTo>
                    <a:lnTo>
                      <a:pt x="511" y="825"/>
                    </a:lnTo>
                    <a:lnTo>
                      <a:pt x="511" y="826"/>
                    </a:lnTo>
                    <a:lnTo>
                      <a:pt x="508" y="826"/>
                    </a:lnTo>
                    <a:lnTo>
                      <a:pt x="506" y="828"/>
                    </a:lnTo>
                    <a:lnTo>
                      <a:pt x="505" y="829"/>
                    </a:lnTo>
                    <a:lnTo>
                      <a:pt x="505" y="830"/>
                    </a:lnTo>
                    <a:lnTo>
                      <a:pt x="503" y="833"/>
                    </a:lnTo>
                    <a:lnTo>
                      <a:pt x="503" y="835"/>
                    </a:lnTo>
                    <a:lnTo>
                      <a:pt x="503" y="838"/>
                    </a:lnTo>
                    <a:lnTo>
                      <a:pt x="505" y="841"/>
                    </a:lnTo>
                    <a:lnTo>
                      <a:pt x="505" y="841"/>
                    </a:lnTo>
                    <a:lnTo>
                      <a:pt x="505" y="842"/>
                    </a:lnTo>
                    <a:lnTo>
                      <a:pt x="506" y="843"/>
                    </a:lnTo>
                    <a:lnTo>
                      <a:pt x="506" y="843"/>
                    </a:lnTo>
                    <a:lnTo>
                      <a:pt x="508" y="845"/>
                    </a:lnTo>
                    <a:lnTo>
                      <a:pt x="509" y="848"/>
                    </a:lnTo>
                    <a:lnTo>
                      <a:pt x="511" y="849"/>
                    </a:lnTo>
                    <a:lnTo>
                      <a:pt x="512" y="849"/>
                    </a:lnTo>
                    <a:lnTo>
                      <a:pt x="512" y="851"/>
                    </a:lnTo>
                    <a:lnTo>
                      <a:pt x="512" y="852"/>
                    </a:lnTo>
                    <a:lnTo>
                      <a:pt x="512" y="852"/>
                    </a:lnTo>
                    <a:lnTo>
                      <a:pt x="512" y="854"/>
                    </a:lnTo>
                    <a:lnTo>
                      <a:pt x="511" y="855"/>
                    </a:lnTo>
                    <a:lnTo>
                      <a:pt x="508" y="856"/>
                    </a:lnTo>
                    <a:lnTo>
                      <a:pt x="506" y="858"/>
                    </a:lnTo>
                    <a:lnTo>
                      <a:pt x="505" y="859"/>
                    </a:lnTo>
                    <a:lnTo>
                      <a:pt x="505" y="861"/>
                    </a:lnTo>
                    <a:lnTo>
                      <a:pt x="503" y="864"/>
                    </a:lnTo>
                    <a:lnTo>
                      <a:pt x="503" y="865"/>
                    </a:lnTo>
                    <a:lnTo>
                      <a:pt x="503" y="868"/>
                    </a:lnTo>
                    <a:lnTo>
                      <a:pt x="505" y="869"/>
                    </a:lnTo>
                    <a:lnTo>
                      <a:pt x="506" y="871"/>
                    </a:lnTo>
                    <a:lnTo>
                      <a:pt x="506" y="872"/>
                    </a:lnTo>
                    <a:lnTo>
                      <a:pt x="508" y="874"/>
                    </a:lnTo>
                    <a:lnTo>
                      <a:pt x="509" y="874"/>
                    </a:lnTo>
                    <a:lnTo>
                      <a:pt x="511" y="875"/>
                    </a:lnTo>
                    <a:lnTo>
                      <a:pt x="511" y="875"/>
                    </a:lnTo>
                    <a:lnTo>
                      <a:pt x="513" y="875"/>
                    </a:lnTo>
                    <a:lnTo>
                      <a:pt x="515" y="875"/>
                    </a:lnTo>
                    <a:lnTo>
                      <a:pt x="516" y="877"/>
                    </a:lnTo>
                    <a:lnTo>
                      <a:pt x="516" y="877"/>
                    </a:lnTo>
                    <a:lnTo>
                      <a:pt x="518" y="878"/>
                    </a:lnTo>
                    <a:lnTo>
                      <a:pt x="518" y="878"/>
                    </a:lnTo>
                    <a:lnTo>
                      <a:pt x="519" y="879"/>
                    </a:lnTo>
                    <a:lnTo>
                      <a:pt x="521" y="881"/>
                    </a:lnTo>
                    <a:lnTo>
                      <a:pt x="521" y="884"/>
                    </a:lnTo>
                    <a:lnTo>
                      <a:pt x="521" y="884"/>
                    </a:lnTo>
                    <a:lnTo>
                      <a:pt x="519" y="884"/>
                    </a:lnTo>
                    <a:lnTo>
                      <a:pt x="519" y="884"/>
                    </a:lnTo>
                    <a:lnTo>
                      <a:pt x="518" y="884"/>
                    </a:lnTo>
                    <a:lnTo>
                      <a:pt x="519" y="884"/>
                    </a:lnTo>
                    <a:lnTo>
                      <a:pt x="521" y="887"/>
                    </a:lnTo>
                    <a:lnTo>
                      <a:pt x="522" y="888"/>
                    </a:lnTo>
                    <a:lnTo>
                      <a:pt x="522" y="890"/>
                    </a:lnTo>
                    <a:lnTo>
                      <a:pt x="524" y="891"/>
                    </a:lnTo>
                    <a:lnTo>
                      <a:pt x="525" y="892"/>
                    </a:lnTo>
                    <a:lnTo>
                      <a:pt x="525" y="892"/>
                    </a:lnTo>
                    <a:lnTo>
                      <a:pt x="526" y="892"/>
                    </a:lnTo>
                    <a:lnTo>
                      <a:pt x="526" y="892"/>
                    </a:lnTo>
                    <a:lnTo>
                      <a:pt x="526" y="892"/>
                    </a:lnTo>
                    <a:lnTo>
                      <a:pt x="528" y="891"/>
                    </a:lnTo>
                    <a:lnTo>
                      <a:pt x="529" y="891"/>
                    </a:lnTo>
                    <a:lnTo>
                      <a:pt x="531" y="890"/>
                    </a:lnTo>
                    <a:lnTo>
                      <a:pt x="534" y="890"/>
                    </a:lnTo>
                    <a:lnTo>
                      <a:pt x="534" y="890"/>
                    </a:lnTo>
                    <a:lnTo>
                      <a:pt x="535" y="891"/>
                    </a:lnTo>
                    <a:lnTo>
                      <a:pt x="536" y="891"/>
                    </a:lnTo>
                    <a:lnTo>
                      <a:pt x="538" y="892"/>
                    </a:lnTo>
                    <a:lnTo>
                      <a:pt x="541" y="892"/>
                    </a:lnTo>
                    <a:lnTo>
                      <a:pt x="542" y="892"/>
                    </a:lnTo>
                    <a:lnTo>
                      <a:pt x="544" y="892"/>
                    </a:lnTo>
                    <a:lnTo>
                      <a:pt x="547" y="894"/>
                    </a:lnTo>
                    <a:lnTo>
                      <a:pt x="548" y="894"/>
                    </a:lnTo>
                    <a:lnTo>
                      <a:pt x="549" y="895"/>
                    </a:lnTo>
                    <a:lnTo>
                      <a:pt x="552" y="898"/>
                    </a:lnTo>
                    <a:lnTo>
                      <a:pt x="555" y="901"/>
                    </a:lnTo>
                    <a:lnTo>
                      <a:pt x="558" y="905"/>
                    </a:lnTo>
                    <a:lnTo>
                      <a:pt x="561" y="908"/>
                    </a:lnTo>
                    <a:lnTo>
                      <a:pt x="564" y="911"/>
                    </a:lnTo>
                    <a:lnTo>
                      <a:pt x="565" y="913"/>
                    </a:lnTo>
                    <a:lnTo>
                      <a:pt x="565" y="914"/>
                    </a:lnTo>
                    <a:lnTo>
                      <a:pt x="567" y="916"/>
                    </a:lnTo>
                    <a:lnTo>
                      <a:pt x="567" y="916"/>
                    </a:lnTo>
                    <a:lnTo>
                      <a:pt x="568" y="917"/>
                    </a:lnTo>
                    <a:lnTo>
                      <a:pt x="568" y="918"/>
                    </a:lnTo>
                    <a:lnTo>
                      <a:pt x="570" y="920"/>
                    </a:lnTo>
                    <a:lnTo>
                      <a:pt x="570" y="920"/>
                    </a:lnTo>
                    <a:lnTo>
                      <a:pt x="570" y="921"/>
                    </a:lnTo>
                    <a:lnTo>
                      <a:pt x="570" y="923"/>
                    </a:lnTo>
                    <a:lnTo>
                      <a:pt x="570" y="923"/>
                    </a:lnTo>
                    <a:lnTo>
                      <a:pt x="568" y="923"/>
                    </a:lnTo>
                    <a:lnTo>
                      <a:pt x="568" y="923"/>
                    </a:lnTo>
                    <a:lnTo>
                      <a:pt x="567" y="923"/>
                    </a:lnTo>
                    <a:lnTo>
                      <a:pt x="564" y="923"/>
                    </a:lnTo>
                    <a:lnTo>
                      <a:pt x="562" y="923"/>
                    </a:lnTo>
                    <a:lnTo>
                      <a:pt x="560" y="923"/>
                    </a:lnTo>
                    <a:lnTo>
                      <a:pt x="560" y="923"/>
                    </a:lnTo>
                    <a:lnTo>
                      <a:pt x="558" y="923"/>
                    </a:lnTo>
                    <a:lnTo>
                      <a:pt x="558" y="924"/>
                    </a:lnTo>
                    <a:lnTo>
                      <a:pt x="560" y="924"/>
                    </a:lnTo>
                    <a:lnTo>
                      <a:pt x="560" y="926"/>
                    </a:lnTo>
                    <a:lnTo>
                      <a:pt x="561" y="926"/>
                    </a:lnTo>
                    <a:lnTo>
                      <a:pt x="562" y="927"/>
                    </a:lnTo>
                    <a:lnTo>
                      <a:pt x="565" y="927"/>
                    </a:lnTo>
                    <a:lnTo>
                      <a:pt x="568" y="929"/>
                    </a:lnTo>
                    <a:lnTo>
                      <a:pt x="573" y="930"/>
                    </a:lnTo>
                    <a:lnTo>
                      <a:pt x="574" y="931"/>
                    </a:lnTo>
                    <a:lnTo>
                      <a:pt x="575" y="931"/>
                    </a:lnTo>
                    <a:lnTo>
                      <a:pt x="577" y="933"/>
                    </a:lnTo>
                    <a:lnTo>
                      <a:pt x="578" y="933"/>
                    </a:lnTo>
                    <a:lnTo>
                      <a:pt x="578" y="934"/>
                    </a:lnTo>
                    <a:lnTo>
                      <a:pt x="578" y="934"/>
                    </a:lnTo>
                    <a:lnTo>
                      <a:pt x="578" y="934"/>
                    </a:lnTo>
                    <a:lnTo>
                      <a:pt x="577" y="934"/>
                    </a:lnTo>
                    <a:lnTo>
                      <a:pt x="577" y="934"/>
                    </a:lnTo>
                    <a:lnTo>
                      <a:pt x="575" y="934"/>
                    </a:lnTo>
                    <a:lnTo>
                      <a:pt x="575" y="936"/>
                    </a:lnTo>
                    <a:lnTo>
                      <a:pt x="575" y="936"/>
                    </a:lnTo>
                    <a:lnTo>
                      <a:pt x="577" y="937"/>
                    </a:lnTo>
                    <a:lnTo>
                      <a:pt x="578" y="939"/>
                    </a:lnTo>
                    <a:lnTo>
                      <a:pt x="578" y="940"/>
                    </a:lnTo>
                    <a:lnTo>
                      <a:pt x="578" y="940"/>
                    </a:lnTo>
                    <a:lnTo>
                      <a:pt x="577" y="940"/>
                    </a:lnTo>
                    <a:lnTo>
                      <a:pt x="575" y="939"/>
                    </a:lnTo>
                    <a:lnTo>
                      <a:pt x="574" y="939"/>
                    </a:lnTo>
                    <a:lnTo>
                      <a:pt x="574" y="939"/>
                    </a:lnTo>
                    <a:lnTo>
                      <a:pt x="573" y="939"/>
                    </a:lnTo>
                    <a:lnTo>
                      <a:pt x="571" y="940"/>
                    </a:lnTo>
                    <a:lnTo>
                      <a:pt x="573" y="941"/>
                    </a:lnTo>
                    <a:lnTo>
                      <a:pt x="573" y="943"/>
                    </a:lnTo>
                    <a:lnTo>
                      <a:pt x="573" y="943"/>
                    </a:lnTo>
                    <a:lnTo>
                      <a:pt x="571" y="943"/>
                    </a:lnTo>
                    <a:lnTo>
                      <a:pt x="570" y="941"/>
                    </a:lnTo>
                    <a:lnTo>
                      <a:pt x="570" y="941"/>
                    </a:lnTo>
                    <a:lnTo>
                      <a:pt x="568" y="941"/>
                    </a:lnTo>
                    <a:lnTo>
                      <a:pt x="568" y="940"/>
                    </a:lnTo>
                    <a:lnTo>
                      <a:pt x="568" y="940"/>
                    </a:lnTo>
                    <a:lnTo>
                      <a:pt x="567" y="940"/>
                    </a:lnTo>
                    <a:lnTo>
                      <a:pt x="567" y="941"/>
                    </a:lnTo>
                    <a:lnTo>
                      <a:pt x="568" y="943"/>
                    </a:lnTo>
                    <a:lnTo>
                      <a:pt x="568" y="943"/>
                    </a:lnTo>
                    <a:lnTo>
                      <a:pt x="568" y="943"/>
                    </a:lnTo>
                    <a:lnTo>
                      <a:pt x="568" y="944"/>
                    </a:lnTo>
                    <a:lnTo>
                      <a:pt x="568" y="944"/>
                    </a:lnTo>
                    <a:lnTo>
                      <a:pt x="567" y="946"/>
                    </a:lnTo>
                    <a:lnTo>
                      <a:pt x="568" y="946"/>
                    </a:lnTo>
                    <a:lnTo>
                      <a:pt x="568" y="946"/>
                    </a:lnTo>
                    <a:lnTo>
                      <a:pt x="570" y="946"/>
                    </a:lnTo>
                    <a:lnTo>
                      <a:pt x="570" y="947"/>
                    </a:lnTo>
                    <a:lnTo>
                      <a:pt x="570" y="947"/>
                    </a:lnTo>
                    <a:lnTo>
                      <a:pt x="570" y="949"/>
                    </a:lnTo>
                    <a:lnTo>
                      <a:pt x="568" y="949"/>
                    </a:lnTo>
                    <a:lnTo>
                      <a:pt x="568" y="947"/>
                    </a:lnTo>
                    <a:lnTo>
                      <a:pt x="567" y="947"/>
                    </a:lnTo>
                    <a:lnTo>
                      <a:pt x="565" y="947"/>
                    </a:lnTo>
                    <a:lnTo>
                      <a:pt x="562" y="946"/>
                    </a:lnTo>
                    <a:lnTo>
                      <a:pt x="562" y="946"/>
                    </a:lnTo>
                    <a:lnTo>
                      <a:pt x="561" y="946"/>
                    </a:lnTo>
                    <a:lnTo>
                      <a:pt x="561" y="947"/>
                    </a:lnTo>
                    <a:lnTo>
                      <a:pt x="561" y="947"/>
                    </a:lnTo>
                    <a:lnTo>
                      <a:pt x="561" y="947"/>
                    </a:lnTo>
                    <a:lnTo>
                      <a:pt x="561" y="949"/>
                    </a:lnTo>
                    <a:lnTo>
                      <a:pt x="561" y="949"/>
                    </a:lnTo>
                    <a:lnTo>
                      <a:pt x="560" y="950"/>
                    </a:lnTo>
                    <a:lnTo>
                      <a:pt x="558" y="952"/>
                    </a:lnTo>
                    <a:lnTo>
                      <a:pt x="558" y="952"/>
                    </a:lnTo>
                    <a:lnTo>
                      <a:pt x="558" y="952"/>
                    </a:lnTo>
                    <a:lnTo>
                      <a:pt x="557" y="953"/>
                    </a:lnTo>
                    <a:lnTo>
                      <a:pt x="555" y="953"/>
                    </a:lnTo>
                    <a:lnTo>
                      <a:pt x="554" y="953"/>
                    </a:lnTo>
                    <a:lnTo>
                      <a:pt x="552" y="952"/>
                    </a:lnTo>
                    <a:lnTo>
                      <a:pt x="551" y="952"/>
                    </a:lnTo>
                    <a:lnTo>
                      <a:pt x="551" y="952"/>
                    </a:lnTo>
                    <a:lnTo>
                      <a:pt x="551" y="953"/>
                    </a:lnTo>
                    <a:lnTo>
                      <a:pt x="551" y="953"/>
                    </a:lnTo>
                    <a:lnTo>
                      <a:pt x="549" y="954"/>
                    </a:lnTo>
                    <a:lnTo>
                      <a:pt x="549" y="954"/>
                    </a:lnTo>
                    <a:lnTo>
                      <a:pt x="549" y="954"/>
                    </a:lnTo>
                    <a:lnTo>
                      <a:pt x="548" y="954"/>
                    </a:lnTo>
                    <a:lnTo>
                      <a:pt x="545" y="953"/>
                    </a:lnTo>
                    <a:lnTo>
                      <a:pt x="544" y="952"/>
                    </a:lnTo>
                    <a:lnTo>
                      <a:pt x="542" y="952"/>
                    </a:lnTo>
                    <a:lnTo>
                      <a:pt x="544" y="953"/>
                    </a:lnTo>
                    <a:lnTo>
                      <a:pt x="544" y="953"/>
                    </a:lnTo>
                    <a:lnTo>
                      <a:pt x="544" y="956"/>
                    </a:lnTo>
                    <a:lnTo>
                      <a:pt x="544" y="956"/>
                    </a:lnTo>
                    <a:lnTo>
                      <a:pt x="544" y="956"/>
                    </a:lnTo>
                    <a:lnTo>
                      <a:pt x="544" y="954"/>
                    </a:lnTo>
                    <a:lnTo>
                      <a:pt x="542" y="953"/>
                    </a:lnTo>
                    <a:lnTo>
                      <a:pt x="541" y="953"/>
                    </a:lnTo>
                    <a:lnTo>
                      <a:pt x="541" y="952"/>
                    </a:lnTo>
                    <a:lnTo>
                      <a:pt x="539" y="952"/>
                    </a:lnTo>
                    <a:lnTo>
                      <a:pt x="538" y="952"/>
                    </a:lnTo>
                    <a:lnTo>
                      <a:pt x="539" y="953"/>
                    </a:lnTo>
                    <a:lnTo>
                      <a:pt x="541" y="954"/>
                    </a:lnTo>
                    <a:lnTo>
                      <a:pt x="541" y="957"/>
                    </a:lnTo>
                    <a:lnTo>
                      <a:pt x="542" y="959"/>
                    </a:lnTo>
                    <a:lnTo>
                      <a:pt x="542" y="960"/>
                    </a:lnTo>
                    <a:lnTo>
                      <a:pt x="542" y="962"/>
                    </a:lnTo>
                    <a:lnTo>
                      <a:pt x="542" y="963"/>
                    </a:lnTo>
                    <a:lnTo>
                      <a:pt x="541" y="965"/>
                    </a:lnTo>
                    <a:lnTo>
                      <a:pt x="539" y="969"/>
                    </a:lnTo>
                    <a:lnTo>
                      <a:pt x="538" y="972"/>
                    </a:lnTo>
                    <a:lnTo>
                      <a:pt x="536" y="976"/>
                    </a:lnTo>
                    <a:lnTo>
                      <a:pt x="535" y="980"/>
                    </a:lnTo>
                    <a:lnTo>
                      <a:pt x="535" y="980"/>
                    </a:lnTo>
                    <a:lnTo>
                      <a:pt x="535" y="979"/>
                    </a:lnTo>
                    <a:lnTo>
                      <a:pt x="534" y="979"/>
                    </a:lnTo>
                    <a:lnTo>
                      <a:pt x="534" y="978"/>
                    </a:lnTo>
                    <a:lnTo>
                      <a:pt x="534" y="978"/>
                    </a:lnTo>
                    <a:lnTo>
                      <a:pt x="534" y="978"/>
                    </a:lnTo>
                    <a:lnTo>
                      <a:pt x="534" y="979"/>
                    </a:lnTo>
                    <a:lnTo>
                      <a:pt x="534" y="979"/>
                    </a:lnTo>
                    <a:lnTo>
                      <a:pt x="532" y="980"/>
                    </a:lnTo>
                    <a:lnTo>
                      <a:pt x="531" y="982"/>
                    </a:lnTo>
                    <a:lnTo>
                      <a:pt x="529" y="983"/>
                    </a:lnTo>
                    <a:lnTo>
                      <a:pt x="528" y="983"/>
                    </a:lnTo>
                    <a:lnTo>
                      <a:pt x="528" y="985"/>
                    </a:lnTo>
                    <a:lnTo>
                      <a:pt x="526" y="986"/>
                    </a:lnTo>
                    <a:lnTo>
                      <a:pt x="528" y="988"/>
                    </a:lnTo>
                    <a:lnTo>
                      <a:pt x="528" y="989"/>
                    </a:lnTo>
                    <a:lnTo>
                      <a:pt x="529" y="991"/>
                    </a:lnTo>
                    <a:lnTo>
                      <a:pt x="531" y="992"/>
                    </a:lnTo>
                    <a:lnTo>
                      <a:pt x="534" y="993"/>
                    </a:lnTo>
                    <a:lnTo>
                      <a:pt x="534" y="995"/>
                    </a:lnTo>
                    <a:lnTo>
                      <a:pt x="535" y="995"/>
                    </a:lnTo>
                    <a:lnTo>
                      <a:pt x="538" y="995"/>
                    </a:lnTo>
                    <a:lnTo>
                      <a:pt x="539" y="996"/>
                    </a:lnTo>
                    <a:lnTo>
                      <a:pt x="541" y="998"/>
                    </a:lnTo>
                    <a:lnTo>
                      <a:pt x="542" y="999"/>
                    </a:lnTo>
                    <a:lnTo>
                      <a:pt x="545" y="1001"/>
                    </a:lnTo>
                    <a:lnTo>
                      <a:pt x="547" y="1003"/>
                    </a:lnTo>
                    <a:lnTo>
                      <a:pt x="547" y="1005"/>
                    </a:lnTo>
                    <a:lnTo>
                      <a:pt x="548" y="1005"/>
                    </a:lnTo>
                    <a:lnTo>
                      <a:pt x="548" y="1008"/>
                    </a:lnTo>
                    <a:lnTo>
                      <a:pt x="549" y="1011"/>
                    </a:lnTo>
                    <a:lnTo>
                      <a:pt x="549" y="1011"/>
                    </a:lnTo>
                    <a:lnTo>
                      <a:pt x="549" y="1012"/>
                    </a:lnTo>
                    <a:lnTo>
                      <a:pt x="549" y="1012"/>
                    </a:lnTo>
                    <a:lnTo>
                      <a:pt x="549" y="1014"/>
                    </a:lnTo>
                    <a:lnTo>
                      <a:pt x="549" y="1015"/>
                    </a:lnTo>
                    <a:lnTo>
                      <a:pt x="549" y="1015"/>
                    </a:lnTo>
                    <a:lnTo>
                      <a:pt x="549" y="1016"/>
                    </a:lnTo>
                    <a:lnTo>
                      <a:pt x="549" y="1016"/>
                    </a:lnTo>
                    <a:lnTo>
                      <a:pt x="551" y="1018"/>
                    </a:lnTo>
                    <a:lnTo>
                      <a:pt x="551" y="1018"/>
                    </a:lnTo>
                    <a:lnTo>
                      <a:pt x="552" y="1018"/>
                    </a:lnTo>
                    <a:lnTo>
                      <a:pt x="552" y="1021"/>
                    </a:lnTo>
                    <a:lnTo>
                      <a:pt x="552" y="1022"/>
                    </a:lnTo>
                    <a:lnTo>
                      <a:pt x="552" y="1024"/>
                    </a:lnTo>
                    <a:lnTo>
                      <a:pt x="554" y="1025"/>
                    </a:lnTo>
                    <a:lnTo>
                      <a:pt x="554" y="1025"/>
                    </a:lnTo>
                    <a:lnTo>
                      <a:pt x="555" y="1027"/>
                    </a:lnTo>
                    <a:lnTo>
                      <a:pt x="555" y="1027"/>
                    </a:lnTo>
                    <a:lnTo>
                      <a:pt x="554" y="1027"/>
                    </a:lnTo>
                    <a:lnTo>
                      <a:pt x="554" y="1028"/>
                    </a:lnTo>
                    <a:lnTo>
                      <a:pt x="554" y="1029"/>
                    </a:lnTo>
                    <a:lnTo>
                      <a:pt x="554" y="1031"/>
                    </a:lnTo>
                    <a:lnTo>
                      <a:pt x="554" y="1032"/>
                    </a:lnTo>
                    <a:lnTo>
                      <a:pt x="554" y="1034"/>
                    </a:lnTo>
                    <a:lnTo>
                      <a:pt x="554" y="1034"/>
                    </a:lnTo>
                    <a:lnTo>
                      <a:pt x="555" y="1035"/>
                    </a:lnTo>
                    <a:lnTo>
                      <a:pt x="555" y="1035"/>
                    </a:lnTo>
                    <a:lnTo>
                      <a:pt x="557" y="1035"/>
                    </a:lnTo>
                    <a:lnTo>
                      <a:pt x="558" y="1037"/>
                    </a:lnTo>
                    <a:lnTo>
                      <a:pt x="560" y="1038"/>
                    </a:lnTo>
                    <a:lnTo>
                      <a:pt x="561" y="1040"/>
                    </a:lnTo>
                    <a:lnTo>
                      <a:pt x="561" y="1041"/>
                    </a:lnTo>
                    <a:lnTo>
                      <a:pt x="562" y="1042"/>
                    </a:lnTo>
                    <a:lnTo>
                      <a:pt x="564" y="1044"/>
                    </a:lnTo>
                    <a:lnTo>
                      <a:pt x="564" y="1047"/>
                    </a:lnTo>
                    <a:lnTo>
                      <a:pt x="573" y="1055"/>
                    </a:lnTo>
                    <a:lnTo>
                      <a:pt x="574" y="1055"/>
                    </a:lnTo>
                    <a:lnTo>
                      <a:pt x="575" y="1058"/>
                    </a:lnTo>
                    <a:lnTo>
                      <a:pt x="577" y="1060"/>
                    </a:lnTo>
                    <a:lnTo>
                      <a:pt x="578" y="1061"/>
                    </a:lnTo>
                    <a:lnTo>
                      <a:pt x="580" y="1063"/>
                    </a:lnTo>
                    <a:lnTo>
                      <a:pt x="581" y="1064"/>
                    </a:lnTo>
                    <a:lnTo>
                      <a:pt x="583" y="1065"/>
                    </a:lnTo>
                    <a:lnTo>
                      <a:pt x="584" y="1065"/>
                    </a:lnTo>
                    <a:lnTo>
                      <a:pt x="586" y="1067"/>
                    </a:lnTo>
                    <a:lnTo>
                      <a:pt x="586" y="1068"/>
                    </a:lnTo>
                    <a:lnTo>
                      <a:pt x="587" y="1068"/>
                    </a:lnTo>
                    <a:lnTo>
                      <a:pt x="587" y="1070"/>
                    </a:lnTo>
                    <a:lnTo>
                      <a:pt x="588" y="1070"/>
                    </a:lnTo>
                    <a:lnTo>
                      <a:pt x="588" y="1070"/>
                    </a:lnTo>
                    <a:lnTo>
                      <a:pt x="587" y="1071"/>
                    </a:lnTo>
                    <a:lnTo>
                      <a:pt x="587" y="1073"/>
                    </a:lnTo>
                    <a:lnTo>
                      <a:pt x="586" y="1074"/>
                    </a:lnTo>
                    <a:lnTo>
                      <a:pt x="586" y="1076"/>
                    </a:lnTo>
                    <a:lnTo>
                      <a:pt x="584" y="1077"/>
                    </a:lnTo>
                    <a:lnTo>
                      <a:pt x="583" y="1078"/>
                    </a:lnTo>
                    <a:lnTo>
                      <a:pt x="581" y="1081"/>
                    </a:lnTo>
                    <a:lnTo>
                      <a:pt x="578" y="1083"/>
                    </a:lnTo>
                    <a:lnTo>
                      <a:pt x="577" y="1084"/>
                    </a:lnTo>
                    <a:lnTo>
                      <a:pt x="577" y="1084"/>
                    </a:lnTo>
                    <a:lnTo>
                      <a:pt x="575" y="1086"/>
                    </a:lnTo>
                    <a:lnTo>
                      <a:pt x="575" y="1086"/>
                    </a:lnTo>
                    <a:lnTo>
                      <a:pt x="575" y="1087"/>
                    </a:lnTo>
                    <a:lnTo>
                      <a:pt x="574" y="1089"/>
                    </a:lnTo>
                    <a:lnTo>
                      <a:pt x="574" y="1089"/>
                    </a:lnTo>
                    <a:lnTo>
                      <a:pt x="573" y="1089"/>
                    </a:lnTo>
                    <a:lnTo>
                      <a:pt x="571" y="1090"/>
                    </a:lnTo>
                    <a:lnTo>
                      <a:pt x="570" y="1090"/>
                    </a:lnTo>
                    <a:lnTo>
                      <a:pt x="568" y="1090"/>
                    </a:lnTo>
                    <a:lnTo>
                      <a:pt x="567" y="1090"/>
                    </a:lnTo>
                    <a:lnTo>
                      <a:pt x="565" y="1089"/>
                    </a:lnTo>
                    <a:lnTo>
                      <a:pt x="564" y="1089"/>
                    </a:lnTo>
                    <a:lnTo>
                      <a:pt x="562" y="1087"/>
                    </a:lnTo>
                    <a:lnTo>
                      <a:pt x="561" y="1086"/>
                    </a:lnTo>
                    <a:lnTo>
                      <a:pt x="561" y="1086"/>
                    </a:lnTo>
                    <a:lnTo>
                      <a:pt x="560" y="1086"/>
                    </a:lnTo>
                    <a:lnTo>
                      <a:pt x="560" y="1084"/>
                    </a:lnTo>
                    <a:lnTo>
                      <a:pt x="558" y="1083"/>
                    </a:lnTo>
                    <a:lnTo>
                      <a:pt x="557" y="1081"/>
                    </a:lnTo>
                    <a:lnTo>
                      <a:pt x="557" y="1080"/>
                    </a:lnTo>
                    <a:lnTo>
                      <a:pt x="555" y="1078"/>
                    </a:lnTo>
                    <a:lnTo>
                      <a:pt x="554" y="1078"/>
                    </a:lnTo>
                    <a:lnTo>
                      <a:pt x="551" y="1077"/>
                    </a:lnTo>
                    <a:lnTo>
                      <a:pt x="551" y="1077"/>
                    </a:lnTo>
                    <a:lnTo>
                      <a:pt x="549" y="1077"/>
                    </a:lnTo>
                    <a:lnTo>
                      <a:pt x="548" y="1076"/>
                    </a:lnTo>
                    <a:lnTo>
                      <a:pt x="547" y="1076"/>
                    </a:lnTo>
                    <a:lnTo>
                      <a:pt x="547" y="1074"/>
                    </a:lnTo>
                    <a:lnTo>
                      <a:pt x="545" y="1073"/>
                    </a:lnTo>
                    <a:lnTo>
                      <a:pt x="542" y="1070"/>
                    </a:lnTo>
                    <a:lnTo>
                      <a:pt x="538" y="1068"/>
                    </a:lnTo>
                    <a:lnTo>
                      <a:pt x="535" y="1067"/>
                    </a:lnTo>
                    <a:lnTo>
                      <a:pt x="532" y="1065"/>
                    </a:lnTo>
                    <a:lnTo>
                      <a:pt x="529" y="1065"/>
                    </a:lnTo>
                    <a:lnTo>
                      <a:pt x="526" y="1064"/>
                    </a:lnTo>
                    <a:lnTo>
                      <a:pt x="524" y="1064"/>
                    </a:lnTo>
                    <a:lnTo>
                      <a:pt x="522" y="1064"/>
                    </a:lnTo>
                    <a:lnTo>
                      <a:pt x="521" y="1063"/>
                    </a:lnTo>
                    <a:lnTo>
                      <a:pt x="519" y="1063"/>
                    </a:lnTo>
                    <a:lnTo>
                      <a:pt x="518" y="1063"/>
                    </a:lnTo>
                    <a:lnTo>
                      <a:pt x="518" y="1061"/>
                    </a:lnTo>
                    <a:lnTo>
                      <a:pt x="516" y="1060"/>
                    </a:lnTo>
                    <a:lnTo>
                      <a:pt x="516" y="1058"/>
                    </a:lnTo>
                    <a:lnTo>
                      <a:pt x="516" y="1058"/>
                    </a:lnTo>
                    <a:lnTo>
                      <a:pt x="516" y="1055"/>
                    </a:lnTo>
                    <a:lnTo>
                      <a:pt x="515" y="1054"/>
                    </a:lnTo>
                    <a:lnTo>
                      <a:pt x="515" y="1053"/>
                    </a:lnTo>
                    <a:lnTo>
                      <a:pt x="515" y="1051"/>
                    </a:lnTo>
                    <a:lnTo>
                      <a:pt x="515" y="1050"/>
                    </a:lnTo>
                    <a:lnTo>
                      <a:pt x="513" y="1050"/>
                    </a:lnTo>
                    <a:lnTo>
                      <a:pt x="513" y="1048"/>
                    </a:lnTo>
                    <a:lnTo>
                      <a:pt x="512" y="1048"/>
                    </a:lnTo>
                    <a:lnTo>
                      <a:pt x="511" y="1048"/>
                    </a:lnTo>
                    <a:lnTo>
                      <a:pt x="511" y="1048"/>
                    </a:lnTo>
                    <a:lnTo>
                      <a:pt x="509" y="1048"/>
                    </a:lnTo>
                    <a:lnTo>
                      <a:pt x="508" y="1048"/>
                    </a:lnTo>
                    <a:lnTo>
                      <a:pt x="505" y="1048"/>
                    </a:lnTo>
                    <a:lnTo>
                      <a:pt x="505" y="1048"/>
                    </a:lnTo>
                    <a:lnTo>
                      <a:pt x="503" y="1048"/>
                    </a:lnTo>
                    <a:lnTo>
                      <a:pt x="502" y="1047"/>
                    </a:lnTo>
                    <a:lnTo>
                      <a:pt x="502" y="1047"/>
                    </a:lnTo>
                    <a:lnTo>
                      <a:pt x="500" y="1045"/>
                    </a:lnTo>
                    <a:lnTo>
                      <a:pt x="499" y="1044"/>
                    </a:lnTo>
                    <a:lnTo>
                      <a:pt x="498" y="1044"/>
                    </a:lnTo>
                    <a:lnTo>
                      <a:pt x="496" y="1044"/>
                    </a:lnTo>
                    <a:lnTo>
                      <a:pt x="495" y="1044"/>
                    </a:lnTo>
                    <a:lnTo>
                      <a:pt x="493" y="1044"/>
                    </a:lnTo>
                    <a:lnTo>
                      <a:pt x="492" y="1044"/>
                    </a:lnTo>
                    <a:lnTo>
                      <a:pt x="492" y="1045"/>
                    </a:lnTo>
                    <a:lnTo>
                      <a:pt x="490" y="1045"/>
                    </a:lnTo>
                    <a:lnTo>
                      <a:pt x="490" y="1047"/>
                    </a:lnTo>
                    <a:lnTo>
                      <a:pt x="490" y="1045"/>
                    </a:lnTo>
                    <a:lnTo>
                      <a:pt x="489" y="1044"/>
                    </a:lnTo>
                    <a:lnTo>
                      <a:pt x="487" y="1042"/>
                    </a:lnTo>
                    <a:lnTo>
                      <a:pt x="486" y="1042"/>
                    </a:lnTo>
                    <a:lnTo>
                      <a:pt x="485" y="1042"/>
                    </a:lnTo>
                    <a:lnTo>
                      <a:pt x="483" y="1042"/>
                    </a:lnTo>
                    <a:lnTo>
                      <a:pt x="482" y="1044"/>
                    </a:lnTo>
                    <a:lnTo>
                      <a:pt x="480" y="1044"/>
                    </a:lnTo>
                    <a:lnTo>
                      <a:pt x="476" y="1047"/>
                    </a:lnTo>
                    <a:lnTo>
                      <a:pt x="474" y="1047"/>
                    </a:lnTo>
                    <a:lnTo>
                      <a:pt x="472" y="1047"/>
                    </a:lnTo>
                    <a:lnTo>
                      <a:pt x="470" y="1047"/>
                    </a:lnTo>
                    <a:lnTo>
                      <a:pt x="467" y="1047"/>
                    </a:lnTo>
                    <a:lnTo>
                      <a:pt x="466" y="1047"/>
                    </a:lnTo>
                    <a:lnTo>
                      <a:pt x="464" y="1047"/>
                    </a:lnTo>
                    <a:lnTo>
                      <a:pt x="464" y="1047"/>
                    </a:lnTo>
                    <a:lnTo>
                      <a:pt x="464" y="1045"/>
                    </a:lnTo>
                    <a:lnTo>
                      <a:pt x="464" y="1044"/>
                    </a:lnTo>
                    <a:lnTo>
                      <a:pt x="463" y="1044"/>
                    </a:lnTo>
                    <a:lnTo>
                      <a:pt x="462" y="1042"/>
                    </a:lnTo>
                    <a:lnTo>
                      <a:pt x="460" y="1041"/>
                    </a:lnTo>
                    <a:lnTo>
                      <a:pt x="459" y="1041"/>
                    </a:lnTo>
                    <a:lnTo>
                      <a:pt x="457" y="1040"/>
                    </a:lnTo>
                    <a:lnTo>
                      <a:pt x="453" y="1037"/>
                    </a:lnTo>
                    <a:lnTo>
                      <a:pt x="449" y="1035"/>
                    </a:lnTo>
                    <a:lnTo>
                      <a:pt x="447" y="1034"/>
                    </a:lnTo>
                    <a:lnTo>
                      <a:pt x="447" y="1034"/>
                    </a:lnTo>
                    <a:lnTo>
                      <a:pt x="446" y="1032"/>
                    </a:lnTo>
                    <a:lnTo>
                      <a:pt x="444" y="1032"/>
                    </a:lnTo>
                    <a:lnTo>
                      <a:pt x="444" y="1031"/>
                    </a:lnTo>
                    <a:lnTo>
                      <a:pt x="443" y="1029"/>
                    </a:lnTo>
                    <a:lnTo>
                      <a:pt x="441" y="1029"/>
                    </a:lnTo>
                    <a:lnTo>
                      <a:pt x="440" y="1029"/>
                    </a:lnTo>
                    <a:lnTo>
                      <a:pt x="438" y="1029"/>
                    </a:lnTo>
                    <a:lnTo>
                      <a:pt x="436" y="1029"/>
                    </a:lnTo>
                    <a:lnTo>
                      <a:pt x="427" y="1029"/>
                    </a:lnTo>
                    <a:lnTo>
                      <a:pt x="425" y="1029"/>
                    </a:lnTo>
                    <a:lnTo>
                      <a:pt x="423" y="1029"/>
                    </a:lnTo>
                    <a:lnTo>
                      <a:pt x="421" y="1029"/>
                    </a:lnTo>
                    <a:lnTo>
                      <a:pt x="420" y="1029"/>
                    </a:lnTo>
                    <a:lnTo>
                      <a:pt x="418" y="1029"/>
                    </a:lnTo>
                    <a:lnTo>
                      <a:pt x="415" y="1029"/>
                    </a:lnTo>
                    <a:lnTo>
                      <a:pt x="414" y="1029"/>
                    </a:lnTo>
                    <a:lnTo>
                      <a:pt x="412" y="1029"/>
                    </a:lnTo>
                    <a:lnTo>
                      <a:pt x="412" y="1028"/>
                    </a:lnTo>
                    <a:lnTo>
                      <a:pt x="410" y="1028"/>
                    </a:lnTo>
                    <a:lnTo>
                      <a:pt x="405" y="1025"/>
                    </a:lnTo>
                    <a:lnTo>
                      <a:pt x="401" y="1024"/>
                    </a:lnTo>
                    <a:lnTo>
                      <a:pt x="401" y="1024"/>
                    </a:lnTo>
                    <a:lnTo>
                      <a:pt x="399" y="1024"/>
                    </a:lnTo>
                    <a:lnTo>
                      <a:pt x="397" y="1022"/>
                    </a:lnTo>
                    <a:lnTo>
                      <a:pt x="395" y="1022"/>
                    </a:lnTo>
                    <a:lnTo>
                      <a:pt x="394" y="1021"/>
                    </a:lnTo>
                    <a:lnTo>
                      <a:pt x="391" y="1021"/>
                    </a:lnTo>
                    <a:lnTo>
                      <a:pt x="385" y="1019"/>
                    </a:lnTo>
                    <a:lnTo>
                      <a:pt x="382" y="1018"/>
                    </a:lnTo>
                    <a:lnTo>
                      <a:pt x="379" y="1018"/>
                    </a:lnTo>
                    <a:lnTo>
                      <a:pt x="376" y="1018"/>
                    </a:lnTo>
                    <a:lnTo>
                      <a:pt x="375" y="1018"/>
                    </a:lnTo>
                    <a:lnTo>
                      <a:pt x="372" y="1019"/>
                    </a:lnTo>
                    <a:lnTo>
                      <a:pt x="371" y="1019"/>
                    </a:lnTo>
                    <a:lnTo>
                      <a:pt x="371" y="1022"/>
                    </a:lnTo>
                    <a:lnTo>
                      <a:pt x="371" y="1024"/>
                    </a:lnTo>
                    <a:lnTo>
                      <a:pt x="366" y="1021"/>
                    </a:lnTo>
                    <a:lnTo>
                      <a:pt x="362" y="1018"/>
                    </a:lnTo>
                    <a:lnTo>
                      <a:pt x="358" y="1015"/>
                    </a:lnTo>
                    <a:lnTo>
                      <a:pt x="355" y="1012"/>
                    </a:lnTo>
                    <a:lnTo>
                      <a:pt x="346" y="1005"/>
                    </a:lnTo>
                    <a:lnTo>
                      <a:pt x="343" y="1001"/>
                    </a:lnTo>
                    <a:lnTo>
                      <a:pt x="339" y="998"/>
                    </a:lnTo>
                    <a:lnTo>
                      <a:pt x="336" y="996"/>
                    </a:lnTo>
                    <a:lnTo>
                      <a:pt x="335" y="996"/>
                    </a:lnTo>
                    <a:lnTo>
                      <a:pt x="330" y="995"/>
                    </a:lnTo>
                    <a:lnTo>
                      <a:pt x="329" y="995"/>
                    </a:lnTo>
                    <a:lnTo>
                      <a:pt x="326" y="993"/>
                    </a:lnTo>
                    <a:lnTo>
                      <a:pt x="326" y="993"/>
                    </a:lnTo>
                    <a:lnTo>
                      <a:pt x="324" y="992"/>
                    </a:lnTo>
                    <a:lnTo>
                      <a:pt x="322" y="991"/>
                    </a:lnTo>
                    <a:lnTo>
                      <a:pt x="320" y="989"/>
                    </a:lnTo>
                    <a:lnTo>
                      <a:pt x="317" y="986"/>
                    </a:lnTo>
                    <a:lnTo>
                      <a:pt x="316" y="985"/>
                    </a:lnTo>
                    <a:lnTo>
                      <a:pt x="313" y="985"/>
                    </a:lnTo>
                    <a:lnTo>
                      <a:pt x="312" y="983"/>
                    </a:lnTo>
                    <a:lnTo>
                      <a:pt x="310" y="983"/>
                    </a:lnTo>
                    <a:lnTo>
                      <a:pt x="310" y="983"/>
                    </a:lnTo>
                    <a:lnTo>
                      <a:pt x="310" y="985"/>
                    </a:lnTo>
                    <a:lnTo>
                      <a:pt x="309" y="985"/>
                    </a:lnTo>
                    <a:lnTo>
                      <a:pt x="309" y="985"/>
                    </a:lnTo>
                    <a:lnTo>
                      <a:pt x="307" y="983"/>
                    </a:lnTo>
                    <a:lnTo>
                      <a:pt x="304" y="983"/>
                    </a:lnTo>
                    <a:lnTo>
                      <a:pt x="303" y="982"/>
                    </a:lnTo>
                    <a:lnTo>
                      <a:pt x="303" y="982"/>
                    </a:lnTo>
                    <a:lnTo>
                      <a:pt x="301" y="982"/>
                    </a:lnTo>
                    <a:lnTo>
                      <a:pt x="301" y="980"/>
                    </a:lnTo>
                    <a:lnTo>
                      <a:pt x="301" y="980"/>
                    </a:lnTo>
                    <a:lnTo>
                      <a:pt x="300" y="979"/>
                    </a:lnTo>
                    <a:lnTo>
                      <a:pt x="299" y="978"/>
                    </a:lnTo>
                    <a:lnTo>
                      <a:pt x="297" y="978"/>
                    </a:lnTo>
                    <a:lnTo>
                      <a:pt x="296" y="976"/>
                    </a:lnTo>
                    <a:lnTo>
                      <a:pt x="294" y="975"/>
                    </a:lnTo>
                    <a:lnTo>
                      <a:pt x="291" y="975"/>
                    </a:lnTo>
                    <a:lnTo>
                      <a:pt x="288" y="973"/>
                    </a:lnTo>
                    <a:lnTo>
                      <a:pt x="286" y="973"/>
                    </a:lnTo>
                    <a:lnTo>
                      <a:pt x="284" y="973"/>
                    </a:lnTo>
                    <a:lnTo>
                      <a:pt x="281" y="972"/>
                    </a:lnTo>
                    <a:lnTo>
                      <a:pt x="281" y="970"/>
                    </a:lnTo>
                    <a:lnTo>
                      <a:pt x="281" y="970"/>
                    </a:lnTo>
                    <a:lnTo>
                      <a:pt x="283" y="969"/>
                    </a:lnTo>
                    <a:lnTo>
                      <a:pt x="283" y="967"/>
                    </a:lnTo>
                    <a:lnTo>
                      <a:pt x="284" y="967"/>
                    </a:lnTo>
                    <a:lnTo>
                      <a:pt x="286" y="966"/>
                    </a:lnTo>
                    <a:lnTo>
                      <a:pt x="286" y="966"/>
                    </a:lnTo>
                    <a:lnTo>
                      <a:pt x="287" y="966"/>
                    </a:lnTo>
                    <a:lnTo>
                      <a:pt x="286" y="966"/>
                    </a:lnTo>
                    <a:lnTo>
                      <a:pt x="286" y="966"/>
                    </a:lnTo>
                    <a:lnTo>
                      <a:pt x="284" y="965"/>
                    </a:lnTo>
                    <a:lnTo>
                      <a:pt x="284" y="965"/>
                    </a:lnTo>
                    <a:lnTo>
                      <a:pt x="284" y="963"/>
                    </a:lnTo>
                    <a:lnTo>
                      <a:pt x="284" y="963"/>
                    </a:lnTo>
                    <a:lnTo>
                      <a:pt x="284" y="963"/>
                    </a:lnTo>
                    <a:lnTo>
                      <a:pt x="283" y="963"/>
                    </a:lnTo>
                    <a:lnTo>
                      <a:pt x="283" y="963"/>
                    </a:lnTo>
                    <a:lnTo>
                      <a:pt x="281" y="963"/>
                    </a:lnTo>
                    <a:lnTo>
                      <a:pt x="281" y="962"/>
                    </a:lnTo>
                    <a:lnTo>
                      <a:pt x="283" y="962"/>
                    </a:lnTo>
                    <a:lnTo>
                      <a:pt x="283" y="960"/>
                    </a:lnTo>
                    <a:lnTo>
                      <a:pt x="284" y="960"/>
                    </a:lnTo>
                    <a:lnTo>
                      <a:pt x="284" y="960"/>
                    </a:lnTo>
                    <a:lnTo>
                      <a:pt x="286" y="960"/>
                    </a:lnTo>
                    <a:lnTo>
                      <a:pt x="287" y="962"/>
                    </a:lnTo>
                    <a:lnTo>
                      <a:pt x="288" y="962"/>
                    </a:lnTo>
                    <a:lnTo>
                      <a:pt x="290" y="963"/>
                    </a:lnTo>
                    <a:lnTo>
                      <a:pt x="291" y="965"/>
                    </a:lnTo>
                    <a:lnTo>
                      <a:pt x="293" y="966"/>
                    </a:lnTo>
                    <a:lnTo>
                      <a:pt x="293" y="966"/>
                    </a:lnTo>
                    <a:lnTo>
                      <a:pt x="293" y="965"/>
                    </a:lnTo>
                    <a:lnTo>
                      <a:pt x="294" y="965"/>
                    </a:lnTo>
                    <a:lnTo>
                      <a:pt x="296" y="965"/>
                    </a:lnTo>
                    <a:lnTo>
                      <a:pt x="299" y="965"/>
                    </a:lnTo>
                    <a:lnTo>
                      <a:pt x="301" y="965"/>
                    </a:lnTo>
                    <a:lnTo>
                      <a:pt x="304" y="966"/>
                    </a:lnTo>
                    <a:lnTo>
                      <a:pt x="306" y="966"/>
                    </a:lnTo>
                    <a:lnTo>
                      <a:pt x="307" y="966"/>
                    </a:lnTo>
                    <a:lnTo>
                      <a:pt x="307" y="965"/>
                    </a:lnTo>
                    <a:lnTo>
                      <a:pt x="307" y="963"/>
                    </a:lnTo>
                    <a:lnTo>
                      <a:pt x="306" y="962"/>
                    </a:lnTo>
                    <a:lnTo>
                      <a:pt x="304" y="960"/>
                    </a:lnTo>
                    <a:lnTo>
                      <a:pt x="304" y="959"/>
                    </a:lnTo>
                    <a:lnTo>
                      <a:pt x="304" y="957"/>
                    </a:lnTo>
                    <a:lnTo>
                      <a:pt x="304" y="959"/>
                    </a:lnTo>
                    <a:lnTo>
                      <a:pt x="304" y="959"/>
                    </a:lnTo>
                    <a:lnTo>
                      <a:pt x="304" y="960"/>
                    </a:lnTo>
                    <a:lnTo>
                      <a:pt x="303" y="960"/>
                    </a:lnTo>
                    <a:lnTo>
                      <a:pt x="303" y="960"/>
                    </a:lnTo>
                    <a:lnTo>
                      <a:pt x="303" y="960"/>
                    </a:lnTo>
                    <a:lnTo>
                      <a:pt x="303" y="959"/>
                    </a:lnTo>
                    <a:lnTo>
                      <a:pt x="301" y="957"/>
                    </a:lnTo>
                    <a:lnTo>
                      <a:pt x="301" y="956"/>
                    </a:lnTo>
                    <a:lnTo>
                      <a:pt x="301" y="954"/>
                    </a:lnTo>
                    <a:lnTo>
                      <a:pt x="303" y="954"/>
                    </a:lnTo>
                    <a:lnTo>
                      <a:pt x="303" y="956"/>
                    </a:lnTo>
                    <a:lnTo>
                      <a:pt x="304" y="954"/>
                    </a:lnTo>
                    <a:lnTo>
                      <a:pt x="304" y="954"/>
                    </a:lnTo>
                    <a:lnTo>
                      <a:pt x="306" y="954"/>
                    </a:lnTo>
                    <a:lnTo>
                      <a:pt x="306" y="953"/>
                    </a:lnTo>
                    <a:lnTo>
                      <a:pt x="307" y="952"/>
                    </a:lnTo>
                    <a:lnTo>
                      <a:pt x="307" y="949"/>
                    </a:lnTo>
                    <a:lnTo>
                      <a:pt x="309" y="946"/>
                    </a:lnTo>
                    <a:lnTo>
                      <a:pt x="309" y="944"/>
                    </a:lnTo>
                    <a:lnTo>
                      <a:pt x="309" y="943"/>
                    </a:lnTo>
                    <a:lnTo>
                      <a:pt x="310" y="943"/>
                    </a:lnTo>
                    <a:lnTo>
                      <a:pt x="310" y="943"/>
                    </a:lnTo>
                    <a:lnTo>
                      <a:pt x="310" y="944"/>
                    </a:lnTo>
                    <a:lnTo>
                      <a:pt x="312" y="944"/>
                    </a:lnTo>
                    <a:lnTo>
                      <a:pt x="312" y="947"/>
                    </a:lnTo>
                    <a:lnTo>
                      <a:pt x="313" y="947"/>
                    </a:lnTo>
                    <a:lnTo>
                      <a:pt x="313" y="946"/>
                    </a:lnTo>
                    <a:lnTo>
                      <a:pt x="313" y="943"/>
                    </a:lnTo>
                    <a:lnTo>
                      <a:pt x="313" y="943"/>
                    </a:lnTo>
                    <a:lnTo>
                      <a:pt x="314" y="941"/>
                    </a:lnTo>
                    <a:lnTo>
                      <a:pt x="314" y="941"/>
                    </a:lnTo>
                    <a:lnTo>
                      <a:pt x="316" y="940"/>
                    </a:lnTo>
                    <a:lnTo>
                      <a:pt x="317" y="940"/>
                    </a:lnTo>
                    <a:lnTo>
                      <a:pt x="317" y="941"/>
                    </a:lnTo>
                    <a:lnTo>
                      <a:pt x="320" y="941"/>
                    </a:lnTo>
                    <a:lnTo>
                      <a:pt x="322" y="943"/>
                    </a:lnTo>
                    <a:lnTo>
                      <a:pt x="323" y="943"/>
                    </a:lnTo>
                    <a:lnTo>
                      <a:pt x="324" y="943"/>
                    </a:lnTo>
                    <a:lnTo>
                      <a:pt x="324" y="943"/>
                    </a:lnTo>
                    <a:lnTo>
                      <a:pt x="323" y="941"/>
                    </a:lnTo>
                    <a:lnTo>
                      <a:pt x="322" y="940"/>
                    </a:lnTo>
                    <a:lnTo>
                      <a:pt x="320" y="939"/>
                    </a:lnTo>
                    <a:lnTo>
                      <a:pt x="317" y="937"/>
                    </a:lnTo>
                    <a:lnTo>
                      <a:pt x="316" y="936"/>
                    </a:lnTo>
                    <a:lnTo>
                      <a:pt x="314" y="934"/>
                    </a:lnTo>
                    <a:lnTo>
                      <a:pt x="313" y="934"/>
                    </a:lnTo>
                    <a:lnTo>
                      <a:pt x="310" y="934"/>
                    </a:lnTo>
                    <a:lnTo>
                      <a:pt x="309" y="933"/>
                    </a:lnTo>
                    <a:lnTo>
                      <a:pt x="307" y="931"/>
                    </a:lnTo>
                    <a:lnTo>
                      <a:pt x="306" y="931"/>
                    </a:lnTo>
                    <a:lnTo>
                      <a:pt x="304" y="930"/>
                    </a:lnTo>
                    <a:lnTo>
                      <a:pt x="303" y="929"/>
                    </a:lnTo>
                    <a:lnTo>
                      <a:pt x="303" y="927"/>
                    </a:lnTo>
                    <a:lnTo>
                      <a:pt x="301" y="927"/>
                    </a:lnTo>
                    <a:lnTo>
                      <a:pt x="303" y="926"/>
                    </a:lnTo>
                    <a:lnTo>
                      <a:pt x="306" y="926"/>
                    </a:lnTo>
                    <a:lnTo>
                      <a:pt x="307" y="926"/>
                    </a:lnTo>
                    <a:lnTo>
                      <a:pt x="309" y="926"/>
                    </a:lnTo>
                    <a:lnTo>
                      <a:pt x="309" y="924"/>
                    </a:lnTo>
                    <a:lnTo>
                      <a:pt x="310" y="923"/>
                    </a:lnTo>
                    <a:lnTo>
                      <a:pt x="310" y="924"/>
                    </a:lnTo>
                    <a:lnTo>
                      <a:pt x="312" y="924"/>
                    </a:lnTo>
                    <a:lnTo>
                      <a:pt x="314" y="924"/>
                    </a:lnTo>
                    <a:lnTo>
                      <a:pt x="316" y="926"/>
                    </a:lnTo>
                    <a:lnTo>
                      <a:pt x="317" y="926"/>
                    </a:lnTo>
                    <a:lnTo>
                      <a:pt x="319" y="927"/>
                    </a:lnTo>
                    <a:lnTo>
                      <a:pt x="319" y="926"/>
                    </a:lnTo>
                    <a:lnTo>
                      <a:pt x="319" y="924"/>
                    </a:lnTo>
                    <a:lnTo>
                      <a:pt x="319" y="924"/>
                    </a:lnTo>
                    <a:lnTo>
                      <a:pt x="319" y="923"/>
                    </a:lnTo>
                    <a:lnTo>
                      <a:pt x="319" y="921"/>
                    </a:lnTo>
                    <a:lnTo>
                      <a:pt x="319" y="921"/>
                    </a:lnTo>
                    <a:lnTo>
                      <a:pt x="317" y="920"/>
                    </a:lnTo>
                    <a:lnTo>
                      <a:pt x="319" y="920"/>
                    </a:lnTo>
                    <a:lnTo>
                      <a:pt x="319" y="920"/>
                    </a:lnTo>
                    <a:lnTo>
                      <a:pt x="319" y="920"/>
                    </a:lnTo>
                    <a:lnTo>
                      <a:pt x="320" y="918"/>
                    </a:lnTo>
                    <a:lnTo>
                      <a:pt x="320" y="918"/>
                    </a:lnTo>
                    <a:lnTo>
                      <a:pt x="323" y="918"/>
                    </a:lnTo>
                    <a:lnTo>
                      <a:pt x="324" y="917"/>
                    </a:lnTo>
                    <a:lnTo>
                      <a:pt x="326" y="917"/>
                    </a:lnTo>
                    <a:lnTo>
                      <a:pt x="327" y="917"/>
                    </a:lnTo>
                    <a:lnTo>
                      <a:pt x="330" y="917"/>
                    </a:lnTo>
                    <a:lnTo>
                      <a:pt x="332" y="916"/>
                    </a:lnTo>
                    <a:lnTo>
                      <a:pt x="335" y="914"/>
                    </a:lnTo>
                    <a:lnTo>
                      <a:pt x="336" y="914"/>
                    </a:lnTo>
                    <a:lnTo>
                      <a:pt x="337" y="913"/>
                    </a:lnTo>
                    <a:lnTo>
                      <a:pt x="339" y="911"/>
                    </a:lnTo>
                    <a:lnTo>
                      <a:pt x="337" y="911"/>
                    </a:lnTo>
                    <a:lnTo>
                      <a:pt x="337" y="911"/>
                    </a:lnTo>
                    <a:lnTo>
                      <a:pt x="336" y="911"/>
                    </a:lnTo>
                    <a:lnTo>
                      <a:pt x="335" y="910"/>
                    </a:lnTo>
                    <a:lnTo>
                      <a:pt x="335" y="910"/>
                    </a:lnTo>
                    <a:lnTo>
                      <a:pt x="333" y="908"/>
                    </a:lnTo>
                    <a:lnTo>
                      <a:pt x="333" y="907"/>
                    </a:lnTo>
                    <a:lnTo>
                      <a:pt x="332" y="907"/>
                    </a:lnTo>
                    <a:lnTo>
                      <a:pt x="330" y="907"/>
                    </a:lnTo>
                    <a:lnTo>
                      <a:pt x="330" y="907"/>
                    </a:lnTo>
                    <a:lnTo>
                      <a:pt x="329" y="907"/>
                    </a:lnTo>
                    <a:lnTo>
                      <a:pt x="327" y="908"/>
                    </a:lnTo>
                    <a:lnTo>
                      <a:pt x="326" y="910"/>
                    </a:lnTo>
                    <a:lnTo>
                      <a:pt x="324" y="910"/>
                    </a:lnTo>
                    <a:lnTo>
                      <a:pt x="322" y="910"/>
                    </a:lnTo>
                    <a:lnTo>
                      <a:pt x="320" y="910"/>
                    </a:lnTo>
                    <a:lnTo>
                      <a:pt x="317" y="910"/>
                    </a:lnTo>
                    <a:lnTo>
                      <a:pt x="316" y="910"/>
                    </a:lnTo>
                    <a:lnTo>
                      <a:pt x="314" y="910"/>
                    </a:lnTo>
                    <a:lnTo>
                      <a:pt x="313" y="910"/>
                    </a:lnTo>
                    <a:lnTo>
                      <a:pt x="313" y="910"/>
                    </a:lnTo>
                    <a:lnTo>
                      <a:pt x="312" y="910"/>
                    </a:lnTo>
                    <a:lnTo>
                      <a:pt x="312" y="910"/>
                    </a:lnTo>
                    <a:lnTo>
                      <a:pt x="312" y="908"/>
                    </a:lnTo>
                    <a:lnTo>
                      <a:pt x="312" y="907"/>
                    </a:lnTo>
                    <a:lnTo>
                      <a:pt x="313" y="907"/>
                    </a:lnTo>
                    <a:lnTo>
                      <a:pt x="312" y="905"/>
                    </a:lnTo>
                    <a:lnTo>
                      <a:pt x="310" y="905"/>
                    </a:lnTo>
                    <a:lnTo>
                      <a:pt x="310" y="904"/>
                    </a:lnTo>
                    <a:lnTo>
                      <a:pt x="310" y="904"/>
                    </a:lnTo>
                    <a:lnTo>
                      <a:pt x="310" y="903"/>
                    </a:lnTo>
                    <a:lnTo>
                      <a:pt x="310" y="903"/>
                    </a:lnTo>
                    <a:lnTo>
                      <a:pt x="310" y="900"/>
                    </a:lnTo>
                    <a:lnTo>
                      <a:pt x="312" y="898"/>
                    </a:lnTo>
                    <a:lnTo>
                      <a:pt x="313" y="897"/>
                    </a:lnTo>
                    <a:lnTo>
                      <a:pt x="314" y="895"/>
                    </a:lnTo>
                    <a:lnTo>
                      <a:pt x="316" y="894"/>
                    </a:lnTo>
                    <a:lnTo>
                      <a:pt x="317" y="894"/>
                    </a:lnTo>
                    <a:lnTo>
                      <a:pt x="317" y="894"/>
                    </a:lnTo>
                    <a:lnTo>
                      <a:pt x="320" y="892"/>
                    </a:lnTo>
                    <a:lnTo>
                      <a:pt x="320" y="892"/>
                    </a:lnTo>
                    <a:lnTo>
                      <a:pt x="322" y="892"/>
                    </a:lnTo>
                    <a:lnTo>
                      <a:pt x="322" y="892"/>
                    </a:lnTo>
                    <a:lnTo>
                      <a:pt x="322" y="891"/>
                    </a:lnTo>
                    <a:lnTo>
                      <a:pt x="323" y="890"/>
                    </a:lnTo>
                    <a:lnTo>
                      <a:pt x="323" y="890"/>
                    </a:lnTo>
                    <a:lnTo>
                      <a:pt x="324" y="888"/>
                    </a:lnTo>
                    <a:lnTo>
                      <a:pt x="326" y="888"/>
                    </a:lnTo>
                    <a:lnTo>
                      <a:pt x="326" y="888"/>
                    </a:lnTo>
                    <a:lnTo>
                      <a:pt x="327" y="888"/>
                    </a:lnTo>
                    <a:lnTo>
                      <a:pt x="329" y="890"/>
                    </a:lnTo>
                    <a:lnTo>
                      <a:pt x="330" y="890"/>
                    </a:lnTo>
                    <a:lnTo>
                      <a:pt x="332" y="890"/>
                    </a:lnTo>
                    <a:lnTo>
                      <a:pt x="333" y="890"/>
                    </a:lnTo>
                    <a:lnTo>
                      <a:pt x="335" y="890"/>
                    </a:lnTo>
                    <a:lnTo>
                      <a:pt x="337" y="890"/>
                    </a:lnTo>
                    <a:lnTo>
                      <a:pt x="339" y="890"/>
                    </a:lnTo>
                    <a:lnTo>
                      <a:pt x="342" y="890"/>
                    </a:lnTo>
                    <a:lnTo>
                      <a:pt x="343" y="890"/>
                    </a:lnTo>
                    <a:lnTo>
                      <a:pt x="343" y="888"/>
                    </a:lnTo>
                    <a:lnTo>
                      <a:pt x="343" y="888"/>
                    </a:lnTo>
                    <a:lnTo>
                      <a:pt x="345" y="887"/>
                    </a:lnTo>
                    <a:lnTo>
                      <a:pt x="346" y="885"/>
                    </a:lnTo>
                    <a:lnTo>
                      <a:pt x="348" y="882"/>
                    </a:lnTo>
                    <a:lnTo>
                      <a:pt x="348" y="879"/>
                    </a:lnTo>
                    <a:lnTo>
                      <a:pt x="348" y="878"/>
                    </a:lnTo>
                    <a:lnTo>
                      <a:pt x="348" y="875"/>
                    </a:lnTo>
                    <a:lnTo>
                      <a:pt x="348" y="875"/>
                    </a:lnTo>
                    <a:lnTo>
                      <a:pt x="346" y="875"/>
                    </a:lnTo>
                    <a:lnTo>
                      <a:pt x="345" y="875"/>
                    </a:lnTo>
                    <a:lnTo>
                      <a:pt x="345" y="875"/>
                    </a:lnTo>
                    <a:lnTo>
                      <a:pt x="343" y="875"/>
                    </a:lnTo>
                    <a:lnTo>
                      <a:pt x="345" y="874"/>
                    </a:lnTo>
                    <a:lnTo>
                      <a:pt x="346" y="874"/>
                    </a:lnTo>
                    <a:lnTo>
                      <a:pt x="346" y="872"/>
                    </a:lnTo>
                    <a:lnTo>
                      <a:pt x="346" y="872"/>
                    </a:lnTo>
                    <a:lnTo>
                      <a:pt x="345" y="871"/>
                    </a:lnTo>
                    <a:lnTo>
                      <a:pt x="345" y="871"/>
                    </a:lnTo>
                    <a:lnTo>
                      <a:pt x="343" y="869"/>
                    </a:lnTo>
                    <a:lnTo>
                      <a:pt x="342" y="868"/>
                    </a:lnTo>
                    <a:lnTo>
                      <a:pt x="340" y="867"/>
                    </a:lnTo>
                    <a:lnTo>
                      <a:pt x="339" y="867"/>
                    </a:lnTo>
                    <a:lnTo>
                      <a:pt x="339" y="865"/>
                    </a:lnTo>
                    <a:lnTo>
                      <a:pt x="339" y="864"/>
                    </a:lnTo>
                    <a:lnTo>
                      <a:pt x="340" y="862"/>
                    </a:lnTo>
                    <a:lnTo>
                      <a:pt x="340" y="862"/>
                    </a:lnTo>
                    <a:lnTo>
                      <a:pt x="342" y="861"/>
                    </a:lnTo>
                    <a:lnTo>
                      <a:pt x="343" y="861"/>
                    </a:lnTo>
                    <a:lnTo>
                      <a:pt x="345" y="861"/>
                    </a:lnTo>
                    <a:lnTo>
                      <a:pt x="346" y="859"/>
                    </a:lnTo>
                    <a:lnTo>
                      <a:pt x="346" y="859"/>
                    </a:lnTo>
                    <a:lnTo>
                      <a:pt x="346" y="858"/>
                    </a:lnTo>
                    <a:lnTo>
                      <a:pt x="345" y="858"/>
                    </a:lnTo>
                    <a:lnTo>
                      <a:pt x="345" y="858"/>
                    </a:lnTo>
                    <a:lnTo>
                      <a:pt x="343" y="858"/>
                    </a:lnTo>
                    <a:lnTo>
                      <a:pt x="343" y="858"/>
                    </a:lnTo>
                    <a:lnTo>
                      <a:pt x="342" y="858"/>
                    </a:lnTo>
                    <a:lnTo>
                      <a:pt x="340" y="858"/>
                    </a:lnTo>
                    <a:lnTo>
                      <a:pt x="340" y="858"/>
                    </a:lnTo>
                    <a:lnTo>
                      <a:pt x="339" y="858"/>
                    </a:lnTo>
                    <a:lnTo>
                      <a:pt x="339" y="858"/>
                    </a:lnTo>
                    <a:lnTo>
                      <a:pt x="339" y="856"/>
                    </a:lnTo>
                    <a:lnTo>
                      <a:pt x="339" y="856"/>
                    </a:lnTo>
                    <a:lnTo>
                      <a:pt x="339" y="855"/>
                    </a:lnTo>
                    <a:lnTo>
                      <a:pt x="339" y="854"/>
                    </a:lnTo>
                    <a:lnTo>
                      <a:pt x="340" y="854"/>
                    </a:lnTo>
                    <a:lnTo>
                      <a:pt x="340" y="852"/>
                    </a:lnTo>
                    <a:lnTo>
                      <a:pt x="342" y="852"/>
                    </a:lnTo>
                    <a:lnTo>
                      <a:pt x="343" y="851"/>
                    </a:lnTo>
                    <a:lnTo>
                      <a:pt x="343" y="851"/>
                    </a:lnTo>
                    <a:lnTo>
                      <a:pt x="345" y="849"/>
                    </a:lnTo>
                    <a:lnTo>
                      <a:pt x="345" y="849"/>
                    </a:lnTo>
                    <a:lnTo>
                      <a:pt x="345" y="848"/>
                    </a:lnTo>
                    <a:lnTo>
                      <a:pt x="345" y="846"/>
                    </a:lnTo>
                    <a:lnTo>
                      <a:pt x="345" y="845"/>
                    </a:lnTo>
                    <a:lnTo>
                      <a:pt x="343" y="842"/>
                    </a:lnTo>
                    <a:lnTo>
                      <a:pt x="343" y="841"/>
                    </a:lnTo>
                    <a:lnTo>
                      <a:pt x="343" y="839"/>
                    </a:lnTo>
                    <a:lnTo>
                      <a:pt x="343" y="839"/>
                    </a:lnTo>
                    <a:lnTo>
                      <a:pt x="343" y="838"/>
                    </a:lnTo>
                    <a:lnTo>
                      <a:pt x="343" y="838"/>
                    </a:lnTo>
                    <a:lnTo>
                      <a:pt x="343" y="836"/>
                    </a:lnTo>
                    <a:lnTo>
                      <a:pt x="343" y="836"/>
                    </a:lnTo>
                    <a:lnTo>
                      <a:pt x="343" y="836"/>
                    </a:lnTo>
                    <a:lnTo>
                      <a:pt x="342" y="838"/>
                    </a:lnTo>
                    <a:lnTo>
                      <a:pt x="342" y="838"/>
                    </a:lnTo>
                    <a:lnTo>
                      <a:pt x="339" y="838"/>
                    </a:lnTo>
                    <a:lnTo>
                      <a:pt x="337" y="838"/>
                    </a:lnTo>
                    <a:lnTo>
                      <a:pt x="336" y="838"/>
                    </a:lnTo>
                    <a:lnTo>
                      <a:pt x="335" y="838"/>
                    </a:lnTo>
                    <a:lnTo>
                      <a:pt x="333" y="836"/>
                    </a:lnTo>
                    <a:lnTo>
                      <a:pt x="332" y="836"/>
                    </a:lnTo>
                    <a:lnTo>
                      <a:pt x="330" y="836"/>
                    </a:lnTo>
                    <a:lnTo>
                      <a:pt x="330" y="835"/>
                    </a:lnTo>
                    <a:lnTo>
                      <a:pt x="329" y="833"/>
                    </a:lnTo>
                    <a:lnTo>
                      <a:pt x="329" y="833"/>
                    </a:lnTo>
                    <a:lnTo>
                      <a:pt x="327" y="832"/>
                    </a:lnTo>
                    <a:lnTo>
                      <a:pt x="326" y="832"/>
                    </a:lnTo>
                    <a:lnTo>
                      <a:pt x="326" y="832"/>
                    </a:lnTo>
                    <a:lnTo>
                      <a:pt x="324" y="832"/>
                    </a:lnTo>
                    <a:lnTo>
                      <a:pt x="323" y="832"/>
                    </a:lnTo>
                    <a:lnTo>
                      <a:pt x="323" y="830"/>
                    </a:lnTo>
                    <a:lnTo>
                      <a:pt x="323" y="830"/>
                    </a:lnTo>
                    <a:lnTo>
                      <a:pt x="322" y="829"/>
                    </a:lnTo>
                    <a:lnTo>
                      <a:pt x="322" y="829"/>
                    </a:lnTo>
                    <a:lnTo>
                      <a:pt x="320" y="829"/>
                    </a:lnTo>
                    <a:lnTo>
                      <a:pt x="320" y="829"/>
                    </a:lnTo>
                    <a:lnTo>
                      <a:pt x="317" y="830"/>
                    </a:lnTo>
                    <a:lnTo>
                      <a:pt x="316" y="829"/>
                    </a:lnTo>
                    <a:lnTo>
                      <a:pt x="313" y="829"/>
                    </a:lnTo>
                    <a:lnTo>
                      <a:pt x="310" y="829"/>
                    </a:lnTo>
                    <a:lnTo>
                      <a:pt x="307" y="828"/>
                    </a:lnTo>
                    <a:lnTo>
                      <a:pt x="306" y="826"/>
                    </a:lnTo>
                    <a:lnTo>
                      <a:pt x="304" y="826"/>
                    </a:lnTo>
                    <a:lnTo>
                      <a:pt x="304" y="826"/>
                    </a:lnTo>
                    <a:lnTo>
                      <a:pt x="303" y="825"/>
                    </a:lnTo>
                    <a:lnTo>
                      <a:pt x="303" y="825"/>
                    </a:lnTo>
                    <a:lnTo>
                      <a:pt x="301" y="823"/>
                    </a:lnTo>
                    <a:lnTo>
                      <a:pt x="300" y="823"/>
                    </a:lnTo>
                    <a:lnTo>
                      <a:pt x="300" y="823"/>
                    </a:lnTo>
                    <a:lnTo>
                      <a:pt x="299" y="825"/>
                    </a:lnTo>
                    <a:lnTo>
                      <a:pt x="297" y="825"/>
                    </a:lnTo>
                    <a:lnTo>
                      <a:pt x="296" y="826"/>
                    </a:lnTo>
                    <a:lnTo>
                      <a:pt x="296" y="826"/>
                    </a:lnTo>
                    <a:lnTo>
                      <a:pt x="294" y="828"/>
                    </a:lnTo>
                    <a:lnTo>
                      <a:pt x="293" y="829"/>
                    </a:lnTo>
                    <a:lnTo>
                      <a:pt x="291" y="826"/>
                    </a:lnTo>
                    <a:lnTo>
                      <a:pt x="291" y="825"/>
                    </a:lnTo>
                    <a:lnTo>
                      <a:pt x="291" y="823"/>
                    </a:lnTo>
                    <a:lnTo>
                      <a:pt x="290" y="823"/>
                    </a:lnTo>
                    <a:lnTo>
                      <a:pt x="287" y="822"/>
                    </a:lnTo>
                    <a:lnTo>
                      <a:pt x="286" y="822"/>
                    </a:lnTo>
                    <a:lnTo>
                      <a:pt x="284" y="820"/>
                    </a:lnTo>
                    <a:lnTo>
                      <a:pt x="284" y="819"/>
                    </a:lnTo>
                    <a:lnTo>
                      <a:pt x="284" y="818"/>
                    </a:lnTo>
                    <a:lnTo>
                      <a:pt x="283" y="816"/>
                    </a:lnTo>
                    <a:lnTo>
                      <a:pt x="283" y="815"/>
                    </a:lnTo>
                    <a:lnTo>
                      <a:pt x="281" y="813"/>
                    </a:lnTo>
                    <a:lnTo>
                      <a:pt x="280" y="812"/>
                    </a:lnTo>
                    <a:lnTo>
                      <a:pt x="280" y="812"/>
                    </a:lnTo>
                    <a:lnTo>
                      <a:pt x="278" y="812"/>
                    </a:lnTo>
                    <a:lnTo>
                      <a:pt x="275" y="812"/>
                    </a:lnTo>
                    <a:lnTo>
                      <a:pt x="273" y="812"/>
                    </a:lnTo>
                    <a:lnTo>
                      <a:pt x="270" y="813"/>
                    </a:lnTo>
                    <a:lnTo>
                      <a:pt x="267" y="815"/>
                    </a:lnTo>
                    <a:lnTo>
                      <a:pt x="265" y="816"/>
                    </a:lnTo>
                    <a:lnTo>
                      <a:pt x="262" y="816"/>
                    </a:lnTo>
                    <a:lnTo>
                      <a:pt x="260" y="818"/>
                    </a:lnTo>
                    <a:lnTo>
                      <a:pt x="258" y="818"/>
                    </a:lnTo>
                    <a:lnTo>
                      <a:pt x="257" y="818"/>
                    </a:lnTo>
                    <a:lnTo>
                      <a:pt x="257" y="816"/>
                    </a:lnTo>
                    <a:lnTo>
                      <a:pt x="255" y="816"/>
                    </a:lnTo>
                    <a:lnTo>
                      <a:pt x="254" y="816"/>
                    </a:lnTo>
                    <a:lnTo>
                      <a:pt x="252" y="816"/>
                    </a:lnTo>
                    <a:lnTo>
                      <a:pt x="251" y="815"/>
                    </a:lnTo>
                    <a:lnTo>
                      <a:pt x="249" y="815"/>
                    </a:lnTo>
                    <a:lnTo>
                      <a:pt x="248" y="812"/>
                    </a:lnTo>
                    <a:lnTo>
                      <a:pt x="247" y="812"/>
                    </a:lnTo>
                    <a:lnTo>
                      <a:pt x="245" y="810"/>
                    </a:lnTo>
                    <a:lnTo>
                      <a:pt x="244" y="810"/>
                    </a:lnTo>
                    <a:lnTo>
                      <a:pt x="242" y="810"/>
                    </a:lnTo>
                    <a:lnTo>
                      <a:pt x="242" y="810"/>
                    </a:lnTo>
                    <a:lnTo>
                      <a:pt x="241" y="812"/>
                    </a:lnTo>
                    <a:lnTo>
                      <a:pt x="239" y="812"/>
                    </a:lnTo>
                    <a:lnTo>
                      <a:pt x="238" y="813"/>
                    </a:lnTo>
                    <a:lnTo>
                      <a:pt x="237" y="813"/>
                    </a:lnTo>
                    <a:lnTo>
                      <a:pt x="235" y="812"/>
                    </a:lnTo>
                    <a:lnTo>
                      <a:pt x="234" y="812"/>
                    </a:lnTo>
                    <a:lnTo>
                      <a:pt x="232" y="810"/>
                    </a:lnTo>
                    <a:lnTo>
                      <a:pt x="229" y="809"/>
                    </a:lnTo>
                    <a:lnTo>
                      <a:pt x="229" y="807"/>
                    </a:lnTo>
                    <a:lnTo>
                      <a:pt x="229" y="806"/>
                    </a:lnTo>
                    <a:lnTo>
                      <a:pt x="228" y="805"/>
                    </a:lnTo>
                    <a:lnTo>
                      <a:pt x="226" y="802"/>
                    </a:lnTo>
                    <a:lnTo>
                      <a:pt x="226" y="799"/>
                    </a:lnTo>
                    <a:lnTo>
                      <a:pt x="226" y="797"/>
                    </a:lnTo>
                    <a:lnTo>
                      <a:pt x="226" y="796"/>
                    </a:lnTo>
                    <a:lnTo>
                      <a:pt x="226" y="794"/>
                    </a:lnTo>
                    <a:lnTo>
                      <a:pt x="226" y="794"/>
                    </a:lnTo>
                    <a:lnTo>
                      <a:pt x="225" y="794"/>
                    </a:lnTo>
                    <a:lnTo>
                      <a:pt x="225" y="794"/>
                    </a:lnTo>
                    <a:lnTo>
                      <a:pt x="222" y="793"/>
                    </a:lnTo>
                    <a:lnTo>
                      <a:pt x="222" y="792"/>
                    </a:lnTo>
                    <a:lnTo>
                      <a:pt x="219" y="790"/>
                    </a:lnTo>
                    <a:lnTo>
                      <a:pt x="218" y="789"/>
                    </a:lnTo>
                    <a:lnTo>
                      <a:pt x="216" y="789"/>
                    </a:lnTo>
                    <a:lnTo>
                      <a:pt x="215" y="789"/>
                    </a:lnTo>
                    <a:lnTo>
                      <a:pt x="215" y="789"/>
                    </a:lnTo>
                    <a:lnTo>
                      <a:pt x="213" y="789"/>
                    </a:lnTo>
                    <a:lnTo>
                      <a:pt x="212" y="789"/>
                    </a:lnTo>
                    <a:lnTo>
                      <a:pt x="211" y="789"/>
                    </a:lnTo>
                    <a:lnTo>
                      <a:pt x="209" y="790"/>
                    </a:lnTo>
                    <a:lnTo>
                      <a:pt x="208" y="789"/>
                    </a:lnTo>
                    <a:lnTo>
                      <a:pt x="205" y="789"/>
                    </a:lnTo>
                    <a:lnTo>
                      <a:pt x="203" y="789"/>
                    </a:lnTo>
                    <a:lnTo>
                      <a:pt x="202" y="789"/>
                    </a:lnTo>
                    <a:lnTo>
                      <a:pt x="199" y="787"/>
                    </a:lnTo>
                    <a:lnTo>
                      <a:pt x="198" y="786"/>
                    </a:lnTo>
                    <a:lnTo>
                      <a:pt x="199" y="786"/>
                    </a:lnTo>
                    <a:lnTo>
                      <a:pt x="199" y="786"/>
                    </a:lnTo>
                    <a:lnTo>
                      <a:pt x="200" y="786"/>
                    </a:lnTo>
                    <a:lnTo>
                      <a:pt x="200" y="784"/>
                    </a:lnTo>
                    <a:lnTo>
                      <a:pt x="200" y="784"/>
                    </a:lnTo>
                    <a:lnTo>
                      <a:pt x="200" y="783"/>
                    </a:lnTo>
                    <a:lnTo>
                      <a:pt x="199" y="781"/>
                    </a:lnTo>
                    <a:lnTo>
                      <a:pt x="198" y="779"/>
                    </a:lnTo>
                    <a:lnTo>
                      <a:pt x="196" y="777"/>
                    </a:lnTo>
                    <a:lnTo>
                      <a:pt x="196" y="776"/>
                    </a:lnTo>
                    <a:lnTo>
                      <a:pt x="195" y="774"/>
                    </a:lnTo>
                    <a:lnTo>
                      <a:pt x="195" y="774"/>
                    </a:lnTo>
                    <a:lnTo>
                      <a:pt x="196" y="774"/>
                    </a:lnTo>
                    <a:lnTo>
                      <a:pt x="198" y="774"/>
                    </a:lnTo>
                    <a:lnTo>
                      <a:pt x="198" y="774"/>
                    </a:lnTo>
                    <a:lnTo>
                      <a:pt x="199" y="773"/>
                    </a:lnTo>
                    <a:lnTo>
                      <a:pt x="200" y="773"/>
                    </a:lnTo>
                    <a:lnTo>
                      <a:pt x="200" y="771"/>
                    </a:lnTo>
                    <a:lnTo>
                      <a:pt x="200" y="771"/>
                    </a:lnTo>
                    <a:lnTo>
                      <a:pt x="200" y="771"/>
                    </a:lnTo>
                    <a:lnTo>
                      <a:pt x="200" y="770"/>
                    </a:lnTo>
                    <a:lnTo>
                      <a:pt x="199" y="770"/>
                    </a:lnTo>
                    <a:lnTo>
                      <a:pt x="198" y="768"/>
                    </a:lnTo>
                    <a:lnTo>
                      <a:pt x="195" y="767"/>
                    </a:lnTo>
                    <a:lnTo>
                      <a:pt x="193" y="767"/>
                    </a:lnTo>
                    <a:lnTo>
                      <a:pt x="192" y="766"/>
                    </a:lnTo>
                    <a:lnTo>
                      <a:pt x="192" y="764"/>
                    </a:lnTo>
                    <a:lnTo>
                      <a:pt x="192" y="761"/>
                    </a:lnTo>
                    <a:lnTo>
                      <a:pt x="190" y="760"/>
                    </a:lnTo>
                    <a:lnTo>
                      <a:pt x="189" y="757"/>
                    </a:lnTo>
                    <a:lnTo>
                      <a:pt x="187" y="756"/>
                    </a:lnTo>
                    <a:lnTo>
                      <a:pt x="186" y="756"/>
                    </a:lnTo>
                    <a:lnTo>
                      <a:pt x="185" y="756"/>
                    </a:lnTo>
                    <a:lnTo>
                      <a:pt x="185" y="754"/>
                    </a:lnTo>
                    <a:lnTo>
                      <a:pt x="182" y="756"/>
                    </a:lnTo>
                    <a:lnTo>
                      <a:pt x="179" y="756"/>
                    </a:lnTo>
                    <a:lnTo>
                      <a:pt x="177" y="756"/>
                    </a:lnTo>
                    <a:lnTo>
                      <a:pt x="175" y="756"/>
                    </a:lnTo>
                    <a:lnTo>
                      <a:pt x="173" y="756"/>
                    </a:lnTo>
                    <a:lnTo>
                      <a:pt x="170" y="756"/>
                    </a:lnTo>
                    <a:lnTo>
                      <a:pt x="169" y="756"/>
                    </a:lnTo>
                    <a:lnTo>
                      <a:pt x="167" y="757"/>
                    </a:lnTo>
                    <a:lnTo>
                      <a:pt x="164" y="757"/>
                    </a:lnTo>
                    <a:lnTo>
                      <a:pt x="163" y="757"/>
                    </a:lnTo>
                    <a:lnTo>
                      <a:pt x="159" y="757"/>
                    </a:lnTo>
                    <a:lnTo>
                      <a:pt x="157" y="756"/>
                    </a:lnTo>
                    <a:lnTo>
                      <a:pt x="156" y="756"/>
                    </a:lnTo>
                    <a:lnTo>
                      <a:pt x="154" y="756"/>
                    </a:lnTo>
                    <a:lnTo>
                      <a:pt x="153" y="754"/>
                    </a:lnTo>
                    <a:lnTo>
                      <a:pt x="153" y="757"/>
                    </a:lnTo>
                    <a:lnTo>
                      <a:pt x="151" y="760"/>
                    </a:lnTo>
                    <a:lnTo>
                      <a:pt x="150" y="761"/>
                    </a:lnTo>
                    <a:lnTo>
                      <a:pt x="149" y="763"/>
                    </a:lnTo>
                    <a:lnTo>
                      <a:pt x="147" y="764"/>
                    </a:lnTo>
                    <a:lnTo>
                      <a:pt x="146" y="764"/>
                    </a:lnTo>
                    <a:lnTo>
                      <a:pt x="143" y="764"/>
                    </a:lnTo>
                    <a:lnTo>
                      <a:pt x="140" y="763"/>
                    </a:lnTo>
                    <a:lnTo>
                      <a:pt x="138" y="761"/>
                    </a:lnTo>
                    <a:lnTo>
                      <a:pt x="137" y="760"/>
                    </a:lnTo>
                    <a:lnTo>
                      <a:pt x="136" y="758"/>
                    </a:lnTo>
                    <a:lnTo>
                      <a:pt x="134" y="756"/>
                    </a:lnTo>
                    <a:lnTo>
                      <a:pt x="134" y="754"/>
                    </a:lnTo>
                    <a:lnTo>
                      <a:pt x="133" y="751"/>
                    </a:lnTo>
                    <a:lnTo>
                      <a:pt x="133" y="748"/>
                    </a:lnTo>
                    <a:lnTo>
                      <a:pt x="133" y="745"/>
                    </a:lnTo>
                    <a:lnTo>
                      <a:pt x="131" y="744"/>
                    </a:lnTo>
                    <a:lnTo>
                      <a:pt x="131" y="744"/>
                    </a:lnTo>
                    <a:lnTo>
                      <a:pt x="131" y="743"/>
                    </a:lnTo>
                    <a:lnTo>
                      <a:pt x="131" y="743"/>
                    </a:lnTo>
                    <a:lnTo>
                      <a:pt x="131" y="741"/>
                    </a:lnTo>
                    <a:lnTo>
                      <a:pt x="130" y="741"/>
                    </a:lnTo>
                    <a:lnTo>
                      <a:pt x="130" y="740"/>
                    </a:lnTo>
                    <a:lnTo>
                      <a:pt x="128" y="738"/>
                    </a:lnTo>
                    <a:lnTo>
                      <a:pt x="127" y="738"/>
                    </a:lnTo>
                    <a:lnTo>
                      <a:pt x="125" y="737"/>
                    </a:lnTo>
                    <a:lnTo>
                      <a:pt x="124" y="735"/>
                    </a:lnTo>
                    <a:lnTo>
                      <a:pt x="123" y="735"/>
                    </a:lnTo>
                    <a:lnTo>
                      <a:pt x="123" y="734"/>
                    </a:lnTo>
                    <a:lnTo>
                      <a:pt x="123" y="732"/>
                    </a:lnTo>
                    <a:lnTo>
                      <a:pt x="123" y="732"/>
                    </a:lnTo>
                    <a:lnTo>
                      <a:pt x="124" y="731"/>
                    </a:lnTo>
                    <a:lnTo>
                      <a:pt x="125" y="731"/>
                    </a:lnTo>
                    <a:lnTo>
                      <a:pt x="127" y="730"/>
                    </a:lnTo>
                    <a:lnTo>
                      <a:pt x="128" y="730"/>
                    </a:lnTo>
                    <a:lnTo>
                      <a:pt x="130" y="730"/>
                    </a:lnTo>
                    <a:lnTo>
                      <a:pt x="130" y="730"/>
                    </a:lnTo>
                    <a:lnTo>
                      <a:pt x="131" y="730"/>
                    </a:lnTo>
                    <a:lnTo>
                      <a:pt x="134" y="731"/>
                    </a:lnTo>
                    <a:lnTo>
                      <a:pt x="136" y="731"/>
                    </a:lnTo>
                    <a:lnTo>
                      <a:pt x="138" y="732"/>
                    </a:lnTo>
                    <a:lnTo>
                      <a:pt x="138" y="732"/>
                    </a:lnTo>
                    <a:lnTo>
                      <a:pt x="140" y="732"/>
                    </a:lnTo>
                    <a:lnTo>
                      <a:pt x="141" y="732"/>
                    </a:lnTo>
                    <a:lnTo>
                      <a:pt x="144" y="731"/>
                    </a:lnTo>
                    <a:lnTo>
                      <a:pt x="146" y="731"/>
                    </a:lnTo>
                    <a:lnTo>
                      <a:pt x="147" y="731"/>
                    </a:lnTo>
                    <a:lnTo>
                      <a:pt x="149" y="730"/>
                    </a:lnTo>
                    <a:lnTo>
                      <a:pt x="150" y="728"/>
                    </a:lnTo>
                    <a:lnTo>
                      <a:pt x="153" y="727"/>
                    </a:lnTo>
                    <a:lnTo>
                      <a:pt x="153" y="725"/>
                    </a:lnTo>
                    <a:lnTo>
                      <a:pt x="154" y="724"/>
                    </a:lnTo>
                    <a:lnTo>
                      <a:pt x="154" y="722"/>
                    </a:lnTo>
                    <a:lnTo>
                      <a:pt x="154" y="721"/>
                    </a:lnTo>
                    <a:lnTo>
                      <a:pt x="154" y="721"/>
                    </a:lnTo>
                    <a:lnTo>
                      <a:pt x="153" y="721"/>
                    </a:lnTo>
                    <a:lnTo>
                      <a:pt x="153" y="721"/>
                    </a:lnTo>
                    <a:lnTo>
                      <a:pt x="151" y="719"/>
                    </a:lnTo>
                    <a:lnTo>
                      <a:pt x="150" y="719"/>
                    </a:lnTo>
                    <a:lnTo>
                      <a:pt x="150" y="718"/>
                    </a:lnTo>
                    <a:lnTo>
                      <a:pt x="150" y="717"/>
                    </a:lnTo>
                    <a:lnTo>
                      <a:pt x="149" y="717"/>
                    </a:lnTo>
                    <a:lnTo>
                      <a:pt x="147" y="717"/>
                    </a:lnTo>
                    <a:lnTo>
                      <a:pt x="147" y="715"/>
                    </a:lnTo>
                    <a:lnTo>
                      <a:pt x="147" y="715"/>
                    </a:lnTo>
                    <a:lnTo>
                      <a:pt x="147" y="715"/>
                    </a:lnTo>
                    <a:lnTo>
                      <a:pt x="147" y="714"/>
                    </a:lnTo>
                    <a:lnTo>
                      <a:pt x="146" y="714"/>
                    </a:lnTo>
                    <a:lnTo>
                      <a:pt x="146" y="714"/>
                    </a:lnTo>
                    <a:lnTo>
                      <a:pt x="144" y="714"/>
                    </a:lnTo>
                    <a:lnTo>
                      <a:pt x="144" y="714"/>
                    </a:lnTo>
                    <a:lnTo>
                      <a:pt x="143" y="714"/>
                    </a:lnTo>
                    <a:lnTo>
                      <a:pt x="141" y="712"/>
                    </a:lnTo>
                    <a:lnTo>
                      <a:pt x="140" y="712"/>
                    </a:lnTo>
                    <a:lnTo>
                      <a:pt x="138" y="712"/>
                    </a:lnTo>
                    <a:lnTo>
                      <a:pt x="137" y="711"/>
                    </a:lnTo>
                    <a:lnTo>
                      <a:pt x="136" y="711"/>
                    </a:lnTo>
                    <a:lnTo>
                      <a:pt x="134" y="712"/>
                    </a:lnTo>
                    <a:lnTo>
                      <a:pt x="134" y="712"/>
                    </a:lnTo>
                    <a:lnTo>
                      <a:pt x="133" y="712"/>
                    </a:lnTo>
                    <a:lnTo>
                      <a:pt x="131" y="711"/>
                    </a:lnTo>
                    <a:lnTo>
                      <a:pt x="131" y="711"/>
                    </a:lnTo>
                    <a:lnTo>
                      <a:pt x="131" y="709"/>
                    </a:lnTo>
                    <a:lnTo>
                      <a:pt x="133" y="708"/>
                    </a:lnTo>
                    <a:lnTo>
                      <a:pt x="133" y="706"/>
                    </a:lnTo>
                    <a:lnTo>
                      <a:pt x="133" y="705"/>
                    </a:lnTo>
                    <a:lnTo>
                      <a:pt x="133" y="705"/>
                    </a:lnTo>
                    <a:lnTo>
                      <a:pt x="131" y="704"/>
                    </a:lnTo>
                    <a:lnTo>
                      <a:pt x="130" y="704"/>
                    </a:lnTo>
                    <a:lnTo>
                      <a:pt x="128" y="704"/>
                    </a:lnTo>
                    <a:lnTo>
                      <a:pt x="125" y="704"/>
                    </a:lnTo>
                    <a:lnTo>
                      <a:pt x="124" y="704"/>
                    </a:lnTo>
                    <a:lnTo>
                      <a:pt x="124" y="704"/>
                    </a:lnTo>
                    <a:lnTo>
                      <a:pt x="115" y="694"/>
                    </a:lnTo>
                    <a:lnTo>
                      <a:pt x="115" y="694"/>
                    </a:lnTo>
                    <a:lnTo>
                      <a:pt x="115" y="692"/>
                    </a:lnTo>
                    <a:lnTo>
                      <a:pt x="114" y="691"/>
                    </a:lnTo>
                    <a:lnTo>
                      <a:pt x="114" y="689"/>
                    </a:lnTo>
                    <a:lnTo>
                      <a:pt x="111" y="688"/>
                    </a:lnTo>
                    <a:lnTo>
                      <a:pt x="110" y="686"/>
                    </a:lnTo>
                    <a:lnTo>
                      <a:pt x="108" y="685"/>
                    </a:lnTo>
                    <a:lnTo>
                      <a:pt x="107" y="683"/>
                    </a:lnTo>
                    <a:lnTo>
                      <a:pt x="107" y="682"/>
                    </a:lnTo>
                    <a:lnTo>
                      <a:pt x="105" y="682"/>
                    </a:lnTo>
                    <a:lnTo>
                      <a:pt x="105" y="681"/>
                    </a:lnTo>
                    <a:lnTo>
                      <a:pt x="105" y="681"/>
                    </a:lnTo>
                    <a:lnTo>
                      <a:pt x="107" y="681"/>
                    </a:lnTo>
                    <a:lnTo>
                      <a:pt x="107" y="679"/>
                    </a:lnTo>
                    <a:lnTo>
                      <a:pt x="108" y="678"/>
                    </a:lnTo>
                    <a:lnTo>
                      <a:pt x="108" y="676"/>
                    </a:lnTo>
                    <a:lnTo>
                      <a:pt x="108" y="675"/>
                    </a:lnTo>
                    <a:lnTo>
                      <a:pt x="108" y="675"/>
                    </a:lnTo>
                    <a:lnTo>
                      <a:pt x="108" y="673"/>
                    </a:lnTo>
                    <a:lnTo>
                      <a:pt x="107" y="672"/>
                    </a:lnTo>
                    <a:lnTo>
                      <a:pt x="107" y="670"/>
                    </a:lnTo>
                    <a:lnTo>
                      <a:pt x="105" y="670"/>
                    </a:lnTo>
                    <a:lnTo>
                      <a:pt x="105" y="669"/>
                    </a:lnTo>
                    <a:lnTo>
                      <a:pt x="105" y="669"/>
                    </a:lnTo>
                    <a:lnTo>
                      <a:pt x="105" y="668"/>
                    </a:lnTo>
                    <a:lnTo>
                      <a:pt x="105" y="665"/>
                    </a:lnTo>
                    <a:lnTo>
                      <a:pt x="107" y="663"/>
                    </a:lnTo>
                    <a:lnTo>
                      <a:pt x="107" y="663"/>
                    </a:lnTo>
                    <a:lnTo>
                      <a:pt x="107" y="662"/>
                    </a:lnTo>
                    <a:lnTo>
                      <a:pt x="105" y="662"/>
                    </a:lnTo>
                    <a:lnTo>
                      <a:pt x="105" y="660"/>
                    </a:lnTo>
                    <a:lnTo>
                      <a:pt x="104" y="660"/>
                    </a:lnTo>
                    <a:lnTo>
                      <a:pt x="102" y="659"/>
                    </a:lnTo>
                    <a:lnTo>
                      <a:pt x="101" y="659"/>
                    </a:lnTo>
                    <a:lnTo>
                      <a:pt x="100" y="657"/>
                    </a:lnTo>
                    <a:lnTo>
                      <a:pt x="97" y="655"/>
                    </a:lnTo>
                    <a:lnTo>
                      <a:pt x="94" y="653"/>
                    </a:lnTo>
                    <a:lnTo>
                      <a:pt x="92" y="653"/>
                    </a:lnTo>
                    <a:lnTo>
                      <a:pt x="91" y="652"/>
                    </a:lnTo>
                    <a:lnTo>
                      <a:pt x="89" y="652"/>
                    </a:lnTo>
                    <a:lnTo>
                      <a:pt x="89" y="652"/>
                    </a:lnTo>
                    <a:lnTo>
                      <a:pt x="88" y="652"/>
                    </a:lnTo>
                    <a:lnTo>
                      <a:pt x="88" y="652"/>
                    </a:lnTo>
                    <a:lnTo>
                      <a:pt x="87" y="652"/>
                    </a:lnTo>
                    <a:lnTo>
                      <a:pt x="85" y="652"/>
                    </a:lnTo>
                    <a:lnTo>
                      <a:pt x="82" y="653"/>
                    </a:lnTo>
                    <a:lnTo>
                      <a:pt x="79" y="655"/>
                    </a:lnTo>
                    <a:lnTo>
                      <a:pt x="76" y="656"/>
                    </a:lnTo>
                    <a:lnTo>
                      <a:pt x="75" y="656"/>
                    </a:lnTo>
                    <a:lnTo>
                      <a:pt x="74" y="656"/>
                    </a:lnTo>
                    <a:lnTo>
                      <a:pt x="72" y="656"/>
                    </a:lnTo>
                    <a:lnTo>
                      <a:pt x="71" y="656"/>
                    </a:lnTo>
                    <a:lnTo>
                      <a:pt x="69" y="655"/>
                    </a:lnTo>
                    <a:lnTo>
                      <a:pt x="69" y="653"/>
                    </a:lnTo>
                    <a:lnTo>
                      <a:pt x="69" y="653"/>
                    </a:lnTo>
                    <a:lnTo>
                      <a:pt x="69" y="652"/>
                    </a:lnTo>
                    <a:lnTo>
                      <a:pt x="71" y="652"/>
                    </a:lnTo>
                    <a:lnTo>
                      <a:pt x="71" y="650"/>
                    </a:lnTo>
                    <a:lnTo>
                      <a:pt x="69" y="650"/>
                    </a:lnTo>
                    <a:lnTo>
                      <a:pt x="69" y="649"/>
                    </a:lnTo>
                    <a:lnTo>
                      <a:pt x="61" y="649"/>
                    </a:lnTo>
                    <a:lnTo>
                      <a:pt x="59" y="649"/>
                    </a:lnTo>
                    <a:lnTo>
                      <a:pt x="59" y="649"/>
                    </a:lnTo>
                    <a:lnTo>
                      <a:pt x="56" y="649"/>
                    </a:lnTo>
                    <a:lnTo>
                      <a:pt x="55" y="649"/>
                    </a:lnTo>
                    <a:lnTo>
                      <a:pt x="53" y="649"/>
                    </a:lnTo>
                    <a:lnTo>
                      <a:pt x="52" y="647"/>
                    </a:lnTo>
                    <a:lnTo>
                      <a:pt x="49" y="646"/>
                    </a:lnTo>
                    <a:lnTo>
                      <a:pt x="49" y="646"/>
                    </a:lnTo>
                    <a:lnTo>
                      <a:pt x="46" y="646"/>
                    </a:lnTo>
                    <a:lnTo>
                      <a:pt x="45" y="646"/>
                    </a:lnTo>
                    <a:lnTo>
                      <a:pt x="45" y="646"/>
                    </a:lnTo>
                    <a:lnTo>
                      <a:pt x="43" y="646"/>
                    </a:lnTo>
                    <a:lnTo>
                      <a:pt x="43" y="646"/>
                    </a:lnTo>
                    <a:lnTo>
                      <a:pt x="42" y="644"/>
                    </a:lnTo>
                    <a:lnTo>
                      <a:pt x="42" y="644"/>
                    </a:lnTo>
                    <a:lnTo>
                      <a:pt x="42" y="642"/>
                    </a:lnTo>
                    <a:lnTo>
                      <a:pt x="40" y="640"/>
                    </a:lnTo>
                    <a:lnTo>
                      <a:pt x="40" y="637"/>
                    </a:lnTo>
                    <a:lnTo>
                      <a:pt x="40" y="634"/>
                    </a:lnTo>
                    <a:lnTo>
                      <a:pt x="40" y="634"/>
                    </a:lnTo>
                    <a:lnTo>
                      <a:pt x="40" y="634"/>
                    </a:lnTo>
                    <a:lnTo>
                      <a:pt x="39" y="633"/>
                    </a:lnTo>
                    <a:lnTo>
                      <a:pt x="37" y="632"/>
                    </a:lnTo>
                    <a:lnTo>
                      <a:pt x="36" y="629"/>
                    </a:lnTo>
                    <a:lnTo>
                      <a:pt x="35" y="627"/>
                    </a:lnTo>
                    <a:lnTo>
                      <a:pt x="32" y="626"/>
                    </a:lnTo>
                    <a:lnTo>
                      <a:pt x="30" y="624"/>
                    </a:lnTo>
                    <a:lnTo>
                      <a:pt x="29" y="623"/>
                    </a:lnTo>
                    <a:lnTo>
                      <a:pt x="27" y="623"/>
                    </a:lnTo>
                    <a:lnTo>
                      <a:pt x="26" y="623"/>
                    </a:lnTo>
                    <a:lnTo>
                      <a:pt x="27" y="621"/>
                    </a:lnTo>
                    <a:lnTo>
                      <a:pt x="29" y="619"/>
                    </a:lnTo>
                    <a:lnTo>
                      <a:pt x="29" y="617"/>
                    </a:lnTo>
                    <a:lnTo>
                      <a:pt x="30" y="616"/>
                    </a:lnTo>
                    <a:lnTo>
                      <a:pt x="30" y="613"/>
                    </a:lnTo>
                    <a:lnTo>
                      <a:pt x="29" y="611"/>
                    </a:lnTo>
                    <a:lnTo>
                      <a:pt x="29" y="610"/>
                    </a:lnTo>
                    <a:lnTo>
                      <a:pt x="29" y="610"/>
                    </a:lnTo>
                    <a:lnTo>
                      <a:pt x="27" y="608"/>
                    </a:lnTo>
                    <a:lnTo>
                      <a:pt x="26" y="608"/>
                    </a:lnTo>
                    <a:lnTo>
                      <a:pt x="25" y="607"/>
                    </a:lnTo>
                    <a:lnTo>
                      <a:pt x="23" y="607"/>
                    </a:lnTo>
                    <a:lnTo>
                      <a:pt x="22" y="606"/>
                    </a:lnTo>
                    <a:lnTo>
                      <a:pt x="20" y="606"/>
                    </a:lnTo>
                    <a:lnTo>
                      <a:pt x="20" y="604"/>
                    </a:lnTo>
                    <a:lnTo>
                      <a:pt x="19" y="604"/>
                    </a:lnTo>
                    <a:lnTo>
                      <a:pt x="19" y="603"/>
                    </a:lnTo>
                    <a:lnTo>
                      <a:pt x="20" y="601"/>
                    </a:lnTo>
                    <a:lnTo>
                      <a:pt x="20" y="601"/>
                    </a:lnTo>
                    <a:lnTo>
                      <a:pt x="20" y="600"/>
                    </a:lnTo>
                    <a:lnTo>
                      <a:pt x="22" y="598"/>
                    </a:lnTo>
                    <a:lnTo>
                      <a:pt x="25" y="597"/>
                    </a:lnTo>
                    <a:lnTo>
                      <a:pt x="26" y="594"/>
                    </a:lnTo>
                    <a:lnTo>
                      <a:pt x="26" y="594"/>
                    </a:lnTo>
                    <a:lnTo>
                      <a:pt x="25" y="593"/>
                    </a:lnTo>
                    <a:lnTo>
                      <a:pt x="25" y="593"/>
                    </a:lnTo>
                    <a:lnTo>
                      <a:pt x="23" y="591"/>
                    </a:lnTo>
                    <a:lnTo>
                      <a:pt x="22" y="588"/>
                    </a:lnTo>
                    <a:lnTo>
                      <a:pt x="22" y="587"/>
                    </a:lnTo>
                    <a:lnTo>
                      <a:pt x="20" y="585"/>
                    </a:lnTo>
                    <a:lnTo>
                      <a:pt x="19" y="585"/>
                    </a:lnTo>
                    <a:lnTo>
                      <a:pt x="19" y="584"/>
                    </a:lnTo>
                    <a:lnTo>
                      <a:pt x="17" y="584"/>
                    </a:lnTo>
                    <a:lnTo>
                      <a:pt x="17" y="584"/>
                    </a:lnTo>
                    <a:lnTo>
                      <a:pt x="17" y="582"/>
                    </a:lnTo>
                    <a:lnTo>
                      <a:pt x="17" y="580"/>
                    </a:lnTo>
                    <a:lnTo>
                      <a:pt x="17" y="580"/>
                    </a:lnTo>
                    <a:lnTo>
                      <a:pt x="17" y="578"/>
                    </a:lnTo>
                    <a:lnTo>
                      <a:pt x="19" y="578"/>
                    </a:lnTo>
                    <a:lnTo>
                      <a:pt x="17" y="577"/>
                    </a:lnTo>
                    <a:lnTo>
                      <a:pt x="17" y="575"/>
                    </a:lnTo>
                    <a:lnTo>
                      <a:pt x="16" y="574"/>
                    </a:lnTo>
                    <a:lnTo>
                      <a:pt x="16" y="572"/>
                    </a:lnTo>
                    <a:lnTo>
                      <a:pt x="14" y="570"/>
                    </a:lnTo>
                    <a:lnTo>
                      <a:pt x="14" y="568"/>
                    </a:lnTo>
                    <a:lnTo>
                      <a:pt x="14" y="567"/>
                    </a:lnTo>
                    <a:lnTo>
                      <a:pt x="16" y="567"/>
                    </a:lnTo>
                    <a:lnTo>
                      <a:pt x="16" y="567"/>
                    </a:lnTo>
                    <a:lnTo>
                      <a:pt x="17" y="565"/>
                    </a:lnTo>
                    <a:lnTo>
                      <a:pt x="20" y="564"/>
                    </a:lnTo>
                    <a:lnTo>
                      <a:pt x="22" y="564"/>
                    </a:lnTo>
                    <a:lnTo>
                      <a:pt x="23" y="562"/>
                    </a:lnTo>
                    <a:lnTo>
                      <a:pt x="23" y="561"/>
                    </a:lnTo>
                    <a:lnTo>
                      <a:pt x="23" y="559"/>
                    </a:lnTo>
                    <a:lnTo>
                      <a:pt x="23" y="557"/>
                    </a:lnTo>
                    <a:lnTo>
                      <a:pt x="25" y="557"/>
                    </a:lnTo>
                    <a:lnTo>
                      <a:pt x="25" y="555"/>
                    </a:lnTo>
                    <a:lnTo>
                      <a:pt x="26" y="554"/>
                    </a:lnTo>
                    <a:lnTo>
                      <a:pt x="27" y="554"/>
                    </a:lnTo>
                    <a:lnTo>
                      <a:pt x="29" y="554"/>
                    </a:lnTo>
                    <a:lnTo>
                      <a:pt x="29" y="552"/>
                    </a:lnTo>
                    <a:lnTo>
                      <a:pt x="29" y="552"/>
                    </a:lnTo>
                    <a:lnTo>
                      <a:pt x="27" y="551"/>
                    </a:lnTo>
                    <a:lnTo>
                      <a:pt x="27" y="549"/>
                    </a:lnTo>
                    <a:lnTo>
                      <a:pt x="26" y="549"/>
                    </a:lnTo>
                    <a:lnTo>
                      <a:pt x="26" y="548"/>
                    </a:lnTo>
                    <a:lnTo>
                      <a:pt x="26" y="548"/>
                    </a:lnTo>
                    <a:lnTo>
                      <a:pt x="26" y="546"/>
                    </a:lnTo>
                    <a:lnTo>
                      <a:pt x="26" y="545"/>
                    </a:lnTo>
                    <a:lnTo>
                      <a:pt x="26" y="542"/>
                    </a:lnTo>
                    <a:lnTo>
                      <a:pt x="26" y="542"/>
                    </a:lnTo>
                    <a:lnTo>
                      <a:pt x="26" y="541"/>
                    </a:lnTo>
                    <a:lnTo>
                      <a:pt x="26" y="541"/>
                    </a:lnTo>
                    <a:lnTo>
                      <a:pt x="27" y="541"/>
                    </a:lnTo>
                    <a:lnTo>
                      <a:pt x="29" y="542"/>
                    </a:lnTo>
                    <a:lnTo>
                      <a:pt x="30" y="542"/>
                    </a:lnTo>
                    <a:lnTo>
                      <a:pt x="32" y="542"/>
                    </a:lnTo>
                    <a:lnTo>
                      <a:pt x="32" y="542"/>
                    </a:lnTo>
                    <a:lnTo>
                      <a:pt x="32" y="542"/>
                    </a:lnTo>
                    <a:lnTo>
                      <a:pt x="32" y="542"/>
                    </a:lnTo>
                    <a:lnTo>
                      <a:pt x="33" y="541"/>
                    </a:lnTo>
                    <a:lnTo>
                      <a:pt x="33" y="541"/>
                    </a:lnTo>
                    <a:lnTo>
                      <a:pt x="35" y="539"/>
                    </a:lnTo>
                    <a:lnTo>
                      <a:pt x="35" y="539"/>
                    </a:lnTo>
                    <a:lnTo>
                      <a:pt x="35" y="538"/>
                    </a:lnTo>
                    <a:lnTo>
                      <a:pt x="36" y="538"/>
                    </a:lnTo>
                    <a:lnTo>
                      <a:pt x="36" y="538"/>
                    </a:lnTo>
                    <a:lnTo>
                      <a:pt x="39" y="539"/>
                    </a:lnTo>
                    <a:lnTo>
                      <a:pt x="39" y="539"/>
                    </a:lnTo>
                    <a:lnTo>
                      <a:pt x="40" y="539"/>
                    </a:lnTo>
                    <a:lnTo>
                      <a:pt x="42" y="539"/>
                    </a:lnTo>
                    <a:lnTo>
                      <a:pt x="45" y="539"/>
                    </a:lnTo>
                    <a:lnTo>
                      <a:pt x="45" y="538"/>
                    </a:lnTo>
                    <a:lnTo>
                      <a:pt x="46" y="536"/>
                    </a:lnTo>
                    <a:lnTo>
                      <a:pt x="48" y="535"/>
                    </a:lnTo>
                    <a:lnTo>
                      <a:pt x="49" y="535"/>
                    </a:lnTo>
                    <a:lnTo>
                      <a:pt x="49" y="533"/>
                    </a:lnTo>
                    <a:lnTo>
                      <a:pt x="52" y="533"/>
                    </a:lnTo>
                    <a:lnTo>
                      <a:pt x="53" y="533"/>
                    </a:lnTo>
                    <a:lnTo>
                      <a:pt x="56" y="535"/>
                    </a:lnTo>
                    <a:lnTo>
                      <a:pt x="59" y="535"/>
                    </a:lnTo>
                    <a:lnTo>
                      <a:pt x="61" y="536"/>
                    </a:lnTo>
                    <a:lnTo>
                      <a:pt x="63" y="538"/>
                    </a:lnTo>
                    <a:lnTo>
                      <a:pt x="65" y="539"/>
                    </a:lnTo>
                    <a:lnTo>
                      <a:pt x="66" y="539"/>
                    </a:lnTo>
                    <a:lnTo>
                      <a:pt x="69" y="539"/>
                    </a:lnTo>
                    <a:lnTo>
                      <a:pt x="69" y="539"/>
                    </a:lnTo>
                    <a:lnTo>
                      <a:pt x="71" y="539"/>
                    </a:lnTo>
                    <a:lnTo>
                      <a:pt x="71" y="538"/>
                    </a:lnTo>
                    <a:lnTo>
                      <a:pt x="71" y="538"/>
                    </a:lnTo>
                    <a:lnTo>
                      <a:pt x="69" y="536"/>
                    </a:lnTo>
                    <a:lnTo>
                      <a:pt x="68" y="535"/>
                    </a:lnTo>
                    <a:lnTo>
                      <a:pt x="66" y="533"/>
                    </a:lnTo>
                    <a:lnTo>
                      <a:pt x="65" y="532"/>
                    </a:lnTo>
                    <a:lnTo>
                      <a:pt x="65" y="532"/>
                    </a:lnTo>
                    <a:lnTo>
                      <a:pt x="63" y="532"/>
                    </a:lnTo>
                    <a:lnTo>
                      <a:pt x="63" y="531"/>
                    </a:lnTo>
                    <a:lnTo>
                      <a:pt x="62" y="531"/>
                    </a:lnTo>
                    <a:lnTo>
                      <a:pt x="59" y="531"/>
                    </a:lnTo>
                    <a:lnTo>
                      <a:pt x="56" y="529"/>
                    </a:lnTo>
                    <a:lnTo>
                      <a:pt x="55" y="529"/>
                    </a:lnTo>
                    <a:lnTo>
                      <a:pt x="52" y="529"/>
                    </a:lnTo>
                    <a:lnTo>
                      <a:pt x="50" y="529"/>
                    </a:lnTo>
                    <a:lnTo>
                      <a:pt x="49" y="529"/>
                    </a:lnTo>
                    <a:lnTo>
                      <a:pt x="46" y="528"/>
                    </a:lnTo>
                    <a:lnTo>
                      <a:pt x="45" y="528"/>
                    </a:lnTo>
                    <a:lnTo>
                      <a:pt x="42" y="528"/>
                    </a:lnTo>
                    <a:lnTo>
                      <a:pt x="40" y="526"/>
                    </a:lnTo>
                    <a:lnTo>
                      <a:pt x="37" y="525"/>
                    </a:lnTo>
                    <a:lnTo>
                      <a:pt x="36" y="523"/>
                    </a:lnTo>
                    <a:lnTo>
                      <a:pt x="35" y="522"/>
                    </a:lnTo>
                    <a:lnTo>
                      <a:pt x="33" y="520"/>
                    </a:lnTo>
                    <a:lnTo>
                      <a:pt x="32" y="519"/>
                    </a:lnTo>
                    <a:lnTo>
                      <a:pt x="32" y="519"/>
                    </a:lnTo>
                    <a:lnTo>
                      <a:pt x="33" y="519"/>
                    </a:lnTo>
                    <a:lnTo>
                      <a:pt x="33" y="519"/>
                    </a:lnTo>
                    <a:lnTo>
                      <a:pt x="35" y="520"/>
                    </a:lnTo>
                    <a:lnTo>
                      <a:pt x="35" y="520"/>
                    </a:lnTo>
                    <a:lnTo>
                      <a:pt x="36" y="522"/>
                    </a:lnTo>
                    <a:lnTo>
                      <a:pt x="37" y="522"/>
                    </a:lnTo>
                    <a:lnTo>
                      <a:pt x="36" y="520"/>
                    </a:lnTo>
                    <a:lnTo>
                      <a:pt x="36" y="520"/>
                    </a:lnTo>
                    <a:lnTo>
                      <a:pt x="36" y="519"/>
                    </a:lnTo>
                    <a:lnTo>
                      <a:pt x="35" y="518"/>
                    </a:lnTo>
                    <a:lnTo>
                      <a:pt x="36" y="516"/>
                    </a:lnTo>
                    <a:lnTo>
                      <a:pt x="36" y="516"/>
                    </a:lnTo>
                    <a:lnTo>
                      <a:pt x="36" y="515"/>
                    </a:lnTo>
                    <a:lnTo>
                      <a:pt x="37" y="515"/>
                    </a:lnTo>
                    <a:lnTo>
                      <a:pt x="36" y="515"/>
                    </a:lnTo>
                    <a:lnTo>
                      <a:pt x="35" y="515"/>
                    </a:lnTo>
                    <a:lnTo>
                      <a:pt x="32" y="515"/>
                    </a:lnTo>
                    <a:lnTo>
                      <a:pt x="32" y="515"/>
                    </a:lnTo>
                    <a:lnTo>
                      <a:pt x="30" y="516"/>
                    </a:lnTo>
                    <a:lnTo>
                      <a:pt x="29" y="516"/>
                    </a:lnTo>
                    <a:lnTo>
                      <a:pt x="27" y="518"/>
                    </a:lnTo>
                    <a:lnTo>
                      <a:pt x="26" y="518"/>
                    </a:lnTo>
                    <a:lnTo>
                      <a:pt x="25" y="519"/>
                    </a:lnTo>
                    <a:lnTo>
                      <a:pt x="23" y="519"/>
                    </a:lnTo>
                    <a:lnTo>
                      <a:pt x="22" y="519"/>
                    </a:lnTo>
                    <a:lnTo>
                      <a:pt x="20" y="519"/>
                    </a:lnTo>
                    <a:lnTo>
                      <a:pt x="19" y="519"/>
                    </a:lnTo>
                    <a:lnTo>
                      <a:pt x="17" y="519"/>
                    </a:lnTo>
                    <a:lnTo>
                      <a:pt x="20" y="516"/>
                    </a:lnTo>
                    <a:lnTo>
                      <a:pt x="25" y="513"/>
                    </a:lnTo>
                    <a:lnTo>
                      <a:pt x="29" y="510"/>
                    </a:lnTo>
                    <a:lnTo>
                      <a:pt x="32" y="508"/>
                    </a:lnTo>
                    <a:lnTo>
                      <a:pt x="40" y="502"/>
                    </a:lnTo>
                    <a:lnTo>
                      <a:pt x="45" y="499"/>
                    </a:lnTo>
                    <a:lnTo>
                      <a:pt x="49" y="497"/>
                    </a:lnTo>
                    <a:lnTo>
                      <a:pt x="52" y="493"/>
                    </a:lnTo>
                    <a:lnTo>
                      <a:pt x="55" y="490"/>
                    </a:lnTo>
                    <a:lnTo>
                      <a:pt x="62" y="483"/>
                    </a:lnTo>
                    <a:lnTo>
                      <a:pt x="66" y="480"/>
                    </a:lnTo>
                    <a:lnTo>
                      <a:pt x="69" y="476"/>
                    </a:lnTo>
                    <a:lnTo>
                      <a:pt x="74" y="473"/>
                    </a:lnTo>
                    <a:lnTo>
                      <a:pt x="78" y="471"/>
                    </a:lnTo>
                    <a:lnTo>
                      <a:pt x="79" y="469"/>
                    </a:lnTo>
                    <a:lnTo>
                      <a:pt x="81" y="467"/>
                    </a:lnTo>
                    <a:lnTo>
                      <a:pt x="82" y="466"/>
                    </a:lnTo>
                    <a:lnTo>
                      <a:pt x="84" y="463"/>
                    </a:lnTo>
                    <a:lnTo>
                      <a:pt x="84" y="460"/>
                    </a:lnTo>
                    <a:lnTo>
                      <a:pt x="85" y="458"/>
                    </a:lnTo>
                    <a:lnTo>
                      <a:pt x="87" y="457"/>
                    </a:lnTo>
                    <a:lnTo>
                      <a:pt x="87" y="454"/>
                    </a:lnTo>
                    <a:lnTo>
                      <a:pt x="88" y="453"/>
                    </a:lnTo>
                    <a:lnTo>
                      <a:pt x="87" y="451"/>
                    </a:lnTo>
                    <a:lnTo>
                      <a:pt x="87" y="451"/>
                    </a:lnTo>
                    <a:lnTo>
                      <a:pt x="87" y="450"/>
                    </a:lnTo>
                    <a:lnTo>
                      <a:pt x="85" y="450"/>
                    </a:lnTo>
                    <a:lnTo>
                      <a:pt x="84" y="448"/>
                    </a:lnTo>
                    <a:lnTo>
                      <a:pt x="84" y="447"/>
                    </a:lnTo>
                    <a:lnTo>
                      <a:pt x="75" y="444"/>
                    </a:lnTo>
                    <a:lnTo>
                      <a:pt x="66" y="440"/>
                    </a:lnTo>
                    <a:lnTo>
                      <a:pt x="63" y="437"/>
                    </a:lnTo>
                    <a:lnTo>
                      <a:pt x="59" y="435"/>
                    </a:lnTo>
                    <a:lnTo>
                      <a:pt x="55" y="433"/>
                    </a:lnTo>
                    <a:lnTo>
                      <a:pt x="52" y="431"/>
                    </a:lnTo>
                    <a:lnTo>
                      <a:pt x="52" y="430"/>
                    </a:lnTo>
                    <a:lnTo>
                      <a:pt x="53" y="430"/>
                    </a:lnTo>
                    <a:lnTo>
                      <a:pt x="56" y="428"/>
                    </a:lnTo>
                    <a:lnTo>
                      <a:pt x="58" y="425"/>
                    </a:lnTo>
                    <a:lnTo>
                      <a:pt x="61" y="424"/>
                    </a:lnTo>
                    <a:lnTo>
                      <a:pt x="62" y="422"/>
                    </a:lnTo>
                    <a:lnTo>
                      <a:pt x="62" y="421"/>
                    </a:lnTo>
                    <a:lnTo>
                      <a:pt x="63" y="421"/>
                    </a:lnTo>
                    <a:lnTo>
                      <a:pt x="63" y="420"/>
                    </a:lnTo>
                    <a:lnTo>
                      <a:pt x="63" y="418"/>
                    </a:lnTo>
                    <a:lnTo>
                      <a:pt x="63" y="418"/>
                    </a:lnTo>
                    <a:lnTo>
                      <a:pt x="62" y="417"/>
                    </a:lnTo>
                    <a:lnTo>
                      <a:pt x="61" y="417"/>
                    </a:lnTo>
                    <a:lnTo>
                      <a:pt x="59" y="415"/>
                    </a:lnTo>
                    <a:lnTo>
                      <a:pt x="58" y="415"/>
                    </a:lnTo>
                    <a:lnTo>
                      <a:pt x="55" y="414"/>
                    </a:lnTo>
                    <a:lnTo>
                      <a:pt x="52" y="412"/>
                    </a:lnTo>
                    <a:lnTo>
                      <a:pt x="50" y="412"/>
                    </a:lnTo>
                    <a:lnTo>
                      <a:pt x="49" y="412"/>
                    </a:lnTo>
                    <a:lnTo>
                      <a:pt x="49" y="411"/>
                    </a:lnTo>
                    <a:lnTo>
                      <a:pt x="49" y="411"/>
                    </a:lnTo>
                    <a:lnTo>
                      <a:pt x="48" y="409"/>
                    </a:lnTo>
                    <a:lnTo>
                      <a:pt x="48" y="409"/>
                    </a:lnTo>
                    <a:lnTo>
                      <a:pt x="48" y="408"/>
                    </a:lnTo>
                    <a:lnTo>
                      <a:pt x="49" y="407"/>
                    </a:lnTo>
                    <a:lnTo>
                      <a:pt x="50" y="407"/>
                    </a:lnTo>
                    <a:lnTo>
                      <a:pt x="52" y="405"/>
                    </a:lnTo>
                    <a:lnTo>
                      <a:pt x="50" y="404"/>
                    </a:lnTo>
                    <a:lnTo>
                      <a:pt x="49" y="404"/>
                    </a:lnTo>
                    <a:lnTo>
                      <a:pt x="49" y="402"/>
                    </a:lnTo>
                    <a:lnTo>
                      <a:pt x="48" y="402"/>
                    </a:lnTo>
                    <a:lnTo>
                      <a:pt x="46" y="402"/>
                    </a:lnTo>
                    <a:lnTo>
                      <a:pt x="43" y="402"/>
                    </a:lnTo>
                    <a:lnTo>
                      <a:pt x="42" y="401"/>
                    </a:lnTo>
                    <a:lnTo>
                      <a:pt x="40" y="399"/>
                    </a:lnTo>
                    <a:lnTo>
                      <a:pt x="39" y="398"/>
                    </a:lnTo>
                    <a:lnTo>
                      <a:pt x="39" y="396"/>
                    </a:lnTo>
                    <a:lnTo>
                      <a:pt x="39" y="395"/>
                    </a:lnTo>
                    <a:lnTo>
                      <a:pt x="40" y="395"/>
                    </a:lnTo>
                    <a:lnTo>
                      <a:pt x="42" y="394"/>
                    </a:lnTo>
                    <a:lnTo>
                      <a:pt x="43" y="394"/>
                    </a:lnTo>
                    <a:lnTo>
                      <a:pt x="42" y="392"/>
                    </a:lnTo>
                    <a:lnTo>
                      <a:pt x="40" y="392"/>
                    </a:lnTo>
                    <a:lnTo>
                      <a:pt x="39" y="391"/>
                    </a:lnTo>
                    <a:lnTo>
                      <a:pt x="39" y="391"/>
                    </a:lnTo>
                    <a:lnTo>
                      <a:pt x="37" y="391"/>
                    </a:lnTo>
                    <a:lnTo>
                      <a:pt x="36" y="389"/>
                    </a:lnTo>
                    <a:lnTo>
                      <a:pt x="36" y="389"/>
                    </a:lnTo>
                    <a:lnTo>
                      <a:pt x="37" y="388"/>
                    </a:lnTo>
                    <a:lnTo>
                      <a:pt x="37" y="386"/>
                    </a:lnTo>
                    <a:lnTo>
                      <a:pt x="37" y="385"/>
                    </a:lnTo>
                    <a:lnTo>
                      <a:pt x="39" y="382"/>
                    </a:lnTo>
                    <a:lnTo>
                      <a:pt x="39" y="381"/>
                    </a:lnTo>
                    <a:lnTo>
                      <a:pt x="39" y="379"/>
                    </a:lnTo>
                    <a:lnTo>
                      <a:pt x="37" y="379"/>
                    </a:lnTo>
                    <a:lnTo>
                      <a:pt x="40" y="379"/>
                    </a:lnTo>
                    <a:lnTo>
                      <a:pt x="42" y="379"/>
                    </a:lnTo>
                    <a:lnTo>
                      <a:pt x="43" y="378"/>
                    </a:lnTo>
                    <a:lnTo>
                      <a:pt x="45" y="378"/>
                    </a:lnTo>
                    <a:lnTo>
                      <a:pt x="45" y="378"/>
                    </a:lnTo>
                    <a:lnTo>
                      <a:pt x="46" y="376"/>
                    </a:lnTo>
                    <a:lnTo>
                      <a:pt x="43" y="372"/>
                    </a:lnTo>
                    <a:lnTo>
                      <a:pt x="40" y="369"/>
                    </a:lnTo>
                    <a:lnTo>
                      <a:pt x="37" y="365"/>
                    </a:lnTo>
                    <a:lnTo>
                      <a:pt x="35" y="362"/>
                    </a:lnTo>
                    <a:lnTo>
                      <a:pt x="32" y="359"/>
                    </a:lnTo>
                    <a:lnTo>
                      <a:pt x="27" y="356"/>
                    </a:lnTo>
                    <a:lnTo>
                      <a:pt x="23" y="352"/>
                    </a:lnTo>
                    <a:lnTo>
                      <a:pt x="20" y="347"/>
                    </a:lnTo>
                    <a:lnTo>
                      <a:pt x="20" y="346"/>
                    </a:lnTo>
                    <a:lnTo>
                      <a:pt x="19" y="346"/>
                    </a:lnTo>
                    <a:lnTo>
                      <a:pt x="19" y="345"/>
                    </a:lnTo>
                    <a:lnTo>
                      <a:pt x="19" y="345"/>
                    </a:lnTo>
                    <a:lnTo>
                      <a:pt x="19" y="343"/>
                    </a:lnTo>
                    <a:lnTo>
                      <a:pt x="20" y="342"/>
                    </a:lnTo>
                    <a:lnTo>
                      <a:pt x="20" y="340"/>
                    </a:lnTo>
                    <a:lnTo>
                      <a:pt x="23" y="339"/>
                    </a:lnTo>
                    <a:lnTo>
                      <a:pt x="25" y="337"/>
                    </a:lnTo>
                    <a:lnTo>
                      <a:pt x="26" y="336"/>
                    </a:lnTo>
                    <a:lnTo>
                      <a:pt x="29" y="334"/>
                    </a:lnTo>
                    <a:lnTo>
                      <a:pt x="30" y="333"/>
                    </a:lnTo>
                    <a:lnTo>
                      <a:pt x="32" y="332"/>
                    </a:lnTo>
                    <a:lnTo>
                      <a:pt x="32" y="330"/>
                    </a:lnTo>
                    <a:lnTo>
                      <a:pt x="33" y="329"/>
                    </a:lnTo>
                    <a:lnTo>
                      <a:pt x="33" y="327"/>
                    </a:lnTo>
                    <a:lnTo>
                      <a:pt x="33" y="327"/>
                    </a:lnTo>
                    <a:lnTo>
                      <a:pt x="33" y="326"/>
                    </a:lnTo>
                    <a:lnTo>
                      <a:pt x="32" y="326"/>
                    </a:lnTo>
                    <a:lnTo>
                      <a:pt x="32" y="326"/>
                    </a:lnTo>
                    <a:lnTo>
                      <a:pt x="30" y="324"/>
                    </a:lnTo>
                    <a:lnTo>
                      <a:pt x="29" y="323"/>
                    </a:lnTo>
                    <a:lnTo>
                      <a:pt x="26" y="320"/>
                    </a:lnTo>
                    <a:lnTo>
                      <a:pt x="23" y="319"/>
                    </a:lnTo>
                    <a:lnTo>
                      <a:pt x="22" y="317"/>
                    </a:lnTo>
                    <a:lnTo>
                      <a:pt x="20" y="316"/>
                    </a:lnTo>
                    <a:lnTo>
                      <a:pt x="19" y="316"/>
                    </a:lnTo>
                    <a:lnTo>
                      <a:pt x="16" y="314"/>
                    </a:lnTo>
                    <a:lnTo>
                      <a:pt x="12" y="313"/>
                    </a:lnTo>
                    <a:lnTo>
                      <a:pt x="7" y="311"/>
                    </a:lnTo>
                    <a:lnTo>
                      <a:pt x="6" y="311"/>
                    </a:lnTo>
                    <a:lnTo>
                      <a:pt x="3" y="310"/>
                    </a:lnTo>
                    <a:lnTo>
                      <a:pt x="1" y="309"/>
                    </a:lnTo>
                    <a:lnTo>
                      <a:pt x="1" y="309"/>
                    </a:lnTo>
                    <a:lnTo>
                      <a:pt x="0" y="307"/>
                    </a:lnTo>
                    <a:lnTo>
                      <a:pt x="0" y="306"/>
                    </a:lnTo>
                    <a:lnTo>
                      <a:pt x="0" y="303"/>
                    </a:lnTo>
                    <a:lnTo>
                      <a:pt x="0" y="301"/>
                    </a:lnTo>
                    <a:lnTo>
                      <a:pt x="0" y="301"/>
                    </a:lnTo>
                    <a:lnTo>
                      <a:pt x="1" y="300"/>
                    </a:lnTo>
                    <a:lnTo>
                      <a:pt x="1" y="300"/>
                    </a:lnTo>
                    <a:lnTo>
                      <a:pt x="3" y="298"/>
                    </a:lnTo>
                    <a:lnTo>
                      <a:pt x="4" y="298"/>
                    </a:lnTo>
                    <a:lnTo>
                      <a:pt x="4" y="297"/>
                    </a:lnTo>
                    <a:lnTo>
                      <a:pt x="6" y="296"/>
                    </a:lnTo>
                    <a:lnTo>
                      <a:pt x="4" y="296"/>
                    </a:lnTo>
                    <a:lnTo>
                      <a:pt x="4" y="294"/>
                    </a:lnTo>
                    <a:lnTo>
                      <a:pt x="3" y="294"/>
                    </a:lnTo>
                    <a:lnTo>
                      <a:pt x="1" y="293"/>
                    </a:lnTo>
                    <a:lnTo>
                      <a:pt x="0" y="293"/>
                    </a:lnTo>
                    <a:lnTo>
                      <a:pt x="0" y="293"/>
                    </a:lnTo>
                    <a:lnTo>
                      <a:pt x="1" y="293"/>
                    </a:lnTo>
                    <a:lnTo>
                      <a:pt x="4" y="291"/>
                    </a:lnTo>
                    <a:lnTo>
                      <a:pt x="6" y="291"/>
                    </a:lnTo>
                    <a:lnTo>
                      <a:pt x="7" y="291"/>
                    </a:lnTo>
                    <a:lnTo>
                      <a:pt x="9" y="290"/>
                    </a:lnTo>
                    <a:lnTo>
                      <a:pt x="10" y="288"/>
                    </a:lnTo>
                    <a:lnTo>
                      <a:pt x="12" y="288"/>
                    </a:lnTo>
                    <a:lnTo>
                      <a:pt x="13" y="287"/>
                    </a:lnTo>
                    <a:lnTo>
                      <a:pt x="13" y="285"/>
                    </a:lnTo>
                    <a:lnTo>
                      <a:pt x="13" y="284"/>
                    </a:lnTo>
                    <a:lnTo>
                      <a:pt x="14" y="284"/>
                    </a:lnTo>
                    <a:lnTo>
                      <a:pt x="14" y="283"/>
                    </a:lnTo>
                    <a:lnTo>
                      <a:pt x="14" y="283"/>
                    </a:lnTo>
                    <a:lnTo>
                      <a:pt x="16" y="283"/>
                    </a:lnTo>
                    <a:lnTo>
                      <a:pt x="16" y="281"/>
                    </a:lnTo>
                    <a:lnTo>
                      <a:pt x="17" y="281"/>
                    </a:lnTo>
                    <a:lnTo>
                      <a:pt x="17" y="281"/>
                    </a:lnTo>
                    <a:lnTo>
                      <a:pt x="19" y="281"/>
                    </a:lnTo>
                    <a:lnTo>
                      <a:pt x="20" y="281"/>
                    </a:lnTo>
                    <a:lnTo>
                      <a:pt x="23" y="281"/>
                    </a:lnTo>
                    <a:lnTo>
                      <a:pt x="26" y="281"/>
                    </a:lnTo>
                    <a:lnTo>
                      <a:pt x="27" y="280"/>
                    </a:lnTo>
                    <a:lnTo>
                      <a:pt x="29" y="278"/>
                    </a:lnTo>
                    <a:lnTo>
                      <a:pt x="29" y="278"/>
                    </a:lnTo>
                    <a:lnTo>
                      <a:pt x="29" y="277"/>
                    </a:lnTo>
                    <a:lnTo>
                      <a:pt x="30" y="275"/>
                    </a:lnTo>
                    <a:lnTo>
                      <a:pt x="30" y="274"/>
                    </a:lnTo>
                    <a:lnTo>
                      <a:pt x="29" y="274"/>
                    </a:lnTo>
                    <a:lnTo>
                      <a:pt x="30" y="274"/>
                    </a:lnTo>
                    <a:lnTo>
                      <a:pt x="32" y="274"/>
                    </a:lnTo>
                    <a:lnTo>
                      <a:pt x="33" y="275"/>
                    </a:lnTo>
                    <a:lnTo>
                      <a:pt x="35" y="275"/>
                    </a:lnTo>
                    <a:lnTo>
                      <a:pt x="37" y="275"/>
                    </a:lnTo>
                    <a:lnTo>
                      <a:pt x="39" y="275"/>
                    </a:lnTo>
                    <a:lnTo>
                      <a:pt x="40" y="275"/>
                    </a:lnTo>
                    <a:lnTo>
                      <a:pt x="42" y="275"/>
                    </a:lnTo>
                    <a:lnTo>
                      <a:pt x="42" y="275"/>
                    </a:lnTo>
                    <a:lnTo>
                      <a:pt x="43" y="275"/>
                    </a:lnTo>
                    <a:lnTo>
                      <a:pt x="43" y="275"/>
                    </a:lnTo>
                    <a:lnTo>
                      <a:pt x="43" y="274"/>
                    </a:lnTo>
                    <a:lnTo>
                      <a:pt x="43" y="274"/>
                    </a:lnTo>
                    <a:lnTo>
                      <a:pt x="43" y="273"/>
                    </a:lnTo>
                    <a:lnTo>
                      <a:pt x="42" y="271"/>
                    </a:lnTo>
                    <a:lnTo>
                      <a:pt x="40" y="271"/>
                    </a:lnTo>
                    <a:lnTo>
                      <a:pt x="42" y="271"/>
                    </a:lnTo>
                    <a:lnTo>
                      <a:pt x="43" y="271"/>
                    </a:lnTo>
                    <a:lnTo>
                      <a:pt x="46" y="271"/>
                    </a:lnTo>
                    <a:lnTo>
                      <a:pt x="48" y="271"/>
                    </a:lnTo>
                    <a:lnTo>
                      <a:pt x="49" y="273"/>
                    </a:lnTo>
                    <a:lnTo>
                      <a:pt x="50" y="273"/>
                    </a:lnTo>
                    <a:lnTo>
                      <a:pt x="52" y="274"/>
                    </a:lnTo>
                    <a:lnTo>
                      <a:pt x="53" y="274"/>
                    </a:lnTo>
                    <a:lnTo>
                      <a:pt x="53" y="273"/>
                    </a:lnTo>
                    <a:lnTo>
                      <a:pt x="56" y="273"/>
                    </a:lnTo>
                    <a:lnTo>
                      <a:pt x="56" y="271"/>
                    </a:lnTo>
                    <a:lnTo>
                      <a:pt x="58" y="271"/>
                    </a:lnTo>
                    <a:lnTo>
                      <a:pt x="58" y="271"/>
                    </a:lnTo>
                    <a:lnTo>
                      <a:pt x="58" y="270"/>
                    </a:lnTo>
                    <a:lnTo>
                      <a:pt x="59" y="270"/>
                    </a:lnTo>
                    <a:lnTo>
                      <a:pt x="59" y="268"/>
                    </a:lnTo>
                    <a:lnTo>
                      <a:pt x="61" y="268"/>
                    </a:lnTo>
                    <a:lnTo>
                      <a:pt x="62" y="267"/>
                    </a:lnTo>
                    <a:lnTo>
                      <a:pt x="63" y="267"/>
                    </a:lnTo>
                    <a:lnTo>
                      <a:pt x="65" y="267"/>
                    </a:lnTo>
                    <a:lnTo>
                      <a:pt x="66" y="267"/>
                    </a:lnTo>
                    <a:lnTo>
                      <a:pt x="69" y="267"/>
                    </a:lnTo>
                    <a:lnTo>
                      <a:pt x="71" y="268"/>
                    </a:lnTo>
                    <a:lnTo>
                      <a:pt x="72" y="268"/>
                    </a:lnTo>
                    <a:lnTo>
                      <a:pt x="74" y="268"/>
                    </a:lnTo>
                    <a:lnTo>
                      <a:pt x="76" y="270"/>
                    </a:lnTo>
                    <a:lnTo>
                      <a:pt x="79" y="271"/>
                    </a:lnTo>
                    <a:lnTo>
                      <a:pt x="82" y="273"/>
                    </a:lnTo>
                    <a:lnTo>
                      <a:pt x="84" y="273"/>
                    </a:lnTo>
                    <a:lnTo>
                      <a:pt x="87" y="274"/>
                    </a:lnTo>
                    <a:lnTo>
                      <a:pt x="85" y="274"/>
                    </a:lnTo>
                    <a:lnTo>
                      <a:pt x="85" y="275"/>
                    </a:lnTo>
                    <a:lnTo>
                      <a:pt x="84" y="275"/>
                    </a:lnTo>
                    <a:lnTo>
                      <a:pt x="82" y="275"/>
                    </a:lnTo>
                    <a:lnTo>
                      <a:pt x="79" y="277"/>
                    </a:lnTo>
                    <a:lnTo>
                      <a:pt x="76" y="275"/>
                    </a:lnTo>
                    <a:lnTo>
                      <a:pt x="74" y="275"/>
                    </a:lnTo>
                    <a:lnTo>
                      <a:pt x="71" y="274"/>
                    </a:lnTo>
                    <a:lnTo>
                      <a:pt x="69" y="274"/>
                    </a:lnTo>
                    <a:lnTo>
                      <a:pt x="68" y="273"/>
                    </a:lnTo>
                    <a:lnTo>
                      <a:pt x="66" y="271"/>
                    </a:lnTo>
                    <a:lnTo>
                      <a:pt x="66" y="271"/>
                    </a:lnTo>
                    <a:lnTo>
                      <a:pt x="66" y="271"/>
                    </a:lnTo>
                    <a:lnTo>
                      <a:pt x="66" y="271"/>
                    </a:lnTo>
                    <a:lnTo>
                      <a:pt x="65" y="273"/>
                    </a:lnTo>
                    <a:lnTo>
                      <a:pt x="65" y="273"/>
                    </a:lnTo>
                    <a:lnTo>
                      <a:pt x="63" y="274"/>
                    </a:lnTo>
                    <a:lnTo>
                      <a:pt x="65" y="274"/>
                    </a:lnTo>
                    <a:lnTo>
                      <a:pt x="66" y="274"/>
                    </a:lnTo>
                    <a:lnTo>
                      <a:pt x="69" y="275"/>
                    </a:lnTo>
                    <a:lnTo>
                      <a:pt x="72" y="277"/>
                    </a:lnTo>
                    <a:lnTo>
                      <a:pt x="74" y="278"/>
                    </a:lnTo>
                    <a:lnTo>
                      <a:pt x="75" y="278"/>
                    </a:lnTo>
                    <a:lnTo>
                      <a:pt x="76" y="278"/>
                    </a:lnTo>
                    <a:lnTo>
                      <a:pt x="76" y="278"/>
                    </a:lnTo>
                    <a:lnTo>
                      <a:pt x="78" y="278"/>
                    </a:lnTo>
                    <a:lnTo>
                      <a:pt x="87" y="278"/>
                    </a:lnTo>
                    <a:lnTo>
                      <a:pt x="85" y="280"/>
                    </a:lnTo>
                    <a:lnTo>
                      <a:pt x="85" y="280"/>
                    </a:lnTo>
                    <a:lnTo>
                      <a:pt x="84" y="281"/>
                    </a:lnTo>
                    <a:lnTo>
                      <a:pt x="85" y="280"/>
                    </a:lnTo>
                    <a:lnTo>
                      <a:pt x="88" y="280"/>
                    </a:lnTo>
                    <a:lnTo>
                      <a:pt x="89" y="280"/>
                    </a:lnTo>
                    <a:lnTo>
                      <a:pt x="91" y="280"/>
                    </a:lnTo>
                    <a:lnTo>
                      <a:pt x="92" y="280"/>
                    </a:lnTo>
                    <a:lnTo>
                      <a:pt x="94" y="281"/>
                    </a:lnTo>
                    <a:lnTo>
                      <a:pt x="95" y="281"/>
                    </a:lnTo>
                    <a:lnTo>
                      <a:pt x="94" y="281"/>
                    </a:lnTo>
                    <a:lnTo>
                      <a:pt x="94" y="281"/>
                    </a:lnTo>
                    <a:lnTo>
                      <a:pt x="92" y="283"/>
                    </a:lnTo>
                    <a:lnTo>
                      <a:pt x="94" y="283"/>
                    </a:lnTo>
                    <a:lnTo>
                      <a:pt x="94" y="284"/>
                    </a:lnTo>
                    <a:lnTo>
                      <a:pt x="95" y="285"/>
                    </a:lnTo>
                    <a:lnTo>
                      <a:pt x="94" y="285"/>
                    </a:lnTo>
                    <a:lnTo>
                      <a:pt x="94" y="285"/>
                    </a:lnTo>
                    <a:lnTo>
                      <a:pt x="92" y="285"/>
                    </a:lnTo>
                    <a:lnTo>
                      <a:pt x="92" y="285"/>
                    </a:lnTo>
                    <a:lnTo>
                      <a:pt x="92" y="285"/>
                    </a:lnTo>
                    <a:lnTo>
                      <a:pt x="92" y="285"/>
                    </a:lnTo>
                    <a:lnTo>
                      <a:pt x="94" y="287"/>
                    </a:lnTo>
                    <a:lnTo>
                      <a:pt x="95" y="288"/>
                    </a:lnTo>
                    <a:lnTo>
                      <a:pt x="97" y="287"/>
                    </a:lnTo>
                    <a:lnTo>
                      <a:pt x="97" y="285"/>
                    </a:lnTo>
                    <a:lnTo>
                      <a:pt x="97" y="285"/>
                    </a:lnTo>
                    <a:lnTo>
                      <a:pt x="98" y="285"/>
                    </a:lnTo>
                    <a:lnTo>
                      <a:pt x="98" y="284"/>
                    </a:lnTo>
                    <a:lnTo>
                      <a:pt x="98" y="283"/>
                    </a:lnTo>
                    <a:lnTo>
                      <a:pt x="98" y="281"/>
                    </a:lnTo>
                    <a:lnTo>
                      <a:pt x="100" y="283"/>
                    </a:lnTo>
                    <a:lnTo>
                      <a:pt x="101" y="283"/>
                    </a:lnTo>
                    <a:lnTo>
                      <a:pt x="101" y="283"/>
                    </a:lnTo>
                    <a:lnTo>
                      <a:pt x="104" y="283"/>
                    </a:lnTo>
                    <a:lnTo>
                      <a:pt x="107" y="283"/>
                    </a:lnTo>
                    <a:lnTo>
                      <a:pt x="108" y="283"/>
                    </a:lnTo>
                    <a:lnTo>
                      <a:pt x="110" y="281"/>
                    </a:lnTo>
                    <a:lnTo>
                      <a:pt x="111" y="283"/>
                    </a:lnTo>
                    <a:lnTo>
                      <a:pt x="112" y="283"/>
                    </a:lnTo>
                    <a:lnTo>
                      <a:pt x="115" y="283"/>
                    </a:lnTo>
                    <a:lnTo>
                      <a:pt x="118" y="284"/>
                    </a:lnTo>
                    <a:lnTo>
                      <a:pt x="120" y="284"/>
                    </a:lnTo>
                    <a:lnTo>
                      <a:pt x="120" y="285"/>
                    </a:lnTo>
                    <a:lnTo>
                      <a:pt x="124" y="285"/>
                    </a:lnTo>
                    <a:lnTo>
                      <a:pt x="127" y="285"/>
                    </a:lnTo>
                    <a:lnTo>
                      <a:pt x="130" y="287"/>
                    </a:lnTo>
                    <a:lnTo>
                      <a:pt x="134" y="287"/>
                    </a:lnTo>
                    <a:lnTo>
                      <a:pt x="137" y="287"/>
                    </a:lnTo>
                    <a:lnTo>
                      <a:pt x="140" y="287"/>
                    </a:lnTo>
                    <a:lnTo>
                      <a:pt x="143" y="287"/>
                    </a:lnTo>
                    <a:lnTo>
                      <a:pt x="147" y="288"/>
                    </a:lnTo>
                    <a:lnTo>
                      <a:pt x="154" y="290"/>
                    </a:lnTo>
                    <a:lnTo>
                      <a:pt x="163" y="291"/>
                    </a:lnTo>
                    <a:lnTo>
                      <a:pt x="167" y="293"/>
                    </a:lnTo>
                    <a:lnTo>
                      <a:pt x="170" y="294"/>
                    </a:lnTo>
                    <a:lnTo>
                      <a:pt x="175" y="296"/>
                    </a:lnTo>
                    <a:lnTo>
                      <a:pt x="177" y="296"/>
                    </a:lnTo>
                    <a:lnTo>
                      <a:pt x="182" y="297"/>
                    </a:lnTo>
                    <a:lnTo>
                      <a:pt x="186" y="298"/>
                    </a:lnTo>
                    <a:lnTo>
                      <a:pt x="189" y="301"/>
                    </a:lnTo>
                    <a:lnTo>
                      <a:pt x="192" y="303"/>
                    </a:lnTo>
                    <a:lnTo>
                      <a:pt x="195" y="306"/>
                    </a:lnTo>
                    <a:lnTo>
                      <a:pt x="198" y="307"/>
                    </a:lnTo>
                    <a:lnTo>
                      <a:pt x="200" y="307"/>
                    </a:lnTo>
                    <a:lnTo>
                      <a:pt x="202" y="309"/>
                    </a:lnTo>
                    <a:lnTo>
                      <a:pt x="200" y="309"/>
                    </a:lnTo>
                    <a:lnTo>
                      <a:pt x="205" y="309"/>
                    </a:lnTo>
                    <a:lnTo>
                      <a:pt x="208" y="310"/>
                    </a:lnTo>
                    <a:lnTo>
                      <a:pt x="215" y="313"/>
                    </a:lnTo>
                    <a:lnTo>
                      <a:pt x="218" y="314"/>
                    </a:lnTo>
                    <a:lnTo>
                      <a:pt x="222" y="316"/>
                    </a:lnTo>
                    <a:lnTo>
                      <a:pt x="225" y="316"/>
                    </a:lnTo>
                    <a:lnTo>
                      <a:pt x="229" y="316"/>
                    </a:lnTo>
                    <a:lnTo>
                      <a:pt x="229" y="316"/>
                    </a:lnTo>
                    <a:lnTo>
                      <a:pt x="228" y="314"/>
                    </a:lnTo>
                    <a:lnTo>
                      <a:pt x="228" y="314"/>
                    </a:lnTo>
                    <a:lnTo>
                      <a:pt x="226" y="313"/>
                    </a:lnTo>
                    <a:lnTo>
                      <a:pt x="228" y="313"/>
                    </a:lnTo>
                    <a:lnTo>
                      <a:pt x="229" y="314"/>
                    </a:lnTo>
                    <a:lnTo>
                      <a:pt x="231" y="314"/>
                    </a:lnTo>
                    <a:lnTo>
                      <a:pt x="232" y="314"/>
                    </a:lnTo>
                    <a:lnTo>
                      <a:pt x="235" y="317"/>
                    </a:lnTo>
                    <a:lnTo>
                      <a:pt x="237" y="319"/>
                    </a:lnTo>
                    <a:lnTo>
                      <a:pt x="238" y="319"/>
                    </a:lnTo>
                    <a:lnTo>
                      <a:pt x="239" y="320"/>
                    </a:lnTo>
                    <a:lnTo>
                      <a:pt x="241" y="322"/>
                    </a:lnTo>
                    <a:lnTo>
                      <a:pt x="244" y="322"/>
                    </a:lnTo>
                    <a:lnTo>
                      <a:pt x="247" y="323"/>
                    </a:lnTo>
                    <a:lnTo>
                      <a:pt x="248" y="324"/>
                    </a:lnTo>
                    <a:lnTo>
                      <a:pt x="249" y="326"/>
                    </a:lnTo>
                    <a:lnTo>
                      <a:pt x="252" y="326"/>
                    </a:lnTo>
                    <a:lnTo>
                      <a:pt x="254" y="326"/>
                    </a:lnTo>
                    <a:lnTo>
                      <a:pt x="254" y="326"/>
                    </a:lnTo>
                    <a:lnTo>
                      <a:pt x="255" y="326"/>
                    </a:lnTo>
                    <a:lnTo>
                      <a:pt x="255" y="326"/>
                    </a:lnTo>
                    <a:lnTo>
                      <a:pt x="255" y="327"/>
                    </a:lnTo>
                    <a:lnTo>
                      <a:pt x="257" y="329"/>
                    </a:lnTo>
                    <a:lnTo>
                      <a:pt x="257" y="330"/>
                    </a:lnTo>
                    <a:lnTo>
                      <a:pt x="258" y="333"/>
                    </a:lnTo>
                    <a:lnTo>
                      <a:pt x="258" y="334"/>
                    </a:lnTo>
                    <a:lnTo>
                      <a:pt x="260" y="336"/>
                    </a:lnTo>
                    <a:lnTo>
                      <a:pt x="260" y="336"/>
                    </a:lnTo>
                    <a:lnTo>
                      <a:pt x="261" y="336"/>
                    </a:lnTo>
                    <a:lnTo>
                      <a:pt x="262" y="337"/>
                    </a:lnTo>
                    <a:lnTo>
                      <a:pt x="264" y="337"/>
                    </a:lnTo>
                    <a:lnTo>
                      <a:pt x="264" y="339"/>
                    </a:lnTo>
                    <a:lnTo>
                      <a:pt x="265" y="339"/>
                    </a:lnTo>
                    <a:lnTo>
                      <a:pt x="265" y="340"/>
                    </a:lnTo>
                    <a:lnTo>
                      <a:pt x="265" y="342"/>
                    </a:lnTo>
                    <a:lnTo>
                      <a:pt x="265" y="343"/>
                    </a:lnTo>
                    <a:lnTo>
                      <a:pt x="265" y="343"/>
                    </a:lnTo>
                    <a:lnTo>
                      <a:pt x="264" y="346"/>
                    </a:lnTo>
                    <a:lnTo>
                      <a:pt x="262" y="349"/>
                    </a:lnTo>
                    <a:lnTo>
                      <a:pt x="260" y="352"/>
                    </a:lnTo>
                    <a:lnTo>
                      <a:pt x="258" y="353"/>
                    </a:lnTo>
                    <a:lnTo>
                      <a:pt x="257" y="356"/>
                    </a:lnTo>
                    <a:lnTo>
                      <a:pt x="254" y="358"/>
                    </a:lnTo>
                    <a:lnTo>
                      <a:pt x="251" y="359"/>
                    </a:lnTo>
                    <a:lnTo>
                      <a:pt x="249" y="360"/>
                    </a:lnTo>
                    <a:lnTo>
                      <a:pt x="247" y="362"/>
                    </a:lnTo>
                    <a:lnTo>
                      <a:pt x="242" y="362"/>
                    </a:lnTo>
                    <a:lnTo>
                      <a:pt x="239" y="363"/>
                    </a:lnTo>
                    <a:lnTo>
                      <a:pt x="235" y="365"/>
                    </a:lnTo>
                    <a:lnTo>
                      <a:pt x="232" y="366"/>
                    </a:lnTo>
                    <a:lnTo>
                      <a:pt x="228" y="366"/>
                    </a:lnTo>
                    <a:lnTo>
                      <a:pt x="225" y="368"/>
                    </a:lnTo>
                    <a:lnTo>
                      <a:pt x="221" y="368"/>
                    </a:lnTo>
                    <a:lnTo>
                      <a:pt x="213" y="368"/>
                    </a:lnTo>
                    <a:lnTo>
                      <a:pt x="211" y="368"/>
                    </a:lnTo>
                    <a:lnTo>
                      <a:pt x="206" y="368"/>
                    </a:lnTo>
                    <a:lnTo>
                      <a:pt x="202" y="368"/>
                    </a:lnTo>
                    <a:lnTo>
                      <a:pt x="196" y="366"/>
                    </a:lnTo>
                    <a:lnTo>
                      <a:pt x="192" y="366"/>
                    </a:lnTo>
                    <a:lnTo>
                      <a:pt x="187" y="365"/>
                    </a:lnTo>
                    <a:lnTo>
                      <a:pt x="183" y="363"/>
                    </a:lnTo>
                    <a:lnTo>
                      <a:pt x="177" y="363"/>
                    </a:lnTo>
                    <a:lnTo>
                      <a:pt x="173" y="362"/>
                    </a:lnTo>
                    <a:lnTo>
                      <a:pt x="170" y="362"/>
                    </a:lnTo>
                    <a:lnTo>
                      <a:pt x="166" y="362"/>
                    </a:lnTo>
                    <a:lnTo>
                      <a:pt x="162" y="362"/>
                    </a:lnTo>
                    <a:lnTo>
                      <a:pt x="157" y="360"/>
                    </a:lnTo>
                    <a:lnTo>
                      <a:pt x="154" y="360"/>
                    </a:lnTo>
                    <a:lnTo>
                      <a:pt x="147" y="359"/>
                    </a:lnTo>
                    <a:lnTo>
                      <a:pt x="140" y="356"/>
                    </a:lnTo>
                    <a:lnTo>
                      <a:pt x="140" y="356"/>
                    </a:lnTo>
                    <a:lnTo>
                      <a:pt x="137" y="355"/>
                    </a:lnTo>
                    <a:lnTo>
                      <a:pt x="136" y="355"/>
                    </a:lnTo>
                    <a:lnTo>
                      <a:pt x="134" y="355"/>
                    </a:lnTo>
                    <a:lnTo>
                      <a:pt x="133" y="356"/>
                    </a:lnTo>
                    <a:lnTo>
                      <a:pt x="131" y="356"/>
                    </a:lnTo>
                    <a:lnTo>
                      <a:pt x="130" y="356"/>
                    </a:lnTo>
                    <a:lnTo>
                      <a:pt x="130" y="356"/>
                    </a:lnTo>
                    <a:lnTo>
                      <a:pt x="128" y="356"/>
                    </a:lnTo>
                    <a:lnTo>
                      <a:pt x="128" y="355"/>
                    </a:lnTo>
                    <a:lnTo>
                      <a:pt x="127" y="353"/>
                    </a:lnTo>
                    <a:lnTo>
                      <a:pt x="125" y="353"/>
                    </a:lnTo>
                    <a:lnTo>
                      <a:pt x="124" y="352"/>
                    </a:lnTo>
                    <a:lnTo>
                      <a:pt x="123" y="352"/>
                    </a:lnTo>
                    <a:lnTo>
                      <a:pt x="121" y="350"/>
                    </a:lnTo>
                    <a:lnTo>
                      <a:pt x="121" y="349"/>
                    </a:lnTo>
                    <a:lnTo>
                      <a:pt x="121" y="349"/>
                    </a:lnTo>
                    <a:lnTo>
                      <a:pt x="120" y="347"/>
                    </a:lnTo>
                    <a:lnTo>
                      <a:pt x="120" y="349"/>
                    </a:lnTo>
                    <a:lnTo>
                      <a:pt x="120" y="349"/>
                    </a:lnTo>
                    <a:lnTo>
                      <a:pt x="120" y="350"/>
                    </a:lnTo>
                    <a:lnTo>
                      <a:pt x="120" y="352"/>
                    </a:lnTo>
                    <a:lnTo>
                      <a:pt x="118" y="352"/>
                    </a:lnTo>
                    <a:lnTo>
                      <a:pt x="118" y="352"/>
                    </a:lnTo>
                    <a:lnTo>
                      <a:pt x="117" y="350"/>
                    </a:lnTo>
                    <a:lnTo>
                      <a:pt x="117" y="350"/>
                    </a:lnTo>
                    <a:lnTo>
                      <a:pt x="115" y="350"/>
                    </a:lnTo>
                    <a:lnTo>
                      <a:pt x="114" y="350"/>
                    </a:lnTo>
                    <a:lnTo>
                      <a:pt x="112" y="349"/>
                    </a:lnTo>
                    <a:lnTo>
                      <a:pt x="112" y="349"/>
                    </a:lnTo>
                    <a:lnTo>
                      <a:pt x="111" y="349"/>
                    </a:lnTo>
                    <a:lnTo>
                      <a:pt x="108" y="350"/>
                    </a:lnTo>
                    <a:lnTo>
                      <a:pt x="107" y="350"/>
                    </a:lnTo>
                    <a:lnTo>
                      <a:pt x="107" y="350"/>
                    </a:lnTo>
                    <a:lnTo>
                      <a:pt x="105" y="350"/>
                    </a:lnTo>
                    <a:lnTo>
                      <a:pt x="105" y="349"/>
                    </a:lnTo>
                    <a:lnTo>
                      <a:pt x="104" y="349"/>
                    </a:lnTo>
                    <a:lnTo>
                      <a:pt x="102" y="347"/>
                    </a:lnTo>
                    <a:lnTo>
                      <a:pt x="101" y="346"/>
                    </a:lnTo>
                    <a:lnTo>
                      <a:pt x="98" y="345"/>
                    </a:lnTo>
                    <a:lnTo>
                      <a:pt x="97" y="345"/>
                    </a:lnTo>
                    <a:lnTo>
                      <a:pt x="95" y="343"/>
                    </a:lnTo>
                    <a:lnTo>
                      <a:pt x="95" y="343"/>
                    </a:lnTo>
                    <a:lnTo>
                      <a:pt x="94" y="343"/>
                    </a:lnTo>
                    <a:lnTo>
                      <a:pt x="94" y="343"/>
                    </a:lnTo>
                    <a:lnTo>
                      <a:pt x="94" y="342"/>
                    </a:lnTo>
                    <a:lnTo>
                      <a:pt x="92" y="342"/>
                    </a:lnTo>
                    <a:lnTo>
                      <a:pt x="91" y="340"/>
                    </a:lnTo>
                    <a:lnTo>
                      <a:pt x="88" y="340"/>
                    </a:lnTo>
                    <a:lnTo>
                      <a:pt x="87" y="340"/>
                    </a:lnTo>
                    <a:lnTo>
                      <a:pt x="85" y="339"/>
                    </a:lnTo>
                    <a:lnTo>
                      <a:pt x="84" y="339"/>
                    </a:lnTo>
                    <a:lnTo>
                      <a:pt x="75" y="339"/>
                    </a:lnTo>
                    <a:lnTo>
                      <a:pt x="76" y="340"/>
                    </a:lnTo>
                    <a:lnTo>
                      <a:pt x="78" y="342"/>
                    </a:lnTo>
                    <a:lnTo>
                      <a:pt x="79" y="342"/>
                    </a:lnTo>
                    <a:lnTo>
                      <a:pt x="81" y="342"/>
                    </a:lnTo>
                    <a:lnTo>
                      <a:pt x="85" y="343"/>
                    </a:lnTo>
                    <a:lnTo>
                      <a:pt x="87" y="343"/>
                    </a:lnTo>
                    <a:lnTo>
                      <a:pt x="89" y="345"/>
                    </a:lnTo>
                    <a:lnTo>
                      <a:pt x="88" y="345"/>
                    </a:lnTo>
                    <a:lnTo>
                      <a:pt x="88" y="345"/>
                    </a:lnTo>
                    <a:lnTo>
                      <a:pt x="87" y="345"/>
                    </a:lnTo>
                    <a:lnTo>
                      <a:pt x="88" y="345"/>
                    </a:lnTo>
                    <a:lnTo>
                      <a:pt x="89" y="346"/>
                    </a:lnTo>
                    <a:lnTo>
                      <a:pt x="92" y="346"/>
                    </a:lnTo>
                    <a:lnTo>
                      <a:pt x="94" y="347"/>
                    </a:lnTo>
                    <a:lnTo>
                      <a:pt x="95" y="347"/>
                    </a:lnTo>
                    <a:lnTo>
                      <a:pt x="95" y="349"/>
                    </a:lnTo>
                    <a:lnTo>
                      <a:pt x="97" y="349"/>
                    </a:lnTo>
                    <a:lnTo>
                      <a:pt x="97" y="350"/>
                    </a:lnTo>
                    <a:lnTo>
                      <a:pt x="97" y="350"/>
                    </a:lnTo>
                    <a:lnTo>
                      <a:pt x="95" y="350"/>
                    </a:lnTo>
                    <a:lnTo>
                      <a:pt x="97" y="350"/>
                    </a:lnTo>
                    <a:lnTo>
                      <a:pt x="100" y="350"/>
                    </a:lnTo>
                    <a:lnTo>
                      <a:pt x="101" y="352"/>
                    </a:lnTo>
                    <a:lnTo>
                      <a:pt x="102" y="352"/>
                    </a:lnTo>
                    <a:lnTo>
                      <a:pt x="100" y="353"/>
                    </a:lnTo>
                    <a:lnTo>
                      <a:pt x="100" y="353"/>
                    </a:lnTo>
                    <a:lnTo>
                      <a:pt x="98" y="353"/>
                    </a:lnTo>
                    <a:lnTo>
                      <a:pt x="100" y="355"/>
                    </a:lnTo>
                    <a:lnTo>
                      <a:pt x="101" y="355"/>
                    </a:lnTo>
                    <a:lnTo>
                      <a:pt x="100" y="356"/>
                    </a:lnTo>
                    <a:lnTo>
                      <a:pt x="98" y="356"/>
                    </a:lnTo>
                    <a:lnTo>
                      <a:pt x="102" y="356"/>
                    </a:lnTo>
                    <a:lnTo>
                      <a:pt x="105" y="356"/>
                    </a:lnTo>
                    <a:lnTo>
                      <a:pt x="108" y="356"/>
                    </a:lnTo>
                    <a:lnTo>
                      <a:pt x="110" y="356"/>
                    </a:lnTo>
                    <a:lnTo>
                      <a:pt x="111" y="356"/>
                    </a:lnTo>
                    <a:lnTo>
                      <a:pt x="112" y="356"/>
                    </a:lnTo>
                    <a:lnTo>
                      <a:pt x="112" y="358"/>
                    </a:lnTo>
                    <a:lnTo>
                      <a:pt x="112" y="359"/>
                    </a:lnTo>
                    <a:lnTo>
                      <a:pt x="112" y="360"/>
                    </a:lnTo>
                    <a:lnTo>
                      <a:pt x="112" y="360"/>
                    </a:lnTo>
                    <a:lnTo>
                      <a:pt x="111" y="360"/>
                    </a:lnTo>
                    <a:lnTo>
                      <a:pt x="110" y="362"/>
                    </a:lnTo>
                    <a:lnTo>
                      <a:pt x="114" y="362"/>
                    </a:lnTo>
                    <a:lnTo>
                      <a:pt x="117" y="362"/>
                    </a:lnTo>
                    <a:lnTo>
                      <a:pt x="120" y="362"/>
                    </a:lnTo>
                    <a:lnTo>
                      <a:pt x="124" y="363"/>
                    </a:lnTo>
                    <a:lnTo>
                      <a:pt x="128" y="365"/>
                    </a:lnTo>
                    <a:lnTo>
                      <a:pt x="131" y="366"/>
                    </a:lnTo>
                    <a:lnTo>
                      <a:pt x="136" y="368"/>
                    </a:lnTo>
                    <a:lnTo>
                      <a:pt x="136" y="369"/>
                    </a:lnTo>
                    <a:lnTo>
                      <a:pt x="136" y="371"/>
                    </a:lnTo>
                    <a:lnTo>
                      <a:pt x="137" y="371"/>
                    </a:lnTo>
                    <a:lnTo>
                      <a:pt x="138" y="372"/>
                    </a:lnTo>
                    <a:lnTo>
                      <a:pt x="140" y="375"/>
                    </a:lnTo>
                    <a:lnTo>
                      <a:pt x="141" y="376"/>
                    </a:lnTo>
                    <a:lnTo>
                      <a:pt x="141" y="376"/>
                    </a:lnTo>
                    <a:lnTo>
                      <a:pt x="143" y="376"/>
                    </a:lnTo>
                    <a:lnTo>
                      <a:pt x="143" y="378"/>
                    </a:lnTo>
                    <a:lnTo>
                      <a:pt x="141" y="378"/>
                    </a:lnTo>
                    <a:lnTo>
                      <a:pt x="140" y="376"/>
                    </a:lnTo>
                    <a:lnTo>
                      <a:pt x="141" y="378"/>
                    </a:lnTo>
                    <a:lnTo>
                      <a:pt x="141" y="378"/>
                    </a:lnTo>
                    <a:lnTo>
                      <a:pt x="141" y="379"/>
                    </a:lnTo>
                    <a:lnTo>
                      <a:pt x="140" y="379"/>
                    </a:lnTo>
                    <a:lnTo>
                      <a:pt x="140" y="382"/>
                    </a:lnTo>
                    <a:lnTo>
                      <a:pt x="137" y="384"/>
                    </a:lnTo>
                    <a:lnTo>
                      <a:pt x="136" y="385"/>
                    </a:lnTo>
                    <a:lnTo>
                      <a:pt x="136" y="385"/>
                    </a:lnTo>
                    <a:lnTo>
                      <a:pt x="136" y="386"/>
                    </a:lnTo>
                    <a:lnTo>
                      <a:pt x="136" y="386"/>
                    </a:lnTo>
                    <a:lnTo>
                      <a:pt x="136" y="388"/>
                    </a:lnTo>
                    <a:lnTo>
                      <a:pt x="136" y="388"/>
                    </a:lnTo>
                    <a:lnTo>
                      <a:pt x="136" y="389"/>
                    </a:lnTo>
                    <a:lnTo>
                      <a:pt x="137" y="391"/>
                    </a:lnTo>
                    <a:lnTo>
                      <a:pt x="140" y="391"/>
                    </a:lnTo>
                    <a:lnTo>
                      <a:pt x="141" y="392"/>
                    </a:lnTo>
                    <a:lnTo>
                      <a:pt x="143" y="394"/>
                    </a:lnTo>
                    <a:lnTo>
                      <a:pt x="144" y="395"/>
                    </a:lnTo>
                    <a:lnTo>
                      <a:pt x="144" y="395"/>
                    </a:lnTo>
                    <a:lnTo>
                      <a:pt x="144" y="395"/>
                    </a:lnTo>
                    <a:lnTo>
                      <a:pt x="144" y="396"/>
                    </a:lnTo>
                    <a:lnTo>
                      <a:pt x="144" y="396"/>
                    </a:lnTo>
                    <a:lnTo>
                      <a:pt x="146" y="398"/>
                    </a:lnTo>
                    <a:lnTo>
                      <a:pt x="147" y="401"/>
                    </a:lnTo>
                    <a:lnTo>
                      <a:pt x="147" y="401"/>
                    </a:lnTo>
                    <a:lnTo>
                      <a:pt x="147" y="402"/>
                    </a:lnTo>
                    <a:lnTo>
                      <a:pt x="149" y="402"/>
                    </a:lnTo>
                    <a:lnTo>
                      <a:pt x="150" y="402"/>
                    </a:lnTo>
                    <a:lnTo>
                      <a:pt x="150" y="404"/>
                    </a:lnTo>
                    <a:lnTo>
                      <a:pt x="150" y="404"/>
                    </a:lnTo>
                    <a:lnTo>
                      <a:pt x="149" y="405"/>
                    </a:lnTo>
                    <a:lnTo>
                      <a:pt x="149" y="405"/>
                    </a:lnTo>
                    <a:lnTo>
                      <a:pt x="147" y="405"/>
                    </a:lnTo>
                    <a:lnTo>
                      <a:pt x="147" y="405"/>
                    </a:lnTo>
                    <a:lnTo>
                      <a:pt x="147" y="405"/>
                    </a:lnTo>
                    <a:lnTo>
                      <a:pt x="147" y="405"/>
                    </a:lnTo>
                    <a:lnTo>
                      <a:pt x="147" y="407"/>
                    </a:lnTo>
                    <a:lnTo>
                      <a:pt x="149" y="407"/>
                    </a:lnTo>
                    <a:lnTo>
                      <a:pt x="150" y="408"/>
                    </a:lnTo>
                    <a:lnTo>
                      <a:pt x="149" y="408"/>
                    </a:lnTo>
                    <a:lnTo>
                      <a:pt x="149" y="408"/>
                    </a:lnTo>
                    <a:lnTo>
                      <a:pt x="147" y="408"/>
                    </a:lnTo>
                    <a:lnTo>
                      <a:pt x="147" y="408"/>
                    </a:lnTo>
                    <a:lnTo>
                      <a:pt x="149" y="409"/>
                    </a:lnTo>
                    <a:lnTo>
                      <a:pt x="150" y="411"/>
                    </a:lnTo>
                    <a:lnTo>
                      <a:pt x="153" y="411"/>
                    </a:lnTo>
                    <a:lnTo>
                      <a:pt x="153" y="412"/>
                    </a:lnTo>
                    <a:lnTo>
                      <a:pt x="154" y="412"/>
                    </a:lnTo>
                    <a:lnTo>
                      <a:pt x="156" y="412"/>
                    </a:lnTo>
                    <a:lnTo>
                      <a:pt x="157" y="414"/>
                    </a:lnTo>
                    <a:lnTo>
                      <a:pt x="157" y="414"/>
                    </a:lnTo>
                    <a:lnTo>
                      <a:pt x="159" y="414"/>
                    </a:lnTo>
                    <a:lnTo>
                      <a:pt x="160" y="415"/>
                    </a:lnTo>
                    <a:lnTo>
                      <a:pt x="162" y="415"/>
                    </a:lnTo>
                    <a:lnTo>
                      <a:pt x="163" y="414"/>
                    </a:lnTo>
                    <a:lnTo>
                      <a:pt x="164" y="414"/>
                    </a:lnTo>
                    <a:lnTo>
                      <a:pt x="166" y="414"/>
                    </a:lnTo>
                    <a:lnTo>
                      <a:pt x="167" y="414"/>
                    </a:lnTo>
                    <a:lnTo>
                      <a:pt x="170" y="414"/>
                    </a:lnTo>
                    <a:lnTo>
                      <a:pt x="170" y="414"/>
                    </a:lnTo>
                    <a:lnTo>
                      <a:pt x="170" y="415"/>
                    </a:lnTo>
                    <a:lnTo>
                      <a:pt x="170" y="415"/>
                    </a:lnTo>
                    <a:lnTo>
                      <a:pt x="170" y="415"/>
                    </a:lnTo>
                    <a:lnTo>
                      <a:pt x="172" y="417"/>
                    </a:lnTo>
                    <a:lnTo>
                      <a:pt x="172" y="417"/>
                    </a:lnTo>
                    <a:lnTo>
                      <a:pt x="173" y="417"/>
                    </a:lnTo>
                    <a:lnTo>
                      <a:pt x="173" y="418"/>
                    </a:lnTo>
                    <a:lnTo>
                      <a:pt x="175" y="418"/>
                    </a:lnTo>
                    <a:lnTo>
                      <a:pt x="175" y="417"/>
                    </a:lnTo>
                    <a:lnTo>
                      <a:pt x="175" y="417"/>
                    </a:lnTo>
                    <a:lnTo>
                      <a:pt x="177" y="417"/>
                    </a:lnTo>
                    <a:lnTo>
                      <a:pt x="179" y="418"/>
                    </a:lnTo>
                    <a:lnTo>
                      <a:pt x="180" y="420"/>
                    </a:lnTo>
                    <a:lnTo>
                      <a:pt x="180" y="421"/>
                    </a:lnTo>
                    <a:lnTo>
                      <a:pt x="182" y="422"/>
                    </a:lnTo>
                    <a:lnTo>
                      <a:pt x="183" y="422"/>
                    </a:lnTo>
                    <a:lnTo>
                      <a:pt x="185" y="424"/>
                    </a:lnTo>
                    <a:lnTo>
                      <a:pt x="187" y="425"/>
                    </a:lnTo>
                    <a:lnTo>
                      <a:pt x="189" y="425"/>
                    </a:lnTo>
                    <a:lnTo>
                      <a:pt x="190" y="425"/>
                    </a:lnTo>
                    <a:lnTo>
                      <a:pt x="195" y="427"/>
                    </a:lnTo>
                    <a:lnTo>
                      <a:pt x="196" y="427"/>
                    </a:lnTo>
                    <a:lnTo>
                      <a:pt x="199" y="428"/>
                    </a:lnTo>
                    <a:lnTo>
                      <a:pt x="200" y="428"/>
                    </a:lnTo>
                    <a:lnTo>
                      <a:pt x="200" y="428"/>
                    </a:lnTo>
                    <a:lnTo>
                      <a:pt x="202" y="428"/>
                    </a:lnTo>
                    <a:lnTo>
                      <a:pt x="203" y="428"/>
                    </a:lnTo>
                    <a:lnTo>
                      <a:pt x="205" y="428"/>
                    </a:lnTo>
                    <a:lnTo>
                      <a:pt x="205" y="428"/>
                    </a:lnTo>
                    <a:lnTo>
                      <a:pt x="206" y="428"/>
                    </a:lnTo>
                    <a:lnTo>
                      <a:pt x="208" y="427"/>
                    </a:lnTo>
                    <a:lnTo>
                      <a:pt x="209" y="427"/>
                    </a:lnTo>
                    <a:lnTo>
                      <a:pt x="211" y="425"/>
                    </a:lnTo>
                    <a:lnTo>
                      <a:pt x="212" y="425"/>
                    </a:lnTo>
                    <a:lnTo>
                      <a:pt x="215" y="425"/>
                    </a:lnTo>
                    <a:lnTo>
                      <a:pt x="216" y="425"/>
                    </a:lnTo>
                    <a:lnTo>
                      <a:pt x="216" y="425"/>
                    </a:lnTo>
                    <a:lnTo>
                      <a:pt x="218" y="425"/>
                    </a:lnTo>
                    <a:lnTo>
                      <a:pt x="218" y="425"/>
                    </a:lnTo>
                    <a:lnTo>
                      <a:pt x="218" y="424"/>
                    </a:lnTo>
                    <a:lnTo>
                      <a:pt x="218" y="424"/>
                    </a:lnTo>
                    <a:lnTo>
                      <a:pt x="218" y="422"/>
                    </a:lnTo>
                    <a:lnTo>
                      <a:pt x="216" y="421"/>
                    </a:lnTo>
                    <a:lnTo>
                      <a:pt x="215" y="420"/>
                    </a:lnTo>
                    <a:lnTo>
                      <a:pt x="215" y="418"/>
                    </a:lnTo>
                    <a:lnTo>
                      <a:pt x="215" y="418"/>
                    </a:lnTo>
                    <a:lnTo>
                      <a:pt x="215" y="417"/>
                    </a:lnTo>
                    <a:lnTo>
                      <a:pt x="215" y="417"/>
                    </a:lnTo>
                    <a:lnTo>
                      <a:pt x="213" y="414"/>
                    </a:lnTo>
                    <a:lnTo>
                      <a:pt x="212" y="414"/>
                    </a:lnTo>
                    <a:lnTo>
                      <a:pt x="211" y="412"/>
                    </a:lnTo>
                    <a:lnTo>
                      <a:pt x="209" y="412"/>
                    </a:lnTo>
                    <a:lnTo>
                      <a:pt x="209" y="412"/>
                    </a:lnTo>
                    <a:lnTo>
                      <a:pt x="208" y="412"/>
                    </a:lnTo>
                    <a:lnTo>
                      <a:pt x="206" y="414"/>
                    </a:lnTo>
                    <a:lnTo>
                      <a:pt x="205" y="414"/>
                    </a:lnTo>
                    <a:lnTo>
                      <a:pt x="203" y="414"/>
                    </a:lnTo>
                    <a:lnTo>
                      <a:pt x="202" y="414"/>
                    </a:lnTo>
                    <a:lnTo>
                      <a:pt x="200" y="414"/>
                    </a:lnTo>
                    <a:lnTo>
                      <a:pt x="198" y="414"/>
                    </a:lnTo>
                    <a:lnTo>
                      <a:pt x="195" y="414"/>
                    </a:lnTo>
                    <a:lnTo>
                      <a:pt x="193" y="412"/>
                    </a:lnTo>
                    <a:lnTo>
                      <a:pt x="190" y="409"/>
                    </a:lnTo>
                    <a:lnTo>
                      <a:pt x="187" y="407"/>
                    </a:lnTo>
                    <a:lnTo>
                      <a:pt x="182" y="404"/>
                    </a:lnTo>
                    <a:lnTo>
                      <a:pt x="180" y="401"/>
                    </a:lnTo>
                    <a:lnTo>
                      <a:pt x="177" y="399"/>
                    </a:lnTo>
                    <a:lnTo>
                      <a:pt x="180" y="399"/>
                    </a:lnTo>
                    <a:lnTo>
                      <a:pt x="182" y="398"/>
                    </a:lnTo>
                    <a:lnTo>
                      <a:pt x="183" y="398"/>
                    </a:lnTo>
                    <a:lnTo>
                      <a:pt x="183" y="396"/>
                    </a:lnTo>
                    <a:lnTo>
                      <a:pt x="185" y="395"/>
                    </a:lnTo>
                    <a:lnTo>
                      <a:pt x="186" y="395"/>
                    </a:lnTo>
                    <a:lnTo>
                      <a:pt x="187" y="394"/>
                    </a:lnTo>
                    <a:lnTo>
                      <a:pt x="187" y="394"/>
                    </a:lnTo>
                    <a:lnTo>
                      <a:pt x="189" y="392"/>
                    </a:lnTo>
                    <a:lnTo>
                      <a:pt x="190" y="392"/>
                    </a:lnTo>
                    <a:lnTo>
                      <a:pt x="192" y="392"/>
                    </a:lnTo>
                    <a:lnTo>
                      <a:pt x="195" y="394"/>
                    </a:lnTo>
                    <a:lnTo>
                      <a:pt x="198" y="394"/>
                    </a:lnTo>
                    <a:lnTo>
                      <a:pt x="198" y="394"/>
                    </a:lnTo>
                    <a:lnTo>
                      <a:pt x="199" y="394"/>
                    </a:lnTo>
                    <a:lnTo>
                      <a:pt x="200" y="394"/>
                    </a:lnTo>
                    <a:lnTo>
                      <a:pt x="203" y="395"/>
                    </a:lnTo>
                    <a:lnTo>
                      <a:pt x="205" y="396"/>
                    </a:lnTo>
                    <a:lnTo>
                      <a:pt x="206" y="396"/>
                    </a:lnTo>
                    <a:lnTo>
                      <a:pt x="209" y="398"/>
                    </a:lnTo>
                    <a:lnTo>
                      <a:pt x="212" y="399"/>
                    </a:lnTo>
                    <a:lnTo>
                      <a:pt x="213" y="399"/>
                    </a:lnTo>
                    <a:lnTo>
                      <a:pt x="215" y="399"/>
                    </a:lnTo>
                    <a:lnTo>
                      <a:pt x="216" y="399"/>
                    </a:lnTo>
                    <a:lnTo>
                      <a:pt x="218" y="399"/>
                    </a:lnTo>
                    <a:lnTo>
                      <a:pt x="218" y="399"/>
                    </a:lnTo>
                    <a:lnTo>
                      <a:pt x="218" y="401"/>
                    </a:lnTo>
                    <a:lnTo>
                      <a:pt x="218" y="401"/>
                    </a:lnTo>
                    <a:lnTo>
                      <a:pt x="216" y="402"/>
                    </a:lnTo>
                    <a:lnTo>
                      <a:pt x="215" y="402"/>
                    </a:lnTo>
                    <a:lnTo>
                      <a:pt x="212" y="402"/>
                    </a:lnTo>
                    <a:lnTo>
                      <a:pt x="213" y="404"/>
                    </a:lnTo>
                    <a:lnTo>
                      <a:pt x="213" y="404"/>
                    </a:lnTo>
                    <a:lnTo>
                      <a:pt x="215" y="405"/>
                    </a:lnTo>
                    <a:lnTo>
                      <a:pt x="216" y="405"/>
                    </a:lnTo>
                    <a:lnTo>
                      <a:pt x="218" y="404"/>
                    </a:lnTo>
                    <a:lnTo>
                      <a:pt x="219" y="404"/>
                    </a:lnTo>
                    <a:lnTo>
                      <a:pt x="221" y="402"/>
                    </a:lnTo>
                    <a:lnTo>
                      <a:pt x="222" y="402"/>
                    </a:lnTo>
                    <a:lnTo>
                      <a:pt x="224" y="402"/>
                    </a:lnTo>
                    <a:lnTo>
                      <a:pt x="226" y="402"/>
                    </a:lnTo>
                    <a:lnTo>
                      <a:pt x="228" y="402"/>
                    </a:lnTo>
                    <a:lnTo>
                      <a:pt x="232" y="404"/>
                    </a:lnTo>
                    <a:lnTo>
                      <a:pt x="234" y="404"/>
                    </a:lnTo>
                    <a:lnTo>
                      <a:pt x="235" y="405"/>
                    </a:lnTo>
                    <a:lnTo>
                      <a:pt x="237" y="405"/>
                    </a:lnTo>
                    <a:lnTo>
                      <a:pt x="238" y="405"/>
                    </a:lnTo>
                    <a:lnTo>
                      <a:pt x="239" y="407"/>
                    </a:lnTo>
                    <a:lnTo>
                      <a:pt x="242" y="407"/>
                    </a:lnTo>
                    <a:lnTo>
                      <a:pt x="244" y="408"/>
                    </a:lnTo>
                    <a:lnTo>
                      <a:pt x="245" y="408"/>
                    </a:lnTo>
                    <a:lnTo>
                      <a:pt x="248" y="408"/>
                    </a:lnTo>
                    <a:lnTo>
                      <a:pt x="251" y="408"/>
                    </a:lnTo>
                    <a:lnTo>
                      <a:pt x="252" y="408"/>
                    </a:lnTo>
                    <a:lnTo>
                      <a:pt x="254" y="407"/>
                    </a:lnTo>
                    <a:lnTo>
                      <a:pt x="255" y="407"/>
                    </a:lnTo>
                    <a:lnTo>
                      <a:pt x="257" y="407"/>
                    </a:lnTo>
                    <a:lnTo>
                      <a:pt x="255" y="405"/>
                    </a:lnTo>
                    <a:lnTo>
                      <a:pt x="257" y="405"/>
                    </a:lnTo>
                    <a:lnTo>
                      <a:pt x="257" y="407"/>
                    </a:lnTo>
                    <a:lnTo>
                      <a:pt x="257" y="407"/>
                    </a:lnTo>
                    <a:lnTo>
                      <a:pt x="257" y="405"/>
                    </a:lnTo>
                    <a:lnTo>
                      <a:pt x="257" y="404"/>
                    </a:lnTo>
                    <a:lnTo>
                      <a:pt x="257" y="404"/>
                    </a:lnTo>
                    <a:lnTo>
                      <a:pt x="258" y="404"/>
                    </a:lnTo>
                    <a:lnTo>
                      <a:pt x="258" y="404"/>
                    </a:lnTo>
                    <a:lnTo>
                      <a:pt x="260" y="405"/>
                    </a:lnTo>
                    <a:lnTo>
                      <a:pt x="261" y="405"/>
                    </a:lnTo>
                    <a:lnTo>
                      <a:pt x="261" y="405"/>
                    </a:lnTo>
                    <a:lnTo>
                      <a:pt x="262" y="407"/>
                    </a:lnTo>
                    <a:lnTo>
                      <a:pt x="262" y="407"/>
                    </a:lnTo>
                    <a:lnTo>
                      <a:pt x="262" y="407"/>
                    </a:lnTo>
                    <a:lnTo>
                      <a:pt x="262" y="407"/>
                    </a:lnTo>
                    <a:lnTo>
                      <a:pt x="264" y="408"/>
                    </a:lnTo>
                    <a:lnTo>
                      <a:pt x="265" y="408"/>
                    </a:lnTo>
                    <a:lnTo>
                      <a:pt x="267" y="408"/>
                    </a:lnTo>
                    <a:lnTo>
                      <a:pt x="265" y="407"/>
                    </a:lnTo>
                    <a:lnTo>
                      <a:pt x="264" y="405"/>
                    </a:lnTo>
                    <a:lnTo>
                      <a:pt x="262" y="402"/>
                    </a:lnTo>
                    <a:lnTo>
                      <a:pt x="261" y="401"/>
                    </a:lnTo>
                    <a:lnTo>
                      <a:pt x="260" y="399"/>
                    </a:lnTo>
                    <a:lnTo>
                      <a:pt x="257" y="398"/>
                    </a:lnTo>
                    <a:lnTo>
                      <a:pt x="255" y="396"/>
                    </a:lnTo>
                    <a:lnTo>
                      <a:pt x="254" y="395"/>
                    </a:lnTo>
                    <a:lnTo>
                      <a:pt x="252" y="394"/>
                    </a:lnTo>
                    <a:lnTo>
                      <a:pt x="251" y="392"/>
                    </a:lnTo>
                    <a:lnTo>
                      <a:pt x="248" y="391"/>
                    </a:lnTo>
                    <a:lnTo>
                      <a:pt x="247" y="389"/>
                    </a:lnTo>
                    <a:lnTo>
                      <a:pt x="245" y="388"/>
                    </a:lnTo>
                    <a:lnTo>
                      <a:pt x="244" y="386"/>
                    </a:lnTo>
                    <a:lnTo>
                      <a:pt x="244" y="385"/>
                    </a:lnTo>
                    <a:lnTo>
                      <a:pt x="244" y="385"/>
                    </a:lnTo>
                    <a:lnTo>
                      <a:pt x="244" y="384"/>
                    </a:lnTo>
                    <a:lnTo>
                      <a:pt x="245" y="382"/>
                    </a:lnTo>
                    <a:lnTo>
                      <a:pt x="245" y="382"/>
                    </a:lnTo>
                    <a:lnTo>
                      <a:pt x="247" y="381"/>
                    </a:lnTo>
                    <a:lnTo>
                      <a:pt x="249" y="378"/>
                    </a:lnTo>
                    <a:lnTo>
                      <a:pt x="251" y="378"/>
                    </a:lnTo>
                    <a:lnTo>
                      <a:pt x="252" y="376"/>
                    </a:lnTo>
                    <a:lnTo>
                      <a:pt x="255" y="375"/>
                    </a:lnTo>
                    <a:lnTo>
                      <a:pt x="257" y="375"/>
                    </a:lnTo>
                    <a:lnTo>
                      <a:pt x="260" y="372"/>
                    </a:lnTo>
                    <a:lnTo>
                      <a:pt x="262" y="371"/>
                    </a:lnTo>
                    <a:lnTo>
                      <a:pt x="265" y="369"/>
                    </a:lnTo>
                    <a:lnTo>
                      <a:pt x="267" y="368"/>
                    </a:lnTo>
                    <a:lnTo>
                      <a:pt x="270" y="368"/>
                    </a:lnTo>
                    <a:lnTo>
                      <a:pt x="271" y="368"/>
                    </a:lnTo>
                    <a:lnTo>
                      <a:pt x="273" y="368"/>
                    </a:lnTo>
                    <a:lnTo>
                      <a:pt x="274" y="366"/>
                    </a:lnTo>
                    <a:lnTo>
                      <a:pt x="275" y="366"/>
                    </a:lnTo>
                    <a:lnTo>
                      <a:pt x="277" y="365"/>
                    </a:lnTo>
                    <a:lnTo>
                      <a:pt x="278" y="363"/>
                    </a:lnTo>
                    <a:lnTo>
                      <a:pt x="281" y="362"/>
                    </a:lnTo>
                    <a:lnTo>
                      <a:pt x="283" y="360"/>
                    </a:lnTo>
                    <a:lnTo>
                      <a:pt x="286" y="359"/>
                    </a:lnTo>
                    <a:lnTo>
                      <a:pt x="287" y="358"/>
                    </a:lnTo>
                    <a:lnTo>
                      <a:pt x="288" y="358"/>
                    </a:lnTo>
                    <a:lnTo>
                      <a:pt x="291" y="356"/>
                    </a:lnTo>
                    <a:lnTo>
                      <a:pt x="293" y="356"/>
                    </a:lnTo>
                    <a:lnTo>
                      <a:pt x="294" y="358"/>
                    </a:lnTo>
                    <a:lnTo>
                      <a:pt x="296" y="358"/>
                    </a:lnTo>
                    <a:lnTo>
                      <a:pt x="299" y="359"/>
                    </a:lnTo>
                    <a:lnTo>
                      <a:pt x="300" y="359"/>
                    </a:lnTo>
                    <a:lnTo>
                      <a:pt x="303" y="359"/>
                    </a:lnTo>
                    <a:lnTo>
                      <a:pt x="306" y="359"/>
                    </a:lnTo>
                    <a:lnTo>
                      <a:pt x="307" y="359"/>
                    </a:lnTo>
                    <a:lnTo>
                      <a:pt x="309" y="359"/>
                    </a:lnTo>
                    <a:lnTo>
                      <a:pt x="309" y="359"/>
                    </a:lnTo>
                    <a:lnTo>
                      <a:pt x="312" y="360"/>
                    </a:lnTo>
                    <a:lnTo>
                      <a:pt x="313" y="360"/>
                    </a:lnTo>
                    <a:lnTo>
                      <a:pt x="314" y="360"/>
                    </a:lnTo>
                    <a:lnTo>
                      <a:pt x="316" y="362"/>
                    </a:lnTo>
                    <a:lnTo>
                      <a:pt x="317" y="363"/>
                    </a:lnTo>
                    <a:lnTo>
                      <a:pt x="319" y="365"/>
                    </a:lnTo>
                    <a:lnTo>
                      <a:pt x="316" y="365"/>
                    </a:lnTo>
                    <a:lnTo>
                      <a:pt x="314" y="365"/>
                    </a:lnTo>
                    <a:lnTo>
                      <a:pt x="313" y="365"/>
                    </a:lnTo>
                    <a:lnTo>
                      <a:pt x="313" y="366"/>
                    </a:lnTo>
                    <a:lnTo>
                      <a:pt x="313" y="366"/>
                    </a:lnTo>
                    <a:lnTo>
                      <a:pt x="313" y="368"/>
                    </a:lnTo>
                    <a:lnTo>
                      <a:pt x="314" y="368"/>
                    </a:lnTo>
                    <a:lnTo>
                      <a:pt x="314" y="368"/>
                    </a:lnTo>
                    <a:lnTo>
                      <a:pt x="316" y="368"/>
                    </a:lnTo>
                    <a:lnTo>
                      <a:pt x="316" y="366"/>
                    </a:lnTo>
                    <a:lnTo>
                      <a:pt x="316" y="366"/>
                    </a:lnTo>
                    <a:lnTo>
                      <a:pt x="317" y="365"/>
                    </a:lnTo>
                    <a:lnTo>
                      <a:pt x="317" y="365"/>
                    </a:lnTo>
                    <a:lnTo>
                      <a:pt x="319" y="365"/>
                    </a:lnTo>
                    <a:lnTo>
                      <a:pt x="322" y="365"/>
                    </a:lnTo>
                    <a:lnTo>
                      <a:pt x="323" y="365"/>
                    </a:lnTo>
                    <a:lnTo>
                      <a:pt x="326" y="366"/>
                    </a:lnTo>
                    <a:lnTo>
                      <a:pt x="326" y="366"/>
                    </a:lnTo>
                    <a:lnTo>
                      <a:pt x="327" y="368"/>
                    </a:lnTo>
                    <a:lnTo>
                      <a:pt x="330" y="371"/>
                    </a:lnTo>
                    <a:lnTo>
                      <a:pt x="332" y="372"/>
                    </a:lnTo>
                    <a:lnTo>
                      <a:pt x="333" y="373"/>
                    </a:lnTo>
                    <a:lnTo>
                      <a:pt x="330" y="371"/>
                    </a:lnTo>
                    <a:lnTo>
                      <a:pt x="329" y="368"/>
                    </a:lnTo>
                    <a:lnTo>
                      <a:pt x="327" y="365"/>
                    </a:lnTo>
                    <a:lnTo>
                      <a:pt x="327" y="362"/>
                    </a:lnTo>
                    <a:lnTo>
                      <a:pt x="327" y="360"/>
                    </a:lnTo>
                    <a:lnTo>
                      <a:pt x="327" y="360"/>
                    </a:lnTo>
                    <a:lnTo>
                      <a:pt x="327" y="359"/>
                    </a:lnTo>
                    <a:lnTo>
                      <a:pt x="327" y="358"/>
                    </a:lnTo>
                    <a:lnTo>
                      <a:pt x="329" y="356"/>
                    </a:lnTo>
                    <a:lnTo>
                      <a:pt x="330" y="355"/>
                    </a:lnTo>
                    <a:lnTo>
                      <a:pt x="332" y="355"/>
                    </a:lnTo>
                    <a:lnTo>
                      <a:pt x="333" y="353"/>
                    </a:lnTo>
                    <a:lnTo>
                      <a:pt x="332" y="352"/>
                    </a:lnTo>
                    <a:lnTo>
                      <a:pt x="330" y="350"/>
                    </a:lnTo>
                    <a:lnTo>
                      <a:pt x="330" y="347"/>
                    </a:lnTo>
                    <a:lnTo>
                      <a:pt x="329" y="346"/>
                    </a:lnTo>
                    <a:lnTo>
                      <a:pt x="329" y="346"/>
                    </a:lnTo>
                    <a:lnTo>
                      <a:pt x="327" y="345"/>
                    </a:lnTo>
                    <a:lnTo>
                      <a:pt x="326" y="345"/>
                    </a:lnTo>
                    <a:lnTo>
                      <a:pt x="326" y="343"/>
                    </a:lnTo>
                    <a:lnTo>
                      <a:pt x="324" y="342"/>
                    </a:lnTo>
                    <a:lnTo>
                      <a:pt x="323" y="340"/>
                    </a:lnTo>
                    <a:lnTo>
                      <a:pt x="322" y="340"/>
                    </a:lnTo>
                    <a:lnTo>
                      <a:pt x="320" y="340"/>
                    </a:lnTo>
                    <a:lnTo>
                      <a:pt x="319" y="339"/>
                    </a:lnTo>
                    <a:lnTo>
                      <a:pt x="317" y="339"/>
                    </a:lnTo>
                    <a:lnTo>
                      <a:pt x="316" y="339"/>
                    </a:lnTo>
                    <a:lnTo>
                      <a:pt x="314" y="339"/>
                    </a:lnTo>
                    <a:lnTo>
                      <a:pt x="313" y="339"/>
                    </a:lnTo>
                    <a:lnTo>
                      <a:pt x="313" y="337"/>
                    </a:lnTo>
                    <a:lnTo>
                      <a:pt x="312" y="336"/>
                    </a:lnTo>
                    <a:lnTo>
                      <a:pt x="312" y="334"/>
                    </a:lnTo>
                    <a:lnTo>
                      <a:pt x="312" y="333"/>
                    </a:lnTo>
                    <a:lnTo>
                      <a:pt x="312" y="333"/>
                    </a:lnTo>
                    <a:lnTo>
                      <a:pt x="313" y="332"/>
                    </a:lnTo>
                    <a:lnTo>
                      <a:pt x="313" y="330"/>
                    </a:lnTo>
                    <a:lnTo>
                      <a:pt x="313" y="329"/>
                    </a:lnTo>
                    <a:lnTo>
                      <a:pt x="314" y="329"/>
                    </a:lnTo>
                    <a:lnTo>
                      <a:pt x="314" y="327"/>
                    </a:lnTo>
                    <a:lnTo>
                      <a:pt x="314" y="326"/>
                    </a:lnTo>
                    <a:lnTo>
                      <a:pt x="316" y="326"/>
                    </a:lnTo>
                    <a:lnTo>
                      <a:pt x="316" y="326"/>
                    </a:lnTo>
                    <a:lnTo>
                      <a:pt x="316" y="324"/>
                    </a:lnTo>
                    <a:lnTo>
                      <a:pt x="314" y="323"/>
                    </a:lnTo>
                    <a:lnTo>
                      <a:pt x="314" y="322"/>
                    </a:lnTo>
                    <a:lnTo>
                      <a:pt x="314" y="322"/>
                    </a:lnTo>
                    <a:lnTo>
                      <a:pt x="314" y="320"/>
                    </a:lnTo>
                    <a:lnTo>
                      <a:pt x="316" y="320"/>
                    </a:lnTo>
                    <a:lnTo>
                      <a:pt x="317" y="319"/>
                    </a:lnTo>
                    <a:lnTo>
                      <a:pt x="316" y="319"/>
                    </a:lnTo>
                    <a:lnTo>
                      <a:pt x="316" y="319"/>
                    </a:lnTo>
                    <a:lnTo>
                      <a:pt x="314" y="317"/>
                    </a:lnTo>
                    <a:lnTo>
                      <a:pt x="314" y="317"/>
                    </a:lnTo>
                    <a:lnTo>
                      <a:pt x="316" y="317"/>
                    </a:lnTo>
                    <a:lnTo>
                      <a:pt x="316" y="316"/>
                    </a:lnTo>
                    <a:lnTo>
                      <a:pt x="317" y="316"/>
                    </a:lnTo>
                    <a:lnTo>
                      <a:pt x="316" y="316"/>
                    </a:lnTo>
                    <a:lnTo>
                      <a:pt x="314" y="314"/>
                    </a:lnTo>
                    <a:lnTo>
                      <a:pt x="314" y="313"/>
                    </a:lnTo>
                    <a:lnTo>
                      <a:pt x="314" y="311"/>
                    </a:lnTo>
                    <a:lnTo>
                      <a:pt x="314" y="310"/>
                    </a:lnTo>
                    <a:lnTo>
                      <a:pt x="313" y="309"/>
                    </a:lnTo>
                    <a:lnTo>
                      <a:pt x="313" y="309"/>
                    </a:lnTo>
                    <a:lnTo>
                      <a:pt x="309" y="306"/>
                    </a:lnTo>
                    <a:lnTo>
                      <a:pt x="304" y="304"/>
                    </a:lnTo>
                    <a:lnTo>
                      <a:pt x="301" y="303"/>
                    </a:lnTo>
                    <a:lnTo>
                      <a:pt x="299" y="303"/>
                    </a:lnTo>
                    <a:lnTo>
                      <a:pt x="296" y="303"/>
                    </a:lnTo>
                    <a:lnTo>
                      <a:pt x="293" y="301"/>
                    </a:lnTo>
                    <a:lnTo>
                      <a:pt x="293" y="301"/>
                    </a:lnTo>
                    <a:lnTo>
                      <a:pt x="294" y="300"/>
                    </a:lnTo>
                    <a:lnTo>
                      <a:pt x="296" y="300"/>
                    </a:lnTo>
                    <a:lnTo>
                      <a:pt x="297" y="300"/>
                    </a:lnTo>
                    <a:lnTo>
                      <a:pt x="299" y="300"/>
                    </a:lnTo>
                    <a:lnTo>
                      <a:pt x="301" y="300"/>
                    </a:lnTo>
                    <a:lnTo>
                      <a:pt x="303" y="300"/>
                    </a:lnTo>
                    <a:lnTo>
                      <a:pt x="306" y="301"/>
                    </a:lnTo>
                    <a:lnTo>
                      <a:pt x="309" y="301"/>
                    </a:lnTo>
                    <a:lnTo>
                      <a:pt x="310" y="301"/>
                    </a:lnTo>
                    <a:lnTo>
                      <a:pt x="312" y="303"/>
                    </a:lnTo>
                    <a:lnTo>
                      <a:pt x="314" y="303"/>
                    </a:lnTo>
                    <a:lnTo>
                      <a:pt x="317" y="303"/>
                    </a:lnTo>
                    <a:lnTo>
                      <a:pt x="320" y="303"/>
                    </a:lnTo>
                    <a:lnTo>
                      <a:pt x="326" y="303"/>
                    </a:lnTo>
                    <a:lnTo>
                      <a:pt x="329" y="303"/>
                    </a:lnTo>
                    <a:lnTo>
                      <a:pt x="333" y="301"/>
                    </a:lnTo>
                    <a:lnTo>
                      <a:pt x="336" y="303"/>
                    </a:lnTo>
                    <a:lnTo>
                      <a:pt x="339" y="303"/>
                    </a:lnTo>
                    <a:lnTo>
                      <a:pt x="340" y="303"/>
                    </a:lnTo>
                    <a:lnTo>
                      <a:pt x="343" y="304"/>
                    </a:lnTo>
                    <a:lnTo>
                      <a:pt x="345" y="304"/>
                    </a:lnTo>
                    <a:lnTo>
                      <a:pt x="348" y="306"/>
                    </a:lnTo>
                    <a:lnTo>
                      <a:pt x="349" y="307"/>
                    </a:lnTo>
                    <a:lnTo>
                      <a:pt x="353" y="309"/>
                    </a:lnTo>
                    <a:lnTo>
                      <a:pt x="355" y="309"/>
                    </a:lnTo>
                    <a:lnTo>
                      <a:pt x="358" y="311"/>
                    </a:lnTo>
                    <a:lnTo>
                      <a:pt x="359" y="313"/>
                    </a:lnTo>
                    <a:lnTo>
                      <a:pt x="361" y="313"/>
                    </a:lnTo>
                    <a:lnTo>
                      <a:pt x="362" y="316"/>
                    </a:lnTo>
                    <a:lnTo>
                      <a:pt x="365" y="317"/>
                    </a:lnTo>
                    <a:lnTo>
                      <a:pt x="366" y="319"/>
                    </a:lnTo>
                    <a:lnTo>
                      <a:pt x="366" y="320"/>
                    </a:lnTo>
                    <a:lnTo>
                      <a:pt x="366" y="322"/>
                    </a:lnTo>
                    <a:lnTo>
                      <a:pt x="363" y="323"/>
                    </a:lnTo>
                    <a:lnTo>
                      <a:pt x="361" y="323"/>
                    </a:lnTo>
                    <a:lnTo>
                      <a:pt x="358" y="323"/>
                    </a:lnTo>
                    <a:lnTo>
                      <a:pt x="355" y="323"/>
                    </a:lnTo>
                    <a:lnTo>
                      <a:pt x="350" y="323"/>
                    </a:lnTo>
                    <a:lnTo>
                      <a:pt x="348" y="324"/>
                    </a:lnTo>
                    <a:lnTo>
                      <a:pt x="345" y="324"/>
                    </a:lnTo>
                    <a:lnTo>
                      <a:pt x="342" y="326"/>
                    </a:lnTo>
                    <a:lnTo>
                      <a:pt x="342" y="326"/>
                    </a:lnTo>
                    <a:lnTo>
                      <a:pt x="342" y="326"/>
                    </a:lnTo>
                    <a:lnTo>
                      <a:pt x="342" y="327"/>
                    </a:lnTo>
                    <a:lnTo>
                      <a:pt x="340" y="327"/>
                    </a:lnTo>
                    <a:lnTo>
                      <a:pt x="339" y="327"/>
                    </a:lnTo>
                    <a:lnTo>
                      <a:pt x="337" y="329"/>
                    </a:lnTo>
                    <a:lnTo>
                      <a:pt x="336" y="329"/>
                    </a:lnTo>
                    <a:lnTo>
                      <a:pt x="336" y="330"/>
                    </a:lnTo>
                    <a:lnTo>
                      <a:pt x="335" y="332"/>
                    </a:lnTo>
                    <a:lnTo>
                      <a:pt x="335" y="332"/>
                    </a:lnTo>
                    <a:lnTo>
                      <a:pt x="335" y="333"/>
                    </a:lnTo>
                    <a:lnTo>
                      <a:pt x="336" y="333"/>
                    </a:lnTo>
                    <a:lnTo>
                      <a:pt x="337" y="334"/>
                    </a:lnTo>
                    <a:lnTo>
                      <a:pt x="339" y="334"/>
                    </a:lnTo>
                    <a:lnTo>
                      <a:pt x="340" y="336"/>
                    </a:lnTo>
                    <a:lnTo>
                      <a:pt x="342" y="336"/>
                    </a:lnTo>
                    <a:lnTo>
                      <a:pt x="345" y="337"/>
                    </a:lnTo>
                    <a:lnTo>
                      <a:pt x="348" y="339"/>
                    </a:lnTo>
                    <a:lnTo>
                      <a:pt x="350" y="339"/>
                    </a:lnTo>
                    <a:lnTo>
                      <a:pt x="350" y="339"/>
                    </a:lnTo>
                    <a:lnTo>
                      <a:pt x="352" y="340"/>
                    </a:lnTo>
                    <a:lnTo>
                      <a:pt x="352" y="340"/>
                    </a:lnTo>
                    <a:lnTo>
                      <a:pt x="353" y="342"/>
                    </a:lnTo>
                    <a:lnTo>
                      <a:pt x="353" y="343"/>
                    </a:lnTo>
                    <a:lnTo>
                      <a:pt x="355" y="343"/>
                    </a:lnTo>
                    <a:lnTo>
                      <a:pt x="356" y="345"/>
                    </a:lnTo>
                    <a:lnTo>
                      <a:pt x="358" y="346"/>
                    </a:lnTo>
                    <a:lnTo>
                      <a:pt x="361" y="346"/>
                    </a:lnTo>
                    <a:lnTo>
                      <a:pt x="362" y="347"/>
                    </a:lnTo>
                    <a:lnTo>
                      <a:pt x="363" y="347"/>
                    </a:lnTo>
                    <a:lnTo>
                      <a:pt x="369" y="347"/>
                    </a:lnTo>
                    <a:lnTo>
                      <a:pt x="372" y="347"/>
                    </a:lnTo>
                    <a:lnTo>
                      <a:pt x="372" y="349"/>
                    </a:lnTo>
                    <a:lnTo>
                      <a:pt x="372" y="349"/>
                    </a:lnTo>
                    <a:lnTo>
                      <a:pt x="371" y="349"/>
                    </a:lnTo>
                    <a:lnTo>
                      <a:pt x="372" y="349"/>
                    </a:lnTo>
                    <a:lnTo>
                      <a:pt x="375" y="349"/>
                    </a:lnTo>
                    <a:lnTo>
                      <a:pt x="376" y="347"/>
                    </a:lnTo>
                    <a:lnTo>
                      <a:pt x="378" y="347"/>
                    </a:lnTo>
                    <a:lnTo>
                      <a:pt x="379" y="347"/>
                    </a:lnTo>
                    <a:lnTo>
                      <a:pt x="381" y="347"/>
                    </a:lnTo>
                    <a:lnTo>
                      <a:pt x="382" y="346"/>
                    </a:lnTo>
                    <a:lnTo>
                      <a:pt x="384" y="346"/>
                    </a:lnTo>
                    <a:lnTo>
                      <a:pt x="385" y="346"/>
                    </a:lnTo>
                    <a:lnTo>
                      <a:pt x="387" y="346"/>
                    </a:lnTo>
                    <a:lnTo>
                      <a:pt x="389" y="346"/>
                    </a:lnTo>
                    <a:lnTo>
                      <a:pt x="391" y="346"/>
                    </a:lnTo>
                    <a:lnTo>
                      <a:pt x="392" y="346"/>
                    </a:lnTo>
                    <a:lnTo>
                      <a:pt x="394" y="345"/>
                    </a:lnTo>
                    <a:lnTo>
                      <a:pt x="394" y="345"/>
                    </a:lnTo>
                    <a:lnTo>
                      <a:pt x="395" y="343"/>
                    </a:lnTo>
                    <a:lnTo>
                      <a:pt x="395" y="343"/>
                    </a:lnTo>
                    <a:lnTo>
                      <a:pt x="395" y="343"/>
                    </a:lnTo>
                    <a:lnTo>
                      <a:pt x="395" y="342"/>
                    </a:lnTo>
                    <a:lnTo>
                      <a:pt x="395" y="340"/>
                    </a:lnTo>
                    <a:lnTo>
                      <a:pt x="394" y="340"/>
                    </a:lnTo>
                    <a:lnTo>
                      <a:pt x="394" y="339"/>
                    </a:lnTo>
                    <a:lnTo>
                      <a:pt x="394" y="336"/>
                    </a:lnTo>
                    <a:lnTo>
                      <a:pt x="394" y="334"/>
                    </a:lnTo>
                    <a:lnTo>
                      <a:pt x="394" y="334"/>
                    </a:lnTo>
                    <a:lnTo>
                      <a:pt x="394" y="332"/>
                    </a:lnTo>
                    <a:lnTo>
                      <a:pt x="395" y="330"/>
                    </a:lnTo>
                    <a:lnTo>
                      <a:pt x="394" y="330"/>
                    </a:lnTo>
                    <a:lnTo>
                      <a:pt x="394" y="329"/>
                    </a:lnTo>
                    <a:lnTo>
                      <a:pt x="394" y="327"/>
                    </a:lnTo>
                    <a:lnTo>
                      <a:pt x="394" y="326"/>
                    </a:lnTo>
                    <a:lnTo>
                      <a:pt x="394" y="326"/>
                    </a:lnTo>
                    <a:lnTo>
                      <a:pt x="395" y="326"/>
                    </a:lnTo>
                    <a:lnTo>
                      <a:pt x="395" y="326"/>
                    </a:lnTo>
                    <a:lnTo>
                      <a:pt x="397" y="326"/>
                    </a:lnTo>
                    <a:lnTo>
                      <a:pt x="397" y="326"/>
                    </a:lnTo>
                    <a:lnTo>
                      <a:pt x="398" y="326"/>
                    </a:lnTo>
                    <a:lnTo>
                      <a:pt x="401" y="326"/>
                    </a:lnTo>
                    <a:lnTo>
                      <a:pt x="404" y="326"/>
                    </a:lnTo>
                    <a:lnTo>
                      <a:pt x="408" y="326"/>
                    </a:lnTo>
                    <a:lnTo>
                      <a:pt x="411" y="326"/>
                    </a:lnTo>
                    <a:lnTo>
                      <a:pt x="412" y="326"/>
                    </a:lnTo>
                    <a:lnTo>
                      <a:pt x="414" y="326"/>
                    </a:lnTo>
                    <a:lnTo>
                      <a:pt x="407" y="319"/>
                    </a:lnTo>
                    <a:lnTo>
                      <a:pt x="410" y="320"/>
                    </a:lnTo>
                    <a:lnTo>
                      <a:pt x="411" y="320"/>
                    </a:lnTo>
                    <a:lnTo>
                      <a:pt x="412" y="320"/>
                    </a:lnTo>
                    <a:lnTo>
                      <a:pt x="415" y="320"/>
                    </a:lnTo>
                    <a:lnTo>
                      <a:pt x="418" y="319"/>
                    </a:lnTo>
                    <a:lnTo>
                      <a:pt x="421" y="317"/>
                    </a:lnTo>
                    <a:lnTo>
                      <a:pt x="424" y="317"/>
                    </a:lnTo>
                    <a:lnTo>
                      <a:pt x="427" y="316"/>
                    </a:lnTo>
                    <a:lnTo>
                      <a:pt x="430" y="316"/>
                    </a:lnTo>
                    <a:lnTo>
                      <a:pt x="433" y="314"/>
                    </a:lnTo>
                    <a:lnTo>
                      <a:pt x="434" y="313"/>
                    </a:lnTo>
                    <a:lnTo>
                      <a:pt x="438" y="310"/>
                    </a:lnTo>
                    <a:lnTo>
                      <a:pt x="441" y="309"/>
                    </a:lnTo>
                    <a:lnTo>
                      <a:pt x="443" y="309"/>
                    </a:lnTo>
                    <a:lnTo>
                      <a:pt x="446" y="309"/>
                    </a:lnTo>
                    <a:lnTo>
                      <a:pt x="447" y="309"/>
                    </a:lnTo>
                    <a:lnTo>
                      <a:pt x="449" y="309"/>
                    </a:lnTo>
                    <a:lnTo>
                      <a:pt x="450" y="309"/>
                    </a:lnTo>
                    <a:lnTo>
                      <a:pt x="453" y="307"/>
                    </a:lnTo>
                    <a:lnTo>
                      <a:pt x="454" y="307"/>
                    </a:lnTo>
                    <a:lnTo>
                      <a:pt x="456" y="307"/>
                    </a:lnTo>
                    <a:lnTo>
                      <a:pt x="457" y="306"/>
                    </a:lnTo>
                    <a:lnTo>
                      <a:pt x="459" y="306"/>
                    </a:lnTo>
                    <a:lnTo>
                      <a:pt x="460" y="304"/>
                    </a:lnTo>
                    <a:lnTo>
                      <a:pt x="462" y="304"/>
                    </a:lnTo>
                    <a:lnTo>
                      <a:pt x="464" y="303"/>
                    </a:lnTo>
                    <a:lnTo>
                      <a:pt x="467" y="303"/>
                    </a:lnTo>
                    <a:lnTo>
                      <a:pt x="469" y="303"/>
                    </a:lnTo>
                    <a:lnTo>
                      <a:pt x="470" y="301"/>
                    </a:lnTo>
                    <a:lnTo>
                      <a:pt x="472" y="303"/>
                    </a:lnTo>
                    <a:lnTo>
                      <a:pt x="472" y="304"/>
                    </a:lnTo>
                    <a:lnTo>
                      <a:pt x="472" y="304"/>
                    </a:lnTo>
                    <a:lnTo>
                      <a:pt x="472" y="306"/>
                    </a:lnTo>
                    <a:lnTo>
                      <a:pt x="472" y="306"/>
                    </a:lnTo>
                    <a:lnTo>
                      <a:pt x="472" y="307"/>
                    </a:lnTo>
                    <a:lnTo>
                      <a:pt x="473" y="309"/>
                    </a:lnTo>
                    <a:lnTo>
                      <a:pt x="473" y="309"/>
                    </a:lnTo>
                    <a:lnTo>
                      <a:pt x="474" y="309"/>
                    </a:lnTo>
                    <a:lnTo>
                      <a:pt x="474" y="309"/>
                    </a:lnTo>
                    <a:lnTo>
                      <a:pt x="476" y="307"/>
                    </a:lnTo>
                    <a:lnTo>
                      <a:pt x="477" y="307"/>
                    </a:lnTo>
                    <a:lnTo>
                      <a:pt x="479" y="306"/>
                    </a:lnTo>
                    <a:lnTo>
                      <a:pt x="480" y="306"/>
                    </a:lnTo>
                    <a:lnTo>
                      <a:pt x="482" y="306"/>
                    </a:lnTo>
                    <a:lnTo>
                      <a:pt x="480" y="304"/>
                    </a:lnTo>
                    <a:lnTo>
                      <a:pt x="480" y="303"/>
                    </a:lnTo>
                    <a:lnTo>
                      <a:pt x="479" y="303"/>
                    </a:lnTo>
                    <a:lnTo>
                      <a:pt x="477" y="303"/>
                    </a:lnTo>
                    <a:lnTo>
                      <a:pt x="476" y="301"/>
                    </a:lnTo>
                    <a:lnTo>
                      <a:pt x="473" y="301"/>
                    </a:lnTo>
                    <a:lnTo>
                      <a:pt x="474" y="300"/>
                    </a:lnTo>
                    <a:lnTo>
                      <a:pt x="477" y="298"/>
                    </a:lnTo>
                    <a:lnTo>
                      <a:pt x="479" y="297"/>
                    </a:lnTo>
                    <a:lnTo>
                      <a:pt x="482" y="297"/>
                    </a:lnTo>
                    <a:lnTo>
                      <a:pt x="486" y="294"/>
                    </a:lnTo>
                    <a:lnTo>
                      <a:pt x="492" y="293"/>
                    </a:lnTo>
                    <a:lnTo>
                      <a:pt x="498" y="291"/>
                    </a:lnTo>
                    <a:lnTo>
                      <a:pt x="502" y="291"/>
                    </a:lnTo>
                    <a:lnTo>
                      <a:pt x="505" y="291"/>
                    </a:lnTo>
                    <a:lnTo>
                      <a:pt x="506" y="291"/>
                    </a:lnTo>
                    <a:lnTo>
                      <a:pt x="509" y="291"/>
                    </a:lnTo>
                    <a:lnTo>
                      <a:pt x="511" y="291"/>
                    </a:lnTo>
                    <a:lnTo>
                      <a:pt x="509" y="291"/>
                    </a:lnTo>
                    <a:lnTo>
                      <a:pt x="508" y="291"/>
                    </a:lnTo>
                    <a:lnTo>
                      <a:pt x="505" y="291"/>
                    </a:lnTo>
                    <a:lnTo>
                      <a:pt x="503" y="291"/>
                    </a:lnTo>
                    <a:lnTo>
                      <a:pt x="500" y="291"/>
                    </a:lnTo>
                    <a:lnTo>
                      <a:pt x="499" y="291"/>
                    </a:lnTo>
                    <a:lnTo>
                      <a:pt x="498" y="293"/>
                    </a:lnTo>
                    <a:lnTo>
                      <a:pt x="496" y="293"/>
                    </a:lnTo>
                    <a:lnTo>
                      <a:pt x="505" y="293"/>
                    </a:lnTo>
                    <a:lnTo>
                      <a:pt x="503" y="294"/>
                    </a:lnTo>
                    <a:lnTo>
                      <a:pt x="502" y="294"/>
                    </a:lnTo>
                    <a:lnTo>
                      <a:pt x="502" y="296"/>
                    </a:lnTo>
                    <a:lnTo>
                      <a:pt x="500" y="296"/>
                    </a:lnTo>
                    <a:lnTo>
                      <a:pt x="500" y="297"/>
                    </a:lnTo>
                    <a:lnTo>
                      <a:pt x="500" y="298"/>
                    </a:lnTo>
                    <a:lnTo>
                      <a:pt x="500" y="298"/>
                    </a:lnTo>
                    <a:lnTo>
                      <a:pt x="500" y="300"/>
                    </a:lnTo>
                    <a:lnTo>
                      <a:pt x="502" y="301"/>
                    </a:lnTo>
                    <a:lnTo>
                      <a:pt x="503" y="304"/>
                    </a:lnTo>
                    <a:lnTo>
                      <a:pt x="505" y="304"/>
                    </a:lnTo>
                    <a:lnTo>
                      <a:pt x="505" y="306"/>
                    </a:lnTo>
                    <a:lnTo>
                      <a:pt x="503" y="306"/>
                    </a:lnTo>
                    <a:lnTo>
                      <a:pt x="502" y="306"/>
                    </a:lnTo>
                    <a:lnTo>
                      <a:pt x="499" y="307"/>
                    </a:lnTo>
                    <a:lnTo>
                      <a:pt x="498" y="307"/>
                    </a:lnTo>
                    <a:lnTo>
                      <a:pt x="496" y="307"/>
                    </a:lnTo>
                    <a:lnTo>
                      <a:pt x="495" y="309"/>
                    </a:lnTo>
                    <a:lnTo>
                      <a:pt x="493" y="309"/>
                    </a:lnTo>
                    <a:lnTo>
                      <a:pt x="493" y="309"/>
                    </a:lnTo>
                    <a:lnTo>
                      <a:pt x="493" y="310"/>
                    </a:lnTo>
                    <a:lnTo>
                      <a:pt x="496" y="310"/>
                    </a:lnTo>
                    <a:lnTo>
                      <a:pt x="499" y="310"/>
                    </a:lnTo>
                    <a:lnTo>
                      <a:pt x="500" y="311"/>
                    </a:lnTo>
                    <a:lnTo>
                      <a:pt x="505" y="311"/>
                    </a:lnTo>
                    <a:lnTo>
                      <a:pt x="508" y="311"/>
                    </a:lnTo>
                    <a:lnTo>
                      <a:pt x="509" y="310"/>
                    </a:lnTo>
                    <a:lnTo>
                      <a:pt x="512" y="309"/>
                    </a:lnTo>
                    <a:lnTo>
                      <a:pt x="513" y="309"/>
                    </a:lnTo>
                    <a:lnTo>
                      <a:pt x="513" y="309"/>
                    </a:lnTo>
                    <a:lnTo>
                      <a:pt x="513" y="309"/>
                    </a:lnTo>
                    <a:lnTo>
                      <a:pt x="513" y="309"/>
                    </a:lnTo>
                    <a:lnTo>
                      <a:pt x="513" y="310"/>
                    </a:lnTo>
                    <a:lnTo>
                      <a:pt x="513" y="310"/>
                    </a:lnTo>
                    <a:lnTo>
                      <a:pt x="515" y="310"/>
                    </a:lnTo>
                    <a:lnTo>
                      <a:pt x="515" y="310"/>
                    </a:lnTo>
                    <a:lnTo>
                      <a:pt x="516" y="310"/>
                    </a:lnTo>
                    <a:lnTo>
                      <a:pt x="516" y="309"/>
                    </a:lnTo>
                    <a:lnTo>
                      <a:pt x="518" y="309"/>
                    </a:lnTo>
                    <a:lnTo>
                      <a:pt x="519" y="309"/>
                    </a:lnTo>
                    <a:lnTo>
                      <a:pt x="521" y="309"/>
                    </a:lnTo>
                    <a:lnTo>
                      <a:pt x="522" y="309"/>
                    </a:lnTo>
                    <a:lnTo>
                      <a:pt x="522" y="310"/>
                    </a:lnTo>
                    <a:lnTo>
                      <a:pt x="524" y="310"/>
                    </a:lnTo>
                    <a:lnTo>
                      <a:pt x="525" y="311"/>
                    </a:lnTo>
                    <a:lnTo>
                      <a:pt x="526" y="311"/>
                    </a:lnTo>
                    <a:lnTo>
                      <a:pt x="526" y="310"/>
                    </a:lnTo>
                    <a:lnTo>
                      <a:pt x="526" y="310"/>
                    </a:lnTo>
                    <a:lnTo>
                      <a:pt x="526" y="309"/>
                    </a:lnTo>
                    <a:lnTo>
                      <a:pt x="526" y="309"/>
                    </a:lnTo>
                    <a:lnTo>
                      <a:pt x="528" y="307"/>
                    </a:lnTo>
                    <a:lnTo>
                      <a:pt x="528" y="306"/>
                    </a:lnTo>
                    <a:lnTo>
                      <a:pt x="531" y="304"/>
                    </a:lnTo>
                    <a:lnTo>
                      <a:pt x="532" y="303"/>
                    </a:lnTo>
                    <a:lnTo>
                      <a:pt x="534" y="303"/>
                    </a:lnTo>
                    <a:lnTo>
                      <a:pt x="536" y="301"/>
                    </a:lnTo>
                    <a:lnTo>
                      <a:pt x="539" y="301"/>
                    </a:lnTo>
                    <a:lnTo>
                      <a:pt x="547" y="300"/>
                    </a:lnTo>
                    <a:lnTo>
                      <a:pt x="551" y="300"/>
                    </a:lnTo>
                    <a:lnTo>
                      <a:pt x="554" y="301"/>
                    </a:lnTo>
                    <a:lnTo>
                      <a:pt x="557" y="301"/>
                    </a:lnTo>
                    <a:lnTo>
                      <a:pt x="560" y="301"/>
                    </a:lnTo>
                    <a:lnTo>
                      <a:pt x="561" y="301"/>
                    </a:lnTo>
                    <a:lnTo>
                      <a:pt x="570" y="301"/>
                    </a:lnTo>
                    <a:lnTo>
                      <a:pt x="571" y="301"/>
                    </a:lnTo>
                    <a:lnTo>
                      <a:pt x="571" y="301"/>
                    </a:lnTo>
                    <a:lnTo>
                      <a:pt x="573" y="300"/>
                    </a:lnTo>
                    <a:lnTo>
                      <a:pt x="574" y="300"/>
                    </a:lnTo>
                    <a:lnTo>
                      <a:pt x="574" y="298"/>
                    </a:lnTo>
                    <a:lnTo>
                      <a:pt x="575" y="298"/>
                    </a:lnTo>
                    <a:lnTo>
                      <a:pt x="578" y="298"/>
                    </a:lnTo>
                    <a:lnTo>
                      <a:pt x="580" y="298"/>
                    </a:lnTo>
                    <a:lnTo>
                      <a:pt x="580" y="298"/>
                    </a:lnTo>
                    <a:lnTo>
                      <a:pt x="581" y="298"/>
                    </a:lnTo>
                    <a:lnTo>
                      <a:pt x="581" y="297"/>
                    </a:lnTo>
                    <a:lnTo>
                      <a:pt x="581" y="296"/>
                    </a:lnTo>
                    <a:lnTo>
                      <a:pt x="581" y="296"/>
                    </a:lnTo>
                    <a:lnTo>
                      <a:pt x="583" y="294"/>
                    </a:lnTo>
                    <a:lnTo>
                      <a:pt x="584" y="294"/>
                    </a:lnTo>
                    <a:lnTo>
                      <a:pt x="586" y="296"/>
                    </a:lnTo>
                    <a:lnTo>
                      <a:pt x="587" y="296"/>
                    </a:lnTo>
                    <a:lnTo>
                      <a:pt x="588" y="296"/>
                    </a:lnTo>
                    <a:lnTo>
                      <a:pt x="590" y="296"/>
                    </a:lnTo>
                    <a:lnTo>
                      <a:pt x="588" y="296"/>
                    </a:lnTo>
                    <a:lnTo>
                      <a:pt x="588" y="294"/>
                    </a:lnTo>
                    <a:lnTo>
                      <a:pt x="588" y="294"/>
                    </a:lnTo>
                    <a:lnTo>
                      <a:pt x="587" y="293"/>
                    </a:lnTo>
                    <a:lnTo>
                      <a:pt x="588" y="293"/>
                    </a:lnTo>
                    <a:lnTo>
                      <a:pt x="591" y="291"/>
                    </a:lnTo>
                    <a:lnTo>
                      <a:pt x="594" y="291"/>
                    </a:lnTo>
                    <a:lnTo>
                      <a:pt x="596" y="291"/>
                    </a:lnTo>
                    <a:lnTo>
                      <a:pt x="600" y="291"/>
                    </a:lnTo>
                    <a:lnTo>
                      <a:pt x="603" y="291"/>
                    </a:lnTo>
                    <a:lnTo>
                      <a:pt x="601" y="291"/>
                    </a:lnTo>
                    <a:lnTo>
                      <a:pt x="601" y="291"/>
                    </a:lnTo>
                    <a:lnTo>
                      <a:pt x="603" y="291"/>
                    </a:lnTo>
                    <a:lnTo>
                      <a:pt x="603" y="293"/>
                    </a:lnTo>
                    <a:lnTo>
                      <a:pt x="604" y="293"/>
                    </a:lnTo>
                    <a:lnTo>
                      <a:pt x="606" y="294"/>
                    </a:lnTo>
                    <a:lnTo>
                      <a:pt x="607" y="296"/>
                    </a:lnTo>
                    <a:lnTo>
                      <a:pt x="609" y="296"/>
                    </a:lnTo>
                    <a:lnTo>
                      <a:pt x="609" y="296"/>
                    </a:lnTo>
                    <a:lnTo>
                      <a:pt x="610" y="296"/>
                    </a:lnTo>
                    <a:lnTo>
                      <a:pt x="609" y="297"/>
                    </a:lnTo>
                    <a:lnTo>
                      <a:pt x="607" y="297"/>
                    </a:lnTo>
                    <a:lnTo>
                      <a:pt x="606" y="298"/>
                    </a:lnTo>
                    <a:lnTo>
                      <a:pt x="606" y="298"/>
                    </a:lnTo>
                    <a:lnTo>
                      <a:pt x="606" y="300"/>
                    </a:lnTo>
                    <a:lnTo>
                      <a:pt x="606" y="300"/>
                    </a:lnTo>
                    <a:lnTo>
                      <a:pt x="606" y="301"/>
                    </a:lnTo>
                    <a:lnTo>
                      <a:pt x="606" y="301"/>
                    </a:lnTo>
                    <a:lnTo>
                      <a:pt x="607" y="304"/>
                    </a:lnTo>
                    <a:lnTo>
                      <a:pt x="609" y="306"/>
                    </a:lnTo>
                    <a:lnTo>
                      <a:pt x="610" y="307"/>
                    </a:lnTo>
                    <a:lnTo>
                      <a:pt x="613" y="309"/>
                    </a:lnTo>
                    <a:lnTo>
                      <a:pt x="614" y="309"/>
                    </a:lnTo>
                    <a:lnTo>
                      <a:pt x="616" y="309"/>
                    </a:lnTo>
                    <a:lnTo>
                      <a:pt x="619" y="309"/>
                    </a:lnTo>
                    <a:lnTo>
                      <a:pt x="620" y="309"/>
                    </a:lnTo>
                    <a:lnTo>
                      <a:pt x="622" y="309"/>
                    </a:lnTo>
                    <a:lnTo>
                      <a:pt x="623" y="309"/>
                    </a:lnTo>
                    <a:lnTo>
                      <a:pt x="623" y="307"/>
                    </a:lnTo>
                    <a:lnTo>
                      <a:pt x="624" y="306"/>
                    </a:lnTo>
                    <a:lnTo>
                      <a:pt x="624" y="306"/>
                    </a:lnTo>
                    <a:lnTo>
                      <a:pt x="624" y="304"/>
                    </a:lnTo>
                    <a:lnTo>
                      <a:pt x="623" y="304"/>
                    </a:lnTo>
                    <a:lnTo>
                      <a:pt x="623" y="304"/>
                    </a:lnTo>
                    <a:lnTo>
                      <a:pt x="622" y="303"/>
                    </a:lnTo>
                    <a:lnTo>
                      <a:pt x="620" y="301"/>
                    </a:lnTo>
                    <a:lnTo>
                      <a:pt x="619" y="298"/>
                    </a:lnTo>
                    <a:lnTo>
                      <a:pt x="620" y="298"/>
                    </a:lnTo>
                    <a:lnTo>
                      <a:pt x="620" y="298"/>
                    </a:lnTo>
                    <a:lnTo>
                      <a:pt x="622" y="298"/>
                    </a:lnTo>
                    <a:lnTo>
                      <a:pt x="623" y="297"/>
                    </a:lnTo>
                    <a:lnTo>
                      <a:pt x="627" y="297"/>
                    </a:lnTo>
                    <a:lnTo>
                      <a:pt x="632" y="297"/>
                    </a:lnTo>
                    <a:lnTo>
                      <a:pt x="633" y="296"/>
                    </a:lnTo>
                    <a:lnTo>
                      <a:pt x="635" y="296"/>
                    </a:lnTo>
                    <a:lnTo>
                      <a:pt x="636" y="294"/>
                    </a:lnTo>
                    <a:lnTo>
                      <a:pt x="637" y="294"/>
                    </a:lnTo>
                    <a:lnTo>
                      <a:pt x="637" y="293"/>
                    </a:lnTo>
                    <a:lnTo>
                      <a:pt x="637" y="291"/>
                    </a:lnTo>
                    <a:lnTo>
                      <a:pt x="637" y="290"/>
                    </a:lnTo>
                    <a:lnTo>
                      <a:pt x="637" y="288"/>
                    </a:lnTo>
                    <a:lnTo>
                      <a:pt x="636" y="288"/>
                    </a:lnTo>
                    <a:lnTo>
                      <a:pt x="636" y="287"/>
                    </a:lnTo>
                    <a:lnTo>
                      <a:pt x="635" y="287"/>
                    </a:lnTo>
                    <a:lnTo>
                      <a:pt x="635" y="287"/>
                    </a:lnTo>
                    <a:lnTo>
                      <a:pt x="633" y="287"/>
                    </a:lnTo>
                    <a:lnTo>
                      <a:pt x="632" y="287"/>
                    </a:lnTo>
                    <a:lnTo>
                      <a:pt x="630" y="285"/>
                    </a:lnTo>
                    <a:lnTo>
                      <a:pt x="629" y="285"/>
                    </a:lnTo>
                    <a:lnTo>
                      <a:pt x="627" y="285"/>
                    </a:lnTo>
                    <a:lnTo>
                      <a:pt x="626" y="284"/>
                    </a:lnTo>
                    <a:lnTo>
                      <a:pt x="624" y="283"/>
                    </a:lnTo>
                    <a:lnTo>
                      <a:pt x="622" y="280"/>
                    </a:lnTo>
                    <a:lnTo>
                      <a:pt x="619" y="278"/>
                    </a:lnTo>
                    <a:lnTo>
                      <a:pt x="617" y="277"/>
                    </a:lnTo>
                    <a:lnTo>
                      <a:pt x="616" y="275"/>
                    </a:lnTo>
                    <a:lnTo>
                      <a:pt x="616" y="275"/>
                    </a:lnTo>
                    <a:lnTo>
                      <a:pt x="616" y="274"/>
                    </a:lnTo>
                    <a:lnTo>
                      <a:pt x="617" y="274"/>
                    </a:lnTo>
                    <a:lnTo>
                      <a:pt x="617" y="274"/>
                    </a:lnTo>
                    <a:lnTo>
                      <a:pt x="619" y="274"/>
                    </a:lnTo>
                    <a:lnTo>
                      <a:pt x="620" y="274"/>
                    </a:lnTo>
                    <a:lnTo>
                      <a:pt x="620" y="274"/>
                    </a:lnTo>
                    <a:lnTo>
                      <a:pt x="622" y="274"/>
                    </a:lnTo>
                    <a:lnTo>
                      <a:pt x="622" y="274"/>
                    </a:lnTo>
                    <a:lnTo>
                      <a:pt x="623" y="274"/>
                    </a:lnTo>
                    <a:lnTo>
                      <a:pt x="623" y="274"/>
                    </a:lnTo>
                    <a:lnTo>
                      <a:pt x="624" y="274"/>
                    </a:lnTo>
                    <a:lnTo>
                      <a:pt x="624" y="273"/>
                    </a:lnTo>
                    <a:lnTo>
                      <a:pt x="624" y="273"/>
                    </a:lnTo>
                    <a:lnTo>
                      <a:pt x="624" y="271"/>
                    </a:lnTo>
                    <a:lnTo>
                      <a:pt x="624" y="271"/>
                    </a:lnTo>
                    <a:lnTo>
                      <a:pt x="626" y="270"/>
                    </a:lnTo>
                    <a:lnTo>
                      <a:pt x="626" y="270"/>
                    </a:lnTo>
                    <a:lnTo>
                      <a:pt x="627" y="268"/>
                    </a:lnTo>
                    <a:lnTo>
                      <a:pt x="629" y="268"/>
                    </a:lnTo>
                    <a:lnTo>
                      <a:pt x="630" y="268"/>
                    </a:lnTo>
                    <a:lnTo>
                      <a:pt x="632" y="270"/>
                    </a:lnTo>
                    <a:lnTo>
                      <a:pt x="635" y="270"/>
                    </a:lnTo>
                    <a:lnTo>
                      <a:pt x="636" y="271"/>
                    </a:lnTo>
                    <a:lnTo>
                      <a:pt x="653" y="271"/>
                    </a:lnTo>
                    <a:lnTo>
                      <a:pt x="656" y="271"/>
                    </a:lnTo>
                    <a:lnTo>
                      <a:pt x="659" y="271"/>
                    </a:lnTo>
                    <a:lnTo>
                      <a:pt x="668" y="273"/>
                    </a:lnTo>
                    <a:lnTo>
                      <a:pt x="675" y="273"/>
                    </a:lnTo>
                    <a:lnTo>
                      <a:pt x="678" y="274"/>
                    </a:lnTo>
                    <a:lnTo>
                      <a:pt x="682" y="274"/>
                    </a:lnTo>
                    <a:lnTo>
                      <a:pt x="689" y="275"/>
                    </a:lnTo>
                    <a:lnTo>
                      <a:pt x="698" y="277"/>
                    </a:lnTo>
                    <a:lnTo>
                      <a:pt x="702" y="278"/>
                    </a:lnTo>
                    <a:lnTo>
                      <a:pt x="707" y="280"/>
                    </a:lnTo>
                    <a:lnTo>
                      <a:pt x="710" y="281"/>
                    </a:lnTo>
                    <a:lnTo>
                      <a:pt x="712" y="281"/>
                    </a:lnTo>
                    <a:lnTo>
                      <a:pt x="712" y="283"/>
                    </a:lnTo>
                    <a:lnTo>
                      <a:pt x="711" y="283"/>
                    </a:lnTo>
                    <a:lnTo>
                      <a:pt x="711" y="284"/>
                    </a:lnTo>
                    <a:lnTo>
                      <a:pt x="711" y="284"/>
                    </a:lnTo>
                    <a:lnTo>
                      <a:pt x="711" y="285"/>
                    </a:lnTo>
                    <a:lnTo>
                      <a:pt x="711" y="285"/>
                    </a:lnTo>
                    <a:lnTo>
                      <a:pt x="712" y="285"/>
                    </a:lnTo>
                    <a:lnTo>
                      <a:pt x="714" y="285"/>
                    </a:lnTo>
                    <a:lnTo>
                      <a:pt x="715" y="285"/>
                    </a:lnTo>
                    <a:lnTo>
                      <a:pt x="715" y="285"/>
                    </a:lnTo>
                    <a:lnTo>
                      <a:pt x="717" y="284"/>
                    </a:lnTo>
                    <a:lnTo>
                      <a:pt x="717" y="284"/>
                    </a:lnTo>
                    <a:lnTo>
                      <a:pt x="718" y="284"/>
                    </a:lnTo>
                    <a:lnTo>
                      <a:pt x="720" y="284"/>
                    </a:lnTo>
                    <a:lnTo>
                      <a:pt x="723" y="285"/>
                    </a:lnTo>
                    <a:lnTo>
                      <a:pt x="725" y="285"/>
                    </a:lnTo>
                    <a:lnTo>
                      <a:pt x="728" y="287"/>
                    </a:lnTo>
                    <a:lnTo>
                      <a:pt x="731" y="287"/>
                    </a:lnTo>
                    <a:lnTo>
                      <a:pt x="733" y="288"/>
                    </a:lnTo>
                    <a:lnTo>
                      <a:pt x="731" y="288"/>
                    </a:lnTo>
                    <a:lnTo>
                      <a:pt x="731" y="288"/>
                    </a:lnTo>
                    <a:lnTo>
                      <a:pt x="730" y="288"/>
                    </a:lnTo>
                    <a:lnTo>
                      <a:pt x="731" y="288"/>
                    </a:lnTo>
                    <a:lnTo>
                      <a:pt x="731" y="288"/>
                    </a:lnTo>
                    <a:lnTo>
                      <a:pt x="733" y="290"/>
                    </a:lnTo>
                    <a:lnTo>
                      <a:pt x="736" y="290"/>
                    </a:lnTo>
                    <a:lnTo>
                      <a:pt x="737" y="290"/>
                    </a:lnTo>
                    <a:lnTo>
                      <a:pt x="738" y="290"/>
                    </a:lnTo>
                    <a:lnTo>
                      <a:pt x="738" y="291"/>
                    </a:lnTo>
                    <a:lnTo>
                      <a:pt x="740" y="291"/>
                    </a:lnTo>
                    <a:lnTo>
                      <a:pt x="741" y="291"/>
                    </a:lnTo>
                    <a:lnTo>
                      <a:pt x="740" y="290"/>
                    </a:lnTo>
                    <a:lnTo>
                      <a:pt x="738" y="290"/>
                    </a:lnTo>
                    <a:lnTo>
                      <a:pt x="736" y="290"/>
                    </a:lnTo>
                    <a:lnTo>
                      <a:pt x="738" y="290"/>
                    </a:lnTo>
                    <a:lnTo>
                      <a:pt x="740" y="290"/>
                    </a:lnTo>
                    <a:lnTo>
                      <a:pt x="743" y="290"/>
                    </a:lnTo>
                    <a:lnTo>
                      <a:pt x="746" y="291"/>
                    </a:lnTo>
                    <a:lnTo>
                      <a:pt x="748" y="291"/>
                    </a:lnTo>
                    <a:lnTo>
                      <a:pt x="750" y="293"/>
                    </a:lnTo>
                    <a:lnTo>
                      <a:pt x="750" y="293"/>
                    </a:lnTo>
                    <a:lnTo>
                      <a:pt x="753" y="293"/>
                    </a:lnTo>
                    <a:lnTo>
                      <a:pt x="753" y="293"/>
                    </a:lnTo>
                    <a:lnTo>
                      <a:pt x="756" y="293"/>
                    </a:lnTo>
                    <a:lnTo>
                      <a:pt x="757" y="294"/>
                    </a:lnTo>
                    <a:lnTo>
                      <a:pt x="761" y="294"/>
                    </a:lnTo>
                    <a:lnTo>
                      <a:pt x="766" y="296"/>
                    </a:lnTo>
                    <a:lnTo>
                      <a:pt x="769" y="298"/>
                    </a:lnTo>
                    <a:lnTo>
                      <a:pt x="773" y="300"/>
                    </a:lnTo>
                    <a:lnTo>
                      <a:pt x="776" y="301"/>
                    </a:lnTo>
                    <a:lnTo>
                      <a:pt x="780" y="304"/>
                    </a:lnTo>
                    <a:lnTo>
                      <a:pt x="785" y="306"/>
                    </a:lnTo>
                    <a:lnTo>
                      <a:pt x="786" y="306"/>
                    </a:lnTo>
                    <a:lnTo>
                      <a:pt x="786" y="306"/>
                    </a:lnTo>
                    <a:lnTo>
                      <a:pt x="787" y="307"/>
                    </a:lnTo>
                    <a:lnTo>
                      <a:pt x="789" y="307"/>
                    </a:lnTo>
                    <a:lnTo>
                      <a:pt x="790" y="309"/>
                    </a:lnTo>
                    <a:lnTo>
                      <a:pt x="793" y="309"/>
                    </a:lnTo>
                    <a:lnTo>
                      <a:pt x="795" y="310"/>
                    </a:lnTo>
                    <a:lnTo>
                      <a:pt x="796" y="310"/>
                    </a:lnTo>
                    <a:lnTo>
                      <a:pt x="798" y="310"/>
                    </a:lnTo>
                    <a:lnTo>
                      <a:pt x="798" y="310"/>
                    </a:lnTo>
                    <a:lnTo>
                      <a:pt x="799" y="310"/>
                    </a:lnTo>
                    <a:lnTo>
                      <a:pt x="799" y="310"/>
                    </a:lnTo>
                    <a:lnTo>
                      <a:pt x="799" y="309"/>
                    </a:lnTo>
                    <a:lnTo>
                      <a:pt x="799" y="309"/>
                    </a:lnTo>
                    <a:lnTo>
                      <a:pt x="798" y="307"/>
                    </a:lnTo>
                    <a:lnTo>
                      <a:pt x="798" y="306"/>
                    </a:lnTo>
                    <a:lnTo>
                      <a:pt x="798" y="304"/>
                    </a:lnTo>
                    <a:lnTo>
                      <a:pt x="798" y="303"/>
                    </a:lnTo>
                    <a:lnTo>
                      <a:pt x="799" y="301"/>
                    </a:lnTo>
                    <a:lnTo>
                      <a:pt x="799" y="300"/>
                    </a:lnTo>
                    <a:lnTo>
                      <a:pt x="799" y="298"/>
                    </a:lnTo>
                    <a:lnTo>
                      <a:pt x="799" y="298"/>
                    </a:lnTo>
                    <a:lnTo>
                      <a:pt x="800" y="298"/>
                    </a:lnTo>
                    <a:lnTo>
                      <a:pt x="800" y="297"/>
                    </a:lnTo>
                    <a:lnTo>
                      <a:pt x="799" y="296"/>
                    </a:lnTo>
                    <a:lnTo>
                      <a:pt x="799" y="296"/>
                    </a:lnTo>
                    <a:lnTo>
                      <a:pt x="799" y="294"/>
                    </a:lnTo>
                    <a:lnTo>
                      <a:pt x="799" y="294"/>
                    </a:lnTo>
                    <a:lnTo>
                      <a:pt x="800" y="293"/>
                    </a:lnTo>
                    <a:lnTo>
                      <a:pt x="800" y="293"/>
                    </a:lnTo>
                    <a:lnTo>
                      <a:pt x="802" y="293"/>
                    </a:lnTo>
                    <a:lnTo>
                      <a:pt x="800" y="293"/>
                    </a:lnTo>
                    <a:lnTo>
                      <a:pt x="800" y="291"/>
                    </a:lnTo>
                    <a:lnTo>
                      <a:pt x="799" y="291"/>
                    </a:lnTo>
                    <a:lnTo>
                      <a:pt x="798" y="291"/>
                    </a:lnTo>
                    <a:lnTo>
                      <a:pt x="795" y="293"/>
                    </a:lnTo>
                    <a:lnTo>
                      <a:pt x="795" y="293"/>
                    </a:lnTo>
                    <a:lnTo>
                      <a:pt x="793" y="293"/>
                    </a:lnTo>
                    <a:lnTo>
                      <a:pt x="793" y="293"/>
                    </a:lnTo>
                    <a:lnTo>
                      <a:pt x="792" y="293"/>
                    </a:lnTo>
                    <a:lnTo>
                      <a:pt x="790" y="291"/>
                    </a:lnTo>
                    <a:lnTo>
                      <a:pt x="789" y="291"/>
                    </a:lnTo>
                    <a:lnTo>
                      <a:pt x="787" y="290"/>
                    </a:lnTo>
                    <a:lnTo>
                      <a:pt x="785" y="288"/>
                    </a:lnTo>
                    <a:lnTo>
                      <a:pt x="783" y="288"/>
                    </a:lnTo>
                    <a:lnTo>
                      <a:pt x="780" y="287"/>
                    </a:lnTo>
                    <a:lnTo>
                      <a:pt x="779" y="287"/>
                    </a:lnTo>
                    <a:lnTo>
                      <a:pt x="777" y="287"/>
                    </a:lnTo>
                    <a:lnTo>
                      <a:pt x="777" y="285"/>
                    </a:lnTo>
                    <a:lnTo>
                      <a:pt x="776" y="285"/>
                    </a:lnTo>
                    <a:lnTo>
                      <a:pt x="776" y="284"/>
                    </a:lnTo>
                    <a:lnTo>
                      <a:pt x="774" y="283"/>
                    </a:lnTo>
                    <a:lnTo>
                      <a:pt x="774" y="281"/>
                    </a:lnTo>
                    <a:lnTo>
                      <a:pt x="774" y="280"/>
                    </a:lnTo>
                    <a:lnTo>
                      <a:pt x="773" y="278"/>
                    </a:lnTo>
                    <a:lnTo>
                      <a:pt x="773" y="275"/>
                    </a:lnTo>
                    <a:lnTo>
                      <a:pt x="773" y="277"/>
                    </a:lnTo>
                    <a:lnTo>
                      <a:pt x="772" y="277"/>
                    </a:lnTo>
                    <a:lnTo>
                      <a:pt x="769" y="277"/>
                    </a:lnTo>
                    <a:lnTo>
                      <a:pt x="767" y="277"/>
                    </a:lnTo>
                    <a:lnTo>
                      <a:pt x="764" y="277"/>
                    </a:lnTo>
                    <a:lnTo>
                      <a:pt x="763" y="275"/>
                    </a:lnTo>
                    <a:lnTo>
                      <a:pt x="761" y="275"/>
                    </a:lnTo>
                    <a:lnTo>
                      <a:pt x="759" y="275"/>
                    </a:lnTo>
                    <a:lnTo>
                      <a:pt x="757" y="275"/>
                    </a:lnTo>
                    <a:lnTo>
                      <a:pt x="754" y="274"/>
                    </a:lnTo>
                    <a:lnTo>
                      <a:pt x="753" y="274"/>
                    </a:lnTo>
                    <a:lnTo>
                      <a:pt x="750" y="274"/>
                    </a:lnTo>
                    <a:lnTo>
                      <a:pt x="748" y="274"/>
                    </a:lnTo>
                    <a:lnTo>
                      <a:pt x="748" y="274"/>
                    </a:lnTo>
                    <a:lnTo>
                      <a:pt x="748" y="274"/>
                    </a:lnTo>
                    <a:lnTo>
                      <a:pt x="747" y="275"/>
                    </a:lnTo>
                    <a:lnTo>
                      <a:pt x="747" y="275"/>
                    </a:lnTo>
                    <a:lnTo>
                      <a:pt x="746" y="274"/>
                    </a:lnTo>
                    <a:lnTo>
                      <a:pt x="744" y="274"/>
                    </a:lnTo>
                    <a:lnTo>
                      <a:pt x="743" y="273"/>
                    </a:lnTo>
                    <a:lnTo>
                      <a:pt x="743" y="271"/>
                    </a:lnTo>
                    <a:lnTo>
                      <a:pt x="741" y="270"/>
                    </a:lnTo>
                    <a:lnTo>
                      <a:pt x="741" y="267"/>
                    </a:lnTo>
                    <a:lnTo>
                      <a:pt x="741" y="265"/>
                    </a:lnTo>
                    <a:lnTo>
                      <a:pt x="741" y="265"/>
                    </a:lnTo>
                    <a:lnTo>
                      <a:pt x="743" y="265"/>
                    </a:lnTo>
                    <a:lnTo>
                      <a:pt x="744" y="264"/>
                    </a:lnTo>
                    <a:lnTo>
                      <a:pt x="747" y="264"/>
                    </a:lnTo>
                    <a:lnTo>
                      <a:pt x="748" y="264"/>
                    </a:lnTo>
                    <a:lnTo>
                      <a:pt x="750" y="264"/>
                    </a:lnTo>
                    <a:lnTo>
                      <a:pt x="750" y="262"/>
                    </a:lnTo>
                    <a:lnTo>
                      <a:pt x="750" y="261"/>
                    </a:lnTo>
                    <a:lnTo>
                      <a:pt x="750" y="261"/>
                    </a:lnTo>
                    <a:lnTo>
                      <a:pt x="748" y="261"/>
                    </a:lnTo>
                    <a:lnTo>
                      <a:pt x="747" y="260"/>
                    </a:lnTo>
                    <a:lnTo>
                      <a:pt x="746" y="260"/>
                    </a:lnTo>
                    <a:lnTo>
                      <a:pt x="746" y="258"/>
                    </a:lnTo>
                    <a:lnTo>
                      <a:pt x="744" y="258"/>
                    </a:lnTo>
                    <a:lnTo>
                      <a:pt x="744" y="258"/>
                    </a:lnTo>
                    <a:lnTo>
                      <a:pt x="744" y="257"/>
                    </a:lnTo>
                    <a:lnTo>
                      <a:pt x="744" y="257"/>
                    </a:lnTo>
                    <a:lnTo>
                      <a:pt x="744" y="255"/>
                    </a:lnTo>
                    <a:lnTo>
                      <a:pt x="743" y="254"/>
                    </a:lnTo>
                    <a:lnTo>
                      <a:pt x="743" y="254"/>
                    </a:lnTo>
                    <a:lnTo>
                      <a:pt x="741" y="254"/>
                    </a:lnTo>
                    <a:lnTo>
                      <a:pt x="741" y="251"/>
                    </a:lnTo>
                    <a:lnTo>
                      <a:pt x="741" y="249"/>
                    </a:lnTo>
                    <a:lnTo>
                      <a:pt x="741" y="247"/>
                    </a:lnTo>
                    <a:lnTo>
                      <a:pt x="741" y="245"/>
                    </a:lnTo>
                    <a:lnTo>
                      <a:pt x="740" y="245"/>
                    </a:lnTo>
                    <a:lnTo>
                      <a:pt x="738" y="244"/>
                    </a:lnTo>
                    <a:lnTo>
                      <a:pt x="737" y="244"/>
                    </a:lnTo>
                    <a:lnTo>
                      <a:pt x="736" y="244"/>
                    </a:lnTo>
                    <a:lnTo>
                      <a:pt x="734" y="244"/>
                    </a:lnTo>
                    <a:lnTo>
                      <a:pt x="733" y="245"/>
                    </a:lnTo>
                    <a:lnTo>
                      <a:pt x="731" y="244"/>
                    </a:lnTo>
                    <a:lnTo>
                      <a:pt x="730" y="244"/>
                    </a:lnTo>
                    <a:lnTo>
                      <a:pt x="728" y="244"/>
                    </a:lnTo>
                    <a:lnTo>
                      <a:pt x="727" y="242"/>
                    </a:lnTo>
                    <a:lnTo>
                      <a:pt x="725" y="242"/>
                    </a:lnTo>
                    <a:lnTo>
                      <a:pt x="725" y="241"/>
                    </a:lnTo>
                    <a:lnTo>
                      <a:pt x="725" y="241"/>
                    </a:lnTo>
                    <a:lnTo>
                      <a:pt x="725" y="241"/>
                    </a:lnTo>
                    <a:lnTo>
                      <a:pt x="727" y="239"/>
                    </a:lnTo>
                    <a:lnTo>
                      <a:pt x="725" y="239"/>
                    </a:lnTo>
                    <a:lnTo>
                      <a:pt x="725" y="239"/>
                    </a:lnTo>
                    <a:lnTo>
                      <a:pt x="724" y="239"/>
                    </a:lnTo>
                    <a:lnTo>
                      <a:pt x="725" y="238"/>
                    </a:lnTo>
                    <a:lnTo>
                      <a:pt x="725" y="236"/>
                    </a:lnTo>
                    <a:lnTo>
                      <a:pt x="727" y="235"/>
                    </a:lnTo>
                    <a:lnTo>
                      <a:pt x="728" y="234"/>
                    </a:lnTo>
                    <a:lnTo>
                      <a:pt x="728" y="232"/>
                    </a:lnTo>
                    <a:lnTo>
                      <a:pt x="730" y="231"/>
                    </a:lnTo>
                    <a:lnTo>
                      <a:pt x="733" y="231"/>
                    </a:lnTo>
                    <a:lnTo>
                      <a:pt x="734" y="229"/>
                    </a:lnTo>
                    <a:lnTo>
                      <a:pt x="737" y="229"/>
                    </a:lnTo>
                    <a:lnTo>
                      <a:pt x="740" y="228"/>
                    </a:lnTo>
                    <a:lnTo>
                      <a:pt x="741" y="226"/>
                    </a:lnTo>
                    <a:lnTo>
                      <a:pt x="743" y="225"/>
                    </a:lnTo>
                    <a:lnTo>
                      <a:pt x="746" y="223"/>
                    </a:lnTo>
                    <a:lnTo>
                      <a:pt x="747" y="222"/>
                    </a:lnTo>
                    <a:lnTo>
                      <a:pt x="748" y="221"/>
                    </a:lnTo>
                    <a:lnTo>
                      <a:pt x="748" y="219"/>
                    </a:lnTo>
                    <a:lnTo>
                      <a:pt x="748" y="216"/>
                    </a:lnTo>
                    <a:lnTo>
                      <a:pt x="748" y="213"/>
                    </a:lnTo>
                    <a:lnTo>
                      <a:pt x="747" y="211"/>
                    </a:lnTo>
                    <a:lnTo>
                      <a:pt x="746" y="206"/>
                    </a:lnTo>
                    <a:lnTo>
                      <a:pt x="746" y="205"/>
                    </a:lnTo>
                    <a:lnTo>
                      <a:pt x="744" y="202"/>
                    </a:lnTo>
                    <a:lnTo>
                      <a:pt x="744" y="199"/>
                    </a:lnTo>
                    <a:lnTo>
                      <a:pt x="744" y="198"/>
                    </a:lnTo>
                    <a:lnTo>
                      <a:pt x="746" y="196"/>
                    </a:lnTo>
                    <a:lnTo>
                      <a:pt x="746" y="196"/>
                    </a:lnTo>
                    <a:lnTo>
                      <a:pt x="746" y="195"/>
                    </a:lnTo>
                    <a:lnTo>
                      <a:pt x="748" y="192"/>
                    </a:lnTo>
                    <a:lnTo>
                      <a:pt x="750" y="190"/>
                    </a:lnTo>
                    <a:lnTo>
                      <a:pt x="751" y="190"/>
                    </a:lnTo>
                    <a:lnTo>
                      <a:pt x="751" y="190"/>
                    </a:lnTo>
                    <a:lnTo>
                      <a:pt x="753" y="190"/>
                    </a:lnTo>
                    <a:lnTo>
                      <a:pt x="754" y="190"/>
                    </a:lnTo>
                    <a:lnTo>
                      <a:pt x="756" y="190"/>
                    </a:lnTo>
                    <a:lnTo>
                      <a:pt x="756" y="192"/>
                    </a:lnTo>
                    <a:lnTo>
                      <a:pt x="754" y="192"/>
                    </a:lnTo>
                    <a:lnTo>
                      <a:pt x="753" y="193"/>
                    </a:lnTo>
                    <a:lnTo>
                      <a:pt x="760" y="193"/>
                    </a:lnTo>
                    <a:lnTo>
                      <a:pt x="766" y="193"/>
                    </a:lnTo>
                    <a:lnTo>
                      <a:pt x="770" y="192"/>
                    </a:lnTo>
                    <a:lnTo>
                      <a:pt x="774" y="192"/>
                    </a:lnTo>
                    <a:lnTo>
                      <a:pt x="777" y="190"/>
                    </a:lnTo>
                    <a:lnTo>
                      <a:pt x="782" y="190"/>
                    </a:lnTo>
                    <a:lnTo>
                      <a:pt x="783" y="190"/>
                    </a:lnTo>
                    <a:lnTo>
                      <a:pt x="785" y="190"/>
                    </a:lnTo>
                    <a:lnTo>
                      <a:pt x="786" y="190"/>
                    </a:lnTo>
                    <a:lnTo>
                      <a:pt x="787" y="190"/>
                    </a:lnTo>
                    <a:lnTo>
                      <a:pt x="790" y="190"/>
                    </a:lnTo>
                    <a:lnTo>
                      <a:pt x="792" y="192"/>
                    </a:lnTo>
                    <a:lnTo>
                      <a:pt x="793" y="192"/>
                    </a:lnTo>
                    <a:lnTo>
                      <a:pt x="796" y="193"/>
                    </a:lnTo>
                    <a:lnTo>
                      <a:pt x="798" y="193"/>
                    </a:lnTo>
                    <a:lnTo>
                      <a:pt x="799" y="195"/>
                    </a:lnTo>
                    <a:lnTo>
                      <a:pt x="800" y="195"/>
                    </a:lnTo>
                    <a:lnTo>
                      <a:pt x="802" y="195"/>
                    </a:lnTo>
                    <a:lnTo>
                      <a:pt x="805" y="193"/>
                    </a:lnTo>
                    <a:lnTo>
                      <a:pt x="806" y="193"/>
                    </a:lnTo>
                    <a:lnTo>
                      <a:pt x="808" y="193"/>
                    </a:lnTo>
                    <a:lnTo>
                      <a:pt x="811" y="195"/>
                    </a:lnTo>
                    <a:lnTo>
                      <a:pt x="812" y="196"/>
                    </a:lnTo>
                    <a:lnTo>
                      <a:pt x="815" y="198"/>
                    </a:lnTo>
                    <a:lnTo>
                      <a:pt x="818" y="199"/>
                    </a:lnTo>
                    <a:lnTo>
                      <a:pt x="821" y="202"/>
                    </a:lnTo>
                    <a:lnTo>
                      <a:pt x="823" y="203"/>
                    </a:lnTo>
                    <a:lnTo>
                      <a:pt x="823" y="205"/>
                    </a:lnTo>
                    <a:lnTo>
                      <a:pt x="825" y="206"/>
                    </a:lnTo>
                    <a:lnTo>
                      <a:pt x="825" y="206"/>
                    </a:lnTo>
                    <a:lnTo>
                      <a:pt x="825" y="208"/>
                    </a:lnTo>
                    <a:lnTo>
                      <a:pt x="825" y="209"/>
                    </a:lnTo>
                    <a:lnTo>
                      <a:pt x="825" y="211"/>
                    </a:lnTo>
                    <a:lnTo>
                      <a:pt x="825" y="213"/>
                    </a:lnTo>
                    <a:lnTo>
                      <a:pt x="825" y="215"/>
                    </a:lnTo>
                    <a:lnTo>
                      <a:pt x="823" y="216"/>
                    </a:lnTo>
                    <a:lnTo>
                      <a:pt x="823" y="218"/>
                    </a:lnTo>
                    <a:lnTo>
                      <a:pt x="822" y="219"/>
                    </a:lnTo>
                    <a:lnTo>
                      <a:pt x="822" y="219"/>
                    </a:lnTo>
                    <a:lnTo>
                      <a:pt x="823" y="221"/>
                    </a:lnTo>
                    <a:lnTo>
                      <a:pt x="823" y="221"/>
                    </a:lnTo>
                    <a:lnTo>
                      <a:pt x="823" y="222"/>
                    </a:lnTo>
                    <a:lnTo>
                      <a:pt x="823" y="223"/>
                    </a:lnTo>
                    <a:lnTo>
                      <a:pt x="823" y="223"/>
                    </a:lnTo>
                    <a:lnTo>
                      <a:pt x="822" y="225"/>
                    </a:lnTo>
                    <a:lnTo>
                      <a:pt x="822" y="225"/>
                    </a:lnTo>
                    <a:lnTo>
                      <a:pt x="821" y="225"/>
                    </a:lnTo>
                    <a:lnTo>
                      <a:pt x="821" y="225"/>
                    </a:lnTo>
                    <a:lnTo>
                      <a:pt x="819" y="225"/>
                    </a:lnTo>
                    <a:lnTo>
                      <a:pt x="818" y="225"/>
                    </a:lnTo>
                    <a:lnTo>
                      <a:pt x="818" y="226"/>
                    </a:lnTo>
                    <a:lnTo>
                      <a:pt x="816" y="228"/>
                    </a:lnTo>
                    <a:lnTo>
                      <a:pt x="818" y="229"/>
                    </a:lnTo>
                    <a:lnTo>
                      <a:pt x="819" y="231"/>
                    </a:lnTo>
                    <a:lnTo>
                      <a:pt x="821" y="231"/>
                    </a:lnTo>
                    <a:lnTo>
                      <a:pt x="823" y="232"/>
                    </a:lnTo>
                    <a:lnTo>
                      <a:pt x="828" y="234"/>
                    </a:lnTo>
                    <a:lnTo>
                      <a:pt x="832" y="235"/>
                    </a:lnTo>
                    <a:lnTo>
                      <a:pt x="836" y="236"/>
                    </a:lnTo>
                    <a:lnTo>
                      <a:pt x="839" y="238"/>
                    </a:lnTo>
                    <a:lnTo>
                      <a:pt x="841" y="238"/>
                    </a:lnTo>
                    <a:lnTo>
                      <a:pt x="844" y="239"/>
                    </a:lnTo>
                    <a:lnTo>
                      <a:pt x="845" y="241"/>
                    </a:lnTo>
                    <a:lnTo>
                      <a:pt x="847" y="242"/>
                    </a:lnTo>
                    <a:lnTo>
                      <a:pt x="848" y="245"/>
                    </a:lnTo>
                    <a:lnTo>
                      <a:pt x="848" y="247"/>
                    </a:lnTo>
                    <a:lnTo>
                      <a:pt x="848" y="248"/>
                    </a:lnTo>
                    <a:lnTo>
                      <a:pt x="848" y="249"/>
                    </a:lnTo>
                    <a:lnTo>
                      <a:pt x="849" y="249"/>
                    </a:lnTo>
                    <a:lnTo>
                      <a:pt x="849" y="251"/>
                    </a:lnTo>
                    <a:lnTo>
                      <a:pt x="851" y="251"/>
                    </a:lnTo>
                    <a:lnTo>
                      <a:pt x="851" y="251"/>
                    </a:lnTo>
                    <a:lnTo>
                      <a:pt x="849" y="252"/>
                    </a:lnTo>
                    <a:lnTo>
                      <a:pt x="849" y="255"/>
                    </a:lnTo>
                    <a:lnTo>
                      <a:pt x="848" y="257"/>
                    </a:lnTo>
                    <a:lnTo>
                      <a:pt x="848" y="258"/>
                    </a:lnTo>
                    <a:lnTo>
                      <a:pt x="848" y="258"/>
                    </a:lnTo>
                    <a:lnTo>
                      <a:pt x="848" y="260"/>
                    </a:lnTo>
                    <a:lnTo>
                      <a:pt x="848" y="260"/>
                    </a:lnTo>
                    <a:lnTo>
                      <a:pt x="849" y="261"/>
                    </a:lnTo>
                    <a:lnTo>
                      <a:pt x="851" y="262"/>
                    </a:lnTo>
                    <a:lnTo>
                      <a:pt x="852" y="264"/>
                    </a:lnTo>
                    <a:lnTo>
                      <a:pt x="854" y="265"/>
                    </a:lnTo>
                    <a:lnTo>
                      <a:pt x="857" y="267"/>
                    </a:lnTo>
                    <a:lnTo>
                      <a:pt x="858" y="268"/>
                    </a:lnTo>
                    <a:lnTo>
                      <a:pt x="860" y="271"/>
                    </a:lnTo>
                    <a:lnTo>
                      <a:pt x="860" y="273"/>
                    </a:lnTo>
                    <a:lnTo>
                      <a:pt x="860" y="274"/>
                    </a:lnTo>
                    <a:lnTo>
                      <a:pt x="860" y="274"/>
                    </a:lnTo>
                    <a:lnTo>
                      <a:pt x="860" y="275"/>
                    </a:lnTo>
                    <a:lnTo>
                      <a:pt x="860" y="277"/>
                    </a:lnTo>
                    <a:lnTo>
                      <a:pt x="861" y="277"/>
                    </a:lnTo>
                    <a:lnTo>
                      <a:pt x="861" y="278"/>
                    </a:lnTo>
                    <a:lnTo>
                      <a:pt x="862" y="278"/>
                    </a:lnTo>
                    <a:lnTo>
                      <a:pt x="862" y="280"/>
                    </a:lnTo>
                    <a:lnTo>
                      <a:pt x="862" y="281"/>
                    </a:lnTo>
                    <a:lnTo>
                      <a:pt x="864" y="281"/>
                    </a:lnTo>
                    <a:lnTo>
                      <a:pt x="864" y="283"/>
                    </a:lnTo>
                    <a:lnTo>
                      <a:pt x="864" y="284"/>
                    </a:lnTo>
                    <a:lnTo>
                      <a:pt x="865" y="285"/>
                    </a:lnTo>
                    <a:lnTo>
                      <a:pt x="864" y="285"/>
                    </a:lnTo>
                    <a:lnTo>
                      <a:pt x="864" y="287"/>
                    </a:lnTo>
                    <a:lnTo>
                      <a:pt x="865" y="288"/>
                    </a:lnTo>
                    <a:lnTo>
                      <a:pt x="865" y="290"/>
                    </a:lnTo>
                    <a:lnTo>
                      <a:pt x="867" y="290"/>
                    </a:lnTo>
                    <a:lnTo>
                      <a:pt x="868" y="291"/>
                    </a:lnTo>
                    <a:lnTo>
                      <a:pt x="870" y="291"/>
                    </a:lnTo>
                    <a:lnTo>
                      <a:pt x="873" y="293"/>
                    </a:lnTo>
                    <a:lnTo>
                      <a:pt x="875" y="294"/>
                    </a:lnTo>
                    <a:lnTo>
                      <a:pt x="880" y="296"/>
                    </a:lnTo>
                    <a:lnTo>
                      <a:pt x="881" y="297"/>
                    </a:lnTo>
                    <a:lnTo>
                      <a:pt x="883" y="298"/>
                    </a:lnTo>
                    <a:lnTo>
                      <a:pt x="884" y="298"/>
                    </a:lnTo>
                    <a:lnTo>
                      <a:pt x="886" y="298"/>
                    </a:lnTo>
                    <a:lnTo>
                      <a:pt x="886" y="298"/>
                    </a:lnTo>
                    <a:lnTo>
                      <a:pt x="887" y="298"/>
                    </a:lnTo>
                    <a:lnTo>
                      <a:pt x="888" y="300"/>
                    </a:lnTo>
                    <a:lnTo>
                      <a:pt x="888" y="300"/>
                    </a:lnTo>
                    <a:lnTo>
                      <a:pt x="890" y="300"/>
                    </a:lnTo>
                    <a:lnTo>
                      <a:pt x="891" y="301"/>
                    </a:lnTo>
                    <a:lnTo>
                      <a:pt x="891" y="301"/>
                    </a:lnTo>
                    <a:lnTo>
                      <a:pt x="891" y="303"/>
                    </a:lnTo>
                    <a:lnTo>
                      <a:pt x="893" y="303"/>
                    </a:lnTo>
                    <a:lnTo>
                      <a:pt x="893" y="303"/>
                    </a:lnTo>
                    <a:lnTo>
                      <a:pt x="894" y="304"/>
                    </a:lnTo>
                    <a:lnTo>
                      <a:pt x="894" y="304"/>
                    </a:lnTo>
                    <a:lnTo>
                      <a:pt x="894" y="306"/>
                    </a:lnTo>
                    <a:lnTo>
                      <a:pt x="894" y="306"/>
                    </a:lnTo>
                    <a:lnTo>
                      <a:pt x="893" y="306"/>
                    </a:lnTo>
                    <a:lnTo>
                      <a:pt x="891" y="307"/>
                    </a:lnTo>
                    <a:lnTo>
                      <a:pt x="891" y="309"/>
                    </a:lnTo>
                    <a:lnTo>
                      <a:pt x="891" y="310"/>
                    </a:lnTo>
                    <a:lnTo>
                      <a:pt x="891" y="311"/>
                    </a:lnTo>
                    <a:lnTo>
                      <a:pt x="891" y="311"/>
                    </a:lnTo>
                    <a:lnTo>
                      <a:pt x="891" y="313"/>
                    </a:lnTo>
                    <a:lnTo>
                      <a:pt x="891" y="313"/>
                    </a:lnTo>
                    <a:lnTo>
                      <a:pt x="891" y="314"/>
                    </a:lnTo>
                    <a:lnTo>
                      <a:pt x="893" y="316"/>
                    </a:lnTo>
                    <a:lnTo>
                      <a:pt x="894" y="319"/>
                    </a:lnTo>
                    <a:lnTo>
                      <a:pt x="896" y="323"/>
                    </a:lnTo>
                    <a:lnTo>
                      <a:pt x="896" y="324"/>
                    </a:lnTo>
                    <a:lnTo>
                      <a:pt x="897" y="326"/>
                    </a:lnTo>
                    <a:lnTo>
                      <a:pt x="896" y="326"/>
                    </a:lnTo>
                    <a:lnTo>
                      <a:pt x="894" y="326"/>
                    </a:lnTo>
                    <a:lnTo>
                      <a:pt x="891" y="326"/>
                    </a:lnTo>
                    <a:lnTo>
                      <a:pt x="890" y="327"/>
                    </a:lnTo>
                    <a:lnTo>
                      <a:pt x="888" y="329"/>
                    </a:lnTo>
                    <a:lnTo>
                      <a:pt x="887" y="332"/>
                    </a:lnTo>
                    <a:lnTo>
                      <a:pt x="886" y="333"/>
                    </a:lnTo>
                    <a:lnTo>
                      <a:pt x="884" y="334"/>
                    </a:lnTo>
                    <a:lnTo>
                      <a:pt x="883" y="336"/>
                    </a:lnTo>
                    <a:lnTo>
                      <a:pt x="883" y="337"/>
                    </a:lnTo>
                    <a:lnTo>
                      <a:pt x="883" y="337"/>
                    </a:lnTo>
                    <a:lnTo>
                      <a:pt x="883" y="337"/>
                    </a:lnTo>
                    <a:lnTo>
                      <a:pt x="884" y="339"/>
                    </a:lnTo>
                    <a:lnTo>
                      <a:pt x="886" y="339"/>
                    </a:lnTo>
                    <a:lnTo>
                      <a:pt x="884" y="339"/>
                    </a:lnTo>
                    <a:lnTo>
                      <a:pt x="884" y="339"/>
                    </a:lnTo>
                    <a:lnTo>
                      <a:pt x="883" y="339"/>
                    </a:lnTo>
                    <a:lnTo>
                      <a:pt x="881" y="339"/>
                    </a:lnTo>
                    <a:lnTo>
                      <a:pt x="880" y="339"/>
                    </a:lnTo>
                    <a:lnTo>
                      <a:pt x="880" y="340"/>
                    </a:lnTo>
                    <a:lnTo>
                      <a:pt x="881" y="340"/>
                    </a:lnTo>
                    <a:lnTo>
                      <a:pt x="883" y="340"/>
                    </a:lnTo>
                    <a:lnTo>
                      <a:pt x="883" y="342"/>
                    </a:lnTo>
                    <a:lnTo>
                      <a:pt x="883" y="342"/>
                    </a:lnTo>
                    <a:lnTo>
                      <a:pt x="881" y="343"/>
                    </a:lnTo>
                    <a:lnTo>
                      <a:pt x="880" y="343"/>
                    </a:lnTo>
                    <a:lnTo>
                      <a:pt x="880" y="343"/>
                    </a:lnTo>
                    <a:lnTo>
                      <a:pt x="877" y="345"/>
                    </a:lnTo>
                    <a:lnTo>
                      <a:pt x="875" y="345"/>
                    </a:lnTo>
                    <a:lnTo>
                      <a:pt x="874" y="345"/>
                    </a:lnTo>
                    <a:lnTo>
                      <a:pt x="874" y="345"/>
                    </a:lnTo>
                    <a:lnTo>
                      <a:pt x="871" y="345"/>
                    </a:lnTo>
                    <a:lnTo>
                      <a:pt x="870" y="346"/>
                    </a:lnTo>
                    <a:lnTo>
                      <a:pt x="867" y="346"/>
                    </a:lnTo>
                    <a:lnTo>
                      <a:pt x="865" y="347"/>
                    </a:lnTo>
                    <a:lnTo>
                      <a:pt x="862" y="349"/>
                    </a:lnTo>
                    <a:lnTo>
                      <a:pt x="861" y="349"/>
                    </a:lnTo>
                    <a:lnTo>
                      <a:pt x="858" y="350"/>
                    </a:lnTo>
                    <a:lnTo>
                      <a:pt x="857" y="350"/>
                    </a:lnTo>
                    <a:lnTo>
                      <a:pt x="855" y="350"/>
                    </a:lnTo>
                    <a:lnTo>
                      <a:pt x="854" y="352"/>
                    </a:lnTo>
                    <a:lnTo>
                      <a:pt x="852" y="352"/>
                    </a:lnTo>
                    <a:lnTo>
                      <a:pt x="851" y="350"/>
                    </a:lnTo>
                    <a:lnTo>
                      <a:pt x="849" y="350"/>
                    </a:lnTo>
                    <a:lnTo>
                      <a:pt x="848" y="349"/>
                    </a:lnTo>
                    <a:lnTo>
                      <a:pt x="845" y="349"/>
                    </a:lnTo>
                    <a:lnTo>
                      <a:pt x="844" y="347"/>
                    </a:lnTo>
                    <a:lnTo>
                      <a:pt x="842" y="347"/>
                    </a:lnTo>
                    <a:lnTo>
                      <a:pt x="839" y="347"/>
                    </a:lnTo>
                    <a:lnTo>
                      <a:pt x="838" y="347"/>
                    </a:lnTo>
                    <a:lnTo>
                      <a:pt x="834" y="346"/>
                    </a:lnTo>
                    <a:lnTo>
                      <a:pt x="831" y="346"/>
                    </a:lnTo>
                    <a:lnTo>
                      <a:pt x="829" y="346"/>
                    </a:lnTo>
                    <a:lnTo>
                      <a:pt x="828" y="346"/>
                    </a:lnTo>
                    <a:lnTo>
                      <a:pt x="825" y="347"/>
                    </a:lnTo>
                    <a:lnTo>
                      <a:pt x="828" y="349"/>
                    </a:lnTo>
                    <a:lnTo>
                      <a:pt x="828" y="350"/>
                    </a:lnTo>
                    <a:lnTo>
                      <a:pt x="832" y="353"/>
                    </a:lnTo>
                    <a:lnTo>
                      <a:pt x="834" y="355"/>
                    </a:lnTo>
                    <a:lnTo>
                      <a:pt x="836" y="356"/>
                    </a:lnTo>
                    <a:lnTo>
                      <a:pt x="839" y="356"/>
                    </a:lnTo>
                    <a:lnTo>
                      <a:pt x="842" y="356"/>
                    </a:lnTo>
                    <a:lnTo>
                      <a:pt x="845" y="356"/>
                    </a:lnTo>
                    <a:lnTo>
                      <a:pt x="847" y="358"/>
                    </a:lnTo>
                    <a:lnTo>
                      <a:pt x="851" y="358"/>
                    </a:lnTo>
                    <a:lnTo>
                      <a:pt x="854" y="359"/>
                    </a:lnTo>
                    <a:lnTo>
                      <a:pt x="857" y="359"/>
                    </a:lnTo>
                    <a:lnTo>
                      <a:pt x="860" y="359"/>
                    </a:lnTo>
                    <a:lnTo>
                      <a:pt x="862" y="359"/>
                    </a:lnTo>
                    <a:lnTo>
                      <a:pt x="864" y="360"/>
                    </a:lnTo>
                    <a:lnTo>
                      <a:pt x="867" y="360"/>
                    </a:lnTo>
                    <a:lnTo>
                      <a:pt x="870" y="360"/>
                    </a:lnTo>
                    <a:lnTo>
                      <a:pt x="873" y="360"/>
                    </a:lnTo>
                    <a:lnTo>
                      <a:pt x="875" y="360"/>
                    </a:lnTo>
                    <a:lnTo>
                      <a:pt x="878" y="360"/>
                    </a:lnTo>
                    <a:lnTo>
                      <a:pt x="880" y="360"/>
                    </a:lnTo>
                    <a:lnTo>
                      <a:pt x="883" y="362"/>
                    </a:lnTo>
                    <a:lnTo>
                      <a:pt x="884" y="362"/>
                    </a:lnTo>
                    <a:lnTo>
                      <a:pt x="886" y="362"/>
                    </a:lnTo>
                    <a:lnTo>
                      <a:pt x="887" y="363"/>
                    </a:lnTo>
                    <a:lnTo>
                      <a:pt x="888" y="363"/>
                    </a:lnTo>
                    <a:lnTo>
                      <a:pt x="891" y="365"/>
                    </a:lnTo>
                    <a:lnTo>
                      <a:pt x="893" y="365"/>
                    </a:lnTo>
                    <a:lnTo>
                      <a:pt x="894" y="365"/>
                    </a:lnTo>
                    <a:lnTo>
                      <a:pt x="896" y="365"/>
                    </a:lnTo>
                    <a:lnTo>
                      <a:pt x="896" y="365"/>
                    </a:lnTo>
                    <a:lnTo>
                      <a:pt x="897" y="363"/>
                    </a:lnTo>
                    <a:lnTo>
                      <a:pt x="897" y="363"/>
                    </a:lnTo>
                    <a:lnTo>
                      <a:pt x="898" y="362"/>
                    </a:lnTo>
                    <a:lnTo>
                      <a:pt x="898" y="360"/>
                    </a:lnTo>
                    <a:lnTo>
                      <a:pt x="898" y="360"/>
                    </a:lnTo>
                    <a:lnTo>
                      <a:pt x="898" y="359"/>
                    </a:lnTo>
                    <a:lnTo>
                      <a:pt x="898" y="358"/>
                    </a:lnTo>
                    <a:lnTo>
                      <a:pt x="898" y="356"/>
                    </a:lnTo>
                    <a:lnTo>
                      <a:pt x="898" y="356"/>
                    </a:lnTo>
                    <a:lnTo>
                      <a:pt x="898" y="355"/>
                    </a:lnTo>
                    <a:lnTo>
                      <a:pt x="898" y="353"/>
                    </a:lnTo>
                    <a:lnTo>
                      <a:pt x="900" y="353"/>
                    </a:lnTo>
                    <a:lnTo>
                      <a:pt x="901" y="352"/>
                    </a:lnTo>
                    <a:lnTo>
                      <a:pt x="904" y="352"/>
                    </a:lnTo>
                    <a:lnTo>
                      <a:pt x="906" y="352"/>
                    </a:lnTo>
                    <a:lnTo>
                      <a:pt x="909" y="350"/>
                    </a:lnTo>
                    <a:lnTo>
                      <a:pt x="910" y="349"/>
                    </a:lnTo>
                    <a:lnTo>
                      <a:pt x="911" y="349"/>
                    </a:lnTo>
                    <a:lnTo>
                      <a:pt x="913" y="347"/>
                    </a:lnTo>
                    <a:lnTo>
                      <a:pt x="914" y="347"/>
                    </a:lnTo>
                    <a:lnTo>
                      <a:pt x="916" y="346"/>
                    </a:lnTo>
                    <a:lnTo>
                      <a:pt x="917" y="345"/>
                    </a:lnTo>
                    <a:lnTo>
                      <a:pt x="919" y="343"/>
                    </a:lnTo>
                    <a:lnTo>
                      <a:pt x="919" y="343"/>
                    </a:lnTo>
                    <a:lnTo>
                      <a:pt x="919" y="342"/>
                    </a:lnTo>
                    <a:lnTo>
                      <a:pt x="920" y="342"/>
                    </a:lnTo>
                    <a:lnTo>
                      <a:pt x="920" y="340"/>
                    </a:lnTo>
                    <a:lnTo>
                      <a:pt x="920" y="339"/>
                    </a:lnTo>
                    <a:lnTo>
                      <a:pt x="920" y="336"/>
                    </a:lnTo>
                    <a:lnTo>
                      <a:pt x="920" y="334"/>
                    </a:lnTo>
                    <a:lnTo>
                      <a:pt x="920" y="333"/>
                    </a:lnTo>
                    <a:lnTo>
                      <a:pt x="920" y="332"/>
                    </a:lnTo>
                    <a:lnTo>
                      <a:pt x="922" y="332"/>
                    </a:lnTo>
                    <a:lnTo>
                      <a:pt x="922" y="330"/>
                    </a:lnTo>
                    <a:lnTo>
                      <a:pt x="923" y="330"/>
                    </a:lnTo>
                    <a:lnTo>
                      <a:pt x="924" y="329"/>
                    </a:lnTo>
                    <a:lnTo>
                      <a:pt x="926" y="327"/>
                    </a:lnTo>
                    <a:lnTo>
                      <a:pt x="927" y="326"/>
                    </a:lnTo>
                    <a:lnTo>
                      <a:pt x="929" y="326"/>
                    </a:lnTo>
                    <a:lnTo>
                      <a:pt x="929" y="324"/>
                    </a:lnTo>
                    <a:lnTo>
                      <a:pt x="930" y="323"/>
                    </a:lnTo>
                    <a:lnTo>
                      <a:pt x="930" y="322"/>
                    </a:lnTo>
                    <a:lnTo>
                      <a:pt x="929" y="320"/>
                    </a:lnTo>
                    <a:lnTo>
                      <a:pt x="929" y="319"/>
                    </a:lnTo>
                    <a:lnTo>
                      <a:pt x="927" y="317"/>
                    </a:lnTo>
                    <a:lnTo>
                      <a:pt x="926" y="316"/>
                    </a:lnTo>
                    <a:lnTo>
                      <a:pt x="924" y="314"/>
                    </a:lnTo>
                    <a:lnTo>
                      <a:pt x="922" y="311"/>
                    </a:lnTo>
                    <a:lnTo>
                      <a:pt x="919" y="310"/>
                    </a:lnTo>
                    <a:lnTo>
                      <a:pt x="917" y="309"/>
                    </a:lnTo>
                    <a:lnTo>
                      <a:pt x="916" y="309"/>
                    </a:lnTo>
                    <a:lnTo>
                      <a:pt x="916" y="309"/>
                    </a:lnTo>
                    <a:lnTo>
                      <a:pt x="914" y="307"/>
                    </a:lnTo>
                    <a:lnTo>
                      <a:pt x="914" y="307"/>
                    </a:lnTo>
                    <a:lnTo>
                      <a:pt x="913" y="307"/>
                    </a:lnTo>
                    <a:lnTo>
                      <a:pt x="913" y="306"/>
                    </a:lnTo>
                    <a:lnTo>
                      <a:pt x="913" y="306"/>
                    </a:lnTo>
                    <a:lnTo>
                      <a:pt x="913" y="304"/>
                    </a:lnTo>
                    <a:lnTo>
                      <a:pt x="911" y="303"/>
                    </a:lnTo>
                    <a:lnTo>
                      <a:pt x="911" y="301"/>
                    </a:lnTo>
                    <a:lnTo>
                      <a:pt x="910" y="301"/>
                    </a:lnTo>
                    <a:lnTo>
                      <a:pt x="910" y="300"/>
                    </a:lnTo>
                    <a:lnTo>
                      <a:pt x="910" y="300"/>
                    </a:lnTo>
                    <a:lnTo>
                      <a:pt x="911" y="298"/>
                    </a:lnTo>
                    <a:lnTo>
                      <a:pt x="911" y="298"/>
                    </a:lnTo>
                    <a:lnTo>
                      <a:pt x="911" y="297"/>
                    </a:lnTo>
                    <a:lnTo>
                      <a:pt x="914" y="297"/>
                    </a:lnTo>
                    <a:lnTo>
                      <a:pt x="914" y="296"/>
                    </a:lnTo>
                    <a:lnTo>
                      <a:pt x="917" y="296"/>
                    </a:lnTo>
                    <a:lnTo>
                      <a:pt x="920" y="294"/>
                    </a:lnTo>
                    <a:lnTo>
                      <a:pt x="922" y="293"/>
                    </a:lnTo>
                    <a:lnTo>
                      <a:pt x="924" y="293"/>
                    </a:lnTo>
                    <a:lnTo>
                      <a:pt x="927" y="293"/>
                    </a:lnTo>
                    <a:lnTo>
                      <a:pt x="930" y="293"/>
                    </a:lnTo>
                    <a:lnTo>
                      <a:pt x="932" y="291"/>
                    </a:lnTo>
                    <a:lnTo>
                      <a:pt x="939" y="291"/>
                    </a:lnTo>
                    <a:lnTo>
                      <a:pt x="942" y="291"/>
                    </a:lnTo>
                    <a:lnTo>
                      <a:pt x="946" y="291"/>
                    </a:lnTo>
                    <a:lnTo>
                      <a:pt x="948" y="291"/>
                    </a:lnTo>
                    <a:lnTo>
                      <a:pt x="949" y="293"/>
                    </a:lnTo>
                    <a:lnTo>
                      <a:pt x="952" y="296"/>
                    </a:lnTo>
                    <a:lnTo>
                      <a:pt x="953" y="297"/>
                    </a:lnTo>
                    <a:lnTo>
                      <a:pt x="956" y="298"/>
                    </a:lnTo>
                    <a:lnTo>
                      <a:pt x="958" y="298"/>
                    </a:lnTo>
                    <a:lnTo>
                      <a:pt x="959" y="298"/>
                    </a:lnTo>
                    <a:lnTo>
                      <a:pt x="962" y="300"/>
                    </a:lnTo>
                    <a:lnTo>
                      <a:pt x="963" y="301"/>
                    </a:lnTo>
                    <a:lnTo>
                      <a:pt x="965" y="301"/>
                    </a:lnTo>
                    <a:lnTo>
                      <a:pt x="966" y="303"/>
                    </a:lnTo>
                    <a:lnTo>
                      <a:pt x="968" y="303"/>
                    </a:lnTo>
                    <a:lnTo>
                      <a:pt x="969" y="304"/>
                    </a:lnTo>
                    <a:lnTo>
                      <a:pt x="969" y="306"/>
                    </a:lnTo>
                    <a:lnTo>
                      <a:pt x="971" y="309"/>
                    </a:lnTo>
                    <a:lnTo>
                      <a:pt x="972" y="309"/>
                    </a:lnTo>
                    <a:lnTo>
                      <a:pt x="972" y="310"/>
                    </a:lnTo>
                    <a:lnTo>
                      <a:pt x="973" y="310"/>
                    </a:lnTo>
                    <a:lnTo>
                      <a:pt x="973" y="311"/>
                    </a:lnTo>
                    <a:lnTo>
                      <a:pt x="973" y="314"/>
                    </a:lnTo>
                    <a:lnTo>
                      <a:pt x="973" y="316"/>
                    </a:lnTo>
                    <a:lnTo>
                      <a:pt x="975" y="317"/>
                    </a:lnTo>
                    <a:lnTo>
                      <a:pt x="976" y="319"/>
                    </a:lnTo>
                    <a:lnTo>
                      <a:pt x="976" y="319"/>
                    </a:lnTo>
                    <a:lnTo>
                      <a:pt x="978" y="320"/>
                    </a:lnTo>
                    <a:lnTo>
                      <a:pt x="978" y="322"/>
                    </a:lnTo>
                    <a:lnTo>
                      <a:pt x="976" y="322"/>
                    </a:lnTo>
                    <a:lnTo>
                      <a:pt x="976" y="322"/>
                    </a:lnTo>
                    <a:lnTo>
                      <a:pt x="975" y="322"/>
                    </a:lnTo>
                    <a:lnTo>
                      <a:pt x="975" y="322"/>
                    </a:lnTo>
                    <a:lnTo>
                      <a:pt x="973" y="322"/>
                    </a:lnTo>
                    <a:lnTo>
                      <a:pt x="976" y="324"/>
                    </a:lnTo>
                    <a:lnTo>
                      <a:pt x="979" y="326"/>
                    </a:lnTo>
                    <a:lnTo>
                      <a:pt x="981" y="326"/>
                    </a:lnTo>
                    <a:lnTo>
                      <a:pt x="984" y="327"/>
                    </a:lnTo>
                    <a:lnTo>
                      <a:pt x="986" y="327"/>
                    </a:lnTo>
                    <a:lnTo>
                      <a:pt x="989" y="327"/>
                    </a:lnTo>
                    <a:lnTo>
                      <a:pt x="992" y="327"/>
                    </a:lnTo>
                    <a:lnTo>
                      <a:pt x="995" y="327"/>
                    </a:lnTo>
                    <a:lnTo>
                      <a:pt x="1001" y="327"/>
                    </a:lnTo>
                    <a:lnTo>
                      <a:pt x="1007" y="327"/>
                    </a:lnTo>
                    <a:lnTo>
                      <a:pt x="1008" y="327"/>
                    </a:lnTo>
                    <a:lnTo>
                      <a:pt x="1008" y="326"/>
                    </a:lnTo>
                    <a:lnTo>
                      <a:pt x="1008" y="326"/>
                    </a:lnTo>
                    <a:lnTo>
                      <a:pt x="1007" y="326"/>
                    </a:lnTo>
                    <a:lnTo>
                      <a:pt x="1007" y="326"/>
                    </a:lnTo>
                    <a:lnTo>
                      <a:pt x="1005" y="326"/>
                    </a:lnTo>
                    <a:lnTo>
                      <a:pt x="1001" y="324"/>
                    </a:lnTo>
                    <a:lnTo>
                      <a:pt x="997" y="324"/>
                    </a:lnTo>
                    <a:lnTo>
                      <a:pt x="994" y="324"/>
                    </a:lnTo>
                    <a:lnTo>
                      <a:pt x="991" y="324"/>
                    </a:lnTo>
                    <a:lnTo>
                      <a:pt x="988" y="323"/>
                    </a:lnTo>
                    <a:lnTo>
                      <a:pt x="985" y="322"/>
                    </a:lnTo>
                    <a:lnTo>
                      <a:pt x="984" y="322"/>
                    </a:lnTo>
                    <a:lnTo>
                      <a:pt x="984" y="322"/>
                    </a:lnTo>
                    <a:lnTo>
                      <a:pt x="982" y="320"/>
                    </a:lnTo>
                    <a:lnTo>
                      <a:pt x="982" y="319"/>
                    </a:lnTo>
                    <a:lnTo>
                      <a:pt x="981" y="317"/>
                    </a:lnTo>
                    <a:lnTo>
                      <a:pt x="981" y="316"/>
                    </a:lnTo>
                    <a:lnTo>
                      <a:pt x="979" y="314"/>
                    </a:lnTo>
                    <a:lnTo>
                      <a:pt x="979" y="313"/>
                    </a:lnTo>
                    <a:lnTo>
                      <a:pt x="979" y="313"/>
                    </a:lnTo>
                    <a:lnTo>
                      <a:pt x="981" y="313"/>
                    </a:lnTo>
                    <a:lnTo>
                      <a:pt x="981" y="311"/>
                    </a:lnTo>
                    <a:lnTo>
                      <a:pt x="982" y="311"/>
                    </a:lnTo>
                    <a:lnTo>
                      <a:pt x="984" y="310"/>
                    </a:lnTo>
                    <a:lnTo>
                      <a:pt x="985" y="310"/>
                    </a:lnTo>
                    <a:lnTo>
                      <a:pt x="985" y="309"/>
                    </a:lnTo>
                    <a:lnTo>
                      <a:pt x="985" y="309"/>
                    </a:lnTo>
                    <a:lnTo>
                      <a:pt x="985" y="309"/>
                    </a:lnTo>
                    <a:lnTo>
                      <a:pt x="985" y="307"/>
                    </a:lnTo>
                    <a:lnTo>
                      <a:pt x="984" y="307"/>
                    </a:lnTo>
                    <a:lnTo>
                      <a:pt x="984" y="306"/>
                    </a:lnTo>
                    <a:lnTo>
                      <a:pt x="982" y="304"/>
                    </a:lnTo>
                    <a:lnTo>
                      <a:pt x="979" y="301"/>
                    </a:lnTo>
                    <a:lnTo>
                      <a:pt x="978" y="301"/>
                    </a:lnTo>
                    <a:lnTo>
                      <a:pt x="976" y="300"/>
                    </a:lnTo>
                    <a:lnTo>
                      <a:pt x="975" y="298"/>
                    </a:lnTo>
                    <a:lnTo>
                      <a:pt x="973" y="297"/>
                    </a:lnTo>
                    <a:lnTo>
                      <a:pt x="972" y="296"/>
                    </a:lnTo>
                    <a:lnTo>
                      <a:pt x="972" y="294"/>
                    </a:lnTo>
                    <a:lnTo>
                      <a:pt x="969" y="293"/>
                    </a:lnTo>
                    <a:lnTo>
                      <a:pt x="968" y="293"/>
                    </a:lnTo>
                    <a:lnTo>
                      <a:pt x="965" y="293"/>
                    </a:lnTo>
                    <a:lnTo>
                      <a:pt x="963" y="291"/>
                    </a:lnTo>
                    <a:lnTo>
                      <a:pt x="961" y="291"/>
                    </a:lnTo>
                    <a:lnTo>
                      <a:pt x="958" y="291"/>
                    </a:lnTo>
                    <a:lnTo>
                      <a:pt x="956" y="290"/>
                    </a:lnTo>
                    <a:lnTo>
                      <a:pt x="953" y="290"/>
                    </a:lnTo>
                    <a:lnTo>
                      <a:pt x="950" y="288"/>
                    </a:lnTo>
                    <a:lnTo>
                      <a:pt x="949" y="288"/>
                    </a:lnTo>
                    <a:lnTo>
                      <a:pt x="948" y="287"/>
                    </a:lnTo>
                    <a:lnTo>
                      <a:pt x="945" y="285"/>
                    </a:lnTo>
                    <a:lnTo>
                      <a:pt x="943" y="285"/>
                    </a:lnTo>
                    <a:lnTo>
                      <a:pt x="940" y="285"/>
                    </a:lnTo>
                    <a:lnTo>
                      <a:pt x="936" y="285"/>
                    </a:lnTo>
                    <a:lnTo>
                      <a:pt x="933" y="285"/>
                    </a:lnTo>
                    <a:lnTo>
                      <a:pt x="932" y="285"/>
                    </a:lnTo>
                    <a:lnTo>
                      <a:pt x="929" y="284"/>
                    </a:lnTo>
                    <a:lnTo>
                      <a:pt x="927" y="284"/>
                    </a:lnTo>
                    <a:lnTo>
                      <a:pt x="924" y="284"/>
                    </a:lnTo>
                    <a:lnTo>
                      <a:pt x="922" y="284"/>
                    </a:lnTo>
                    <a:lnTo>
                      <a:pt x="920" y="284"/>
                    </a:lnTo>
                    <a:lnTo>
                      <a:pt x="917" y="285"/>
                    </a:lnTo>
                    <a:lnTo>
                      <a:pt x="914" y="288"/>
                    </a:lnTo>
                    <a:lnTo>
                      <a:pt x="911" y="288"/>
                    </a:lnTo>
                    <a:lnTo>
                      <a:pt x="909" y="288"/>
                    </a:lnTo>
                    <a:lnTo>
                      <a:pt x="904" y="288"/>
                    </a:lnTo>
                    <a:lnTo>
                      <a:pt x="898" y="288"/>
                    </a:lnTo>
                    <a:lnTo>
                      <a:pt x="896" y="288"/>
                    </a:lnTo>
                    <a:lnTo>
                      <a:pt x="894" y="288"/>
                    </a:lnTo>
                    <a:lnTo>
                      <a:pt x="891" y="287"/>
                    </a:lnTo>
                    <a:lnTo>
                      <a:pt x="890" y="287"/>
                    </a:lnTo>
                    <a:lnTo>
                      <a:pt x="890" y="285"/>
                    </a:lnTo>
                    <a:lnTo>
                      <a:pt x="888" y="284"/>
                    </a:lnTo>
                    <a:lnTo>
                      <a:pt x="887" y="281"/>
                    </a:lnTo>
                    <a:lnTo>
                      <a:pt x="886" y="280"/>
                    </a:lnTo>
                    <a:lnTo>
                      <a:pt x="886" y="278"/>
                    </a:lnTo>
                    <a:lnTo>
                      <a:pt x="883" y="277"/>
                    </a:lnTo>
                    <a:lnTo>
                      <a:pt x="881" y="275"/>
                    </a:lnTo>
                    <a:lnTo>
                      <a:pt x="880" y="274"/>
                    </a:lnTo>
                    <a:lnTo>
                      <a:pt x="878" y="274"/>
                    </a:lnTo>
                    <a:lnTo>
                      <a:pt x="878" y="273"/>
                    </a:lnTo>
                    <a:lnTo>
                      <a:pt x="877" y="271"/>
                    </a:lnTo>
                    <a:lnTo>
                      <a:pt x="877" y="270"/>
                    </a:lnTo>
                    <a:lnTo>
                      <a:pt x="877" y="268"/>
                    </a:lnTo>
                    <a:lnTo>
                      <a:pt x="877" y="267"/>
                    </a:lnTo>
                    <a:lnTo>
                      <a:pt x="877" y="265"/>
                    </a:lnTo>
                    <a:lnTo>
                      <a:pt x="875" y="262"/>
                    </a:lnTo>
                    <a:lnTo>
                      <a:pt x="875" y="262"/>
                    </a:lnTo>
                    <a:lnTo>
                      <a:pt x="875" y="261"/>
                    </a:lnTo>
                    <a:lnTo>
                      <a:pt x="875" y="260"/>
                    </a:lnTo>
                    <a:lnTo>
                      <a:pt x="877" y="258"/>
                    </a:lnTo>
                    <a:lnTo>
                      <a:pt x="877" y="258"/>
                    </a:lnTo>
                    <a:lnTo>
                      <a:pt x="877" y="257"/>
                    </a:lnTo>
                    <a:lnTo>
                      <a:pt x="878" y="255"/>
                    </a:lnTo>
                    <a:lnTo>
                      <a:pt x="880" y="252"/>
                    </a:lnTo>
                    <a:lnTo>
                      <a:pt x="880" y="251"/>
                    </a:lnTo>
                    <a:lnTo>
                      <a:pt x="880" y="251"/>
                    </a:lnTo>
                    <a:lnTo>
                      <a:pt x="880" y="249"/>
                    </a:lnTo>
                    <a:lnTo>
                      <a:pt x="878" y="248"/>
                    </a:lnTo>
                    <a:lnTo>
                      <a:pt x="878" y="247"/>
                    </a:lnTo>
                    <a:lnTo>
                      <a:pt x="877" y="247"/>
                    </a:lnTo>
                    <a:lnTo>
                      <a:pt x="875" y="245"/>
                    </a:lnTo>
                    <a:lnTo>
                      <a:pt x="874" y="245"/>
                    </a:lnTo>
                    <a:lnTo>
                      <a:pt x="873" y="245"/>
                    </a:lnTo>
                    <a:lnTo>
                      <a:pt x="871" y="245"/>
                    </a:lnTo>
                    <a:lnTo>
                      <a:pt x="867" y="242"/>
                    </a:lnTo>
                    <a:lnTo>
                      <a:pt x="864" y="241"/>
                    </a:lnTo>
                    <a:lnTo>
                      <a:pt x="857" y="236"/>
                    </a:lnTo>
                    <a:lnTo>
                      <a:pt x="849" y="232"/>
                    </a:lnTo>
                    <a:lnTo>
                      <a:pt x="845" y="229"/>
                    </a:lnTo>
                    <a:lnTo>
                      <a:pt x="842" y="228"/>
                    </a:lnTo>
                    <a:lnTo>
                      <a:pt x="842" y="226"/>
                    </a:lnTo>
                    <a:lnTo>
                      <a:pt x="844" y="226"/>
                    </a:lnTo>
                    <a:lnTo>
                      <a:pt x="845" y="225"/>
                    </a:lnTo>
                    <a:lnTo>
                      <a:pt x="845" y="225"/>
                    </a:lnTo>
                    <a:lnTo>
                      <a:pt x="845" y="223"/>
                    </a:lnTo>
                    <a:lnTo>
                      <a:pt x="845" y="221"/>
                    </a:lnTo>
                    <a:lnTo>
                      <a:pt x="845" y="221"/>
                    </a:lnTo>
                    <a:lnTo>
                      <a:pt x="845" y="219"/>
                    </a:lnTo>
                    <a:lnTo>
                      <a:pt x="847" y="219"/>
                    </a:lnTo>
                    <a:lnTo>
                      <a:pt x="848" y="219"/>
                    </a:lnTo>
                    <a:lnTo>
                      <a:pt x="848" y="218"/>
                    </a:lnTo>
                    <a:lnTo>
                      <a:pt x="849" y="218"/>
                    </a:lnTo>
                    <a:lnTo>
                      <a:pt x="851" y="216"/>
                    </a:lnTo>
                    <a:lnTo>
                      <a:pt x="852" y="215"/>
                    </a:lnTo>
                    <a:lnTo>
                      <a:pt x="855" y="215"/>
                    </a:lnTo>
                    <a:lnTo>
                      <a:pt x="858" y="215"/>
                    </a:lnTo>
                    <a:lnTo>
                      <a:pt x="861" y="215"/>
                    </a:lnTo>
                    <a:lnTo>
                      <a:pt x="862" y="213"/>
                    </a:lnTo>
                    <a:lnTo>
                      <a:pt x="865" y="213"/>
                    </a:lnTo>
                    <a:lnTo>
                      <a:pt x="867" y="212"/>
                    </a:lnTo>
                    <a:lnTo>
                      <a:pt x="867" y="211"/>
                    </a:lnTo>
                    <a:lnTo>
                      <a:pt x="867" y="209"/>
                    </a:lnTo>
                    <a:lnTo>
                      <a:pt x="867" y="208"/>
                    </a:lnTo>
                    <a:lnTo>
                      <a:pt x="867" y="206"/>
                    </a:lnTo>
                    <a:lnTo>
                      <a:pt x="865" y="205"/>
                    </a:lnTo>
                    <a:lnTo>
                      <a:pt x="864" y="203"/>
                    </a:lnTo>
                    <a:lnTo>
                      <a:pt x="864" y="202"/>
                    </a:lnTo>
                    <a:lnTo>
                      <a:pt x="861" y="199"/>
                    </a:lnTo>
                    <a:lnTo>
                      <a:pt x="858" y="196"/>
                    </a:lnTo>
                    <a:lnTo>
                      <a:pt x="857" y="196"/>
                    </a:lnTo>
                    <a:lnTo>
                      <a:pt x="855" y="195"/>
                    </a:lnTo>
                    <a:lnTo>
                      <a:pt x="854" y="193"/>
                    </a:lnTo>
                    <a:lnTo>
                      <a:pt x="854" y="193"/>
                    </a:lnTo>
                    <a:lnTo>
                      <a:pt x="855" y="193"/>
                    </a:lnTo>
                    <a:lnTo>
                      <a:pt x="857" y="193"/>
                    </a:lnTo>
                    <a:lnTo>
                      <a:pt x="860" y="193"/>
                    </a:lnTo>
                    <a:lnTo>
                      <a:pt x="861" y="193"/>
                    </a:lnTo>
                    <a:lnTo>
                      <a:pt x="862" y="195"/>
                    </a:lnTo>
                    <a:lnTo>
                      <a:pt x="865" y="195"/>
                    </a:lnTo>
                    <a:lnTo>
                      <a:pt x="867" y="196"/>
                    </a:lnTo>
                    <a:lnTo>
                      <a:pt x="870" y="198"/>
                    </a:lnTo>
                    <a:lnTo>
                      <a:pt x="871" y="199"/>
                    </a:lnTo>
                    <a:lnTo>
                      <a:pt x="874" y="202"/>
                    </a:lnTo>
                    <a:lnTo>
                      <a:pt x="875" y="203"/>
                    </a:lnTo>
                    <a:lnTo>
                      <a:pt x="877" y="205"/>
                    </a:lnTo>
                    <a:lnTo>
                      <a:pt x="878" y="206"/>
                    </a:lnTo>
                    <a:lnTo>
                      <a:pt x="878" y="209"/>
                    </a:lnTo>
                    <a:lnTo>
                      <a:pt x="880" y="211"/>
                    </a:lnTo>
                    <a:lnTo>
                      <a:pt x="880" y="213"/>
                    </a:lnTo>
                    <a:lnTo>
                      <a:pt x="878" y="215"/>
                    </a:lnTo>
                    <a:lnTo>
                      <a:pt x="878" y="216"/>
                    </a:lnTo>
                    <a:lnTo>
                      <a:pt x="878" y="218"/>
                    </a:lnTo>
                    <a:lnTo>
                      <a:pt x="878" y="219"/>
                    </a:lnTo>
                    <a:lnTo>
                      <a:pt x="878" y="221"/>
                    </a:lnTo>
                    <a:lnTo>
                      <a:pt x="880" y="222"/>
                    </a:lnTo>
                    <a:lnTo>
                      <a:pt x="880" y="223"/>
                    </a:lnTo>
                    <a:lnTo>
                      <a:pt x="883" y="225"/>
                    </a:lnTo>
                    <a:lnTo>
                      <a:pt x="883" y="225"/>
                    </a:lnTo>
                    <a:lnTo>
                      <a:pt x="884" y="225"/>
                    </a:lnTo>
                    <a:lnTo>
                      <a:pt x="886" y="226"/>
                    </a:lnTo>
                    <a:lnTo>
                      <a:pt x="886" y="226"/>
                    </a:lnTo>
                    <a:lnTo>
                      <a:pt x="886" y="228"/>
                    </a:lnTo>
                    <a:lnTo>
                      <a:pt x="886" y="228"/>
                    </a:lnTo>
                    <a:lnTo>
                      <a:pt x="884" y="228"/>
                    </a:lnTo>
                    <a:lnTo>
                      <a:pt x="884" y="228"/>
                    </a:lnTo>
                    <a:lnTo>
                      <a:pt x="883" y="228"/>
                    </a:lnTo>
                    <a:lnTo>
                      <a:pt x="883" y="228"/>
                    </a:lnTo>
                    <a:lnTo>
                      <a:pt x="884" y="229"/>
                    </a:lnTo>
                    <a:lnTo>
                      <a:pt x="887" y="231"/>
                    </a:lnTo>
                    <a:lnTo>
                      <a:pt x="890" y="232"/>
                    </a:lnTo>
                    <a:lnTo>
                      <a:pt x="893" y="232"/>
                    </a:lnTo>
                    <a:lnTo>
                      <a:pt x="896" y="234"/>
                    </a:lnTo>
                    <a:lnTo>
                      <a:pt x="897" y="234"/>
                    </a:lnTo>
                    <a:lnTo>
                      <a:pt x="900" y="234"/>
                    </a:lnTo>
                    <a:lnTo>
                      <a:pt x="903" y="234"/>
                    </a:lnTo>
                    <a:lnTo>
                      <a:pt x="904" y="234"/>
                    </a:lnTo>
                    <a:lnTo>
                      <a:pt x="907" y="234"/>
                    </a:lnTo>
                    <a:lnTo>
                      <a:pt x="910" y="232"/>
                    </a:lnTo>
                    <a:lnTo>
                      <a:pt x="914" y="232"/>
                    </a:lnTo>
                    <a:lnTo>
                      <a:pt x="916" y="232"/>
                    </a:lnTo>
                    <a:lnTo>
                      <a:pt x="919" y="234"/>
                    </a:lnTo>
                    <a:lnTo>
                      <a:pt x="920" y="235"/>
                    </a:lnTo>
                    <a:lnTo>
                      <a:pt x="922" y="235"/>
                    </a:lnTo>
                    <a:lnTo>
                      <a:pt x="922" y="236"/>
                    </a:lnTo>
                    <a:lnTo>
                      <a:pt x="923" y="235"/>
                    </a:lnTo>
                    <a:lnTo>
                      <a:pt x="923" y="235"/>
                    </a:lnTo>
                    <a:lnTo>
                      <a:pt x="923" y="235"/>
                    </a:lnTo>
                    <a:lnTo>
                      <a:pt x="924" y="235"/>
                    </a:lnTo>
                    <a:lnTo>
                      <a:pt x="926" y="235"/>
                    </a:lnTo>
                    <a:lnTo>
                      <a:pt x="929" y="235"/>
                    </a:lnTo>
                    <a:lnTo>
                      <a:pt x="932" y="236"/>
                    </a:lnTo>
                    <a:lnTo>
                      <a:pt x="935" y="236"/>
                    </a:lnTo>
                    <a:lnTo>
                      <a:pt x="937" y="238"/>
                    </a:lnTo>
                    <a:lnTo>
                      <a:pt x="942" y="239"/>
                    </a:lnTo>
                    <a:lnTo>
                      <a:pt x="945" y="241"/>
                    </a:lnTo>
                    <a:lnTo>
                      <a:pt x="949" y="242"/>
                    </a:lnTo>
                    <a:lnTo>
                      <a:pt x="952" y="242"/>
                    </a:lnTo>
                    <a:lnTo>
                      <a:pt x="955" y="244"/>
                    </a:lnTo>
                    <a:lnTo>
                      <a:pt x="958" y="244"/>
                    </a:lnTo>
                    <a:lnTo>
                      <a:pt x="959" y="242"/>
                    </a:lnTo>
                    <a:lnTo>
                      <a:pt x="961" y="242"/>
                    </a:lnTo>
                    <a:lnTo>
                      <a:pt x="961" y="242"/>
                    </a:lnTo>
                    <a:lnTo>
                      <a:pt x="962" y="241"/>
                    </a:lnTo>
                    <a:lnTo>
                      <a:pt x="962" y="241"/>
                    </a:lnTo>
                    <a:lnTo>
                      <a:pt x="962" y="239"/>
                    </a:lnTo>
                    <a:lnTo>
                      <a:pt x="962" y="239"/>
                    </a:lnTo>
                    <a:lnTo>
                      <a:pt x="961" y="241"/>
                    </a:lnTo>
                    <a:lnTo>
                      <a:pt x="959" y="241"/>
                    </a:lnTo>
                    <a:lnTo>
                      <a:pt x="958" y="241"/>
                    </a:lnTo>
                    <a:lnTo>
                      <a:pt x="958" y="241"/>
                    </a:lnTo>
                    <a:lnTo>
                      <a:pt x="956" y="241"/>
                    </a:lnTo>
                    <a:lnTo>
                      <a:pt x="955" y="241"/>
                    </a:lnTo>
                    <a:lnTo>
                      <a:pt x="953" y="242"/>
                    </a:lnTo>
                    <a:lnTo>
                      <a:pt x="953" y="241"/>
                    </a:lnTo>
                    <a:lnTo>
                      <a:pt x="953" y="241"/>
                    </a:lnTo>
                    <a:lnTo>
                      <a:pt x="953" y="241"/>
                    </a:lnTo>
                    <a:lnTo>
                      <a:pt x="953" y="239"/>
                    </a:lnTo>
                    <a:lnTo>
                      <a:pt x="952" y="239"/>
                    </a:lnTo>
                    <a:lnTo>
                      <a:pt x="950" y="239"/>
                    </a:lnTo>
                    <a:lnTo>
                      <a:pt x="949" y="238"/>
                    </a:lnTo>
                    <a:lnTo>
                      <a:pt x="949" y="238"/>
                    </a:lnTo>
                    <a:lnTo>
                      <a:pt x="948" y="235"/>
                    </a:lnTo>
                    <a:lnTo>
                      <a:pt x="946" y="235"/>
                    </a:lnTo>
                    <a:lnTo>
                      <a:pt x="946" y="234"/>
                    </a:lnTo>
                    <a:lnTo>
                      <a:pt x="945" y="234"/>
                    </a:lnTo>
                    <a:lnTo>
                      <a:pt x="943" y="234"/>
                    </a:lnTo>
                    <a:lnTo>
                      <a:pt x="940" y="234"/>
                    </a:lnTo>
                    <a:lnTo>
                      <a:pt x="939" y="232"/>
                    </a:lnTo>
                    <a:lnTo>
                      <a:pt x="937" y="232"/>
                    </a:lnTo>
                    <a:lnTo>
                      <a:pt x="937" y="231"/>
                    </a:lnTo>
                    <a:lnTo>
                      <a:pt x="936" y="231"/>
                    </a:lnTo>
                    <a:lnTo>
                      <a:pt x="936" y="231"/>
                    </a:lnTo>
                    <a:lnTo>
                      <a:pt x="935" y="232"/>
                    </a:lnTo>
                    <a:lnTo>
                      <a:pt x="933" y="232"/>
                    </a:lnTo>
                    <a:lnTo>
                      <a:pt x="932" y="232"/>
                    </a:lnTo>
                    <a:lnTo>
                      <a:pt x="930" y="232"/>
                    </a:lnTo>
                    <a:lnTo>
                      <a:pt x="929" y="232"/>
                    </a:lnTo>
                    <a:lnTo>
                      <a:pt x="926" y="232"/>
                    </a:lnTo>
                    <a:lnTo>
                      <a:pt x="922" y="231"/>
                    </a:lnTo>
                    <a:lnTo>
                      <a:pt x="919" y="229"/>
                    </a:lnTo>
                    <a:lnTo>
                      <a:pt x="916" y="228"/>
                    </a:lnTo>
                    <a:lnTo>
                      <a:pt x="914" y="228"/>
                    </a:lnTo>
                    <a:lnTo>
                      <a:pt x="911" y="228"/>
                    </a:lnTo>
                    <a:lnTo>
                      <a:pt x="909" y="226"/>
                    </a:lnTo>
                    <a:lnTo>
                      <a:pt x="907" y="226"/>
                    </a:lnTo>
                    <a:lnTo>
                      <a:pt x="906" y="226"/>
                    </a:lnTo>
                    <a:lnTo>
                      <a:pt x="904" y="225"/>
                    </a:lnTo>
                    <a:lnTo>
                      <a:pt x="903" y="225"/>
                    </a:lnTo>
                    <a:lnTo>
                      <a:pt x="901" y="223"/>
                    </a:lnTo>
                    <a:lnTo>
                      <a:pt x="900" y="223"/>
                    </a:lnTo>
                    <a:lnTo>
                      <a:pt x="898" y="223"/>
                    </a:lnTo>
                    <a:lnTo>
                      <a:pt x="897" y="222"/>
                    </a:lnTo>
                    <a:lnTo>
                      <a:pt x="894" y="219"/>
                    </a:lnTo>
                    <a:lnTo>
                      <a:pt x="893" y="218"/>
                    </a:lnTo>
                    <a:lnTo>
                      <a:pt x="891" y="216"/>
                    </a:lnTo>
                    <a:lnTo>
                      <a:pt x="893" y="216"/>
                    </a:lnTo>
                    <a:lnTo>
                      <a:pt x="896" y="216"/>
                    </a:lnTo>
                    <a:lnTo>
                      <a:pt x="900" y="215"/>
                    </a:lnTo>
                    <a:lnTo>
                      <a:pt x="901" y="213"/>
                    </a:lnTo>
                    <a:lnTo>
                      <a:pt x="904" y="213"/>
                    </a:lnTo>
                    <a:lnTo>
                      <a:pt x="907" y="213"/>
                    </a:lnTo>
                    <a:lnTo>
                      <a:pt x="911" y="213"/>
                    </a:lnTo>
                    <a:lnTo>
                      <a:pt x="913" y="215"/>
                    </a:lnTo>
                    <a:lnTo>
                      <a:pt x="916" y="216"/>
                    </a:lnTo>
                    <a:lnTo>
                      <a:pt x="919" y="216"/>
                    </a:lnTo>
                    <a:lnTo>
                      <a:pt x="920" y="218"/>
                    </a:lnTo>
                    <a:lnTo>
                      <a:pt x="923" y="219"/>
                    </a:lnTo>
                    <a:lnTo>
                      <a:pt x="924" y="219"/>
                    </a:lnTo>
                    <a:lnTo>
                      <a:pt x="926" y="219"/>
                    </a:lnTo>
                    <a:lnTo>
                      <a:pt x="927" y="218"/>
                    </a:lnTo>
                    <a:lnTo>
                      <a:pt x="929" y="218"/>
                    </a:lnTo>
                    <a:lnTo>
                      <a:pt x="930" y="218"/>
                    </a:lnTo>
                    <a:lnTo>
                      <a:pt x="932" y="216"/>
                    </a:lnTo>
                    <a:lnTo>
                      <a:pt x="929" y="213"/>
                    </a:lnTo>
                    <a:lnTo>
                      <a:pt x="926" y="212"/>
                    </a:lnTo>
                    <a:lnTo>
                      <a:pt x="924" y="211"/>
                    </a:lnTo>
                    <a:lnTo>
                      <a:pt x="923" y="211"/>
                    </a:lnTo>
                    <a:lnTo>
                      <a:pt x="922" y="211"/>
                    </a:lnTo>
                    <a:lnTo>
                      <a:pt x="919" y="211"/>
                    </a:lnTo>
                    <a:lnTo>
                      <a:pt x="919" y="211"/>
                    </a:lnTo>
                    <a:lnTo>
                      <a:pt x="917" y="212"/>
                    </a:lnTo>
                    <a:lnTo>
                      <a:pt x="916" y="212"/>
                    </a:lnTo>
                    <a:lnTo>
                      <a:pt x="914" y="212"/>
                    </a:lnTo>
                    <a:lnTo>
                      <a:pt x="914" y="212"/>
                    </a:lnTo>
                    <a:lnTo>
                      <a:pt x="913" y="211"/>
                    </a:lnTo>
                    <a:lnTo>
                      <a:pt x="913" y="209"/>
                    </a:lnTo>
                    <a:lnTo>
                      <a:pt x="913" y="208"/>
                    </a:lnTo>
                    <a:lnTo>
                      <a:pt x="914" y="208"/>
                    </a:lnTo>
                    <a:lnTo>
                      <a:pt x="914" y="208"/>
                    </a:lnTo>
                    <a:lnTo>
                      <a:pt x="914" y="208"/>
                    </a:lnTo>
                    <a:lnTo>
                      <a:pt x="916" y="208"/>
                    </a:lnTo>
                    <a:lnTo>
                      <a:pt x="917" y="208"/>
                    </a:lnTo>
                    <a:lnTo>
                      <a:pt x="920" y="206"/>
                    </a:lnTo>
                    <a:lnTo>
                      <a:pt x="922" y="206"/>
                    </a:lnTo>
                    <a:lnTo>
                      <a:pt x="924" y="206"/>
                    </a:lnTo>
                    <a:lnTo>
                      <a:pt x="926" y="205"/>
                    </a:lnTo>
                    <a:lnTo>
                      <a:pt x="929" y="205"/>
                    </a:lnTo>
                    <a:lnTo>
                      <a:pt x="930" y="205"/>
                    </a:lnTo>
                    <a:lnTo>
                      <a:pt x="932" y="205"/>
                    </a:lnTo>
                    <a:lnTo>
                      <a:pt x="933" y="205"/>
                    </a:lnTo>
                    <a:lnTo>
                      <a:pt x="936" y="205"/>
                    </a:lnTo>
                    <a:lnTo>
                      <a:pt x="940" y="205"/>
                    </a:lnTo>
                    <a:lnTo>
                      <a:pt x="943" y="205"/>
                    </a:lnTo>
                    <a:lnTo>
                      <a:pt x="946" y="205"/>
                    </a:lnTo>
                    <a:lnTo>
                      <a:pt x="948" y="205"/>
                    </a:lnTo>
                    <a:lnTo>
                      <a:pt x="949" y="205"/>
                    </a:lnTo>
                    <a:lnTo>
                      <a:pt x="952" y="206"/>
                    </a:lnTo>
                    <a:lnTo>
                      <a:pt x="955" y="206"/>
                    </a:lnTo>
                    <a:lnTo>
                      <a:pt x="956" y="206"/>
                    </a:lnTo>
                    <a:lnTo>
                      <a:pt x="959" y="208"/>
                    </a:lnTo>
                    <a:lnTo>
                      <a:pt x="962" y="209"/>
                    </a:lnTo>
                    <a:lnTo>
                      <a:pt x="966" y="211"/>
                    </a:lnTo>
                    <a:lnTo>
                      <a:pt x="973" y="211"/>
                    </a:lnTo>
                    <a:lnTo>
                      <a:pt x="975" y="211"/>
                    </a:lnTo>
                    <a:lnTo>
                      <a:pt x="976" y="211"/>
                    </a:lnTo>
                    <a:lnTo>
                      <a:pt x="978" y="212"/>
                    </a:lnTo>
                    <a:lnTo>
                      <a:pt x="979" y="213"/>
                    </a:lnTo>
                    <a:lnTo>
                      <a:pt x="979" y="213"/>
                    </a:lnTo>
                    <a:lnTo>
                      <a:pt x="979" y="213"/>
                    </a:lnTo>
                    <a:lnTo>
                      <a:pt x="978" y="213"/>
                    </a:lnTo>
                    <a:lnTo>
                      <a:pt x="976" y="213"/>
                    </a:lnTo>
                    <a:lnTo>
                      <a:pt x="981" y="215"/>
                    </a:lnTo>
                    <a:lnTo>
                      <a:pt x="985" y="218"/>
                    </a:lnTo>
                    <a:lnTo>
                      <a:pt x="988" y="218"/>
                    </a:lnTo>
                    <a:lnTo>
                      <a:pt x="991" y="219"/>
                    </a:lnTo>
                    <a:lnTo>
                      <a:pt x="994" y="219"/>
                    </a:lnTo>
                    <a:lnTo>
                      <a:pt x="997" y="219"/>
                    </a:lnTo>
                    <a:lnTo>
                      <a:pt x="999" y="221"/>
                    </a:lnTo>
                    <a:lnTo>
                      <a:pt x="1001" y="221"/>
                    </a:lnTo>
                    <a:lnTo>
                      <a:pt x="1004" y="221"/>
                    </a:lnTo>
                    <a:lnTo>
                      <a:pt x="1007" y="221"/>
                    </a:lnTo>
                    <a:lnTo>
                      <a:pt x="1010" y="221"/>
                    </a:lnTo>
                    <a:lnTo>
                      <a:pt x="1014" y="221"/>
                    </a:lnTo>
                    <a:lnTo>
                      <a:pt x="1017" y="221"/>
                    </a:lnTo>
                    <a:lnTo>
                      <a:pt x="1020" y="219"/>
                    </a:lnTo>
                    <a:lnTo>
                      <a:pt x="1020" y="218"/>
                    </a:lnTo>
                    <a:lnTo>
                      <a:pt x="1018" y="218"/>
                    </a:lnTo>
                    <a:lnTo>
                      <a:pt x="1018" y="216"/>
                    </a:lnTo>
                    <a:lnTo>
                      <a:pt x="1018" y="216"/>
                    </a:lnTo>
                    <a:lnTo>
                      <a:pt x="1017" y="215"/>
                    </a:lnTo>
                    <a:lnTo>
                      <a:pt x="1015" y="215"/>
                    </a:lnTo>
                    <a:lnTo>
                      <a:pt x="1014" y="213"/>
                    </a:lnTo>
                    <a:lnTo>
                      <a:pt x="1012" y="213"/>
                    </a:lnTo>
                    <a:lnTo>
                      <a:pt x="1010" y="213"/>
                    </a:lnTo>
                    <a:lnTo>
                      <a:pt x="1008" y="212"/>
                    </a:lnTo>
                    <a:lnTo>
                      <a:pt x="1008" y="212"/>
                    </a:lnTo>
                    <a:lnTo>
                      <a:pt x="1007" y="211"/>
                    </a:lnTo>
                    <a:lnTo>
                      <a:pt x="1005" y="211"/>
                    </a:lnTo>
                    <a:lnTo>
                      <a:pt x="1004" y="209"/>
                    </a:lnTo>
                    <a:lnTo>
                      <a:pt x="1002" y="208"/>
                    </a:lnTo>
                    <a:lnTo>
                      <a:pt x="1001" y="208"/>
                    </a:lnTo>
                    <a:lnTo>
                      <a:pt x="998" y="206"/>
                    </a:lnTo>
                    <a:lnTo>
                      <a:pt x="994" y="206"/>
                    </a:lnTo>
                    <a:lnTo>
                      <a:pt x="991" y="206"/>
                    </a:lnTo>
                    <a:lnTo>
                      <a:pt x="988" y="206"/>
                    </a:lnTo>
                    <a:lnTo>
                      <a:pt x="985" y="206"/>
                    </a:lnTo>
                    <a:lnTo>
                      <a:pt x="982" y="205"/>
                    </a:lnTo>
                    <a:lnTo>
                      <a:pt x="981" y="205"/>
                    </a:lnTo>
                    <a:lnTo>
                      <a:pt x="978" y="205"/>
                    </a:lnTo>
                    <a:lnTo>
                      <a:pt x="975" y="203"/>
                    </a:lnTo>
                    <a:lnTo>
                      <a:pt x="972" y="203"/>
                    </a:lnTo>
                    <a:lnTo>
                      <a:pt x="971" y="202"/>
                    </a:lnTo>
                    <a:lnTo>
                      <a:pt x="968" y="200"/>
                    </a:lnTo>
                    <a:lnTo>
                      <a:pt x="966" y="198"/>
                    </a:lnTo>
                    <a:lnTo>
                      <a:pt x="966" y="196"/>
                    </a:lnTo>
                    <a:lnTo>
                      <a:pt x="965" y="193"/>
                    </a:lnTo>
                    <a:lnTo>
                      <a:pt x="963" y="192"/>
                    </a:lnTo>
                    <a:lnTo>
                      <a:pt x="961" y="189"/>
                    </a:lnTo>
                    <a:lnTo>
                      <a:pt x="959" y="189"/>
                    </a:lnTo>
                    <a:lnTo>
                      <a:pt x="956" y="187"/>
                    </a:lnTo>
                    <a:lnTo>
                      <a:pt x="953" y="186"/>
                    </a:lnTo>
                    <a:lnTo>
                      <a:pt x="950" y="185"/>
                    </a:lnTo>
                    <a:lnTo>
                      <a:pt x="949" y="185"/>
                    </a:lnTo>
                    <a:lnTo>
                      <a:pt x="950" y="185"/>
                    </a:lnTo>
                    <a:lnTo>
                      <a:pt x="950" y="185"/>
                    </a:lnTo>
                    <a:lnTo>
                      <a:pt x="952" y="185"/>
                    </a:lnTo>
                    <a:lnTo>
                      <a:pt x="952" y="183"/>
                    </a:lnTo>
                    <a:lnTo>
                      <a:pt x="950" y="183"/>
                    </a:lnTo>
                    <a:lnTo>
                      <a:pt x="949" y="183"/>
                    </a:lnTo>
                    <a:lnTo>
                      <a:pt x="949" y="182"/>
                    </a:lnTo>
                    <a:lnTo>
                      <a:pt x="946" y="182"/>
                    </a:lnTo>
                    <a:lnTo>
                      <a:pt x="946" y="182"/>
                    </a:lnTo>
                    <a:lnTo>
                      <a:pt x="946" y="182"/>
                    </a:lnTo>
                    <a:lnTo>
                      <a:pt x="948" y="180"/>
                    </a:lnTo>
                    <a:lnTo>
                      <a:pt x="949" y="180"/>
                    </a:lnTo>
                    <a:lnTo>
                      <a:pt x="949" y="179"/>
                    </a:lnTo>
                    <a:lnTo>
                      <a:pt x="950" y="179"/>
                    </a:lnTo>
                    <a:lnTo>
                      <a:pt x="950" y="177"/>
                    </a:lnTo>
                    <a:lnTo>
                      <a:pt x="949" y="177"/>
                    </a:lnTo>
                    <a:lnTo>
                      <a:pt x="949" y="179"/>
                    </a:lnTo>
                    <a:lnTo>
                      <a:pt x="949" y="179"/>
                    </a:lnTo>
                    <a:lnTo>
                      <a:pt x="949" y="177"/>
                    </a:lnTo>
                    <a:lnTo>
                      <a:pt x="950" y="176"/>
                    </a:lnTo>
                    <a:lnTo>
                      <a:pt x="952" y="174"/>
                    </a:lnTo>
                    <a:lnTo>
                      <a:pt x="955" y="174"/>
                    </a:lnTo>
                    <a:lnTo>
                      <a:pt x="956" y="173"/>
                    </a:lnTo>
                    <a:lnTo>
                      <a:pt x="958" y="173"/>
                    </a:lnTo>
                    <a:lnTo>
                      <a:pt x="963" y="173"/>
                    </a:lnTo>
                    <a:lnTo>
                      <a:pt x="968" y="172"/>
                    </a:lnTo>
                    <a:lnTo>
                      <a:pt x="972" y="173"/>
                    </a:lnTo>
                    <a:lnTo>
                      <a:pt x="976" y="173"/>
                    </a:lnTo>
                    <a:lnTo>
                      <a:pt x="978" y="173"/>
                    </a:lnTo>
                    <a:lnTo>
                      <a:pt x="979" y="173"/>
                    </a:lnTo>
                    <a:lnTo>
                      <a:pt x="984" y="173"/>
                    </a:lnTo>
                    <a:lnTo>
                      <a:pt x="988" y="173"/>
                    </a:lnTo>
                    <a:lnTo>
                      <a:pt x="994" y="173"/>
                    </a:lnTo>
                    <a:lnTo>
                      <a:pt x="999" y="173"/>
                    </a:lnTo>
                    <a:lnTo>
                      <a:pt x="1004" y="172"/>
                    </a:lnTo>
                    <a:lnTo>
                      <a:pt x="1010" y="172"/>
                    </a:lnTo>
                    <a:lnTo>
                      <a:pt x="1014" y="172"/>
                    </a:lnTo>
                    <a:lnTo>
                      <a:pt x="1020" y="170"/>
                    </a:lnTo>
                    <a:lnTo>
                      <a:pt x="1021" y="170"/>
                    </a:lnTo>
                    <a:lnTo>
                      <a:pt x="1023" y="172"/>
                    </a:lnTo>
                    <a:lnTo>
                      <a:pt x="1024" y="172"/>
                    </a:lnTo>
                    <a:lnTo>
                      <a:pt x="1025" y="172"/>
                    </a:lnTo>
                    <a:lnTo>
                      <a:pt x="1030" y="173"/>
                    </a:lnTo>
                    <a:lnTo>
                      <a:pt x="1033" y="173"/>
                    </a:lnTo>
                    <a:lnTo>
                      <a:pt x="1034" y="173"/>
                    </a:lnTo>
                    <a:lnTo>
                      <a:pt x="1035" y="173"/>
                    </a:lnTo>
                    <a:lnTo>
                      <a:pt x="1035" y="172"/>
                    </a:lnTo>
                    <a:lnTo>
                      <a:pt x="1037" y="172"/>
                    </a:lnTo>
                    <a:lnTo>
                      <a:pt x="1038" y="170"/>
                    </a:lnTo>
                    <a:lnTo>
                      <a:pt x="1040" y="170"/>
                    </a:lnTo>
                    <a:lnTo>
                      <a:pt x="1041" y="169"/>
                    </a:lnTo>
                    <a:lnTo>
                      <a:pt x="1043" y="167"/>
                    </a:lnTo>
                    <a:lnTo>
                      <a:pt x="1046" y="167"/>
                    </a:lnTo>
                    <a:lnTo>
                      <a:pt x="1046" y="167"/>
                    </a:lnTo>
                    <a:lnTo>
                      <a:pt x="1047" y="167"/>
                    </a:lnTo>
                    <a:lnTo>
                      <a:pt x="1050" y="167"/>
                    </a:lnTo>
                    <a:lnTo>
                      <a:pt x="1051" y="169"/>
                    </a:lnTo>
                    <a:lnTo>
                      <a:pt x="1054" y="169"/>
                    </a:lnTo>
                    <a:lnTo>
                      <a:pt x="1057" y="169"/>
                    </a:lnTo>
                    <a:lnTo>
                      <a:pt x="1060" y="169"/>
                    </a:lnTo>
                    <a:lnTo>
                      <a:pt x="1063" y="169"/>
                    </a:lnTo>
                    <a:lnTo>
                      <a:pt x="1066" y="167"/>
                    </a:lnTo>
                    <a:lnTo>
                      <a:pt x="1064" y="167"/>
                    </a:lnTo>
                    <a:lnTo>
                      <a:pt x="1064" y="167"/>
                    </a:lnTo>
                    <a:lnTo>
                      <a:pt x="1063" y="166"/>
                    </a:lnTo>
                    <a:lnTo>
                      <a:pt x="1061" y="164"/>
                    </a:lnTo>
                    <a:lnTo>
                      <a:pt x="1063" y="164"/>
                    </a:lnTo>
                    <a:lnTo>
                      <a:pt x="1063" y="164"/>
                    </a:lnTo>
                    <a:lnTo>
                      <a:pt x="1061" y="164"/>
                    </a:lnTo>
                    <a:lnTo>
                      <a:pt x="1059" y="163"/>
                    </a:lnTo>
                    <a:lnTo>
                      <a:pt x="1057" y="163"/>
                    </a:lnTo>
                    <a:lnTo>
                      <a:pt x="1053" y="160"/>
                    </a:lnTo>
                    <a:lnTo>
                      <a:pt x="1048" y="159"/>
                    </a:lnTo>
                    <a:lnTo>
                      <a:pt x="1047" y="159"/>
                    </a:lnTo>
                    <a:lnTo>
                      <a:pt x="1046" y="159"/>
                    </a:lnTo>
                    <a:lnTo>
                      <a:pt x="1044" y="159"/>
                    </a:lnTo>
                    <a:lnTo>
                      <a:pt x="1043" y="159"/>
                    </a:lnTo>
                    <a:lnTo>
                      <a:pt x="1040" y="159"/>
                    </a:lnTo>
                    <a:lnTo>
                      <a:pt x="1038" y="159"/>
                    </a:lnTo>
                    <a:lnTo>
                      <a:pt x="1035" y="157"/>
                    </a:lnTo>
                    <a:lnTo>
                      <a:pt x="1035" y="157"/>
                    </a:lnTo>
                    <a:lnTo>
                      <a:pt x="1034" y="156"/>
                    </a:lnTo>
                    <a:lnTo>
                      <a:pt x="1035" y="156"/>
                    </a:lnTo>
                    <a:lnTo>
                      <a:pt x="1037" y="156"/>
                    </a:lnTo>
                    <a:lnTo>
                      <a:pt x="1040" y="154"/>
                    </a:lnTo>
                    <a:lnTo>
                      <a:pt x="1041" y="154"/>
                    </a:lnTo>
                    <a:lnTo>
                      <a:pt x="1043" y="154"/>
                    </a:lnTo>
                    <a:lnTo>
                      <a:pt x="1043" y="154"/>
                    </a:lnTo>
                    <a:lnTo>
                      <a:pt x="1044" y="154"/>
                    </a:lnTo>
                    <a:lnTo>
                      <a:pt x="1046" y="156"/>
                    </a:lnTo>
                    <a:lnTo>
                      <a:pt x="1047" y="156"/>
                    </a:lnTo>
                    <a:lnTo>
                      <a:pt x="1047" y="156"/>
                    </a:lnTo>
                    <a:lnTo>
                      <a:pt x="1048" y="156"/>
                    </a:lnTo>
                    <a:lnTo>
                      <a:pt x="1048" y="156"/>
                    </a:lnTo>
                    <a:lnTo>
                      <a:pt x="1050" y="156"/>
                    </a:lnTo>
                    <a:lnTo>
                      <a:pt x="1051" y="157"/>
                    </a:lnTo>
                    <a:lnTo>
                      <a:pt x="1051" y="157"/>
                    </a:lnTo>
                    <a:lnTo>
                      <a:pt x="1053" y="157"/>
                    </a:lnTo>
                    <a:lnTo>
                      <a:pt x="1053" y="156"/>
                    </a:lnTo>
                    <a:lnTo>
                      <a:pt x="1053" y="156"/>
                    </a:lnTo>
                    <a:lnTo>
                      <a:pt x="1054" y="156"/>
                    </a:lnTo>
                    <a:lnTo>
                      <a:pt x="1054" y="154"/>
                    </a:lnTo>
                    <a:lnTo>
                      <a:pt x="1053" y="154"/>
                    </a:lnTo>
                    <a:lnTo>
                      <a:pt x="1053" y="154"/>
                    </a:lnTo>
                    <a:lnTo>
                      <a:pt x="1053" y="154"/>
                    </a:lnTo>
                    <a:lnTo>
                      <a:pt x="1051" y="153"/>
                    </a:lnTo>
                    <a:lnTo>
                      <a:pt x="1048" y="153"/>
                    </a:lnTo>
                    <a:lnTo>
                      <a:pt x="1048" y="153"/>
                    </a:lnTo>
                    <a:lnTo>
                      <a:pt x="1047" y="153"/>
                    </a:lnTo>
                    <a:lnTo>
                      <a:pt x="1047" y="153"/>
                    </a:lnTo>
                    <a:lnTo>
                      <a:pt x="1046" y="153"/>
                    </a:lnTo>
                    <a:lnTo>
                      <a:pt x="1044" y="153"/>
                    </a:lnTo>
                    <a:lnTo>
                      <a:pt x="1043" y="153"/>
                    </a:lnTo>
                    <a:lnTo>
                      <a:pt x="1043" y="153"/>
                    </a:lnTo>
                    <a:lnTo>
                      <a:pt x="1043" y="151"/>
                    </a:lnTo>
                    <a:lnTo>
                      <a:pt x="1043" y="151"/>
                    </a:lnTo>
                    <a:lnTo>
                      <a:pt x="1043" y="151"/>
                    </a:lnTo>
                    <a:lnTo>
                      <a:pt x="1041" y="150"/>
                    </a:lnTo>
                    <a:lnTo>
                      <a:pt x="1041" y="150"/>
                    </a:lnTo>
                    <a:lnTo>
                      <a:pt x="1043" y="150"/>
                    </a:lnTo>
                    <a:lnTo>
                      <a:pt x="1046" y="150"/>
                    </a:lnTo>
                    <a:lnTo>
                      <a:pt x="1044" y="151"/>
                    </a:lnTo>
                    <a:lnTo>
                      <a:pt x="1044" y="151"/>
                    </a:lnTo>
                    <a:lnTo>
                      <a:pt x="1046" y="150"/>
                    </a:lnTo>
                    <a:lnTo>
                      <a:pt x="1044" y="149"/>
                    </a:lnTo>
                    <a:lnTo>
                      <a:pt x="1044" y="149"/>
                    </a:lnTo>
                    <a:lnTo>
                      <a:pt x="1043" y="147"/>
                    </a:lnTo>
                    <a:lnTo>
                      <a:pt x="1043" y="147"/>
                    </a:lnTo>
                    <a:lnTo>
                      <a:pt x="1043" y="146"/>
                    </a:lnTo>
                    <a:lnTo>
                      <a:pt x="1044" y="146"/>
                    </a:lnTo>
                    <a:lnTo>
                      <a:pt x="1044" y="147"/>
                    </a:lnTo>
                    <a:lnTo>
                      <a:pt x="1046" y="147"/>
                    </a:lnTo>
                    <a:lnTo>
                      <a:pt x="1046" y="147"/>
                    </a:lnTo>
                    <a:lnTo>
                      <a:pt x="1044" y="146"/>
                    </a:lnTo>
                    <a:lnTo>
                      <a:pt x="1044" y="146"/>
                    </a:lnTo>
                    <a:lnTo>
                      <a:pt x="1044" y="144"/>
                    </a:lnTo>
                    <a:lnTo>
                      <a:pt x="1046" y="143"/>
                    </a:lnTo>
                    <a:lnTo>
                      <a:pt x="1046" y="143"/>
                    </a:lnTo>
                    <a:lnTo>
                      <a:pt x="1046" y="141"/>
                    </a:lnTo>
                    <a:lnTo>
                      <a:pt x="1044" y="141"/>
                    </a:lnTo>
                    <a:lnTo>
                      <a:pt x="1044" y="141"/>
                    </a:lnTo>
                    <a:lnTo>
                      <a:pt x="1043" y="141"/>
                    </a:lnTo>
                    <a:lnTo>
                      <a:pt x="1044" y="140"/>
                    </a:lnTo>
                    <a:lnTo>
                      <a:pt x="1044" y="140"/>
                    </a:lnTo>
                    <a:lnTo>
                      <a:pt x="1046" y="140"/>
                    </a:lnTo>
                    <a:lnTo>
                      <a:pt x="1047" y="140"/>
                    </a:lnTo>
                    <a:lnTo>
                      <a:pt x="1050" y="141"/>
                    </a:lnTo>
                    <a:lnTo>
                      <a:pt x="1050" y="141"/>
                    </a:lnTo>
                    <a:lnTo>
                      <a:pt x="1051" y="141"/>
                    </a:lnTo>
                    <a:lnTo>
                      <a:pt x="1051" y="141"/>
                    </a:lnTo>
                    <a:lnTo>
                      <a:pt x="1051" y="140"/>
                    </a:lnTo>
                    <a:lnTo>
                      <a:pt x="1050" y="140"/>
                    </a:lnTo>
                    <a:lnTo>
                      <a:pt x="1050" y="140"/>
                    </a:lnTo>
                    <a:lnTo>
                      <a:pt x="1047" y="138"/>
                    </a:lnTo>
                    <a:lnTo>
                      <a:pt x="1046" y="138"/>
                    </a:lnTo>
                    <a:lnTo>
                      <a:pt x="1043" y="138"/>
                    </a:lnTo>
                    <a:lnTo>
                      <a:pt x="1040" y="137"/>
                    </a:lnTo>
                    <a:lnTo>
                      <a:pt x="1038" y="137"/>
                    </a:lnTo>
                    <a:lnTo>
                      <a:pt x="1037" y="137"/>
                    </a:lnTo>
                    <a:lnTo>
                      <a:pt x="1037" y="136"/>
                    </a:lnTo>
                    <a:lnTo>
                      <a:pt x="1038" y="137"/>
                    </a:lnTo>
                    <a:lnTo>
                      <a:pt x="1041" y="137"/>
                    </a:lnTo>
                    <a:lnTo>
                      <a:pt x="1046" y="137"/>
                    </a:lnTo>
                    <a:lnTo>
                      <a:pt x="1048" y="137"/>
                    </a:lnTo>
                    <a:lnTo>
                      <a:pt x="1051" y="138"/>
                    </a:lnTo>
                    <a:lnTo>
                      <a:pt x="1054" y="138"/>
                    </a:lnTo>
                    <a:lnTo>
                      <a:pt x="1057" y="138"/>
                    </a:lnTo>
                    <a:lnTo>
                      <a:pt x="1059" y="137"/>
                    </a:lnTo>
                    <a:lnTo>
                      <a:pt x="1059" y="137"/>
                    </a:lnTo>
                    <a:lnTo>
                      <a:pt x="1061" y="134"/>
                    </a:lnTo>
                    <a:lnTo>
                      <a:pt x="1063" y="133"/>
                    </a:lnTo>
                    <a:lnTo>
                      <a:pt x="1064" y="131"/>
                    </a:lnTo>
                    <a:lnTo>
                      <a:pt x="1067" y="130"/>
                    </a:lnTo>
                    <a:lnTo>
                      <a:pt x="1067" y="130"/>
                    </a:lnTo>
                    <a:lnTo>
                      <a:pt x="1069" y="130"/>
                    </a:lnTo>
                    <a:lnTo>
                      <a:pt x="1069" y="130"/>
                    </a:lnTo>
                    <a:lnTo>
                      <a:pt x="1070" y="130"/>
                    </a:lnTo>
                    <a:lnTo>
                      <a:pt x="1070" y="130"/>
                    </a:lnTo>
                    <a:lnTo>
                      <a:pt x="1072" y="130"/>
                    </a:lnTo>
                    <a:lnTo>
                      <a:pt x="1073" y="130"/>
                    </a:lnTo>
                    <a:lnTo>
                      <a:pt x="1073" y="130"/>
                    </a:lnTo>
                    <a:lnTo>
                      <a:pt x="1074" y="130"/>
                    </a:lnTo>
                    <a:lnTo>
                      <a:pt x="1076" y="130"/>
                    </a:lnTo>
                    <a:lnTo>
                      <a:pt x="1077" y="130"/>
                    </a:lnTo>
                    <a:lnTo>
                      <a:pt x="1079" y="130"/>
                    </a:lnTo>
                    <a:lnTo>
                      <a:pt x="1080" y="130"/>
                    </a:lnTo>
                    <a:lnTo>
                      <a:pt x="1082" y="130"/>
                    </a:lnTo>
                    <a:lnTo>
                      <a:pt x="1083" y="128"/>
                    </a:lnTo>
                    <a:lnTo>
                      <a:pt x="1083" y="128"/>
                    </a:lnTo>
                    <a:lnTo>
                      <a:pt x="1083" y="127"/>
                    </a:lnTo>
                    <a:lnTo>
                      <a:pt x="1087" y="127"/>
                    </a:lnTo>
                    <a:lnTo>
                      <a:pt x="1092" y="125"/>
                    </a:lnTo>
                    <a:lnTo>
                      <a:pt x="1096" y="125"/>
                    </a:lnTo>
                    <a:lnTo>
                      <a:pt x="1100" y="124"/>
                    </a:lnTo>
                    <a:lnTo>
                      <a:pt x="1109" y="124"/>
                    </a:lnTo>
                    <a:lnTo>
                      <a:pt x="1118" y="124"/>
                    </a:lnTo>
                    <a:lnTo>
                      <a:pt x="1122" y="124"/>
                    </a:lnTo>
                    <a:lnTo>
                      <a:pt x="1125" y="124"/>
                    </a:lnTo>
                    <a:lnTo>
                      <a:pt x="1129" y="123"/>
                    </a:lnTo>
                    <a:lnTo>
                      <a:pt x="1134" y="123"/>
                    </a:lnTo>
                    <a:lnTo>
                      <a:pt x="1138" y="121"/>
                    </a:lnTo>
                    <a:lnTo>
                      <a:pt x="1141" y="121"/>
                    </a:lnTo>
                    <a:lnTo>
                      <a:pt x="1145" y="120"/>
                    </a:lnTo>
                    <a:lnTo>
                      <a:pt x="1148" y="120"/>
                    </a:lnTo>
                    <a:lnTo>
                      <a:pt x="1147" y="120"/>
                    </a:lnTo>
                    <a:lnTo>
                      <a:pt x="1144" y="120"/>
                    </a:lnTo>
                    <a:lnTo>
                      <a:pt x="1142" y="120"/>
                    </a:lnTo>
                    <a:lnTo>
                      <a:pt x="1141" y="120"/>
                    </a:lnTo>
                    <a:lnTo>
                      <a:pt x="1139" y="120"/>
                    </a:lnTo>
                    <a:lnTo>
                      <a:pt x="1138" y="120"/>
                    </a:lnTo>
                    <a:lnTo>
                      <a:pt x="1136" y="120"/>
                    </a:lnTo>
                    <a:lnTo>
                      <a:pt x="1136" y="120"/>
                    </a:lnTo>
                    <a:lnTo>
                      <a:pt x="1135" y="120"/>
                    </a:lnTo>
                    <a:lnTo>
                      <a:pt x="1134" y="120"/>
                    </a:lnTo>
                    <a:lnTo>
                      <a:pt x="1132" y="120"/>
                    </a:lnTo>
                    <a:lnTo>
                      <a:pt x="1132" y="120"/>
                    </a:lnTo>
                    <a:lnTo>
                      <a:pt x="1131" y="120"/>
                    </a:lnTo>
                    <a:lnTo>
                      <a:pt x="1131" y="120"/>
                    </a:lnTo>
                    <a:lnTo>
                      <a:pt x="1129" y="118"/>
                    </a:lnTo>
                    <a:lnTo>
                      <a:pt x="1128" y="118"/>
                    </a:lnTo>
                    <a:lnTo>
                      <a:pt x="1126" y="118"/>
                    </a:lnTo>
                    <a:lnTo>
                      <a:pt x="1126" y="118"/>
                    </a:lnTo>
                    <a:lnTo>
                      <a:pt x="1126" y="118"/>
                    </a:lnTo>
                    <a:lnTo>
                      <a:pt x="1126" y="117"/>
                    </a:lnTo>
                    <a:lnTo>
                      <a:pt x="1126" y="117"/>
                    </a:lnTo>
                    <a:lnTo>
                      <a:pt x="1128" y="117"/>
                    </a:lnTo>
                    <a:lnTo>
                      <a:pt x="1128" y="115"/>
                    </a:lnTo>
                    <a:lnTo>
                      <a:pt x="1129" y="115"/>
                    </a:lnTo>
                    <a:lnTo>
                      <a:pt x="1129" y="115"/>
                    </a:lnTo>
                    <a:lnTo>
                      <a:pt x="1131" y="115"/>
                    </a:lnTo>
                    <a:lnTo>
                      <a:pt x="1134" y="115"/>
                    </a:lnTo>
                    <a:lnTo>
                      <a:pt x="1135" y="115"/>
                    </a:lnTo>
                    <a:lnTo>
                      <a:pt x="1136" y="117"/>
                    </a:lnTo>
                    <a:lnTo>
                      <a:pt x="1139" y="117"/>
                    </a:lnTo>
                    <a:lnTo>
                      <a:pt x="1141" y="117"/>
                    </a:lnTo>
                    <a:lnTo>
                      <a:pt x="1142" y="117"/>
                    </a:lnTo>
                    <a:lnTo>
                      <a:pt x="1142" y="115"/>
                    </a:lnTo>
                    <a:lnTo>
                      <a:pt x="1142" y="115"/>
                    </a:lnTo>
                    <a:lnTo>
                      <a:pt x="1141" y="115"/>
                    </a:lnTo>
                    <a:lnTo>
                      <a:pt x="1139" y="115"/>
                    </a:lnTo>
                    <a:lnTo>
                      <a:pt x="1139" y="115"/>
                    </a:lnTo>
                    <a:lnTo>
                      <a:pt x="1139" y="115"/>
                    </a:lnTo>
                    <a:lnTo>
                      <a:pt x="1138" y="114"/>
                    </a:lnTo>
                    <a:lnTo>
                      <a:pt x="1138" y="112"/>
                    </a:lnTo>
                    <a:lnTo>
                      <a:pt x="1139" y="114"/>
                    </a:lnTo>
                    <a:lnTo>
                      <a:pt x="1142" y="114"/>
                    </a:lnTo>
                    <a:lnTo>
                      <a:pt x="1148" y="114"/>
                    </a:lnTo>
                    <a:lnTo>
                      <a:pt x="1151" y="114"/>
                    </a:lnTo>
                    <a:lnTo>
                      <a:pt x="1151" y="112"/>
                    </a:lnTo>
                    <a:lnTo>
                      <a:pt x="1152" y="112"/>
                    </a:lnTo>
                    <a:lnTo>
                      <a:pt x="1152" y="112"/>
                    </a:lnTo>
                    <a:lnTo>
                      <a:pt x="1154" y="111"/>
                    </a:lnTo>
                    <a:lnTo>
                      <a:pt x="1154" y="111"/>
                    </a:lnTo>
                    <a:lnTo>
                      <a:pt x="1154" y="111"/>
                    </a:lnTo>
                    <a:lnTo>
                      <a:pt x="1154" y="112"/>
                    </a:lnTo>
                    <a:lnTo>
                      <a:pt x="1154" y="112"/>
                    </a:lnTo>
                    <a:lnTo>
                      <a:pt x="1155" y="112"/>
                    </a:lnTo>
                    <a:lnTo>
                      <a:pt x="1155" y="112"/>
                    </a:lnTo>
                    <a:lnTo>
                      <a:pt x="1157" y="114"/>
                    </a:lnTo>
                    <a:lnTo>
                      <a:pt x="1157" y="114"/>
                    </a:lnTo>
                    <a:lnTo>
                      <a:pt x="1160" y="114"/>
                    </a:lnTo>
                    <a:lnTo>
                      <a:pt x="1167" y="114"/>
                    </a:lnTo>
                    <a:lnTo>
                      <a:pt x="1173" y="114"/>
                    </a:lnTo>
                    <a:lnTo>
                      <a:pt x="1170" y="112"/>
                    </a:lnTo>
                    <a:lnTo>
                      <a:pt x="1168" y="112"/>
                    </a:lnTo>
                    <a:lnTo>
                      <a:pt x="1167" y="111"/>
                    </a:lnTo>
                    <a:lnTo>
                      <a:pt x="1167" y="110"/>
                    </a:lnTo>
                    <a:lnTo>
                      <a:pt x="1167" y="111"/>
                    </a:lnTo>
                    <a:lnTo>
                      <a:pt x="1168" y="111"/>
                    </a:lnTo>
                    <a:lnTo>
                      <a:pt x="1170" y="111"/>
                    </a:lnTo>
                    <a:lnTo>
                      <a:pt x="1171" y="111"/>
                    </a:lnTo>
                    <a:lnTo>
                      <a:pt x="1174" y="110"/>
                    </a:lnTo>
                    <a:lnTo>
                      <a:pt x="1178" y="110"/>
                    </a:lnTo>
                    <a:lnTo>
                      <a:pt x="1181" y="108"/>
                    </a:lnTo>
                    <a:lnTo>
                      <a:pt x="1183" y="108"/>
                    </a:lnTo>
                    <a:lnTo>
                      <a:pt x="1184" y="110"/>
                    </a:lnTo>
                    <a:lnTo>
                      <a:pt x="1185" y="110"/>
                    </a:lnTo>
                    <a:lnTo>
                      <a:pt x="1187" y="111"/>
                    </a:lnTo>
                    <a:lnTo>
                      <a:pt x="1188" y="111"/>
                    </a:lnTo>
                    <a:lnTo>
                      <a:pt x="1188" y="112"/>
                    </a:lnTo>
                    <a:lnTo>
                      <a:pt x="1187" y="112"/>
                    </a:lnTo>
                    <a:lnTo>
                      <a:pt x="1187" y="112"/>
                    </a:lnTo>
                    <a:lnTo>
                      <a:pt x="1185" y="112"/>
                    </a:lnTo>
                    <a:lnTo>
                      <a:pt x="1185" y="111"/>
                    </a:lnTo>
                    <a:lnTo>
                      <a:pt x="1184" y="111"/>
                    </a:lnTo>
                    <a:lnTo>
                      <a:pt x="1184" y="112"/>
                    </a:lnTo>
                    <a:lnTo>
                      <a:pt x="1183" y="112"/>
                    </a:lnTo>
                    <a:lnTo>
                      <a:pt x="1184" y="114"/>
                    </a:lnTo>
                    <a:lnTo>
                      <a:pt x="1185" y="114"/>
                    </a:lnTo>
                    <a:lnTo>
                      <a:pt x="1185" y="115"/>
                    </a:lnTo>
                    <a:lnTo>
                      <a:pt x="1185" y="117"/>
                    </a:lnTo>
                    <a:lnTo>
                      <a:pt x="1183" y="115"/>
                    </a:lnTo>
                    <a:lnTo>
                      <a:pt x="1180" y="115"/>
                    </a:lnTo>
                    <a:lnTo>
                      <a:pt x="1183" y="115"/>
                    </a:lnTo>
                    <a:lnTo>
                      <a:pt x="1183" y="117"/>
                    </a:lnTo>
                    <a:lnTo>
                      <a:pt x="1181" y="117"/>
                    </a:lnTo>
                    <a:lnTo>
                      <a:pt x="1180" y="117"/>
                    </a:lnTo>
                    <a:lnTo>
                      <a:pt x="1178" y="118"/>
                    </a:lnTo>
                    <a:lnTo>
                      <a:pt x="1178" y="118"/>
                    </a:lnTo>
                    <a:lnTo>
                      <a:pt x="1177" y="120"/>
                    </a:lnTo>
                    <a:lnTo>
                      <a:pt x="1185" y="120"/>
                    </a:lnTo>
                    <a:lnTo>
                      <a:pt x="1187" y="118"/>
                    </a:lnTo>
                    <a:lnTo>
                      <a:pt x="1188" y="118"/>
                    </a:lnTo>
                    <a:lnTo>
                      <a:pt x="1190" y="118"/>
                    </a:lnTo>
                    <a:lnTo>
                      <a:pt x="1190" y="118"/>
                    </a:lnTo>
                    <a:lnTo>
                      <a:pt x="1193" y="118"/>
                    </a:lnTo>
                    <a:lnTo>
                      <a:pt x="1193" y="118"/>
                    </a:lnTo>
                    <a:lnTo>
                      <a:pt x="1194" y="120"/>
                    </a:lnTo>
                    <a:lnTo>
                      <a:pt x="1196" y="118"/>
                    </a:lnTo>
                    <a:lnTo>
                      <a:pt x="1197" y="118"/>
                    </a:lnTo>
                    <a:lnTo>
                      <a:pt x="1197" y="118"/>
                    </a:lnTo>
                    <a:lnTo>
                      <a:pt x="1196" y="117"/>
                    </a:lnTo>
                    <a:lnTo>
                      <a:pt x="1194" y="117"/>
                    </a:lnTo>
                    <a:lnTo>
                      <a:pt x="1204" y="117"/>
                    </a:lnTo>
                    <a:lnTo>
                      <a:pt x="1203" y="117"/>
                    </a:lnTo>
                    <a:lnTo>
                      <a:pt x="1201" y="118"/>
                    </a:lnTo>
                    <a:lnTo>
                      <a:pt x="1203" y="118"/>
                    </a:lnTo>
                    <a:lnTo>
                      <a:pt x="1204" y="118"/>
                    </a:lnTo>
                    <a:lnTo>
                      <a:pt x="1206" y="120"/>
                    </a:lnTo>
                    <a:lnTo>
                      <a:pt x="1209" y="118"/>
                    </a:lnTo>
                    <a:lnTo>
                      <a:pt x="1210" y="118"/>
                    </a:lnTo>
                    <a:lnTo>
                      <a:pt x="1211" y="118"/>
                    </a:lnTo>
                    <a:lnTo>
                      <a:pt x="1213" y="118"/>
                    </a:lnTo>
                    <a:lnTo>
                      <a:pt x="1213" y="117"/>
                    </a:lnTo>
                    <a:lnTo>
                      <a:pt x="1214" y="115"/>
                    </a:lnTo>
                    <a:lnTo>
                      <a:pt x="1216" y="115"/>
                    </a:lnTo>
                    <a:lnTo>
                      <a:pt x="1216" y="115"/>
                    </a:lnTo>
                    <a:lnTo>
                      <a:pt x="1217" y="115"/>
                    </a:lnTo>
                    <a:lnTo>
                      <a:pt x="1217" y="115"/>
                    </a:lnTo>
                    <a:lnTo>
                      <a:pt x="1217" y="114"/>
                    </a:lnTo>
                    <a:lnTo>
                      <a:pt x="1216" y="114"/>
                    </a:lnTo>
                    <a:lnTo>
                      <a:pt x="1214" y="112"/>
                    </a:lnTo>
                    <a:lnTo>
                      <a:pt x="1217" y="112"/>
                    </a:lnTo>
                    <a:lnTo>
                      <a:pt x="1220" y="112"/>
                    </a:lnTo>
                    <a:lnTo>
                      <a:pt x="1224" y="112"/>
                    </a:lnTo>
                    <a:lnTo>
                      <a:pt x="1229" y="112"/>
                    </a:lnTo>
                    <a:lnTo>
                      <a:pt x="1233" y="114"/>
                    </a:lnTo>
                    <a:lnTo>
                      <a:pt x="1237" y="114"/>
                    </a:lnTo>
                    <a:lnTo>
                      <a:pt x="1240" y="115"/>
                    </a:lnTo>
                    <a:lnTo>
                      <a:pt x="1245" y="115"/>
                    </a:lnTo>
                    <a:lnTo>
                      <a:pt x="1249" y="115"/>
                    </a:lnTo>
                    <a:lnTo>
                      <a:pt x="1247" y="115"/>
                    </a:lnTo>
                    <a:lnTo>
                      <a:pt x="1246" y="114"/>
                    </a:lnTo>
                    <a:lnTo>
                      <a:pt x="1243" y="112"/>
                    </a:lnTo>
                    <a:lnTo>
                      <a:pt x="1240" y="112"/>
                    </a:lnTo>
                    <a:lnTo>
                      <a:pt x="1236" y="111"/>
                    </a:lnTo>
                    <a:lnTo>
                      <a:pt x="1232" y="110"/>
                    </a:lnTo>
                    <a:lnTo>
                      <a:pt x="1229" y="108"/>
                    </a:lnTo>
                    <a:lnTo>
                      <a:pt x="1227" y="108"/>
                    </a:lnTo>
                    <a:lnTo>
                      <a:pt x="1226" y="107"/>
                    </a:lnTo>
                    <a:lnTo>
                      <a:pt x="1224" y="105"/>
                    </a:lnTo>
                    <a:lnTo>
                      <a:pt x="1223" y="104"/>
                    </a:lnTo>
                    <a:lnTo>
                      <a:pt x="1227" y="105"/>
                    </a:lnTo>
                    <a:lnTo>
                      <a:pt x="1232" y="105"/>
                    </a:lnTo>
                    <a:lnTo>
                      <a:pt x="1236" y="107"/>
                    </a:lnTo>
                    <a:lnTo>
                      <a:pt x="1240" y="107"/>
                    </a:lnTo>
                    <a:lnTo>
                      <a:pt x="1243" y="107"/>
                    </a:lnTo>
                    <a:lnTo>
                      <a:pt x="1247" y="105"/>
                    </a:lnTo>
                    <a:lnTo>
                      <a:pt x="1252" y="105"/>
                    </a:lnTo>
                    <a:lnTo>
                      <a:pt x="1255" y="104"/>
                    </a:lnTo>
                    <a:lnTo>
                      <a:pt x="1256" y="104"/>
                    </a:lnTo>
                    <a:lnTo>
                      <a:pt x="1258" y="104"/>
                    </a:lnTo>
                    <a:lnTo>
                      <a:pt x="1260" y="105"/>
                    </a:lnTo>
                    <a:lnTo>
                      <a:pt x="1263" y="107"/>
                    </a:lnTo>
                    <a:lnTo>
                      <a:pt x="1265" y="107"/>
                    </a:lnTo>
                    <a:lnTo>
                      <a:pt x="1266" y="107"/>
                    </a:lnTo>
                    <a:lnTo>
                      <a:pt x="1268" y="107"/>
                    </a:lnTo>
                    <a:lnTo>
                      <a:pt x="1268" y="107"/>
                    </a:lnTo>
                    <a:lnTo>
                      <a:pt x="1269" y="107"/>
                    </a:lnTo>
                    <a:lnTo>
                      <a:pt x="1271" y="107"/>
                    </a:lnTo>
                    <a:lnTo>
                      <a:pt x="1271" y="107"/>
                    </a:lnTo>
                    <a:lnTo>
                      <a:pt x="1272" y="107"/>
                    </a:lnTo>
                    <a:lnTo>
                      <a:pt x="1269" y="107"/>
                    </a:lnTo>
                    <a:lnTo>
                      <a:pt x="1266" y="105"/>
                    </a:lnTo>
                    <a:lnTo>
                      <a:pt x="1263" y="105"/>
                    </a:lnTo>
                    <a:lnTo>
                      <a:pt x="1260" y="104"/>
                    </a:lnTo>
                    <a:lnTo>
                      <a:pt x="1260" y="104"/>
                    </a:lnTo>
                    <a:lnTo>
                      <a:pt x="1259" y="104"/>
                    </a:lnTo>
                    <a:lnTo>
                      <a:pt x="1258" y="104"/>
                    </a:lnTo>
                    <a:lnTo>
                      <a:pt x="1258" y="102"/>
                    </a:lnTo>
                    <a:lnTo>
                      <a:pt x="1258" y="101"/>
                    </a:lnTo>
                    <a:lnTo>
                      <a:pt x="1256" y="101"/>
                    </a:lnTo>
                    <a:lnTo>
                      <a:pt x="1256" y="99"/>
                    </a:lnTo>
                    <a:lnTo>
                      <a:pt x="1255" y="99"/>
                    </a:lnTo>
                    <a:lnTo>
                      <a:pt x="1253" y="99"/>
                    </a:lnTo>
                    <a:lnTo>
                      <a:pt x="1252" y="99"/>
                    </a:lnTo>
                    <a:lnTo>
                      <a:pt x="1250" y="98"/>
                    </a:lnTo>
                    <a:lnTo>
                      <a:pt x="1249" y="98"/>
                    </a:lnTo>
                    <a:lnTo>
                      <a:pt x="1247" y="97"/>
                    </a:lnTo>
                    <a:lnTo>
                      <a:pt x="1247" y="95"/>
                    </a:lnTo>
                    <a:lnTo>
                      <a:pt x="1247" y="95"/>
                    </a:lnTo>
                    <a:lnTo>
                      <a:pt x="1249" y="94"/>
                    </a:lnTo>
                    <a:lnTo>
                      <a:pt x="1250" y="94"/>
                    </a:lnTo>
                    <a:lnTo>
                      <a:pt x="1252" y="92"/>
                    </a:lnTo>
                    <a:lnTo>
                      <a:pt x="1250" y="92"/>
                    </a:lnTo>
                    <a:lnTo>
                      <a:pt x="1250" y="91"/>
                    </a:lnTo>
                    <a:lnTo>
                      <a:pt x="1249" y="89"/>
                    </a:lnTo>
                    <a:lnTo>
                      <a:pt x="1250" y="89"/>
                    </a:lnTo>
                    <a:lnTo>
                      <a:pt x="1250" y="89"/>
                    </a:lnTo>
                    <a:lnTo>
                      <a:pt x="1252" y="88"/>
                    </a:lnTo>
                    <a:lnTo>
                      <a:pt x="1253" y="88"/>
                    </a:lnTo>
                    <a:lnTo>
                      <a:pt x="1253" y="87"/>
                    </a:lnTo>
                    <a:lnTo>
                      <a:pt x="1255" y="87"/>
                    </a:lnTo>
                    <a:lnTo>
                      <a:pt x="1255" y="87"/>
                    </a:lnTo>
                    <a:lnTo>
                      <a:pt x="1253" y="85"/>
                    </a:lnTo>
                    <a:lnTo>
                      <a:pt x="1252" y="85"/>
                    </a:lnTo>
                    <a:lnTo>
                      <a:pt x="1252" y="85"/>
                    </a:lnTo>
                    <a:lnTo>
                      <a:pt x="1252" y="85"/>
                    </a:lnTo>
                    <a:lnTo>
                      <a:pt x="1252" y="85"/>
                    </a:lnTo>
                    <a:lnTo>
                      <a:pt x="1252" y="85"/>
                    </a:lnTo>
                    <a:lnTo>
                      <a:pt x="1253" y="85"/>
                    </a:lnTo>
                    <a:lnTo>
                      <a:pt x="1253" y="85"/>
                    </a:lnTo>
                    <a:lnTo>
                      <a:pt x="1256" y="85"/>
                    </a:lnTo>
                    <a:lnTo>
                      <a:pt x="1258" y="85"/>
                    </a:lnTo>
                    <a:lnTo>
                      <a:pt x="1259" y="84"/>
                    </a:lnTo>
                    <a:lnTo>
                      <a:pt x="1260" y="82"/>
                    </a:lnTo>
                    <a:lnTo>
                      <a:pt x="1262" y="81"/>
                    </a:lnTo>
                    <a:lnTo>
                      <a:pt x="1263" y="79"/>
                    </a:lnTo>
                    <a:lnTo>
                      <a:pt x="1266" y="79"/>
                    </a:lnTo>
                    <a:lnTo>
                      <a:pt x="1268" y="79"/>
                    </a:lnTo>
                    <a:lnTo>
                      <a:pt x="1271" y="79"/>
                    </a:lnTo>
                    <a:lnTo>
                      <a:pt x="1273" y="79"/>
                    </a:lnTo>
                    <a:lnTo>
                      <a:pt x="1276" y="79"/>
                    </a:lnTo>
                    <a:lnTo>
                      <a:pt x="1278" y="79"/>
                    </a:lnTo>
                    <a:lnTo>
                      <a:pt x="1281" y="79"/>
                    </a:lnTo>
                    <a:lnTo>
                      <a:pt x="1281" y="79"/>
                    </a:lnTo>
                    <a:lnTo>
                      <a:pt x="1282" y="79"/>
                    </a:lnTo>
                    <a:lnTo>
                      <a:pt x="1284" y="79"/>
                    </a:lnTo>
                    <a:lnTo>
                      <a:pt x="1285" y="79"/>
                    </a:lnTo>
                    <a:lnTo>
                      <a:pt x="1285" y="79"/>
                    </a:lnTo>
                    <a:lnTo>
                      <a:pt x="1286" y="79"/>
                    </a:lnTo>
                    <a:lnTo>
                      <a:pt x="1288" y="79"/>
                    </a:lnTo>
                    <a:lnTo>
                      <a:pt x="1291" y="79"/>
                    </a:lnTo>
                    <a:lnTo>
                      <a:pt x="1295" y="81"/>
                    </a:lnTo>
                    <a:lnTo>
                      <a:pt x="1298" y="81"/>
                    </a:lnTo>
                    <a:lnTo>
                      <a:pt x="1299" y="81"/>
                    </a:lnTo>
                    <a:lnTo>
                      <a:pt x="1304" y="82"/>
                    </a:lnTo>
                    <a:lnTo>
                      <a:pt x="1307" y="82"/>
                    </a:lnTo>
                    <a:lnTo>
                      <a:pt x="1308" y="82"/>
                    </a:lnTo>
                    <a:lnTo>
                      <a:pt x="1311" y="82"/>
                    </a:lnTo>
                    <a:lnTo>
                      <a:pt x="1314" y="82"/>
                    </a:lnTo>
                    <a:lnTo>
                      <a:pt x="1317" y="82"/>
                    </a:lnTo>
                    <a:lnTo>
                      <a:pt x="1318" y="84"/>
                    </a:lnTo>
                    <a:lnTo>
                      <a:pt x="1321" y="84"/>
                    </a:lnTo>
                    <a:lnTo>
                      <a:pt x="1324" y="85"/>
                    </a:lnTo>
                    <a:lnTo>
                      <a:pt x="1327" y="87"/>
                    </a:lnTo>
                    <a:lnTo>
                      <a:pt x="1325" y="87"/>
                    </a:lnTo>
                    <a:lnTo>
                      <a:pt x="1324" y="85"/>
                    </a:lnTo>
                    <a:lnTo>
                      <a:pt x="1322" y="85"/>
                    </a:lnTo>
                    <a:lnTo>
                      <a:pt x="1321" y="87"/>
                    </a:lnTo>
                    <a:lnTo>
                      <a:pt x="1320" y="87"/>
                    </a:lnTo>
                    <a:lnTo>
                      <a:pt x="1318" y="88"/>
                    </a:lnTo>
                    <a:lnTo>
                      <a:pt x="1317" y="89"/>
                    </a:lnTo>
                    <a:lnTo>
                      <a:pt x="1315" y="89"/>
                    </a:lnTo>
                    <a:lnTo>
                      <a:pt x="1311" y="89"/>
                    </a:lnTo>
                    <a:lnTo>
                      <a:pt x="1307" y="91"/>
                    </a:lnTo>
                    <a:lnTo>
                      <a:pt x="1304" y="91"/>
                    </a:lnTo>
                    <a:lnTo>
                      <a:pt x="1302" y="91"/>
                    </a:lnTo>
                    <a:lnTo>
                      <a:pt x="1299" y="92"/>
                    </a:lnTo>
                    <a:lnTo>
                      <a:pt x="1298" y="92"/>
                    </a:lnTo>
                    <a:lnTo>
                      <a:pt x="1301" y="92"/>
                    </a:lnTo>
                    <a:lnTo>
                      <a:pt x="1305" y="92"/>
                    </a:lnTo>
                    <a:lnTo>
                      <a:pt x="1308" y="92"/>
                    </a:lnTo>
                    <a:lnTo>
                      <a:pt x="1312" y="92"/>
                    </a:lnTo>
                    <a:lnTo>
                      <a:pt x="1317" y="92"/>
                    </a:lnTo>
                    <a:lnTo>
                      <a:pt x="1321" y="92"/>
                    </a:lnTo>
                    <a:lnTo>
                      <a:pt x="1325" y="91"/>
                    </a:lnTo>
                    <a:lnTo>
                      <a:pt x="1330" y="89"/>
                    </a:lnTo>
                    <a:lnTo>
                      <a:pt x="1330" y="91"/>
                    </a:lnTo>
                    <a:lnTo>
                      <a:pt x="1328" y="92"/>
                    </a:lnTo>
                    <a:lnTo>
                      <a:pt x="1328" y="94"/>
                    </a:lnTo>
                    <a:lnTo>
                      <a:pt x="1328" y="94"/>
                    </a:lnTo>
                    <a:lnTo>
                      <a:pt x="1327" y="95"/>
                    </a:lnTo>
                    <a:lnTo>
                      <a:pt x="1327" y="95"/>
                    </a:lnTo>
                    <a:lnTo>
                      <a:pt x="1331" y="94"/>
                    </a:lnTo>
                    <a:lnTo>
                      <a:pt x="1335" y="92"/>
                    </a:lnTo>
                    <a:lnTo>
                      <a:pt x="1341" y="92"/>
                    </a:lnTo>
                    <a:lnTo>
                      <a:pt x="1346" y="92"/>
                    </a:lnTo>
                    <a:lnTo>
                      <a:pt x="1348" y="92"/>
                    </a:lnTo>
                    <a:lnTo>
                      <a:pt x="1353" y="92"/>
                    </a:lnTo>
                    <a:lnTo>
                      <a:pt x="1359" y="92"/>
                    </a:lnTo>
                    <a:lnTo>
                      <a:pt x="1359" y="94"/>
                    </a:lnTo>
                    <a:lnTo>
                      <a:pt x="1360" y="94"/>
                    </a:lnTo>
                    <a:lnTo>
                      <a:pt x="1360" y="95"/>
                    </a:lnTo>
                    <a:lnTo>
                      <a:pt x="1360" y="97"/>
                    </a:lnTo>
                    <a:lnTo>
                      <a:pt x="1360" y="97"/>
                    </a:lnTo>
                    <a:lnTo>
                      <a:pt x="1360" y="98"/>
                    </a:lnTo>
                    <a:lnTo>
                      <a:pt x="1360" y="99"/>
                    </a:lnTo>
                    <a:lnTo>
                      <a:pt x="1359" y="102"/>
                    </a:lnTo>
                    <a:lnTo>
                      <a:pt x="1356" y="102"/>
                    </a:lnTo>
                    <a:lnTo>
                      <a:pt x="1354" y="104"/>
                    </a:lnTo>
                    <a:lnTo>
                      <a:pt x="1353" y="104"/>
                    </a:lnTo>
                    <a:lnTo>
                      <a:pt x="1351" y="104"/>
                    </a:lnTo>
                    <a:lnTo>
                      <a:pt x="1354" y="105"/>
                    </a:lnTo>
                    <a:lnTo>
                      <a:pt x="1357" y="105"/>
                    </a:lnTo>
                    <a:lnTo>
                      <a:pt x="1360" y="105"/>
                    </a:lnTo>
                    <a:lnTo>
                      <a:pt x="1363" y="105"/>
                    </a:lnTo>
                    <a:lnTo>
                      <a:pt x="1367" y="104"/>
                    </a:lnTo>
                    <a:lnTo>
                      <a:pt x="1370" y="104"/>
                    </a:lnTo>
                    <a:lnTo>
                      <a:pt x="1372" y="104"/>
                    </a:lnTo>
                    <a:lnTo>
                      <a:pt x="1373" y="104"/>
                    </a:lnTo>
                    <a:lnTo>
                      <a:pt x="1374" y="104"/>
                    </a:lnTo>
                    <a:lnTo>
                      <a:pt x="1377" y="104"/>
                    </a:lnTo>
                    <a:lnTo>
                      <a:pt x="1379" y="104"/>
                    </a:lnTo>
                    <a:lnTo>
                      <a:pt x="1380" y="102"/>
                    </a:lnTo>
                    <a:lnTo>
                      <a:pt x="1380" y="102"/>
                    </a:lnTo>
                    <a:lnTo>
                      <a:pt x="1380" y="102"/>
                    </a:lnTo>
                    <a:lnTo>
                      <a:pt x="1380" y="101"/>
                    </a:lnTo>
                    <a:lnTo>
                      <a:pt x="1380" y="101"/>
                    </a:lnTo>
                    <a:lnTo>
                      <a:pt x="1379" y="99"/>
                    </a:lnTo>
                    <a:lnTo>
                      <a:pt x="1379" y="99"/>
                    </a:lnTo>
                    <a:lnTo>
                      <a:pt x="1382" y="99"/>
                    </a:lnTo>
                    <a:lnTo>
                      <a:pt x="1383" y="99"/>
                    </a:lnTo>
                    <a:lnTo>
                      <a:pt x="1389" y="99"/>
                    </a:lnTo>
                    <a:lnTo>
                      <a:pt x="1392" y="99"/>
                    </a:lnTo>
                    <a:lnTo>
                      <a:pt x="1395" y="99"/>
                    </a:lnTo>
                    <a:lnTo>
                      <a:pt x="1397" y="99"/>
                    </a:lnTo>
                    <a:lnTo>
                      <a:pt x="1400" y="99"/>
                    </a:lnTo>
                    <a:lnTo>
                      <a:pt x="1403" y="99"/>
                    </a:lnTo>
                    <a:lnTo>
                      <a:pt x="1406" y="99"/>
                    </a:lnTo>
                    <a:lnTo>
                      <a:pt x="1412" y="99"/>
                    </a:lnTo>
                    <a:lnTo>
                      <a:pt x="1418" y="99"/>
                    </a:lnTo>
                    <a:lnTo>
                      <a:pt x="1421" y="99"/>
                    </a:lnTo>
                    <a:lnTo>
                      <a:pt x="1423" y="99"/>
                    </a:lnTo>
                    <a:lnTo>
                      <a:pt x="1425" y="99"/>
                    </a:lnTo>
                    <a:lnTo>
                      <a:pt x="1426" y="99"/>
                    </a:lnTo>
                    <a:lnTo>
                      <a:pt x="1429" y="99"/>
                    </a:lnTo>
                    <a:lnTo>
                      <a:pt x="1432" y="99"/>
                    </a:lnTo>
                    <a:lnTo>
                      <a:pt x="1434" y="99"/>
                    </a:lnTo>
                    <a:lnTo>
                      <a:pt x="1436" y="99"/>
                    </a:lnTo>
                    <a:lnTo>
                      <a:pt x="1444" y="101"/>
                    </a:lnTo>
                    <a:lnTo>
                      <a:pt x="1447" y="101"/>
                    </a:lnTo>
                    <a:lnTo>
                      <a:pt x="1449" y="102"/>
                    </a:lnTo>
                    <a:lnTo>
                      <a:pt x="1451" y="102"/>
                    </a:lnTo>
                    <a:lnTo>
                      <a:pt x="1454" y="104"/>
                    </a:lnTo>
                    <a:lnTo>
                      <a:pt x="1454" y="104"/>
                    </a:lnTo>
                    <a:lnTo>
                      <a:pt x="1455" y="102"/>
                    </a:lnTo>
                    <a:lnTo>
                      <a:pt x="1457" y="102"/>
                    </a:lnTo>
                    <a:lnTo>
                      <a:pt x="1458" y="102"/>
                    </a:lnTo>
                    <a:lnTo>
                      <a:pt x="1460" y="104"/>
                    </a:lnTo>
                    <a:lnTo>
                      <a:pt x="1461" y="104"/>
                    </a:lnTo>
                    <a:lnTo>
                      <a:pt x="1464" y="105"/>
                    </a:lnTo>
                    <a:lnTo>
                      <a:pt x="1465" y="105"/>
                    </a:lnTo>
                    <a:lnTo>
                      <a:pt x="1468" y="107"/>
                    </a:lnTo>
                    <a:lnTo>
                      <a:pt x="1467" y="107"/>
                    </a:lnTo>
                    <a:lnTo>
                      <a:pt x="1465" y="107"/>
                    </a:lnTo>
                    <a:lnTo>
                      <a:pt x="1468" y="107"/>
                    </a:lnTo>
                    <a:lnTo>
                      <a:pt x="1470" y="108"/>
                    </a:lnTo>
                    <a:lnTo>
                      <a:pt x="1471" y="110"/>
                    </a:lnTo>
                    <a:lnTo>
                      <a:pt x="1472" y="110"/>
                    </a:lnTo>
                    <a:lnTo>
                      <a:pt x="1474" y="110"/>
                    </a:lnTo>
                    <a:lnTo>
                      <a:pt x="1475" y="111"/>
                    </a:lnTo>
                    <a:lnTo>
                      <a:pt x="1477" y="111"/>
                    </a:lnTo>
                    <a:lnTo>
                      <a:pt x="1478" y="112"/>
                    </a:lnTo>
                    <a:lnTo>
                      <a:pt x="1480" y="112"/>
                    </a:lnTo>
                    <a:lnTo>
                      <a:pt x="1480" y="114"/>
                    </a:lnTo>
                    <a:lnTo>
                      <a:pt x="1481" y="115"/>
                    </a:lnTo>
                    <a:lnTo>
                      <a:pt x="1481" y="115"/>
                    </a:lnTo>
                    <a:lnTo>
                      <a:pt x="1483" y="115"/>
                    </a:lnTo>
                    <a:lnTo>
                      <a:pt x="1484" y="114"/>
                    </a:lnTo>
                    <a:lnTo>
                      <a:pt x="1484" y="114"/>
                    </a:lnTo>
                    <a:lnTo>
                      <a:pt x="1485" y="114"/>
                    </a:lnTo>
                    <a:lnTo>
                      <a:pt x="1487" y="112"/>
                    </a:lnTo>
                    <a:lnTo>
                      <a:pt x="1485" y="112"/>
                    </a:lnTo>
                    <a:lnTo>
                      <a:pt x="1484" y="112"/>
                    </a:lnTo>
                    <a:lnTo>
                      <a:pt x="1484" y="112"/>
                    </a:lnTo>
                    <a:lnTo>
                      <a:pt x="1483" y="111"/>
                    </a:lnTo>
                    <a:lnTo>
                      <a:pt x="1481" y="110"/>
                    </a:lnTo>
                    <a:lnTo>
                      <a:pt x="1484" y="111"/>
                    </a:lnTo>
                    <a:lnTo>
                      <a:pt x="1484" y="110"/>
                    </a:lnTo>
                    <a:lnTo>
                      <a:pt x="1483" y="110"/>
                    </a:lnTo>
                    <a:lnTo>
                      <a:pt x="1483" y="110"/>
                    </a:lnTo>
                    <a:lnTo>
                      <a:pt x="1481" y="110"/>
                    </a:lnTo>
                    <a:lnTo>
                      <a:pt x="1480" y="108"/>
                    </a:lnTo>
                    <a:lnTo>
                      <a:pt x="1480" y="108"/>
                    </a:lnTo>
                    <a:lnTo>
                      <a:pt x="1478" y="107"/>
                    </a:lnTo>
                    <a:lnTo>
                      <a:pt x="1480" y="107"/>
                    </a:lnTo>
                    <a:lnTo>
                      <a:pt x="1483" y="107"/>
                    </a:lnTo>
                    <a:lnTo>
                      <a:pt x="1483" y="108"/>
                    </a:lnTo>
                    <a:lnTo>
                      <a:pt x="1484" y="108"/>
                    </a:lnTo>
                    <a:lnTo>
                      <a:pt x="1484" y="110"/>
                    </a:lnTo>
                    <a:lnTo>
                      <a:pt x="1484" y="111"/>
                    </a:lnTo>
                    <a:lnTo>
                      <a:pt x="1485" y="111"/>
                    </a:lnTo>
                    <a:lnTo>
                      <a:pt x="1487" y="112"/>
                    </a:lnTo>
                    <a:lnTo>
                      <a:pt x="1490" y="114"/>
                    </a:lnTo>
                    <a:lnTo>
                      <a:pt x="1494" y="117"/>
                    </a:lnTo>
                    <a:lnTo>
                      <a:pt x="1496" y="118"/>
                    </a:lnTo>
                    <a:lnTo>
                      <a:pt x="1498" y="120"/>
                    </a:lnTo>
                    <a:lnTo>
                      <a:pt x="1500" y="120"/>
                    </a:lnTo>
                    <a:lnTo>
                      <a:pt x="1500" y="120"/>
                    </a:lnTo>
                    <a:lnTo>
                      <a:pt x="1501" y="120"/>
                    </a:lnTo>
                    <a:lnTo>
                      <a:pt x="1501" y="120"/>
                    </a:lnTo>
                    <a:lnTo>
                      <a:pt x="1503" y="120"/>
                    </a:lnTo>
                    <a:lnTo>
                      <a:pt x="1503" y="120"/>
                    </a:lnTo>
                    <a:lnTo>
                      <a:pt x="1504" y="120"/>
                    </a:lnTo>
                    <a:lnTo>
                      <a:pt x="1507" y="120"/>
                    </a:lnTo>
                    <a:lnTo>
                      <a:pt x="1507" y="120"/>
                    </a:lnTo>
                    <a:lnTo>
                      <a:pt x="1509" y="121"/>
                    </a:lnTo>
                    <a:lnTo>
                      <a:pt x="1510" y="123"/>
                    </a:lnTo>
                    <a:lnTo>
                      <a:pt x="1511" y="125"/>
                    </a:lnTo>
                    <a:lnTo>
                      <a:pt x="1511" y="125"/>
                    </a:lnTo>
                    <a:lnTo>
                      <a:pt x="1513" y="127"/>
                    </a:lnTo>
                    <a:lnTo>
                      <a:pt x="1510" y="127"/>
                    </a:lnTo>
                    <a:lnTo>
                      <a:pt x="1509" y="127"/>
                    </a:lnTo>
                    <a:lnTo>
                      <a:pt x="1504" y="125"/>
                    </a:lnTo>
                    <a:lnTo>
                      <a:pt x="1501" y="124"/>
                    </a:lnTo>
                    <a:lnTo>
                      <a:pt x="1497" y="123"/>
                    </a:lnTo>
                    <a:lnTo>
                      <a:pt x="1493" y="121"/>
                    </a:lnTo>
                    <a:lnTo>
                      <a:pt x="1488" y="121"/>
                    </a:lnTo>
                    <a:lnTo>
                      <a:pt x="1487" y="121"/>
                    </a:lnTo>
                    <a:lnTo>
                      <a:pt x="1485" y="121"/>
                    </a:lnTo>
                    <a:lnTo>
                      <a:pt x="1484" y="121"/>
                    </a:lnTo>
                    <a:lnTo>
                      <a:pt x="1481" y="121"/>
                    </a:lnTo>
                    <a:lnTo>
                      <a:pt x="1483" y="121"/>
                    </a:lnTo>
                    <a:lnTo>
                      <a:pt x="1485" y="121"/>
                    </a:lnTo>
                    <a:lnTo>
                      <a:pt x="1488" y="121"/>
                    </a:lnTo>
                    <a:lnTo>
                      <a:pt x="1490" y="123"/>
                    </a:lnTo>
                    <a:lnTo>
                      <a:pt x="1491" y="123"/>
                    </a:lnTo>
                    <a:lnTo>
                      <a:pt x="1493" y="123"/>
                    </a:lnTo>
                    <a:lnTo>
                      <a:pt x="1496" y="124"/>
                    </a:lnTo>
                    <a:lnTo>
                      <a:pt x="1497" y="125"/>
                    </a:lnTo>
                    <a:lnTo>
                      <a:pt x="1497" y="125"/>
                    </a:lnTo>
                    <a:lnTo>
                      <a:pt x="1498" y="125"/>
                    </a:lnTo>
                    <a:lnTo>
                      <a:pt x="1500" y="125"/>
                    </a:lnTo>
                    <a:lnTo>
                      <a:pt x="1501" y="125"/>
                    </a:lnTo>
                    <a:lnTo>
                      <a:pt x="1503" y="125"/>
                    </a:lnTo>
                    <a:lnTo>
                      <a:pt x="1503" y="127"/>
                    </a:lnTo>
                    <a:lnTo>
                      <a:pt x="1504" y="127"/>
                    </a:lnTo>
                    <a:lnTo>
                      <a:pt x="1504" y="127"/>
                    </a:lnTo>
                    <a:lnTo>
                      <a:pt x="1506" y="127"/>
                    </a:lnTo>
                    <a:lnTo>
                      <a:pt x="1506" y="127"/>
                    </a:lnTo>
                    <a:lnTo>
                      <a:pt x="1507" y="128"/>
                    </a:lnTo>
                    <a:lnTo>
                      <a:pt x="1510" y="128"/>
                    </a:lnTo>
                    <a:lnTo>
                      <a:pt x="1513" y="130"/>
                    </a:lnTo>
                    <a:lnTo>
                      <a:pt x="1514" y="130"/>
                    </a:lnTo>
                    <a:lnTo>
                      <a:pt x="1516" y="131"/>
                    </a:lnTo>
                    <a:lnTo>
                      <a:pt x="1516" y="131"/>
                    </a:lnTo>
                    <a:lnTo>
                      <a:pt x="1517" y="133"/>
                    </a:lnTo>
                    <a:lnTo>
                      <a:pt x="1517" y="133"/>
                    </a:lnTo>
                    <a:lnTo>
                      <a:pt x="1517" y="134"/>
                    </a:lnTo>
                    <a:lnTo>
                      <a:pt x="1516" y="136"/>
                    </a:lnTo>
                    <a:lnTo>
                      <a:pt x="1516" y="136"/>
                    </a:lnTo>
                    <a:lnTo>
                      <a:pt x="1516" y="137"/>
                    </a:lnTo>
                    <a:lnTo>
                      <a:pt x="1514" y="137"/>
                    </a:lnTo>
                    <a:lnTo>
                      <a:pt x="1514" y="138"/>
                    </a:lnTo>
                    <a:lnTo>
                      <a:pt x="1514" y="140"/>
                    </a:lnTo>
                    <a:lnTo>
                      <a:pt x="1513" y="140"/>
                    </a:lnTo>
                    <a:lnTo>
                      <a:pt x="1511" y="141"/>
                    </a:lnTo>
                    <a:lnTo>
                      <a:pt x="1510" y="141"/>
                    </a:lnTo>
                    <a:lnTo>
                      <a:pt x="1510" y="141"/>
                    </a:lnTo>
                    <a:lnTo>
                      <a:pt x="1509" y="143"/>
                    </a:lnTo>
                    <a:lnTo>
                      <a:pt x="1507" y="143"/>
                    </a:lnTo>
                    <a:lnTo>
                      <a:pt x="1506" y="143"/>
                    </a:lnTo>
                    <a:lnTo>
                      <a:pt x="1506" y="143"/>
                    </a:lnTo>
                    <a:lnTo>
                      <a:pt x="1504" y="143"/>
                    </a:lnTo>
                    <a:lnTo>
                      <a:pt x="1503" y="143"/>
                    </a:lnTo>
                    <a:lnTo>
                      <a:pt x="1503" y="144"/>
                    </a:lnTo>
                    <a:lnTo>
                      <a:pt x="1501" y="144"/>
                    </a:lnTo>
                    <a:lnTo>
                      <a:pt x="1501" y="146"/>
                    </a:lnTo>
                    <a:lnTo>
                      <a:pt x="1501" y="147"/>
                    </a:lnTo>
                    <a:lnTo>
                      <a:pt x="1501" y="147"/>
                    </a:lnTo>
                    <a:lnTo>
                      <a:pt x="1500" y="149"/>
                    </a:lnTo>
                    <a:lnTo>
                      <a:pt x="1498" y="149"/>
                    </a:lnTo>
                    <a:lnTo>
                      <a:pt x="1498" y="149"/>
                    </a:lnTo>
                    <a:lnTo>
                      <a:pt x="1497" y="149"/>
                    </a:lnTo>
                    <a:lnTo>
                      <a:pt x="1494" y="147"/>
                    </a:lnTo>
                    <a:lnTo>
                      <a:pt x="1494" y="147"/>
                    </a:lnTo>
                    <a:lnTo>
                      <a:pt x="1493" y="147"/>
                    </a:lnTo>
                    <a:lnTo>
                      <a:pt x="1491" y="150"/>
                    </a:lnTo>
                    <a:lnTo>
                      <a:pt x="1490" y="151"/>
                    </a:lnTo>
                    <a:lnTo>
                      <a:pt x="1488" y="151"/>
                    </a:lnTo>
                    <a:lnTo>
                      <a:pt x="1485" y="153"/>
                    </a:lnTo>
                    <a:lnTo>
                      <a:pt x="1484" y="153"/>
                    </a:lnTo>
                    <a:lnTo>
                      <a:pt x="1483" y="153"/>
                    </a:lnTo>
                    <a:lnTo>
                      <a:pt x="1478" y="153"/>
                    </a:lnTo>
                    <a:lnTo>
                      <a:pt x="1478" y="154"/>
                    </a:lnTo>
                    <a:lnTo>
                      <a:pt x="1480" y="154"/>
                    </a:lnTo>
                    <a:lnTo>
                      <a:pt x="1480" y="154"/>
                    </a:lnTo>
                    <a:lnTo>
                      <a:pt x="1481" y="156"/>
                    </a:lnTo>
                    <a:lnTo>
                      <a:pt x="1478" y="156"/>
                    </a:lnTo>
                    <a:lnTo>
                      <a:pt x="1477" y="156"/>
                    </a:lnTo>
                    <a:lnTo>
                      <a:pt x="1475" y="156"/>
                    </a:lnTo>
                    <a:lnTo>
                      <a:pt x="1472" y="156"/>
                    </a:lnTo>
                    <a:lnTo>
                      <a:pt x="1471" y="156"/>
                    </a:lnTo>
                    <a:lnTo>
                      <a:pt x="1470" y="156"/>
                    </a:lnTo>
                    <a:lnTo>
                      <a:pt x="1471" y="156"/>
                    </a:lnTo>
                    <a:lnTo>
                      <a:pt x="1471" y="157"/>
                    </a:lnTo>
                    <a:lnTo>
                      <a:pt x="1472" y="157"/>
                    </a:lnTo>
                    <a:lnTo>
                      <a:pt x="1474" y="157"/>
                    </a:lnTo>
                    <a:lnTo>
                      <a:pt x="1475" y="157"/>
                    </a:lnTo>
                    <a:lnTo>
                      <a:pt x="1475" y="157"/>
                    </a:lnTo>
                    <a:lnTo>
                      <a:pt x="1477" y="157"/>
                    </a:lnTo>
                    <a:lnTo>
                      <a:pt x="1478" y="159"/>
                    </a:lnTo>
                    <a:lnTo>
                      <a:pt x="1478" y="160"/>
                    </a:lnTo>
                    <a:lnTo>
                      <a:pt x="1478" y="160"/>
                    </a:lnTo>
                    <a:lnTo>
                      <a:pt x="1477" y="161"/>
                    </a:lnTo>
                    <a:lnTo>
                      <a:pt x="1477" y="161"/>
                    </a:lnTo>
                    <a:lnTo>
                      <a:pt x="1474" y="163"/>
                    </a:lnTo>
                    <a:lnTo>
                      <a:pt x="1472" y="164"/>
                    </a:lnTo>
                    <a:lnTo>
                      <a:pt x="1470" y="164"/>
                    </a:lnTo>
                    <a:lnTo>
                      <a:pt x="1468" y="166"/>
                    </a:lnTo>
                    <a:lnTo>
                      <a:pt x="1465" y="167"/>
                    </a:lnTo>
                    <a:lnTo>
                      <a:pt x="1465" y="167"/>
                    </a:lnTo>
                    <a:lnTo>
                      <a:pt x="1464" y="167"/>
                    </a:lnTo>
                    <a:lnTo>
                      <a:pt x="1462" y="169"/>
                    </a:lnTo>
                    <a:lnTo>
                      <a:pt x="1462" y="170"/>
                    </a:lnTo>
                    <a:lnTo>
                      <a:pt x="1462" y="170"/>
                    </a:lnTo>
                    <a:lnTo>
                      <a:pt x="1462" y="172"/>
                    </a:lnTo>
                    <a:lnTo>
                      <a:pt x="1462" y="172"/>
                    </a:lnTo>
                    <a:lnTo>
                      <a:pt x="1461" y="172"/>
                    </a:lnTo>
                    <a:lnTo>
                      <a:pt x="1460" y="173"/>
                    </a:lnTo>
                    <a:lnTo>
                      <a:pt x="1460" y="173"/>
                    </a:lnTo>
                    <a:lnTo>
                      <a:pt x="1458" y="173"/>
                    </a:lnTo>
                    <a:lnTo>
                      <a:pt x="1457" y="173"/>
                    </a:lnTo>
                    <a:lnTo>
                      <a:pt x="1455" y="173"/>
                    </a:lnTo>
                    <a:lnTo>
                      <a:pt x="1452" y="173"/>
                    </a:lnTo>
                    <a:lnTo>
                      <a:pt x="1449" y="173"/>
                    </a:lnTo>
                    <a:lnTo>
                      <a:pt x="1448" y="173"/>
                    </a:lnTo>
                    <a:lnTo>
                      <a:pt x="1447" y="173"/>
                    </a:lnTo>
                    <a:lnTo>
                      <a:pt x="1445" y="174"/>
                    </a:lnTo>
                    <a:lnTo>
                      <a:pt x="1445" y="174"/>
                    </a:lnTo>
                    <a:lnTo>
                      <a:pt x="1442" y="176"/>
                    </a:lnTo>
                    <a:lnTo>
                      <a:pt x="1442" y="176"/>
                    </a:lnTo>
                    <a:lnTo>
                      <a:pt x="1441" y="177"/>
                    </a:lnTo>
                    <a:lnTo>
                      <a:pt x="1441" y="177"/>
                    </a:lnTo>
                    <a:lnTo>
                      <a:pt x="1441" y="179"/>
                    </a:lnTo>
                    <a:lnTo>
                      <a:pt x="1441" y="180"/>
                    </a:lnTo>
                    <a:lnTo>
                      <a:pt x="1441" y="180"/>
                    </a:lnTo>
                    <a:lnTo>
                      <a:pt x="1439" y="182"/>
                    </a:lnTo>
                    <a:lnTo>
                      <a:pt x="1439" y="182"/>
                    </a:lnTo>
                    <a:lnTo>
                      <a:pt x="1438" y="183"/>
                    </a:lnTo>
                    <a:lnTo>
                      <a:pt x="1436" y="182"/>
                    </a:lnTo>
                    <a:lnTo>
                      <a:pt x="1435" y="182"/>
                    </a:lnTo>
                    <a:lnTo>
                      <a:pt x="1434" y="182"/>
                    </a:lnTo>
                    <a:lnTo>
                      <a:pt x="1432" y="182"/>
                    </a:lnTo>
                    <a:lnTo>
                      <a:pt x="1432" y="182"/>
                    </a:lnTo>
                    <a:lnTo>
                      <a:pt x="1431" y="183"/>
                    </a:lnTo>
                    <a:lnTo>
                      <a:pt x="1431" y="183"/>
                    </a:lnTo>
                    <a:lnTo>
                      <a:pt x="1431" y="185"/>
                    </a:lnTo>
                    <a:lnTo>
                      <a:pt x="1431" y="186"/>
                    </a:lnTo>
                    <a:lnTo>
                      <a:pt x="1431" y="187"/>
                    </a:lnTo>
                    <a:lnTo>
                      <a:pt x="1432" y="187"/>
                    </a:lnTo>
                    <a:lnTo>
                      <a:pt x="1432" y="187"/>
                    </a:lnTo>
                    <a:lnTo>
                      <a:pt x="1432" y="189"/>
                    </a:lnTo>
                    <a:lnTo>
                      <a:pt x="1432" y="189"/>
                    </a:lnTo>
                    <a:lnTo>
                      <a:pt x="1431" y="190"/>
                    </a:lnTo>
                    <a:lnTo>
                      <a:pt x="1429" y="192"/>
                    </a:lnTo>
                    <a:lnTo>
                      <a:pt x="1428" y="193"/>
                    </a:lnTo>
                    <a:lnTo>
                      <a:pt x="1426" y="195"/>
                    </a:lnTo>
                    <a:lnTo>
                      <a:pt x="1423" y="195"/>
                    </a:lnTo>
                    <a:lnTo>
                      <a:pt x="1422" y="196"/>
                    </a:lnTo>
                    <a:lnTo>
                      <a:pt x="1423" y="196"/>
                    </a:lnTo>
                    <a:lnTo>
                      <a:pt x="1426" y="196"/>
                    </a:lnTo>
                    <a:lnTo>
                      <a:pt x="1429" y="195"/>
                    </a:lnTo>
                    <a:lnTo>
                      <a:pt x="1432" y="195"/>
                    </a:lnTo>
                    <a:lnTo>
                      <a:pt x="1434" y="193"/>
                    </a:lnTo>
                    <a:lnTo>
                      <a:pt x="1435" y="192"/>
                    </a:lnTo>
                    <a:lnTo>
                      <a:pt x="1436" y="192"/>
                    </a:lnTo>
                    <a:lnTo>
                      <a:pt x="1438" y="190"/>
                    </a:lnTo>
                    <a:lnTo>
                      <a:pt x="1438" y="189"/>
                    </a:lnTo>
                    <a:lnTo>
                      <a:pt x="1438" y="189"/>
                    </a:lnTo>
                    <a:lnTo>
                      <a:pt x="1436" y="186"/>
                    </a:lnTo>
                    <a:lnTo>
                      <a:pt x="1436" y="186"/>
                    </a:lnTo>
                    <a:lnTo>
                      <a:pt x="1436" y="185"/>
                    </a:lnTo>
                    <a:lnTo>
                      <a:pt x="1438" y="185"/>
                    </a:lnTo>
                    <a:lnTo>
                      <a:pt x="1441" y="185"/>
                    </a:lnTo>
                    <a:lnTo>
                      <a:pt x="1442" y="185"/>
                    </a:lnTo>
                    <a:lnTo>
                      <a:pt x="1444" y="185"/>
                    </a:lnTo>
                    <a:lnTo>
                      <a:pt x="1447" y="185"/>
                    </a:lnTo>
                    <a:lnTo>
                      <a:pt x="1448" y="185"/>
                    </a:lnTo>
                    <a:lnTo>
                      <a:pt x="1449" y="185"/>
                    </a:lnTo>
                    <a:lnTo>
                      <a:pt x="1451" y="185"/>
                    </a:lnTo>
                    <a:lnTo>
                      <a:pt x="1452" y="185"/>
                    </a:lnTo>
                    <a:lnTo>
                      <a:pt x="1455" y="185"/>
                    </a:lnTo>
                    <a:lnTo>
                      <a:pt x="1458" y="185"/>
                    </a:lnTo>
                    <a:lnTo>
                      <a:pt x="1460" y="185"/>
                    </a:lnTo>
                    <a:lnTo>
                      <a:pt x="1461" y="185"/>
                    </a:lnTo>
                    <a:lnTo>
                      <a:pt x="1462" y="185"/>
                    </a:lnTo>
                    <a:lnTo>
                      <a:pt x="1464" y="185"/>
                    </a:lnTo>
                    <a:lnTo>
                      <a:pt x="1467" y="185"/>
                    </a:lnTo>
                    <a:lnTo>
                      <a:pt x="1468" y="185"/>
                    </a:lnTo>
                    <a:lnTo>
                      <a:pt x="1470" y="185"/>
                    </a:lnTo>
                    <a:lnTo>
                      <a:pt x="1470" y="185"/>
                    </a:lnTo>
                    <a:lnTo>
                      <a:pt x="1471" y="183"/>
                    </a:lnTo>
                    <a:lnTo>
                      <a:pt x="1471" y="183"/>
                    </a:lnTo>
                    <a:lnTo>
                      <a:pt x="1470" y="182"/>
                    </a:lnTo>
                    <a:lnTo>
                      <a:pt x="1478" y="182"/>
                    </a:lnTo>
                    <a:lnTo>
                      <a:pt x="1480" y="182"/>
                    </a:lnTo>
                    <a:lnTo>
                      <a:pt x="1481" y="182"/>
                    </a:lnTo>
                    <a:lnTo>
                      <a:pt x="1484" y="180"/>
                    </a:lnTo>
                    <a:lnTo>
                      <a:pt x="1487" y="179"/>
                    </a:lnTo>
                    <a:lnTo>
                      <a:pt x="1488" y="179"/>
                    </a:lnTo>
                    <a:lnTo>
                      <a:pt x="1490" y="179"/>
                    </a:lnTo>
                    <a:lnTo>
                      <a:pt x="1488" y="179"/>
                    </a:lnTo>
                    <a:lnTo>
                      <a:pt x="1487" y="179"/>
                    </a:lnTo>
                    <a:lnTo>
                      <a:pt x="1487" y="179"/>
                    </a:lnTo>
                    <a:lnTo>
                      <a:pt x="1485" y="177"/>
                    </a:lnTo>
                    <a:lnTo>
                      <a:pt x="1485" y="177"/>
                    </a:lnTo>
                    <a:lnTo>
                      <a:pt x="1485" y="177"/>
                    </a:lnTo>
                    <a:lnTo>
                      <a:pt x="1484" y="176"/>
                    </a:lnTo>
                    <a:lnTo>
                      <a:pt x="1487" y="176"/>
                    </a:lnTo>
                    <a:lnTo>
                      <a:pt x="1490" y="177"/>
                    </a:lnTo>
                    <a:lnTo>
                      <a:pt x="1494" y="177"/>
                    </a:lnTo>
                    <a:lnTo>
                      <a:pt x="1497" y="176"/>
                    </a:lnTo>
                    <a:lnTo>
                      <a:pt x="1500" y="176"/>
                    </a:lnTo>
                    <a:lnTo>
                      <a:pt x="1503" y="174"/>
                    </a:lnTo>
                    <a:lnTo>
                      <a:pt x="1510" y="173"/>
                    </a:lnTo>
                    <a:lnTo>
                      <a:pt x="1509" y="172"/>
                    </a:lnTo>
                    <a:lnTo>
                      <a:pt x="1507" y="172"/>
                    </a:lnTo>
                    <a:lnTo>
                      <a:pt x="1506" y="170"/>
                    </a:lnTo>
                    <a:lnTo>
                      <a:pt x="1504" y="170"/>
                    </a:lnTo>
                    <a:lnTo>
                      <a:pt x="1503" y="170"/>
                    </a:lnTo>
                    <a:lnTo>
                      <a:pt x="1501" y="172"/>
                    </a:lnTo>
                    <a:lnTo>
                      <a:pt x="1497" y="172"/>
                    </a:lnTo>
                    <a:lnTo>
                      <a:pt x="1493" y="173"/>
                    </a:lnTo>
                    <a:lnTo>
                      <a:pt x="1491" y="173"/>
                    </a:lnTo>
                    <a:lnTo>
                      <a:pt x="1490" y="173"/>
                    </a:lnTo>
                    <a:lnTo>
                      <a:pt x="1487" y="173"/>
                    </a:lnTo>
                    <a:lnTo>
                      <a:pt x="1485" y="172"/>
                    </a:lnTo>
                    <a:lnTo>
                      <a:pt x="1485" y="172"/>
                    </a:lnTo>
                    <a:lnTo>
                      <a:pt x="1484" y="170"/>
                    </a:lnTo>
                    <a:lnTo>
                      <a:pt x="1485" y="170"/>
                    </a:lnTo>
                    <a:lnTo>
                      <a:pt x="1485" y="169"/>
                    </a:lnTo>
                    <a:lnTo>
                      <a:pt x="1485" y="169"/>
                    </a:lnTo>
                    <a:lnTo>
                      <a:pt x="1485" y="167"/>
                    </a:lnTo>
                    <a:lnTo>
                      <a:pt x="1485" y="167"/>
                    </a:lnTo>
                    <a:lnTo>
                      <a:pt x="1485" y="166"/>
                    </a:lnTo>
                    <a:lnTo>
                      <a:pt x="1485" y="166"/>
                    </a:lnTo>
                    <a:lnTo>
                      <a:pt x="1487" y="164"/>
                    </a:lnTo>
                    <a:lnTo>
                      <a:pt x="1488" y="164"/>
                    </a:lnTo>
                    <a:lnTo>
                      <a:pt x="1490" y="164"/>
                    </a:lnTo>
                    <a:lnTo>
                      <a:pt x="1493" y="164"/>
                    </a:lnTo>
                    <a:lnTo>
                      <a:pt x="1496" y="164"/>
                    </a:lnTo>
                    <a:lnTo>
                      <a:pt x="1497" y="164"/>
                    </a:lnTo>
                    <a:lnTo>
                      <a:pt x="1498" y="164"/>
                    </a:lnTo>
                    <a:lnTo>
                      <a:pt x="1500" y="164"/>
                    </a:lnTo>
                    <a:lnTo>
                      <a:pt x="1501" y="166"/>
                    </a:lnTo>
                    <a:lnTo>
                      <a:pt x="1503" y="166"/>
                    </a:lnTo>
                    <a:lnTo>
                      <a:pt x="1504" y="167"/>
                    </a:lnTo>
                    <a:lnTo>
                      <a:pt x="1507" y="167"/>
                    </a:lnTo>
                    <a:lnTo>
                      <a:pt x="1509" y="167"/>
                    </a:lnTo>
                    <a:lnTo>
                      <a:pt x="1509" y="167"/>
                    </a:lnTo>
                    <a:lnTo>
                      <a:pt x="1509" y="166"/>
                    </a:lnTo>
                    <a:lnTo>
                      <a:pt x="1510" y="166"/>
                    </a:lnTo>
                    <a:lnTo>
                      <a:pt x="1510" y="164"/>
                    </a:lnTo>
                    <a:lnTo>
                      <a:pt x="1510" y="164"/>
                    </a:lnTo>
                    <a:lnTo>
                      <a:pt x="1510" y="163"/>
                    </a:lnTo>
                    <a:lnTo>
                      <a:pt x="1511" y="163"/>
                    </a:lnTo>
                    <a:lnTo>
                      <a:pt x="1513" y="164"/>
                    </a:lnTo>
                    <a:lnTo>
                      <a:pt x="1514" y="164"/>
                    </a:lnTo>
                    <a:lnTo>
                      <a:pt x="1514" y="164"/>
                    </a:lnTo>
                    <a:lnTo>
                      <a:pt x="1513" y="164"/>
                    </a:lnTo>
                    <a:lnTo>
                      <a:pt x="1513" y="166"/>
                    </a:lnTo>
                    <a:lnTo>
                      <a:pt x="1513" y="166"/>
                    </a:lnTo>
                    <a:lnTo>
                      <a:pt x="1514" y="167"/>
                    </a:lnTo>
                    <a:lnTo>
                      <a:pt x="1514" y="167"/>
                    </a:lnTo>
                    <a:lnTo>
                      <a:pt x="1516" y="169"/>
                    </a:lnTo>
                    <a:lnTo>
                      <a:pt x="1517" y="169"/>
                    </a:lnTo>
                    <a:lnTo>
                      <a:pt x="1520" y="170"/>
                    </a:lnTo>
                    <a:lnTo>
                      <a:pt x="1523" y="172"/>
                    </a:lnTo>
                    <a:lnTo>
                      <a:pt x="1524" y="172"/>
                    </a:lnTo>
                    <a:lnTo>
                      <a:pt x="1524" y="173"/>
                    </a:lnTo>
                    <a:lnTo>
                      <a:pt x="1526" y="173"/>
                    </a:lnTo>
                    <a:lnTo>
                      <a:pt x="1527" y="173"/>
                    </a:lnTo>
                    <a:lnTo>
                      <a:pt x="1529" y="173"/>
                    </a:lnTo>
                    <a:lnTo>
                      <a:pt x="1532" y="173"/>
                    </a:lnTo>
                    <a:lnTo>
                      <a:pt x="1534" y="173"/>
                    </a:lnTo>
                    <a:lnTo>
                      <a:pt x="1537" y="173"/>
                    </a:lnTo>
                    <a:lnTo>
                      <a:pt x="1540" y="173"/>
                    </a:lnTo>
                    <a:lnTo>
                      <a:pt x="1543" y="173"/>
                    </a:lnTo>
                    <a:lnTo>
                      <a:pt x="1546" y="172"/>
                    </a:lnTo>
                    <a:lnTo>
                      <a:pt x="1546" y="172"/>
                    </a:lnTo>
                    <a:lnTo>
                      <a:pt x="1547" y="170"/>
                    </a:lnTo>
                    <a:lnTo>
                      <a:pt x="1546" y="170"/>
                    </a:lnTo>
                    <a:lnTo>
                      <a:pt x="1545" y="169"/>
                    </a:lnTo>
                    <a:lnTo>
                      <a:pt x="1543" y="167"/>
                    </a:lnTo>
                    <a:lnTo>
                      <a:pt x="1542" y="167"/>
                    </a:lnTo>
                    <a:lnTo>
                      <a:pt x="1542" y="166"/>
                    </a:lnTo>
                    <a:lnTo>
                      <a:pt x="1542" y="166"/>
                    </a:lnTo>
                    <a:lnTo>
                      <a:pt x="1540" y="164"/>
                    </a:lnTo>
                    <a:lnTo>
                      <a:pt x="1543" y="166"/>
                    </a:lnTo>
                    <a:lnTo>
                      <a:pt x="1546" y="167"/>
                    </a:lnTo>
                    <a:lnTo>
                      <a:pt x="1550" y="169"/>
                    </a:lnTo>
                    <a:lnTo>
                      <a:pt x="1553" y="170"/>
                    </a:lnTo>
                    <a:lnTo>
                      <a:pt x="1555" y="172"/>
                    </a:lnTo>
                    <a:lnTo>
                      <a:pt x="1556" y="172"/>
                    </a:lnTo>
                    <a:lnTo>
                      <a:pt x="1558" y="173"/>
                    </a:lnTo>
                    <a:lnTo>
                      <a:pt x="1559" y="174"/>
                    </a:lnTo>
                    <a:lnTo>
                      <a:pt x="1559" y="174"/>
                    </a:lnTo>
                    <a:lnTo>
                      <a:pt x="1560" y="176"/>
                    </a:lnTo>
                    <a:lnTo>
                      <a:pt x="1560" y="177"/>
                    </a:lnTo>
                    <a:lnTo>
                      <a:pt x="1560" y="177"/>
                    </a:lnTo>
                    <a:lnTo>
                      <a:pt x="1560" y="179"/>
                    </a:lnTo>
                    <a:lnTo>
                      <a:pt x="1562" y="179"/>
                    </a:lnTo>
                    <a:lnTo>
                      <a:pt x="1563" y="179"/>
                    </a:lnTo>
                    <a:lnTo>
                      <a:pt x="1565" y="179"/>
                    </a:lnTo>
                    <a:lnTo>
                      <a:pt x="1566" y="180"/>
                    </a:lnTo>
                    <a:lnTo>
                      <a:pt x="1568" y="180"/>
                    </a:lnTo>
                    <a:lnTo>
                      <a:pt x="1569" y="182"/>
                    </a:lnTo>
                    <a:lnTo>
                      <a:pt x="1571" y="182"/>
                    </a:lnTo>
                    <a:lnTo>
                      <a:pt x="1571" y="182"/>
                    </a:lnTo>
                    <a:lnTo>
                      <a:pt x="1572" y="182"/>
                    </a:lnTo>
                    <a:lnTo>
                      <a:pt x="1573" y="182"/>
                    </a:lnTo>
                    <a:lnTo>
                      <a:pt x="1575" y="182"/>
                    </a:lnTo>
                    <a:lnTo>
                      <a:pt x="1573" y="182"/>
                    </a:lnTo>
                    <a:lnTo>
                      <a:pt x="1572" y="182"/>
                    </a:lnTo>
                    <a:lnTo>
                      <a:pt x="1572" y="180"/>
                    </a:lnTo>
                    <a:lnTo>
                      <a:pt x="1571" y="180"/>
                    </a:lnTo>
                    <a:lnTo>
                      <a:pt x="1566" y="177"/>
                    </a:lnTo>
                    <a:lnTo>
                      <a:pt x="1565" y="177"/>
                    </a:lnTo>
                    <a:lnTo>
                      <a:pt x="1565" y="176"/>
                    </a:lnTo>
                    <a:lnTo>
                      <a:pt x="1572" y="174"/>
                    </a:lnTo>
                    <a:lnTo>
                      <a:pt x="1579" y="174"/>
                    </a:lnTo>
                    <a:lnTo>
                      <a:pt x="1586" y="173"/>
                    </a:lnTo>
                    <a:lnTo>
                      <a:pt x="1595" y="173"/>
                    </a:lnTo>
                    <a:lnTo>
                      <a:pt x="1602" y="173"/>
                    </a:lnTo>
                    <a:lnTo>
                      <a:pt x="1611" y="173"/>
                    </a:lnTo>
                    <a:lnTo>
                      <a:pt x="1618" y="173"/>
                    </a:lnTo>
                    <a:lnTo>
                      <a:pt x="1627" y="173"/>
                    </a:lnTo>
                    <a:lnTo>
                      <a:pt x="1628" y="173"/>
                    </a:lnTo>
                    <a:lnTo>
                      <a:pt x="1631" y="173"/>
                    </a:lnTo>
                    <a:lnTo>
                      <a:pt x="1633" y="173"/>
                    </a:lnTo>
                    <a:lnTo>
                      <a:pt x="1635" y="173"/>
                    </a:lnTo>
                    <a:lnTo>
                      <a:pt x="1641" y="173"/>
                    </a:lnTo>
                    <a:lnTo>
                      <a:pt x="1647" y="173"/>
                    </a:lnTo>
                    <a:lnTo>
                      <a:pt x="1653" y="173"/>
                    </a:lnTo>
                    <a:lnTo>
                      <a:pt x="1656" y="174"/>
                    </a:lnTo>
                    <a:lnTo>
                      <a:pt x="1657" y="174"/>
                    </a:lnTo>
                    <a:lnTo>
                      <a:pt x="1659" y="174"/>
                    </a:lnTo>
                    <a:lnTo>
                      <a:pt x="1661" y="176"/>
                    </a:lnTo>
                    <a:lnTo>
                      <a:pt x="1663" y="177"/>
                    </a:lnTo>
                    <a:lnTo>
                      <a:pt x="1664" y="179"/>
                    </a:lnTo>
                    <a:lnTo>
                      <a:pt x="1663" y="179"/>
                    </a:lnTo>
                    <a:lnTo>
                      <a:pt x="1661" y="179"/>
                    </a:lnTo>
                    <a:lnTo>
                      <a:pt x="1660" y="177"/>
                    </a:lnTo>
                    <a:lnTo>
                      <a:pt x="1660" y="177"/>
                    </a:lnTo>
                    <a:lnTo>
                      <a:pt x="1659" y="177"/>
                    </a:lnTo>
                    <a:lnTo>
                      <a:pt x="1659" y="177"/>
                    </a:lnTo>
                    <a:lnTo>
                      <a:pt x="1659" y="179"/>
                    </a:lnTo>
                    <a:lnTo>
                      <a:pt x="1660" y="180"/>
                    </a:lnTo>
                    <a:lnTo>
                      <a:pt x="1660" y="182"/>
                    </a:lnTo>
                    <a:lnTo>
                      <a:pt x="1661" y="183"/>
                    </a:lnTo>
                    <a:lnTo>
                      <a:pt x="1663" y="185"/>
                    </a:lnTo>
                    <a:lnTo>
                      <a:pt x="1666" y="186"/>
                    </a:lnTo>
                    <a:lnTo>
                      <a:pt x="1669" y="186"/>
                    </a:lnTo>
                    <a:lnTo>
                      <a:pt x="1673" y="187"/>
                    </a:lnTo>
                    <a:lnTo>
                      <a:pt x="1676" y="187"/>
                    </a:lnTo>
                    <a:lnTo>
                      <a:pt x="1679" y="187"/>
                    </a:lnTo>
                    <a:lnTo>
                      <a:pt x="1682" y="187"/>
                    </a:lnTo>
                    <a:lnTo>
                      <a:pt x="1686" y="187"/>
                    </a:lnTo>
                    <a:lnTo>
                      <a:pt x="1690" y="189"/>
                    </a:lnTo>
                    <a:lnTo>
                      <a:pt x="1692" y="189"/>
                    </a:lnTo>
                    <a:lnTo>
                      <a:pt x="1692" y="189"/>
                    </a:lnTo>
                    <a:lnTo>
                      <a:pt x="1692" y="187"/>
                    </a:lnTo>
                    <a:lnTo>
                      <a:pt x="1692" y="186"/>
                    </a:lnTo>
                    <a:lnTo>
                      <a:pt x="1692" y="186"/>
                    </a:lnTo>
                    <a:lnTo>
                      <a:pt x="1693" y="186"/>
                    </a:lnTo>
                    <a:lnTo>
                      <a:pt x="1695" y="186"/>
                    </a:lnTo>
                    <a:lnTo>
                      <a:pt x="1696" y="186"/>
                    </a:lnTo>
                    <a:lnTo>
                      <a:pt x="1697" y="186"/>
                    </a:lnTo>
                    <a:lnTo>
                      <a:pt x="1697" y="187"/>
                    </a:lnTo>
                    <a:lnTo>
                      <a:pt x="1700" y="187"/>
                    </a:lnTo>
                    <a:lnTo>
                      <a:pt x="1700" y="189"/>
                    </a:lnTo>
                    <a:lnTo>
                      <a:pt x="1702" y="189"/>
                    </a:lnTo>
                    <a:lnTo>
                      <a:pt x="1700" y="189"/>
                    </a:lnTo>
                    <a:lnTo>
                      <a:pt x="1700" y="189"/>
                    </a:lnTo>
                    <a:lnTo>
                      <a:pt x="1708" y="189"/>
                    </a:lnTo>
                    <a:lnTo>
                      <a:pt x="1712" y="190"/>
                    </a:lnTo>
                    <a:lnTo>
                      <a:pt x="1716" y="190"/>
                    </a:lnTo>
                    <a:lnTo>
                      <a:pt x="1719" y="190"/>
                    </a:lnTo>
                    <a:lnTo>
                      <a:pt x="1723" y="190"/>
                    </a:lnTo>
                    <a:lnTo>
                      <a:pt x="1731" y="190"/>
                    </a:lnTo>
                    <a:lnTo>
                      <a:pt x="1738" y="190"/>
                    </a:lnTo>
                    <a:lnTo>
                      <a:pt x="1741" y="190"/>
                    </a:lnTo>
                    <a:lnTo>
                      <a:pt x="1745" y="190"/>
                    </a:lnTo>
                    <a:lnTo>
                      <a:pt x="1746" y="190"/>
                    </a:lnTo>
                    <a:lnTo>
                      <a:pt x="1748" y="190"/>
                    </a:lnTo>
                    <a:lnTo>
                      <a:pt x="1752" y="190"/>
                    </a:lnTo>
                    <a:lnTo>
                      <a:pt x="1755" y="190"/>
                    </a:lnTo>
                    <a:lnTo>
                      <a:pt x="1757" y="190"/>
                    </a:lnTo>
                    <a:lnTo>
                      <a:pt x="1759" y="190"/>
                    </a:lnTo>
                    <a:lnTo>
                      <a:pt x="1761" y="190"/>
                    </a:lnTo>
                    <a:lnTo>
                      <a:pt x="1761" y="190"/>
                    </a:lnTo>
                    <a:lnTo>
                      <a:pt x="1762" y="189"/>
                    </a:lnTo>
                    <a:lnTo>
                      <a:pt x="1762" y="189"/>
                    </a:lnTo>
                    <a:lnTo>
                      <a:pt x="1762" y="189"/>
                    </a:lnTo>
                    <a:lnTo>
                      <a:pt x="1762" y="189"/>
                    </a:lnTo>
                    <a:lnTo>
                      <a:pt x="1762" y="187"/>
                    </a:lnTo>
                    <a:lnTo>
                      <a:pt x="1761" y="186"/>
                    </a:lnTo>
                    <a:lnTo>
                      <a:pt x="1761" y="186"/>
                    </a:lnTo>
                    <a:lnTo>
                      <a:pt x="1761" y="185"/>
                    </a:lnTo>
                    <a:lnTo>
                      <a:pt x="1761" y="185"/>
                    </a:lnTo>
                    <a:lnTo>
                      <a:pt x="1762" y="185"/>
                    </a:lnTo>
                    <a:lnTo>
                      <a:pt x="1759" y="185"/>
                    </a:lnTo>
                    <a:lnTo>
                      <a:pt x="1757" y="183"/>
                    </a:lnTo>
                    <a:lnTo>
                      <a:pt x="1754" y="183"/>
                    </a:lnTo>
                    <a:lnTo>
                      <a:pt x="1751" y="180"/>
                    </a:lnTo>
                    <a:lnTo>
                      <a:pt x="1749" y="179"/>
                    </a:lnTo>
                    <a:lnTo>
                      <a:pt x="1748" y="179"/>
                    </a:lnTo>
                    <a:lnTo>
                      <a:pt x="1748" y="177"/>
                    </a:lnTo>
                    <a:lnTo>
                      <a:pt x="1746" y="176"/>
                    </a:lnTo>
                    <a:lnTo>
                      <a:pt x="1746" y="174"/>
                    </a:lnTo>
                    <a:lnTo>
                      <a:pt x="1746" y="174"/>
                    </a:lnTo>
                    <a:lnTo>
                      <a:pt x="1746" y="173"/>
                    </a:lnTo>
                    <a:lnTo>
                      <a:pt x="1748" y="173"/>
                    </a:lnTo>
                    <a:lnTo>
                      <a:pt x="1748" y="173"/>
                    </a:lnTo>
                    <a:lnTo>
                      <a:pt x="1748" y="173"/>
                    </a:lnTo>
                    <a:lnTo>
                      <a:pt x="1749" y="174"/>
                    </a:lnTo>
                    <a:lnTo>
                      <a:pt x="1749" y="174"/>
                    </a:lnTo>
                    <a:lnTo>
                      <a:pt x="1751" y="174"/>
                    </a:lnTo>
                    <a:lnTo>
                      <a:pt x="1752" y="173"/>
                    </a:lnTo>
                    <a:lnTo>
                      <a:pt x="1754" y="173"/>
                    </a:lnTo>
                    <a:lnTo>
                      <a:pt x="1752" y="172"/>
                    </a:lnTo>
                    <a:lnTo>
                      <a:pt x="1752" y="172"/>
                    </a:lnTo>
                    <a:lnTo>
                      <a:pt x="1754" y="172"/>
                    </a:lnTo>
                    <a:lnTo>
                      <a:pt x="1757" y="172"/>
                    </a:lnTo>
                    <a:lnTo>
                      <a:pt x="1758" y="172"/>
                    </a:lnTo>
                    <a:lnTo>
                      <a:pt x="1761" y="172"/>
                    </a:lnTo>
                    <a:lnTo>
                      <a:pt x="1762" y="170"/>
                    </a:lnTo>
                    <a:lnTo>
                      <a:pt x="1764" y="170"/>
                    </a:lnTo>
                    <a:lnTo>
                      <a:pt x="1767" y="172"/>
                    </a:lnTo>
                    <a:lnTo>
                      <a:pt x="1768" y="172"/>
                    </a:lnTo>
                    <a:lnTo>
                      <a:pt x="1774" y="173"/>
                    </a:lnTo>
                    <a:lnTo>
                      <a:pt x="1778" y="174"/>
                    </a:lnTo>
                    <a:lnTo>
                      <a:pt x="1780" y="174"/>
                    </a:lnTo>
                    <a:lnTo>
                      <a:pt x="1781" y="176"/>
                    </a:lnTo>
                    <a:lnTo>
                      <a:pt x="1783" y="176"/>
                    </a:lnTo>
                    <a:lnTo>
                      <a:pt x="1784" y="176"/>
                    </a:lnTo>
                    <a:lnTo>
                      <a:pt x="1784" y="176"/>
                    </a:lnTo>
                    <a:lnTo>
                      <a:pt x="1785" y="176"/>
                    </a:lnTo>
                    <a:lnTo>
                      <a:pt x="1787" y="176"/>
                    </a:lnTo>
                    <a:lnTo>
                      <a:pt x="1787" y="176"/>
                    </a:lnTo>
                    <a:lnTo>
                      <a:pt x="1788" y="176"/>
                    </a:lnTo>
                    <a:lnTo>
                      <a:pt x="1790" y="176"/>
                    </a:lnTo>
                    <a:lnTo>
                      <a:pt x="1790" y="177"/>
                    </a:lnTo>
                    <a:lnTo>
                      <a:pt x="1790" y="179"/>
                    </a:lnTo>
                    <a:lnTo>
                      <a:pt x="1791" y="179"/>
                    </a:lnTo>
                    <a:lnTo>
                      <a:pt x="1793" y="179"/>
                    </a:lnTo>
                    <a:lnTo>
                      <a:pt x="1794" y="179"/>
                    </a:lnTo>
                    <a:lnTo>
                      <a:pt x="1798" y="177"/>
                    </a:lnTo>
                    <a:lnTo>
                      <a:pt x="1801" y="176"/>
                    </a:lnTo>
                    <a:lnTo>
                      <a:pt x="1803" y="176"/>
                    </a:lnTo>
                    <a:lnTo>
                      <a:pt x="1804" y="176"/>
                    </a:lnTo>
                    <a:lnTo>
                      <a:pt x="1804" y="176"/>
                    </a:lnTo>
                    <a:lnTo>
                      <a:pt x="1803" y="177"/>
                    </a:lnTo>
                    <a:lnTo>
                      <a:pt x="1803" y="177"/>
                    </a:lnTo>
                    <a:lnTo>
                      <a:pt x="1803" y="177"/>
                    </a:lnTo>
                    <a:lnTo>
                      <a:pt x="1803" y="179"/>
                    </a:lnTo>
                    <a:lnTo>
                      <a:pt x="1804" y="179"/>
                    </a:lnTo>
                    <a:lnTo>
                      <a:pt x="1806" y="179"/>
                    </a:lnTo>
                    <a:lnTo>
                      <a:pt x="1807" y="179"/>
                    </a:lnTo>
                    <a:lnTo>
                      <a:pt x="1807" y="179"/>
                    </a:lnTo>
                    <a:lnTo>
                      <a:pt x="1816" y="179"/>
                    </a:lnTo>
                    <a:lnTo>
                      <a:pt x="1816" y="177"/>
                    </a:lnTo>
                    <a:lnTo>
                      <a:pt x="1816" y="177"/>
                    </a:lnTo>
                    <a:lnTo>
                      <a:pt x="1814" y="177"/>
                    </a:lnTo>
                    <a:lnTo>
                      <a:pt x="1814" y="176"/>
                    </a:lnTo>
                    <a:lnTo>
                      <a:pt x="1816" y="176"/>
                    </a:lnTo>
                    <a:lnTo>
                      <a:pt x="1817" y="176"/>
                    </a:lnTo>
                    <a:lnTo>
                      <a:pt x="1823" y="177"/>
                    </a:lnTo>
                    <a:lnTo>
                      <a:pt x="1829" y="179"/>
                    </a:lnTo>
                    <a:lnTo>
                      <a:pt x="1832" y="179"/>
                    </a:lnTo>
                    <a:lnTo>
                      <a:pt x="1829" y="177"/>
                    </a:lnTo>
                    <a:lnTo>
                      <a:pt x="1827" y="177"/>
                    </a:lnTo>
                    <a:lnTo>
                      <a:pt x="1826" y="176"/>
                    </a:lnTo>
                    <a:lnTo>
                      <a:pt x="1827" y="176"/>
                    </a:lnTo>
                    <a:lnTo>
                      <a:pt x="1829" y="176"/>
                    </a:lnTo>
                    <a:lnTo>
                      <a:pt x="1830" y="176"/>
                    </a:lnTo>
                    <a:lnTo>
                      <a:pt x="1832" y="177"/>
                    </a:lnTo>
                    <a:lnTo>
                      <a:pt x="1833" y="177"/>
                    </a:lnTo>
                    <a:lnTo>
                      <a:pt x="1833" y="179"/>
                    </a:lnTo>
                    <a:lnTo>
                      <a:pt x="1833" y="179"/>
                    </a:lnTo>
                    <a:lnTo>
                      <a:pt x="1836" y="179"/>
                    </a:lnTo>
                    <a:lnTo>
                      <a:pt x="1837" y="179"/>
                    </a:lnTo>
                    <a:lnTo>
                      <a:pt x="1839" y="179"/>
                    </a:lnTo>
                    <a:lnTo>
                      <a:pt x="1842" y="180"/>
                    </a:lnTo>
                    <a:lnTo>
                      <a:pt x="1843" y="180"/>
                    </a:lnTo>
                    <a:lnTo>
                      <a:pt x="1845" y="182"/>
                    </a:lnTo>
                    <a:lnTo>
                      <a:pt x="1847" y="183"/>
                    </a:lnTo>
                    <a:lnTo>
                      <a:pt x="1849" y="183"/>
                    </a:lnTo>
                    <a:lnTo>
                      <a:pt x="1850" y="183"/>
                    </a:lnTo>
                    <a:lnTo>
                      <a:pt x="1853" y="183"/>
                    </a:lnTo>
                    <a:lnTo>
                      <a:pt x="1855" y="183"/>
                    </a:lnTo>
                    <a:lnTo>
                      <a:pt x="1856" y="183"/>
                    </a:lnTo>
                    <a:lnTo>
                      <a:pt x="1858" y="183"/>
                    </a:lnTo>
                    <a:lnTo>
                      <a:pt x="1859" y="185"/>
                    </a:lnTo>
                    <a:lnTo>
                      <a:pt x="1860" y="185"/>
                    </a:lnTo>
                    <a:lnTo>
                      <a:pt x="1860" y="185"/>
                    </a:lnTo>
                    <a:lnTo>
                      <a:pt x="1862" y="186"/>
                    </a:lnTo>
                    <a:lnTo>
                      <a:pt x="1862" y="186"/>
                    </a:lnTo>
                    <a:lnTo>
                      <a:pt x="1862" y="187"/>
                    </a:lnTo>
                    <a:lnTo>
                      <a:pt x="1862" y="187"/>
                    </a:lnTo>
                    <a:lnTo>
                      <a:pt x="1863" y="187"/>
                    </a:lnTo>
                    <a:lnTo>
                      <a:pt x="1863" y="187"/>
                    </a:lnTo>
                    <a:lnTo>
                      <a:pt x="1865" y="186"/>
                    </a:lnTo>
                    <a:lnTo>
                      <a:pt x="1866" y="186"/>
                    </a:lnTo>
                    <a:lnTo>
                      <a:pt x="1866" y="186"/>
                    </a:lnTo>
                    <a:lnTo>
                      <a:pt x="1868" y="187"/>
                    </a:lnTo>
                    <a:lnTo>
                      <a:pt x="1868" y="187"/>
                    </a:lnTo>
                    <a:lnTo>
                      <a:pt x="1868" y="189"/>
                    </a:lnTo>
                    <a:lnTo>
                      <a:pt x="1868" y="189"/>
                    </a:lnTo>
                    <a:lnTo>
                      <a:pt x="1866" y="189"/>
                    </a:lnTo>
                    <a:lnTo>
                      <a:pt x="1865" y="190"/>
                    </a:lnTo>
                    <a:lnTo>
                      <a:pt x="1862" y="190"/>
                    </a:lnTo>
                    <a:lnTo>
                      <a:pt x="1860" y="190"/>
                    </a:lnTo>
                    <a:lnTo>
                      <a:pt x="1859" y="190"/>
                    </a:lnTo>
                    <a:lnTo>
                      <a:pt x="1862" y="190"/>
                    </a:lnTo>
                    <a:lnTo>
                      <a:pt x="1865" y="192"/>
                    </a:lnTo>
                    <a:lnTo>
                      <a:pt x="1866" y="192"/>
                    </a:lnTo>
                    <a:lnTo>
                      <a:pt x="1869" y="193"/>
                    </a:lnTo>
                    <a:lnTo>
                      <a:pt x="1869" y="193"/>
                    </a:lnTo>
                    <a:lnTo>
                      <a:pt x="1869" y="192"/>
                    </a:lnTo>
                    <a:lnTo>
                      <a:pt x="1868" y="192"/>
                    </a:lnTo>
                    <a:lnTo>
                      <a:pt x="1869" y="192"/>
                    </a:lnTo>
                    <a:lnTo>
                      <a:pt x="1869" y="192"/>
                    </a:lnTo>
                    <a:lnTo>
                      <a:pt x="1871" y="192"/>
                    </a:lnTo>
                    <a:lnTo>
                      <a:pt x="1872" y="192"/>
                    </a:lnTo>
                    <a:lnTo>
                      <a:pt x="1873" y="193"/>
                    </a:lnTo>
                    <a:lnTo>
                      <a:pt x="1875" y="193"/>
                    </a:lnTo>
                    <a:lnTo>
                      <a:pt x="1878" y="193"/>
                    </a:lnTo>
                    <a:lnTo>
                      <a:pt x="1879" y="193"/>
                    </a:lnTo>
                    <a:lnTo>
                      <a:pt x="1878" y="193"/>
                    </a:lnTo>
                    <a:lnTo>
                      <a:pt x="1878" y="195"/>
                    </a:lnTo>
                    <a:lnTo>
                      <a:pt x="1876" y="195"/>
                    </a:lnTo>
                    <a:lnTo>
                      <a:pt x="1875" y="195"/>
                    </a:lnTo>
                    <a:lnTo>
                      <a:pt x="1875" y="195"/>
                    </a:lnTo>
                    <a:lnTo>
                      <a:pt x="1873" y="195"/>
                    </a:lnTo>
                    <a:lnTo>
                      <a:pt x="1873" y="195"/>
                    </a:lnTo>
                    <a:lnTo>
                      <a:pt x="1872" y="195"/>
                    </a:lnTo>
                    <a:lnTo>
                      <a:pt x="1872" y="195"/>
                    </a:lnTo>
                    <a:lnTo>
                      <a:pt x="1871" y="196"/>
                    </a:lnTo>
                    <a:lnTo>
                      <a:pt x="1872" y="196"/>
                    </a:lnTo>
                    <a:lnTo>
                      <a:pt x="1873" y="196"/>
                    </a:lnTo>
                    <a:lnTo>
                      <a:pt x="1876" y="196"/>
                    </a:lnTo>
                    <a:lnTo>
                      <a:pt x="1879" y="196"/>
                    </a:lnTo>
                    <a:lnTo>
                      <a:pt x="1881" y="196"/>
                    </a:lnTo>
                    <a:lnTo>
                      <a:pt x="1882" y="196"/>
                    </a:lnTo>
                    <a:lnTo>
                      <a:pt x="1882" y="198"/>
                    </a:lnTo>
                    <a:lnTo>
                      <a:pt x="1882" y="198"/>
                    </a:lnTo>
                    <a:lnTo>
                      <a:pt x="1881" y="198"/>
                    </a:lnTo>
                    <a:lnTo>
                      <a:pt x="1881" y="199"/>
                    </a:lnTo>
                    <a:lnTo>
                      <a:pt x="1879" y="199"/>
                    </a:lnTo>
                    <a:lnTo>
                      <a:pt x="1878" y="200"/>
                    </a:lnTo>
                    <a:lnTo>
                      <a:pt x="1878" y="200"/>
                    </a:lnTo>
                    <a:lnTo>
                      <a:pt x="1876" y="200"/>
                    </a:lnTo>
                    <a:lnTo>
                      <a:pt x="1875" y="200"/>
                    </a:lnTo>
                    <a:lnTo>
                      <a:pt x="1873" y="200"/>
                    </a:lnTo>
                    <a:lnTo>
                      <a:pt x="1872" y="200"/>
                    </a:lnTo>
                    <a:lnTo>
                      <a:pt x="1872" y="200"/>
                    </a:lnTo>
                    <a:lnTo>
                      <a:pt x="1871" y="199"/>
                    </a:lnTo>
                    <a:lnTo>
                      <a:pt x="1871" y="200"/>
                    </a:lnTo>
                    <a:lnTo>
                      <a:pt x="1872" y="200"/>
                    </a:lnTo>
                    <a:lnTo>
                      <a:pt x="1873" y="202"/>
                    </a:lnTo>
                    <a:lnTo>
                      <a:pt x="1876" y="202"/>
                    </a:lnTo>
                    <a:lnTo>
                      <a:pt x="1878" y="203"/>
                    </a:lnTo>
                    <a:lnTo>
                      <a:pt x="1881" y="202"/>
                    </a:lnTo>
                    <a:lnTo>
                      <a:pt x="1884" y="202"/>
                    </a:lnTo>
                    <a:lnTo>
                      <a:pt x="1885" y="202"/>
                    </a:lnTo>
                    <a:lnTo>
                      <a:pt x="1888" y="202"/>
                    </a:lnTo>
                    <a:lnTo>
                      <a:pt x="1889" y="203"/>
                    </a:lnTo>
                    <a:lnTo>
                      <a:pt x="1892" y="205"/>
                    </a:lnTo>
                    <a:lnTo>
                      <a:pt x="1895" y="206"/>
                    </a:lnTo>
                    <a:lnTo>
                      <a:pt x="1896" y="206"/>
                    </a:lnTo>
                    <a:lnTo>
                      <a:pt x="1898" y="206"/>
                    </a:lnTo>
                    <a:lnTo>
                      <a:pt x="1901" y="208"/>
                    </a:lnTo>
                    <a:lnTo>
                      <a:pt x="1902" y="208"/>
                    </a:lnTo>
                    <a:lnTo>
                      <a:pt x="1901" y="208"/>
                    </a:lnTo>
                    <a:lnTo>
                      <a:pt x="1901" y="209"/>
                    </a:lnTo>
                    <a:lnTo>
                      <a:pt x="1899" y="209"/>
                    </a:lnTo>
                    <a:lnTo>
                      <a:pt x="1899" y="209"/>
                    </a:lnTo>
                    <a:lnTo>
                      <a:pt x="1899" y="211"/>
                    </a:lnTo>
                    <a:lnTo>
                      <a:pt x="1899" y="211"/>
                    </a:lnTo>
                    <a:lnTo>
                      <a:pt x="1901" y="211"/>
                    </a:lnTo>
                    <a:lnTo>
                      <a:pt x="1901" y="211"/>
                    </a:lnTo>
                    <a:lnTo>
                      <a:pt x="1902" y="211"/>
                    </a:lnTo>
                    <a:lnTo>
                      <a:pt x="1901" y="211"/>
                    </a:lnTo>
                    <a:lnTo>
                      <a:pt x="1899" y="212"/>
                    </a:lnTo>
                    <a:lnTo>
                      <a:pt x="1898" y="212"/>
                    </a:lnTo>
                    <a:lnTo>
                      <a:pt x="1896" y="212"/>
                    </a:lnTo>
                    <a:lnTo>
                      <a:pt x="1894" y="212"/>
                    </a:lnTo>
                    <a:lnTo>
                      <a:pt x="1892" y="212"/>
                    </a:lnTo>
                    <a:lnTo>
                      <a:pt x="1889" y="212"/>
                    </a:lnTo>
                    <a:lnTo>
                      <a:pt x="1886" y="211"/>
                    </a:lnTo>
                    <a:lnTo>
                      <a:pt x="1884" y="209"/>
                    </a:lnTo>
                    <a:lnTo>
                      <a:pt x="1879" y="208"/>
                    </a:lnTo>
                    <a:lnTo>
                      <a:pt x="1876" y="208"/>
                    </a:lnTo>
                    <a:lnTo>
                      <a:pt x="1878" y="208"/>
                    </a:lnTo>
                    <a:lnTo>
                      <a:pt x="1878" y="209"/>
                    </a:lnTo>
                    <a:lnTo>
                      <a:pt x="1881" y="211"/>
                    </a:lnTo>
                    <a:lnTo>
                      <a:pt x="1882" y="212"/>
                    </a:lnTo>
                    <a:lnTo>
                      <a:pt x="1884" y="213"/>
                    </a:lnTo>
                    <a:lnTo>
                      <a:pt x="1886" y="215"/>
                    </a:lnTo>
                    <a:lnTo>
                      <a:pt x="1891" y="218"/>
                    </a:lnTo>
                    <a:lnTo>
                      <a:pt x="1894" y="219"/>
                    </a:lnTo>
                    <a:lnTo>
                      <a:pt x="1896" y="219"/>
                    </a:lnTo>
                    <a:lnTo>
                      <a:pt x="1899" y="221"/>
                    </a:lnTo>
                    <a:lnTo>
                      <a:pt x="1901" y="221"/>
                    </a:lnTo>
                    <a:lnTo>
                      <a:pt x="1902" y="221"/>
                    </a:lnTo>
                    <a:lnTo>
                      <a:pt x="1905" y="221"/>
                    </a:lnTo>
                    <a:lnTo>
                      <a:pt x="1907" y="221"/>
                    </a:lnTo>
                    <a:lnTo>
                      <a:pt x="1908" y="219"/>
                    </a:lnTo>
                    <a:lnTo>
                      <a:pt x="1902" y="216"/>
                    </a:lnTo>
                    <a:lnTo>
                      <a:pt x="1902" y="216"/>
                    </a:lnTo>
                    <a:lnTo>
                      <a:pt x="1902" y="216"/>
                    </a:lnTo>
                    <a:lnTo>
                      <a:pt x="1902" y="216"/>
                    </a:lnTo>
                    <a:lnTo>
                      <a:pt x="1905" y="218"/>
                    </a:lnTo>
                    <a:lnTo>
                      <a:pt x="1907" y="218"/>
                    </a:lnTo>
                    <a:lnTo>
                      <a:pt x="1908" y="219"/>
                    </a:lnTo>
                    <a:lnTo>
                      <a:pt x="1908" y="219"/>
                    </a:lnTo>
                    <a:lnTo>
                      <a:pt x="1911" y="221"/>
                    </a:lnTo>
                    <a:lnTo>
                      <a:pt x="1912" y="221"/>
                    </a:lnTo>
                    <a:lnTo>
                      <a:pt x="1914" y="222"/>
                    </a:lnTo>
                    <a:lnTo>
                      <a:pt x="1911" y="221"/>
                    </a:lnTo>
                    <a:lnTo>
                      <a:pt x="1911" y="221"/>
                    </a:lnTo>
                    <a:lnTo>
                      <a:pt x="1911" y="221"/>
                    </a:lnTo>
                    <a:lnTo>
                      <a:pt x="1909" y="221"/>
                    </a:lnTo>
                    <a:lnTo>
                      <a:pt x="1907" y="222"/>
                    </a:lnTo>
                    <a:lnTo>
                      <a:pt x="1907" y="222"/>
                    </a:lnTo>
                    <a:lnTo>
                      <a:pt x="1905" y="222"/>
                    </a:lnTo>
                    <a:lnTo>
                      <a:pt x="1905" y="223"/>
                    </a:lnTo>
                    <a:lnTo>
                      <a:pt x="1905" y="223"/>
                    </a:lnTo>
                    <a:lnTo>
                      <a:pt x="1907" y="223"/>
                    </a:lnTo>
                    <a:lnTo>
                      <a:pt x="1907" y="223"/>
                    </a:lnTo>
                    <a:lnTo>
                      <a:pt x="1908" y="225"/>
                    </a:lnTo>
                    <a:lnTo>
                      <a:pt x="1911" y="225"/>
                    </a:lnTo>
                    <a:lnTo>
                      <a:pt x="1912" y="225"/>
                    </a:lnTo>
                    <a:lnTo>
                      <a:pt x="1914" y="225"/>
                    </a:lnTo>
                    <a:lnTo>
                      <a:pt x="1915" y="225"/>
                    </a:lnTo>
                    <a:lnTo>
                      <a:pt x="1917" y="226"/>
                    </a:lnTo>
                    <a:lnTo>
                      <a:pt x="1920" y="228"/>
                    </a:lnTo>
                    <a:lnTo>
                      <a:pt x="1921" y="229"/>
                    </a:lnTo>
                    <a:lnTo>
                      <a:pt x="1922" y="231"/>
                    </a:lnTo>
                    <a:lnTo>
                      <a:pt x="1948" y="239"/>
                    </a:lnTo>
                    <a:lnTo>
                      <a:pt x="1951" y="241"/>
                    </a:lnTo>
                    <a:lnTo>
                      <a:pt x="1954" y="241"/>
                    </a:lnTo>
                    <a:lnTo>
                      <a:pt x="1960" y="242"/>
                    </a:lnTo>
                    <a:lnTo>
                      <a:pt x="1963" y="242"/>
                    </a:lnTo>
                    <a:lnTo>
                      <a:pt x="1966" y="242"/>
                    </a:lnTo>
                    <a:lnTo>
                      <a:pt x="1969" y="244"/>
                    </a:lnTo>
                    <a:lnTo>
                      <a:pt x="1971" y="245"/>
                    </a:lnTo>
                    <a:lnTo>
                      <a:pt x="1973" y="245"/>
                    </a:lnTo>
                    <a:lnTo>
                      <a:pt x="1974" y="245"/>
                    </a:lnTo>
                    <a:lnTo>
                      <a:pt x="1976" y="247"/>
                    </a:lnTo>
                    <a:lnTo>
                      <a:pt x="1976" y="245"/>
                    </a:lnTo>
                    <a:lnTo>
                      <a:pt x="1977" y="245"/>
                    </a:lnTo>
                    <a:lnTo>
                      <a:pt x="1977" y="244"/>
                    </a:lnTo>
                    <a:lnTo>
                      <a:pt x="1977" y="244"/>
                    </a:lnTo>
                    <a:lnTo>
                      <a:pt x="1977" y="242"/>
                    </a:lnTo>
                    <a:lnTo>
                      <a:pt x="1977" y="239"/>
                    </a:lnTo>
                    <a:lnTo>
                      <a:pt x="1977" y="238"/>
                    </a:lnTo>
                    <a:lnTo>
                      <a:pt x="1977" y="236"/>
                    </a:lnTo>
                    <a:lnTo>
                      <a:pt x="1977" y="235"/>
                    </a:lnTo>
                    <a:lnTo>
                      <a:pt x="1979" y="234"/>
                    </a:lnTo>
                    <a:lnTo>
                      <a:pt x="1980" y="234"/>
                    </a:lnTo>
                    <a:lnTo>
                      <a:pt x="1979" y="234"/>
                    </a:lnTo>
                    <a:lnTo>
                      <a:pt x="1977" y="232"/>
                    </a:lnTo>
                    <a:lnTo>
                      <a:pt x="1976" y="232"/>
                    </a:lnTo>
                    <a:lnTo>
                      <a:pt x="1973" y="231"/>
                    </a:lnTo>
                    <a:lnTo>
                      <a:pt x="1971" y="228"/>
                    </a:lnTo>
                    <a:lnTo>
                      <a:pt x="1970" y="226"/>
                    </a:lnTo>
                    <a:lnTo>
                      <a:pt x="1970" y="225"/>
                    </a:lnTo>
                    <a:lnTo>
                      <a:pt x="1969" y="223"/>
                    </a:lnTo>
                    <a:lnTo>
                      <a:pt x="1969" y="222"/>
                    </a:lnTo>
                    <a:lnTo>
                      <a:pt x="1969" y="221"/>
                    </a:lnTo>
                    <a:lnTo>
                      <a:pt x="1969" y="219"/>
                    </a:lnTo>
                    <a:lnTo>
                      <a:pt x="1969" y="219"/>
                    </a:lnTo>
                    <a:lnTo>
                      <a:pt x="1969" y="218"/>
                    </a:lnTo>
                    <a:lnTo>
                      <a:pt x="1970" y="218"/>
                    </a:lnTo>
                    <a:lnTo>
                      <a:pt x="1971" y="218"/>
                    </a:lnTo>
                    <a:lnTo>
                      <a:pt x="1971" y="218"/>
                    </a:lnTo>
                    <a:lnTo>
                      <a:pt x="1973" y="218"/>
                    </a:lnTo>
                    <a:lnTo>
                      <a:pt x="1976" y="218"/>
                    </a:lnTo>
                    <a:lnTo>
                      <a:pt x="1979" y="219"/>
                    </a:lnTo>
                    <a:lnTo>
                      <a:pt x="1980" y="221"/>
                    </a:lnTo>
                    <a:lnTo>
                      <a:pt x="1982" y="221"/>
                    </a:lnTo>
                    <a:lnTo>
                      <a:pt x="1982" y="222"/>
                    </a:lnTo>
                    <a:lnTo>
                      <a:pt x="1983" y="222"/>
                    </a:lnTo>
                    <a:lnTo>
                      <a:pt x="1986" y="223"/>
                    </a:lnTo>
                    <a:lnTo>
                      <a:pt x="1989" y="223"/>
                    </a:lnTo>
                    <a:lnTo>
                      <a:pt x="1995" y="225"/>
                    </a:lnTo>
                    <a:lnTo>
                      <a:pt x="1997" y="226"/>
                    </a:lnTo>
                    <a:lnTo>
                      <a:pt x="2000" y="226"/>
                    </a:lnTo>
                    <a:lnTo>
                      <a:pt x="2005" y="228"/>
                    </a:lnTo>
                    <a:lnTo>
                      <a:pt x="2008" y="228"/>
                    </a:lnTo>
                    <a:lnTo>
                      <a:pt x="2010" y="228"/>
                    </a:lnTo>
                    <a:lnTo>
                      <a:pt x="2013" y="229"/>
                    </a:lnTo>
                    <a:lnTo>
                      <a:pt x="2016" y="229"/>
                    </a:lnTo>
                    <a:lnTo>
                      <a:pt x="2019" y="229"/>
                    </a:lnTo>
                    <a:lnTo>
                      <a:pt x="2022" y="229"/>
                    </a:lnTo>
                    <a:lnTo>
                      <a:pt x="2025" y="231"/>
                    </a:lnTo>
                    <a:lnTo>
                      <a:pt x="2026" y="231"/>
                    </a:lnTo>
                    <a:lnTo>
                      <a:pt x="2025" y="231"/>
                    </a:lnTo>
                    <a:lnTo>
                      <a:pt x="2025" y="229"/>
                    </a:lnTo>
                    <a:lnTo>
                      <a:pt x="2025" y="228"/>
                    </a:lnTo>
                    <a:lnTo>
                      <a:pt x="2025" y="228"/>
                    </a:lnTo>
                    <a:lnTo>
                      <a:pt x="2026" y="228"/>
                    </a:lnTo>
                    <a:lnTo>
                      <a:pt x="2028" y="228"/>
                    </a:lnTo>
                    <a:lnTo>
                      <a:pt x="2028" y="228"/>
                    </a:lnTo>
                    <a:lnTo>
                      <a:pt x="2029" y="228"/>
                    </a:lnTo>
                    <a:lnTo>
                      <a:pt x="2031" y="226"/>
                    </a:lnTo>
                    <a:lnTo>
                      <a:pt x="2033" y="226"/>
                    </a:lnTo>
                    <a:lnTo>
                      <a:pt x="2035" y="225"/>
                    </a:lnTo>
                    <a:lnTo>
                      <a:pt x="2036" y="225"/>
                    </a:lnTo>
                    <a:lnTo>
                      <a:pt x="2038" y="225"/>
                    </a:lnTo>
                    <a:lnTo>
                      <a:pt x="2041" y="225"/>
                    </a:lnTo>
                    <a:lnTo>
                      <a:pt x="2041" y="223"/>
                    </a:lnTo>
                    <a:lnTo>
                      <a:pt x="2042" y="223"/>
                    </a:lnTo>
                    <a:lnTo>
                      <a:pt x="2044" y="223"/>
                    </a:lnTo>
                    <a:lnTo>
                      <a:pt x="2044" y="223"/>
                    </a:lnTo>
                    <a:lnTo>
                      <a:pt x="2045" y="223"/>
                    </a:lnTo>
                    <a:lnTo>
                      <a:pt x="2048" y="223"/>
                    </a:lnTo>
                    <a:lnTo>
                      <a:pt x="2049" y="223"/>
                    </a:lnTo>
                    <a:lnTo>
                      <a:pt x="2051" y="225"/>
                    </a:lnTo>
                    <a:lnTo>
                      <a:pt x="2057" y="225"/>
                    </a:lnTo>
                    <a:lnTo>
                      <a:pt x="2062" y="226"/>
                    </a:lnTo>
                    <a:lnTo>
                      <a:pt x="2074" y="231"/>
                    </a:lnTo>
                    <a:lnTo>
                      <a:pt x="2085" y="234"/>
                    </a:lnTo>
                    <a:lnTo>
                      <a:pt x="2090" y="235"/>
                    </a:lnTo>
                    <a:lnTo>
                      <a:pt x="2090" y="234"/>
                    </a:lnTo>
                    <a:lnTo>
                      <a:pt x="2088" y="234"/>
                    </a:lnTo>
                    <a:lnTo>
                      <a:pt x="2091" y="234"/>
                    </a:lnTo>
                    <a:lnTo>
                      <a:pt x="2091" y="234"/>
                    </a:lnTo>
                    <a:lnTo>
                      <a:pt x="2093" y="232"/>
                    </a:lnTo>
                    <a:lnTo>
                      <a:pt x="2093" y="232"/>
                    </a:lnTo>
                    <a:lnTo>
                      <a:pt x="2093" y="231"/>
                    </a:lnTo>
                    <a:lnTo>
                      <a:pt x="2094" y="231"/>
                    </a:lnTo>
                    <a:lnTo>
                      <a:pt x="2093" y="231"/>
                    </a:lnTo>
                    <a:lnTo>
                      <a:pt x="2091" y="231"/>
                    </a:lnTo>
                    <a:lnTo>
                      <a:pt x="2090" y="231"/>
                    </a:lnTo>
                    <a:lnTo>
                      <a:pt x="2088" y="231"/>
                    </a:lnTo>
                    <a:lnTo>
                      <a:pt x="2087" y="229"/>
                    </a:lnTo>
                    <a:lnTo>
                      <a:pt x="2087" y="229"/>
                    </a:lnTo>
                    <a:lnTo>
                      <a:pt x="2085" y="228"/>
                    </a:lnTo>
                    <a:lnTo>
                      <a:pt x="2084" y="228"/>
                    </a:lnTo>
                    <a:lnTo>
                      <a:pt x="2084" y="226"/>
                    </a:lnTo>
                    <a:lnTo>
                      <a:pt x="2083" y="225"/>
                    </a:lnTo>
                    <a:lnTo>
                      <a:pt x="2084" y="223"/>
                    </a:lnTo>
                    <a:lnTo>
                      <a:pt x="2085" y="223"/>
                    </a:lnTo>
                    <a:lnTo>
                      <a:pt x="2088" y="223"/>
                    </a:lnTo>
                    <a:lnTo>
                      <a:pt x="2090" y="223"/>
                    </a:lnTo>
                    <a:lnTo>
                      <a:pt x="2091" y="223"/>
                    </a:lnTo>
                    <a:lnTo>
                      <a:pt x="2091" y="223"/>
                    </a:lnTo>
                    <a:lnTo>
                      <a:pt x="2091" y="225"/>
                    </a:lnTo>
                    <a:lnTo>
                      <a:pt x="2093" y="223"/>
                    </a:lnTo>
                    <a:lnTo>
                      <a:pt x="2094" y="223"/>
                    </a:lnTo>
                    <a:lnTo>
                      <a:pt x="2096" y="223"/>
                    </a:lnTo>
                    <a:lnTo>
                      <a:pt x="2098" y="223"/>
                    </a:lnTo>
                    <a:lnTo>
                      <a:pt x="2101" y="225"/>
                    </a:lnTo>
                    <a:lnTo>
                      <a:pt x="2103" y="225"/>
                    </a:lnTo>
                    <a:lnTo>
                      <a:pt x="2104" y="226"/>
                    </a:lnTo>
                    <a:lnTo>
                      <a:pt x="2106" y="228"/>
                    </a:lnTo>
                    <a:lnTo>
                      <a:pt x="2107" y="228"/>
                    </a:lnTo>
                    <a:lnTo>
                      <a:pt x="2108" y="228"/>
                    </a:lnTo>
                    <a:lnTo>
                      <a:pt x="2110" y="228"/>
                    </a:lnTo>
                    <a:lnTo>
                      <a:pt x="2111" y="228"/>
                    </a:lnTo>
                    <a:lnTo>
                      <a:pt x="2114" y="228"/>
                    </a:lnTo>
                    <a:lnTo>
                      <a:pt x="2116" y="226"/>
                    </a:lnTo>
                    <a:lnTo>
                      <a:pt x="2119" y="226"/>
                    </a:lnTo>
                    <a:lnTo>
                      <a:pt x="2121" y="226"/>
                    </a:lnTo>
                    <a:lnTo>
                      <a:pt x="2121" y="226"/>
                    </a:lnTo>
                    <a:lnTo>
                      <a:pt x="2123" y="228"/>
                    </a:lnTo>
                    <a:lnTo>
                      <a:pt x="2120" y="225"/>
                    </a:lnTo>
                    <a:lnTo>
                      <a:pt x="2116" y="223"/>
                    </a:lnTo>
                    <a:lnTo>
                      <a:pt x="2113" y="222"/>
                    </a:lnTo>
                    <a:lnTo>
                      <a:pt x="2110" y="221"/>
                    </a:lnTo>
                    <a:lnTo>
                      <a:pt x="2104" y="218"/>
                    </a:lnTo>
                    <a:lnTo>
                      <a:pt x="2097" y="216"/>
                    </a:lnTo>
                    <a:lnTo>
                      <a:pt x="2097" y="216"/>
                    </a:lnTo>
                    <a:lnTo>
                      <a:pt x="2098" y="216"/>
                    </a:lnTo>
                    <a:lnTo>
                      <a:pt x="2098" y="216"/>
                    </a:lnTo>
                    <a:lnTo>
                      <a:pt x="2101" y="216"/>
                    </a:lnTo>
                    <a:lnTo>
                      <a:pt x="2103" y="216"/>
                    </a:lnTo>
                    <a:lnTo>
                      <a:pt x="2101" y="215"/>
                    </a:lnTo>
                    <a:lnTo>
                      <a:pt x="2101" y="215"/>
                    </a:lnTo>
                    <a:lnTo>
                      <a:pt x="2101" y="213"/>
                    </a:lnTo>
                    <a:lnTo>
                      <a:pt x="2100" y="213"/>
                    </a:lnTo>
                    <a:lnTo>
                      <a:pt x="2100" y="212"/>
                    </a:lnTo>
                    <a:lnTo>
                      <a:pt x="2100" y="211"/>
                    </a:lnTo>
                    <a:lnTo>
                      <a:pt x="2100" y="211"/>
                    </a:lnTo>
                    <a:lnTo>
                      <a:pt x="2101" y="211"/>
                    </a:lnTo>
                    <a:lnTo>
                      <a:pt x="2101" y="211"/>
                    </a:lnTo>
                    <a:lnTo>
                      <a:pt x="2103" y="211"/>
                    </a:lnTo>
                    <a:lnTo>
                      <a:pt x="2104" y="211"/>
                    </a:lnTo>
                    <a:lnTo>
                      <a:pt x="2104" y="211"/>
                    </a:lnTo>
                    <a:lnTo>
                      <a:pt x="2106" y="211"/>
                    </a:lnTo>
                    <a:lnTo>
                      <a:pt x="2104" y="209"/>
                    </a:lnTo>
                    <a:lnTo>
                      <a:pt x="2104" y="209"/>
                    </a:lnTo>
                    <a:lnTo>
                      <a:pt x="2103" y="208"/>
                    </a:lnTo>
                    <a:lnTo>
                      <a:pt x="2101" y="208"/>
                    </a:lnTo>
                    <a:lnTo>
                      <a:pt x="2100" y="208"/>
                    </a:lnTo>
                    <a:lnTo>
                      <a:pt x="2098" y="209"/>
                    </a:lnTo>
                    <a:lnTo>
                      <a:pt x="2098" y="209"/>
                    </a:lnTo>
                    <a:lnTo>
                      <a:pt x="2097" y="211"/>
                    </a:lnTo>
                    <a:lnTo>
                      <a:pt x="2096" y="211"/>
                    </a:lnTo>
                    <a:lnTo>
                      <a:pt x="2094" y="211"/>
                    </a:lnTo>
                    <a:lnTo>
                      <a:pt x="2093" y="211"/>
                    </a:lnTo>
                    <a:lnTo>
                      <a:pt x="2091" y="211"/>
                    </a:lnTo>
                    <a:lnTo>
                      <a:pt x="2090" y="211"/>
                    </a:lnTo>
                    <a:lnTo>
                      <a:pt x="2088" y="211"/>
                    </a:lnTo>
                    <a:lnTo>
                      <a:pt x="2087" y="209"/>
                    </a:lnTo>
                    <a:lnTo>
                      <a:pt x="2085" y="208"/>
                    </a:lnTo>
                    <a:lnTo>
                      <a:pt x="2084" y="206"/>
                    </a:lnTo>
                    <a:lnTo>
                      <a:pt x="2084" y="206"/>
                    </a:lnTo>
                    <a:lnTo>
                      <a:pt x="2083" y="205"/>
                    </a:lnTo>
                    <a:lnTo>
                      <a:pt x="2083" y="205"/>
                    </a:lnTo>
                    <a:lnTo>
                      <a:pt x="2083" y="203"/>
                    </a:lnTo>
                    <a:lnTo>
                      <a:pt x="2083" y="202"/>
                    </a:lnTo>
                    <a:lnTo>
                      <a:pt x="2083" y="202"/>
                    </a:lnTo>
                    <a:lnTo>
                      <a:pt x="2085" y="202"/>
                    </a:lnTo>
                    <a:lnTo>
                      <a:pt x="2087" y="202"/>
                    </a:lnTo>
                    <a:lnTo>
                      <a:pt x="2088" y="202"/>
                    </a:lnTo>
                    <a:lnTo>
                      <a:pt x="2090" y="202"/>
                    </a:lnTo>
                    <a:lnTo>
                      <a:pt x="2093" y="202"/>
                    </a:lnTo>
                    <a:lnTo>
                      <a:pt x="2094" y="202"/>
                    </a:lnTo>
                    <a:lnTo>
                      <a:pt x="2096" y="202"/>
                    </a:lnTo>
                    <a:lnTo>
                      <a:pt x="2098" y="202"/>
                    </a:lnTo>
                    <a:lnTo>
                      <a:pt x="2103" y="200"/>
                    </a:lnTo>
                    <a:lnTo>
                      <a:pt x="2104" y="200"/>
                    </a:lnTo>
                    <a:lnTo>
                      <a:pt x="2106" y="199"/>
                    </a:lnTo>
                    <a:lnTo>
                      <a:pt x="2107" y="199"/>
                    </a:lnTo>
                    <a:lnTo>
                      <a:pt x="2108" y="199"/>
                    </a:lnTo>
                    <a:lnTo>
                      <a:pt x="2107" y="199"/>
                    </a:lnTo>
                    <a:lnTo>
                      <a:pt x="2107" y="199"/>
                    </a:lnTo>
                    <a:lnTo>
                      <a:pt x="2104" y="198"/>
                    </a:lnTo>
                    <a:lnTo>
                      <a:pt x="2103" y="196"/>
                    </a:lnTo>
                    <a:lnTo>
                      <a:pt x="2101" y="196"/>
                    </a:lnTo>
                    <a:lnTo>
                      <a:pt x="2100" y="196"/>
                    </a:lnTo>
                    <a:lnTo>
                      <a:pt x="2098" y="196"/>
                    </a:lnTo>
                    <a:lnTo>
                      <a:pt x="2097" y="196"/>
                    </a:lnTo>
                    <a:lnTo>
                      <a:pt x="2096" y="195"/>
                    </a:lnTo>
                    <a:lnTo>
                      <a:pt x="2093" y="193"/>
                    </a:lnTo>
                    <a:lnTo>
                      <a:pt x="2093" y="193"/>
                    </a:lnTo>
                    <a:lnTo>
                      <a:pt x="2094" y="193"/>
                    </a:lnTo>
                    <a:lnTo>
                      <a:pt x="2098" y="193"/>
                    </a:lnTo>
                    <a:lnTo>
                      <a:pt x="2103" y="193"/>
                    </a:lnTo>
                    <a:lnTo>
                      <a:pt x="2106" y="195"/>
                    </a:lnTo>
                    <a:lnTo>
                      <a:pt x="2114" y="196"/>
                    </a:lnTo>
                    <a:lnTo>
                      <a:pt x="2119" y="196"/>
                    </a:lnTo>
                    <a:lnTo>
                      <a:pt x="2123" y="196"/>
                    </a:lnTo>
                    <a:lnTo>
                      <a:pt x="2132" y="196"/>
                    </a:lnTo>
                    <a:lnTo>
                      <a:pt x="2140" y="196"/>
                    </a:lnTo>
                    <a:lnTo>
                      <a:pt x="2145" y="196"/>
                    </a:lnTo>
                    <a:lnTo>
                      <a:pt x="2149" y="198"/>
                    </a:lnTo>
                    <a:lnTo>
                      <a:pt x="2153" y="198"/>
                    </a:lnTo>
                    <a:lnTo>
                      <a:pt x="2158" y="199"/>
                    </a:lnTo>
                    <a:lnTo>
                      <a:pt x="2166" y="199"/>
                    </a:lnTo>
                    <a:lnTo>
                      <a:pt x="2175" y="199"/>
                    </a:lnTo>
                    <a:lnTo>
                      <a:pt x="2183" y="199"/>
                    </a:lnTo>
                    <a:lnTo>
                      <a:pt x="2194" y="199"/>
                    </a:lnTo>
                    <a:lnTo>
                      <a:pt x="2201" y="199"/>
                    </a:lnTo>
                    <a:lnTo>
                      <a:pt x="2205" y="199"/>
                    </a:lnTo>
                    <a:lnTo>
                      <a:pt x="2211" y="200"/>
                    </a:lnTo>
                    <a:lnTo>
                      <a:pt x="2214" y="200"/>
                    </a:lnTo>
                    <a:lnTo>
                      <a:pt x="2218" y="202"/>
                    </a:lnTo>
                    <a:lnTo>
                      <a:pt x="2222" y="203"/>
                    </a:lnTo>
                    <a:lnTo>
                      <a:pt x="2227" y="205"/>
                    </a:lnTo>
                    <a:lnTo>
                      <a:pt x="2225" y="206"/>
                    </a:lnTo>
                    <a:lnTo>
                      <a:pt x="2224" y="206"/>
                    </a:lnTo>
                    <a:lnTo>
                      <a:pt x="2222" y="206"/>
                    </a:lnTo>
                    <a:lnTo>
                      <a:pt x="2221" y="206"/>
                    </a:lnTo>
                    <a:lnTo>
                      <a:pt x="2220" y="208"/>
                    </a:lnTo>
                    <a:lnTo>
                      <a:pt x="2221" y="208"/>
                    </a:lnTo>
                    <a:lnTo>
                      <a:pt x="2224" y="208"/>
                    </a:lnTo>
                    <a:lnTo>
                      <a:pt x="2225" y="208"/>
                    </a:lnTo>
                    <a:lnTo>
                      <a:pt x="2227" y="209"/>
                    </a:lnTo>
                    <a:lnTo>
                      <a:pt x="2228" y="209"/>
                    </a:lnTo>
                    <a:lnTo>
                      <a:pt x="2228" y="211"/>
                    </a:lnTo>
                    <a:lnTo>
                      <a:pt x="2228" y="211"/>
                    </a:lnTo>
                    <a:lnTo>
                      <a:pt x="2228" y="212"/>
                    </a:lnTo>
                    <a:lnTo>
                      <a:pt x="2228" y="213"/>
                    </a:lnTo>
                    <a:lnTo>
                      <a:pt x="2228" y="215"/>
                    </a:lnTo>
                    <a:lnTo>
                      <a:pt x="2227" y="216"/>
                    </a:lnTo>
                    <a:lnTo>
                      <a:pt x="2227" y="219"/>
                    </a:lnTo>
                    <a:lnTo>
                      <a:pt x="2225" y="218"/>
                    </a:lnTo>
                    <a:lnTo>
                      <a:pt x="2224" y="216"/>
                    </a:lnTo>
                    <a:lnTo>
                      <a:pt x="2224" y="213"/>
                    </a:lnTo>
                    <a:lnTo>
                      <a:pt x="2222" y="212"/>
                    </a:lnTo>
                    <a:lnTo>
                      <a:pt x="2222" y="211"/>
                    </a:lnTo>
                    <a:lnTo>
                      <a:pt x="2221" y="211"/>
                    </a:lnTo>
                    <a:lnTo>
                      <a:pt x="2220" y="211"/>
                    </a:lnTo>
                    <a:lnTo>
                      <a:pt x="2220" y="211"/>
                    </a:lnTo>
                    <a:lnTo>
                      <a:pt x="2220" y="212"/>
                    </a:lnTo>
                    <a:lnTo>
                      <a:pt x="2218" y="212"/>
                    </a:lnTo>
                    <a:lnTo>
                      <a:pt x="2217" y="213"/>
                    </a:lnTo>
                    <a:lnTo>
                      <a:pt x="2217" y="212"/>
                    </a:lnTo>
                    <a:lnTo>
                      <a:pt x="2217" y="211"/>
                    </a:lnTo>
                    <a:lnTo>
                      <a:pt x="2215" y="211"/>
                    </a:lnTo>
                    <a:lnTo>
                      <a:pt x="2214" y="209"/>
                    </a:lnTo>
                    <a:lnTo>
                      <a:pt x="2214" y="208"/>
                    </a:lnTo>
                    <a:lnTo>
                      <a:pt x="2212" y="208"/>
                    </a:lnTo>
                    <a:lnTo>
                      <a:pt x="2215" y="208"/>
                    </a:lnTo>
                    <a:lnTo>
                      <a:pt x="2214" y="206"/>
                    </a:lnTo>
                    <a:lnTo>
                      <a:pt x="2209" y="206"/>
                    </a:lnTo>
                    <a:lnTo>
                      <a:pt x="2205" y="205"/>
                    </a:lnTo>
                    <a:lnTo>
                      <a:pt x="2202" y="205"/>
                    </a:lnTo>
                    <a:lnTo>
                      <a:pt x="2199" y="205"/>
                    </a:lnTo>
                    <a:lnTo>
                      <a:pt x="2198" y="205"/>
                    </a:lnTo>
                    <a:lnTo>
                      <a:pt x="2195" y="205"/>
                    </a:lnTo>
                    <a:lnTo>
                      <a:pt x="2192" y="203"/>
                    </a:lnTo>
                    <a:lnTo>
                      <a:pt x="2189" y="203"/>
                    </a:lnTo>
                    <a:lnTo>
                      <a:pt x="2186" y="203"/>
                    </a:lnTo>
                    <a:lnTo>
                      <a:pt x="2186" y="203"/>
                    </a:lnTo>
                    <a:lnTo>
                      <a:pt x="2185" y="203"/>
                    </a:lnTo>
                    <a:lnTo>
                      <a:pt x="2183" y="205"/>
                    </a:lnTo>
                    <a:lnTo>
                      <a:pt x="2183" y="205"/>
                    </a:lnTo>
                    <a:lnTo>
                      <a:pt x="2183" y="206"/>
                    </a:lnTo>
                    <a:lnTo>
                      <a:pt x="2183" y="208"/>
                    </a:lnTo>
                    <a:lnTo>
                      <a:pt x="2182" y="208"/>
                    </a:lnTo>
                    <a:lnTo>
                      <a:pt x="2182" y="208"/>
                    </a:lnTo>
                    <a:lnTo>
                      <a:pt x="2181" y="208"/>
                    </a:lnTo>
                    <a:lnTo>
                      <a:pt x="2179" y="208"/>
                    </a:lnTo>
                    <a:lnTo>
                      <a:pt x="2178" y="208"/>
                    </a:lnTo>
                    <a:lnTo>
                      <a:pt x="2179" y="208"/>
                    </a:lnTo>
                    <a:lnTo>
                      <a:pt x="2181" y="209"/>
                    </a:lnTo>
                    <a:lnTo>
                      <a:pt x="2182" y="209"/>
                    </a:lnTo>
                    <a:lnTo>
                      <a:pt x="2183" y="209"/>
                    </a:lnTo>
                    <a:lnTo>
                      <a:pt x="2185" y="209"/>
                    </a:lnTo>
                    <a:lnTo>
                      <a:pt x="2186" y="209"/>
                    </a:lnTo>
                    <a:lnTo>
                      <a:pt x="2188" y="208"/>
                    </a:lnTo>
                    <a:lnTo>
                      <a:pt x="2189" y="208"/>
                    </a:lnTo>
                    <a:lnTo>
                      <a:pt x="2191" y="208"/>
                    </a:lnTo>
                    <a:lnTo>
                      <a:pt x="2194" y="208"/>
                    </a:lnTo>
                    <a:lnTo>
                      <a:pt x="2198" y="208"/>
                    </a:lnTo>
                    <a:lnTo>
                      <a:pt x="2204" y="208"/>
                    </a:lnTo>
                    <a:lnTo>
                      <a:pt x="2207" y="208"/>
                    </a:lnTo>
                    <a:lnTo>
                      <a:pt x="2209" y="208"/>
                    </a:lnTo>
                    <a:lnTo>
                      <a:pt x="2209" y="208"/>
                    </a:lnTo>
                    <a:lnTo>
                      <a:pt x="2211" y="208"/>
                    </a:lnTo>
                    <a:lnTo>
                      <a:pt x="2211" y="208"/>
                    </a:lnTo>
                    <a:lnTo>
                      <a:pt x="2211" y="209"/>
                    </a:lnTo>
                    <a:lnTo>
                      <a:pt x="2211" y="211"/>
                    </a:lnTo>
                    <a:lnTo>
                      <a:pt x="2211" y="211"/>
                    </a:lnTo>
                    <a:lnTo>
                      <a:pt x="2211" y="212"/>
                    </a:lnTo>
                    <a:lnTo>
                      <a:pt x="2212" y="213"/>
                    </a:lnTo>
                    <a:lnTo>
                      <a:pt x="2214" y="213"/>
                    </a:lnTo>
                    <a:lnTo>
                      <a:pt x="2215" y="213"/>
                    </a:lnTo>
                    <a:lnTo>
                      <a:pt x="2217" y="213"/>
                    </a:lnTo>
                    <a:lnTo>
                      <a:pt x="2218" y="215"/>
                    </a:lnTo>
                    <a:lnTo>
                      <a:pt x="2220" y="215"/>
                    </a:lnTo>
                    <a:lnTo>
                      <a:pt x="2220" y="216"/>
                    </a:lnTo>
                    <a:lnTo>
                      <a:pt x="2204" y="216"/>
                    </a:lnTo>
                    <a:lnTo>
                      <a:pt x="2207" y="216"/>
                    </a:lnTo>
                    <a:lnTo>
                      <a:pt x="2208" y="218"/>
                    </a:lnTo>
                    <a:lnTo>
                      <a:pt x="2209" y="218"/>
                    </a:lnTo>
                    <a:lnTo>
                      <a:pt x="2211" y="218"/>
                    </a:lnTo>
                    <a:lnTo>
                      <a:pt x="2211" y="219"/>
                    </a:lnTo>
                    <a:lnTo>
                      <a:pt x="2211" y="219"/>
                    </a:lnTo>
                    <a:lnTo>
                      <a:pt x="2209" y="219"/>
                    </a:lnTo>
                    <a:lnTo>
                      <a:pt x="2209" y="219"/>
                    </a:lnTo>
                    <a:lnTo>
                      <a:pt x="2209" y="219"/>
                    </a:lnTo>
                    <a:lnTo>
                      <a:pt x="2211" y="221"/>
                    </a:lnTo>
                    <a:lnTo>
                      <a:pt x="2212" y="221"/>
                    </a:lnTo>
                    <a:lnTo>
                      <a:pt x="2214" y="221"/>
                    </a:lnTo>
                    <a:lnTo>
                      <a:pt x="2215" y="221"/>
                    </a:lnTo>
                    <a:lnTo>
                      <a:pt x="2217" y="221"/>
                    </a:lnTo>
                    <a:lnTo>
                      <a:pt x="2221" y="221"/>
                    </a:lnTo>
                    <a:lnTo>
                      <a:pt x="2225" y="221"/>
                    </a:lnTo>
                    <a:lnTo>
                      <a:pt x="2227" y="221"/>
                    </a:lnTo>
                    <a:lnTo>
                      <a:pt x="2228" y="219"/>
                    </a:lnTo>
                    <a:lnTo>
                      <a:pt x="2230" y="219"/>
                    </a:lnTo>
                    <a:lnTo>
                      <a:pt x="2231" y="218"/>
                    </a:lnTo>
                    <a:lnTo>
                      <a:pt x="2231" y="218"/>
                    </a:lnTo>
                    <a:lnTo>
                      <a:pt x="2231" y="216"/>
                    </a:lnTo>
                    <a:lnTo>
                      <a:pt x="2231" y="213"/>
                    </a:lnTo>
                    <a:lnTo>
                      <a:pt x="2231" y="212"/>
                    </a:lnTo>
                    <a:lnTo>
                      <a:pt x="2231" y="211"/>
                    </a:lnTo>
                    <a:lnTo>
                      <a:pt x="2233" y="209"/>
                    </a:lnTo>
                    <a:lnTo>
                      <a:pt x="2233" y="208"/>
                    </a:lnTo>
                    <a:lnTo>
                      <a:pt x="2234" y="206"/>
                    </a:lnTo>
                    <a:lnTo>
                      <a:pt x="2235" y="206"/>
                    </a:lnTo>
                    <a:lnTo>
                      <a:pt x="2237" y="205"/>
                    </a:lnTo>
                    <a:lnTo>
                      <a:pt x="2241" y="205"/>
                    </a:lnTo>
                    <a:lnTo>
                      <a:pt x="2244" y="205"/>
                    </a:lnTo>
                    <a:lnTo>
                      <a:pt x="2247" y="206"/>
                    </a:lnTo>
                    <a:lnTo>
                      <a:pt x="2248" y="206"/>
                    </a:lnTo>
                    <a:lnTo>
                      <a:pt x="2253" y="206"/>
                    </a:lnTo>
                    <a:lnTo>
                      <a:pt x="2256" y="208"/>
                    </a:lnTo>
                    <a:lnTo>
                      <a:pt x="2257" y="208"/>
                    </a:lnTo>
                    <a:lnTo>
                      <a:pt x="2263" y="208"/>
                    </a:lnTo>
                    <a:lnTo>
                      <a:pt x="2267" y="208"/>
                    </a:lnTo>
                    <a:lnTo>
                      <a:pt x="2273" y="208"/>
                    </a:lnTo>
                    <a:lnTo>
                      <a:pt x="2277" y="209"/>
                    </a:lnTo>
                    <a:lnTo>
                      <a:pt x="2286" y="211"/>
                    </a:lnTo>
                    <a:lnTo>
                      <a:pt x="2295" y="213"/>
                    </a:lnTo>
                    <a:lnTo>
                      <a:pt x="2296" y="213"/>
                    </a:lnTo>
                    <a:lnTo>
                      <a:pt x="2297" y="213"/>
                    </a:lnTo>
                    <a:lnTo>
                      <a:pt x="2300" y="215"/>
                    </a:lnTo>
                    <a:lnTo>
                      <a:pt x="2300" y="216"/>
                    </a:lnTo>
                    <a:lnTo>
                      <a:pt x="2302" y="218"/>
                    </a:lnTo>
                    <a:lnTo>
                      <a:pt x="2302" y="218"/>
                    </a:lnTo>
                    <a:lnTo>
                      <a:pt x="2302" y="218"/>
                    </a:lnTo>
                    <a:lnTo>
                      <a:pt x="2302" y="219"/>
                    </a:lnTo>
                    <a:lnTo>
                      <a:pt x="2302" y="219"/>
                    </a:lnTo>
                    <a:lnTo>
                      <a:pt x="2300" y="219"/>
                    </a:lnTo>
                    <a:lnTo>
                      <a:pt x="2300" y="219"/>
                    </a:lnTo>
                    <a:lnTo>
                      <a:pt x="2299" y="219"/>
                    </a:lnTo>
                    <a:lnTo>
                      <a:pt x="2295" y="218"/>
                    </a:lnTo>
                    <a:lnTo>
                      <a:pt x="2292" y="216"/>
                    </a:lnTo>
                    <a:lnTo>
                      <a:pt x="2290" y="216"/>
                    </a:lnTo>
                    <a:lnTo>
                      <a:pt x="2289" y="216"/>
                    </a:lnTo>
                    <a:lnTo>
                      <a:pt x="2289" y="218"/>
                    </a:lnTo>
                    <a:lnTo>
                      <a:pt x="2289" y="218"/>
                    </a:lnTo>
                    <a:lnTo>
                      <a:pt x="2289" y="219"/>
                    </a:lnTo>
                    <a:lnTo>
                      <a:pt x="2287" y="219"/>
                    </a:lnTo>
                    <a:lnTo>
                      <a:pt x="2287" y="219"/>
                    </a:lnTo>
                    <a:lnTo>
                      <a:pt x="2286" y="219"/>
                    </a:lnTo>
                    <a:lnTo>
                      <a:pt x="2284" y="219"/>
                    </a:lnTo>
                    <a:lnTo>
                      <a:pt x="2284" y="219"/>
                    </a:lnTo>
                    <a:lnTo>
                      <a:pt x="2283" y="219"/>
                    </a:lnTo>
                    <a:lnTo>
                      <a:pt x="2284" y="221"/>
                    </a:lnTo>
                    <a:lnTo>
                      <a:pt x="2286" y="222"/>
                    </a:lnTo>
                    <a:lnTo>
                      <a:pt x="2287" y="222"/>
                    </a:lnTo>
                    <a:lnTo>
                      <a:pt x="2289" y="223"/>
                    </a:lnTo>
                    <a:lnTo>
                      <a:pt x="2290" y="223"/>
                    </a:lnTo>
                    <a:lnTo>
                      <a:pt x="2293" y="223"/>
                    </a:lnTo>
                    <a:lnTo>
                      <a:pt x="2296" y="223"/>
                    </a:lnTo>
                    <a:lnTo>
                      <a:pt x="2300" y="223"/>
                    </a:lnTo>
                    <a:lnTo>
                      <a:pt x="2303" y="223"/>
                    </a:lnTo>
                    <a:lnTo>
                      <a:pt x="2305" y="223"/>
                    </a:lnTo>
                    <a:lnTo>
                      <a:pt x="2306" y="223"/>
                    </a:lnTo>
                    <a:lnTo>
                      <a:pt x="2308" y="223"/>
                    </a:lnTo>
                    <a:lnTo>
                      <a:pt x="2309" y="225"/>
                    </a:lnTo>
                    <a:lnTo>
                      <a:pt x="2312" y="225"/>
                    </a:lnTo>
                    <a:lnTo>
                      <a:pt x="2313" y="225"/>
                    </a:lnTo>
                    <a:lnTo>
                      <a:pt x="2315" y="226"/>
                    </a:lnTo>
                    <a:lnTo>
                      <a:pt x="2316" y="226"/>
                    </a:lnTo>
                    <a:lnTo>
                      <a:pt x="2318" y="226"/>
                    </a:lnTo>
                    <a:lnTo>
                      <a:pt x="2319" y="226"/>
                    </a:lnTo>
                    <a:lnTo>
                      <a:pt x="2320" y="226"/>
                    </a:lnTo>
                    <a:lnTo>
                      <a:pt x="2323" y="228"/>
                    </a:lnTo>
                    <a:lnTo>
                      <a:pt x="2325" y="228"/>
                    </a:lnTo>
                    <a:lnTo>
                      <a:pt x="2326" y="228"/>
                    </a:lnTo>
                    <a:lnTo>
                      <a:pt x="2328" y="228"/>
                    </a:lnTo>
                    <a:lnTo>
                      <a:pt x="2328" y="229"/>
                    </a:lnTo>
                    <a:lnTo>
                      <a:pt x="2328" y="231"/>
                    </a:lnTo>
                    <a:lnTo>
                      <a:pt x="2326" y="231"/>
                    </a:lnTo>
                    <a:lnTo>
                      <a:pt x="2325" y="232"/>
                    </a:lnTo>
                    <a:lnTo>
                      <a:pt x="2323" y="234"/>
                    </a:lnTo>
                    <a:lnTo>
                      <a:pt x="2325" y="234"/>
                    </a:lnTo>
                    <a:lnTo>
                      <a:pt x="2326" y="234"/>
                    </a:lnTo>
                    <a:lnTo>
                      <a:pt x="2329" y="234"/>
                    </a:lnTo>
                    <a:lnTo>
                      <a:pt x="2331" y="232"/>
                    </a:lnTo>
                    <a:lnTo>
                      <a:pt x="2332" y="232"/>
                    </a:lnTo>
                    <a:lnTo>
                      <a:pt x="2333" y="231"/>
                    </a:lnTo>
                    <a:lnTo>
                      <a:pt x="2335" y="231"/>
                    </a:lnTo>
                    <a:lnTo>
                      <a:pt x="2336" y="229"/>
                    </a:lnTo>
                    <a:lnTo>
                      <a:pt x="2338" y="229"/>
                    </a:lnTo>
                    <a:lnTo>
                      <a:pt x="2339" y="229"/>
                    </a:lnTo>
                    <a:lnTo>
                      <a:pt x="2341" y="229"/>
                    </a:lnTo>
                    <a:lnTo>
                      <a:pt x="2345" y="229"/>
                    </a:lnTo>
                    <a:lnTo>
                      <a:pt x="2348" y="231"/>
                    </a:lnTo>
                    <a:lnTo>
                      <a:pt x="2349" y="231"/>
                    </a:lnTo>
                    <a:lnTo>
                      <a:pt x="2352" y="231"/>
                    </a:lnTo>
                    <a:lnTo>
                      <a:pt x="2355" y="232"/>
                    </a:lnTo>
                    <a:lnTo>
                      <a:pt x="2362" y="234"/>
                    </a:lnTo>
                    <a:lnTo>
                      <a:pt x="2365" y="235"/>
                    </a:lnTo>
                    <a:lnTo>
                      <a:pt x="2368" y="235"/>
                    </a:lnTo>
                    <a:lnTo>
                      <a:pt x="2370" y="238"/>
                    </a:lnTo>
                    <a:lnTo>
                      <a:pt x="2372" y="239"/>
                    </a:lnTo>
                    <a:lnTo>
                      <a:pt x="2364" y="239"/>
                    </a:lnTo>
                    <a:lnTo>
                      <a:pt x="2370" y="241"/>
                    </a:lnTo>
                    <a:lnTo>
                      <a:pt x="2374" y="242"/>
                    </a:lnTo>
                    <a:lnTo>
                      <a:pt x="2381" y="242"/>
                    </a:lnTo>
                    <a:lnTo>
                      <a:pt x="2387" y="244"/>
                    </a:lnTo>
                    <a:lnTo>
                      <a:pt x="2393" y="244"/>
                    </a:lnTo>
                    <a:lnTo>
                      <a:pt x="2398" y="244"/>
                    </a:lnTo>
                    <a:lnTo>
                      <a:pt x="2404" y="242"/>
                    </a:lnTo>
                    <a:lnTo>
                      <a:pt x="2410" y="242"/>
                    </a:lnTo>
                    <a:lnTo>
                      <a:pt x="2421" y="239"/>
                    </a:lnTo>
                    <a:lnTo>
                      <a:pt x="2436" y="238"/>
                    </a:lnTo>
                    <a:lnTo>
                      <a:pt x="2442" y="238"/>
                    </a:lnTo>
                    <a:lnTo>
                      <a:pt x="2447" y="236"/>
                    </a:lnTo>
                    <a:lnTo>
                      <a:pt x="2455" y="236"/>
                    </a:lnTo>
                    <a:lnTo>
                      <a:pt x="2460" y="236"/>
                    </a:lnTo>
                    <a:lnTo>
                      <a:pt x="2468" y="238"/>
                    </a:lnTo>
                    <a:lnTo>
                      <a:pt x="2473" y="238"/>
                    </a:lnTo>
                    <a:lnTo>
                      <a:pt x="2486" y="239"/>
                    </a:lnTo>
                    <a:lnTo>
                      <a:pt x="2499" y="241"/>
                    </a:lnTo>
                    <a:lnTo>
                      <a:pt x="2507" y="241"/>
                    </a:lnTo>
                    <a:lnTo>
                      <a:pt x="2512" y="242"/>
                    </a:lnTo>
                    <a:lnTo>
                      <a:pt x="2515" y="242"/>
                    </a:lnTo>
                    <a:lnTo>
                      <a:pt x="2518" y="244"/>
                    </a:lnTo>
                    <a:lnTo>
                      <a:pt x="2524" y="247"/>
                    </a:lnTo>
                    <a:lnTo>
                      <a:pt x="2530" y="248"/>
                    </a:lnTo>
                    <a:lnTo>
                      <a:pt x="2532" y="249"/>
                    </a:lnTo>
                    <a:lnTo>
                      <a:pt x="2535" y="251"/>
                    </a:lnTo>
                    <a:lnTo>
                      <a:pt x="2538" y="252"/>
                    </a:lnTo>
                    <a:lnTo>
                      <a:pt x="2541" y="254"/>
                    </a:lnTo>
                    <a:lnTo>
                      <a:pt x="2544" y="255"/>
                    </a:lnTo>
                    <a:lnTo>
                      <a:pt x="2547" y="257"/>
                    </a:lnTo>
                    <a:lnTo>
                      <a:pt x="2551" y="260"/>
                    </a:lnTo>
                    <a:lnTo>
                      <a:pt x="2554" y="261"/>
                    </a:lnTo>
                    <a:lnTo>
                      <a:pt x="2556" y="261"/>
                    </a:lnTo>
                    <a:lnTo>
                      <a:pt x="2556" y="264"/>
                    </a:lnTo>
                    <a:lnTo>
                      <a:pt x="2556" y="265"/>
                    </a:lnTo>
                    <a:lnTo>
                      <a:pt x="2557" y="267"/>
                    </a:lnTo>
                    <a:lnTo>
                      <a:pt x="2557" y="267"/>
                    </a:lnTo>
                    <a:lnTo>
                      <a:pt x="2557" y="268"/>
                    </a:lnTo>
                    <a:lnTo>
                      <a:pt x="2558" y="268"/>
                    </a:lnTo>
                    <a:lnTo>
                      <a:pt x="2560" y="268"/>
                    </a:lnTo>
                    <a:lnTo>
                      <a:pt x="2561" y="270"/>
                    </a:lnTo>
                    <a:lnTo>
                      <a:pt x="2564" y="270"/>
                    </a:lnTo>
                    <a:lnTo>
                      <a:pt x="2566" y="270"/>
                    </a:lnTo>
                    <a:lnTo>
                      <a:pt x="2569" y="271"/>
                    </a:lnTo>
                    <a:lnTo>
                      <a:pt x="2571" y="271"/>
                    </a:lnTo>
                    <a:lnTo>
                      <a:pt x="2573" y="271"/>
                    </a:lnTo>
                    <a:lnTo>
                      <a:pt x="2576" y="271"/>
                    </a:lnTo>
                    <a:lnTo>
                      <a:pt x="2577" y="273"/>
                    </a:lnTo>
                    <a:lnTo>
                      <a:pt x="2583" y="274"/>
                    </a:lnTo>
                    <a:lnTo>
                      <a:pt x="2589" y="274"/>
                    </a:lnTo>
                    <a:lnTo>
                      <a:pt x="2590" y="275"/>
                    </a:lnTo>
                    <a:lnTo>
                      <a:pt x="2593" y="275"/>
                    </a:lnTo>
                    <a:lnTo>
                      <a:pt x="2595" y="277"/>
                    </a:lnTo>
                    <a:lnTo>
                      <a:pt x="2595" y="277"/>
                    </a:lnTo>
                    <a:lnTo>
                      <a:pt x="2597" y="277"/>
                    </a:lnTo>
                    <a:lnTo>
                      <a:pt x="2599" y="277"/>
                    </a:lnTo>
                    <a:lnTo>
                      <a:pt x="2602" y="275"/>
                    </a:lnTo>
                    <a:lnTo>
                      <a:pt x="2605" y="274"/>
                    </a:lnTo>
                    <a:lnTo>
                      <a:pt x="2607" y="274"/>
                    </a:lnTo>
                    <a:lnTo>
                      <a:pt x="2610" y="274"/>
                    </a:lnTo>
                    <a:lnTo>
                      <a:pt x="2612" y="274"/>
                    </a:lnTo>
                    <a:lnTo>
                      <a:pt x="2618" y="274"/>
                    </a:lnTo>
                    <a:lnTo>
                      <a:pt x="2622" y="274"/>
                    </a:lnTo>
                    <a:lnTo>
                      <a:pt x="2625" y="274"/>
                    </a:lnTo>
                    <a:lnTo>
                      <a:pt x="2628" y="274"/>
                    </a:lnTo>
                    <a:lnTo>
                      <a:pt x="2629" y="274"/>
                    </a:lnTo>
                    <a:lnTo>
                      <a:pt x="2632" y="274"/>
                    </a:lnTo>
                    <a:lnTo>
                      <a:pt x="2635" y="274"/>
                    </a:lnTo>
                    <a:lnTo>
                      <a:pt x="2638" y="273"/>
                    </a:lnTo>
                    <a:lnTo>
                      <a:pt x="2644" y="273"/>
                    </a:lnTo>
                    <a:lnTo>
                      <a:pt x="2646" y="273"/>
                    </a:lnTo>
                    <a:lnTo>
                      <a:pt x="2648" y="273"/>
                    </a:lnTo>
                    <a:lnTo>
                      <a:pt x="2651" y="273"/>
                    </a:lnTo>
                    <a:lnTo>
                      <a:pt x="2652" y="274"/>
                    </a:lnTo>
                    <a:lnTo>
                      <a:pt x="2658" y="274"/>
                    </a:lnTo>
                    <a:lnTo>
                      <a:pt x="2664" y="274"/>
                    </a:lnTo>
                    <a:lnTo>
                      <a:pt x="2670" y="274"/>
                    </a:lnTo>
                    <a:lnTo>
                      <a:pt x="2674" y="274"/>
                    </a:lnTo>
                    <a:lnTo>
                      <a:pt x="2680" y="274"/>
                    </a:lnTo>
                    <a:lnTo>
                      <a:pt x="2685" y="274"/>
                    </a:lnTo>
                    <a:lnTo>
                      <a:pt x="2691" y="275"/>
                    </a:lnTo>
                    <a:lnTo>
                      <a:pt x="2695" y="275"/>
                    </a:lnTo>
                    <a:lnTo>
                      <a:pt x="2698" y="277"/>
                    </a:lnTo>
                    <a:lnTo>
                      <a:pt x="2701" y="278"/>
                    </a:lnTo>
                    <a:lnTo>
                      <a:pt x="2704" y="278"/>
                    </a:lnTo>
                    <a:lnTo>
                      <a:pt x="2707" y="278"/>
                    </a:lnTo>
                    <a:lnTo>
                      <a:pt x="2710" y="278"/>
                    </a:lnTo>
                    <a:lnTo>
                      <a:pt x="2711" y="278"/>
                    </a:lnTo>
                    <a:lnTo>
                      <a:pt x="2713" y="277"/>
                    </a:lnTo>
                    <a:lnTo>
                      <a:pt x="2714" y="277"/>
                    </a:lnTo>
                    <a:lnTo>
                      <a:pt x="2714" y="275"/>
                    </a:lnTo>
                    <a:lnTo>
                      <a:pt x="2716" y="274"/>
                    </a:lnTo>
                    <a:lnTo>
                      <a:pt x="2716" y="274"/>
                    </a:lnTo>
                    <a:lnTo>
                      <a:pt x="2716" y="273"/>
                    </a:lnTo>
                    <a:lnTo>
                      <a:pt x="2717" y="273"/>
                    </a:lnTo>
                    <a:lnTo>
                      <a:pt x="2719" y="273"/>
                    </a:lnTo>
                    <a:lnTo>
                      <a:pt x="2720" y="273"/>
                    </a:lnTo>
                    <a:lnTo>
                      <a:pt x="2723" y="273"/>
                    </a:lnTo>
                    <a:lnTo>
                      <a:pt x="2724" y="273"/>
                    </a:lnTo>
                    <a:lnTo>
                      <a:pt x="2729" y="274"/>
                    </a:lnTo>
                    <a:lnTo>
                      <a:pt x="2733" y="275"/>
                    </a:lnTo>
                    <a:lnTo>
                      <a:pt x="2734" y="277"/>
                    </a:lnTo>
                    <a:lnTo>
                      <a:pt x="2737" y="277"/>
                    </a:lnTo>
                    <a:lnTo>
                      <a:pt x="2739" y="278"/>
                    </a:lnTo>
                    <a:lnTo>
                      <a:pt x="2740" y="278"/>
                    </a:lnTo>
                    <a:lnTo>
                      <a:pt x="2742" y="278"/>
                    </a:lnTo>
                    <a:lnTo>
                      <a:pt x="2742" y="278"/>
                    </a:lnTo>
                    <a:lnTo>
                      <a:pt x="2743" y="280"/>
                    </a:lnTo>
                    <a:lnTo>
                      <a:pt x="2746" y="281"/>
                    </a:lnTo>
                    <a:lnTo>
                      <a:pt x="2747" y="283"/>
                    </a:lnTo>
                    <a:lnTo>
                      <a:pt x="2749" y="284"/>
                    </a:lnTo>
                    <a:lnTo>
                      <a:pt x="2753" y="285"/>
                    </a:lnTo>
                    <a:lnTo>
                      <a:pt x="2757" y="285"/>
                    </a:lnTo>
                    <a:lnTo>
                      <a:pt x="2763" y="285"/>
                    </a:lnTo>
                    <a:lnTo>
                      <a:pt x="2768" y="287"/>
                    </a:lnTo>
                    <a:lnTo>
                      <a:pt x="2772" y="287"/>
                    </a:lnTo>
                    <a:lnTo>
                      <a:pt x="2776" y="288"/>
                    </a:lnTo>
                    <a:lnTo>
                      <a:pt x="2778" y="288"/>
                    </a:lnTo>
                    <a:lnTo>
                      <a:pt x="2781" y="290"/>
                    </a:lnTo>
                    <a:lnTo>
                      <a:pt x="2783" y="293"/>
                    </a:lnTo>
                    <a:lnTo>
                      <a:pt x="2785" y="294"/>
                    </a:lnTo>
                    <a:lnTo>
                      <a:pt x="2786" y="296"/>
                    </a:lnTo>
                    <a:lnTo>
                      <a:pt x="2788" y="296"/>
                    </a:lnTo>
                    <a:lnTo>
                      <a:pt x="2791" y="296"/>
                    </a:lnTo>
                    <a:lnTo>
                      <a:pt x="2792" y="297"/>
                    </a:lnTo>
                    <a:lnTo>
                      <a:pt x="2792" y="297"/>
                    </a:lnTo>
                    <a:lnTo>
                      <a:pt x="2795" y="297"/>
                    </a:lnTo>
                    <a:lnTo>
                      <a:pt x="2798" y="297"/>
                    </a:lnTo>
                    <a:lnTo>
                      <a:pt x="2801" y="296"/>
                    </a:lnTo>
                    <a:lnTo>
                      <a:pt x="2804" y="296"/>
                    </a:lnTo>
                    <a:lnTo>
                      <a:pt x="2807" y="296"/>
                    </a:lnTo>
                    <a:lnTo>
                      <a:pt x="2808" y="296"/>
                    </a:lnTo>
                    <a:lnTo>
                      <a:pt x="2808" y="294"/>
                    </a:lnTo>
                    <a:lnTo>
                      <a:pt x="2808" y="294"/>
                    </a:lnTo>
                    <a:lnTo>
                      <a:pt x="2808" y="293"/>
                    </a:lnTo>
                    <a:lnTo>
                      <a:pt x="2808" y="293"/>
                    </a:lnTo>
                    <a:lnTo>
                      <a:pt x="2808" y="293"/>
                    </a:lnTo>
                    <a:lnTo>
                      <a:pt x="2809" y="291"/>
                    </a:lnTo>
                    <a:lnTo>
                      <a:pt x="2809" y="291"/>
                    </a:lnTo>
                    <a:lnTo>
                      <a:pt x="2811" y="291"/>
                    </a:lnTo>
                    <a:lnTo>
                      <a:pt x="2807" y="288"/>
                    </a:lnTo>
                    <a:lnTo>
                      <a:pt x="2804" y="287"/>
                    </a:lnTo>
                    <a:lnTo>
                      <a:pt x="2798" y="283"/>
                    </a:lnTo>
                    <a:lnTo>
                      <a:pt x="2791" y="280"/>
                    </a:lnTo>
                    <a:lnTo>
                      <a:pt x="2788" y="278"/>
                    </a:lnTo>
                    <a:lnTo>
                      <a:pt x="2785" y="275"/>
                    </a:lnTo>
                    <a:lnTo>
                      <a:pt x="2783" y="275"/>
                    </a:lnTo>
                    <a:lnTo>
                      <a:pt x="2781" y="275"/>
                    </a:lnTo>
                    <a:lnTo>
                      <a:pt x="2779" y="275"/>
                    </a:lnTo>
                    <a:lnTo>
                      <a:pt x="2778" y="275"/>
                    </a:lnTo>
                    <a:lnTo>
                      <a:pt x="2775" y="275"/>
                    </a:lnTo>
                    <a:lnTo>
                      <a:pt x="2773" y="275"/>
                    </a:lnTo>
                    <a:lnTo>
                      <a:pt x="2772" y="275"/>
                    </a:lnTo>
                    <a:lnTo>
                      <a:pt x="2772" y="275"/>
                    </a:lnTo>
                    <a:lnTo>
                      <a:pt x="2770" y="274"/>
                    </a:lnTo>
                    <a:lnTo>
                      <a:pt x="2770" y="274"/>
                    </a:lnTo>
                    <a:lnTo>
                      <a:pt x="2770" y="273"/>
                    </a:lnTo>
                    <a:lnTo>
                      <a:pt x="2772" y="271"/>
                    </a:lnTo>
                    <a:lnTo>
                      <a:pt x="2772" y="271"/>
                    </a:lnTo>
                    <a:lnTo>
                      <a:pt x="2773" y="271"/>
                    </a:lnTo>
                    <a:lnTo>
                      <a:pt x="2772" y="270"/>
                    </a:lnTo>
                    <a:lnTo>
                      <a:pt x="2770" y="268"/>
                    </a:lnTo>
                    <a:lnTo>
                      <a:pt x="2769" y="267"/>
                    </a:lnTo>
                    <a:lnTo>
                      <a:pt x="2768" y="265"/>
                    </a:lnTo>
                    <a:lnTo>
                      <a:pt x="2766" y="264"/>
                    </a:lnTo>
                    <a:lnTo>
                      <a:pt x="2763" y="262"/>
                    </a:lnTo>
                    <a:lnTo>
                      <a:pt x="2762" y="262"/>
                    </a:lnTo>
                    <a:lnTo>
                      <a:pt x="2759" y="261"/>
                    </a:lnTo>
                    <a:lnTo>
                      <a:pt x="2765" y="262"/>
                    </a:lnTo>
                    <a:lnTo>
                      <a:pt x="2769" y="262"/>
                    </a:lnTo>
                    <a:lnTo>
                      <a:pt x="2781" y="262"/>
                    </a:lnTo>
                    <a:lnTo>
                      <a:pt x="2791" y="264"/>
                    </a:lnTo>
                    <a:lnTo>
                      <a:pt x="2796" y="264"/>
                    </a:lnTo>
                    <a:lnTo>
                      <a:pt x="2802" y="265"/>
                    </a:lnTo>
                    <a:lnTo>
                      <a:pt x="2804" y="265"/>
                    </a:lnTo>
                    <a:lnTo>
                      <a:pt x="2805" y="265"/>
                    </a:lnTo>
                    <a:lnTo>
                      <a:pt x="2809" y="265"/>
                    </a:lnTo>
                    <a:lnTo>
                      <a:pt x="2811" y="265"/>
                    </a:lnTo>
                    <a:lnTo>
                      <a:pt x="2812" y="265"/>
                    </a:lnTo>
                    <a:lnTo>
                      <a:pt x="2814" y="267"/>
                    </a:lnTo>
                    <a:lnTo>
                      <a:pt x="2817" y="268"/>
                    </a:lnTo>
                    <a:lnTo>
                      <a:pt x="2818" y="268"/>
                    </a:lnTo>
                    <a:lnTo>
                      <a:pt x="2819" y="268"/>
                    </a:lnTo>
                    <a:lnTo>
                      <a:pt x="2819" y="270"/>
                    </a:lnTo>
                    <a:lnTo>
                      <a:pt x="2822" y="270"/>
                    </a:lnTo>
                    <a:lnTo>
                      <a:pt x="2824" y="270"/>
                    </a:lnTo>
                    <a:lnTo>
                      <a:pt x="2825" y="270"/>
                    </a:lnTo>
                    <a:lnTo>
                      <a:pt x="2825" y="270"/>
                    </a:lnTo>
                    <a:lnTo>
                      <a:pt x="2827" y="270"/>
                    </a:lnTo>
                    <a:lnTo>
                      <a:pt x="2827" y="268"/>
                    </a:lnTo>
                    <a:lnTo>
                      <a:pt x="2828" y="268"/>
                    </a:lnTo>
                    <a:lnTo>
                      <a:pt x="2819" y="268"/>
                    </a:lnTo>
                    <a:lnTo>
                      <a:pt x="2821" y="267"/>
                    </a:lnTo>
                    <a:lnTo>
                      <a:pt x="2824" y="267"/>
                    </a:lnTo>
                    <a:lnTo>
                      <a:pt x="2825" y="267"/>
                    </a:lnTo>
                    <a:lnTo>
                      <a:pt x="2828" y="267"/>
                    </a:lnTo>
                    <a:lnTo>
                      <a:pt x="2832" y="267"/>
                    </a:lnTo>
                    <a:lnTo>
                      <a:pt x="2834" y="268"/>
                    </a:lnTo>
                    <a:lnTo>
                      <a:pt x="2837" y="268"/>
                    </a:lnTo>
                    <a:lnTo>
                      <a:pt x="2854" y="268"/>
                    </a:lnTo>
                    <a:lnTo>
                      <a:pt x="2861" y="268"/>
                    </a:lnTo>
                    <a:lnTo>
                      <a:pt x="2871" y="268"/>
                    </a:lnTo>
                    <a:lnTo>
                      <a:pt x="2874" y="268"/>
                    </a:lnTo>
                    <a:lnTo>
                      <a:pt x="2879" y="270"/>
                    </a:lnTo>
                    <a:lnTo>
                      <a:pt x="2884" y="270"/>
                    </a:lnTo>
                    <a:lnTo>
                      <a:pt x="2889" y="271"/>
                    </a:lnTo>
                    <a:lnTo>
                      <a:pt x="2892" y="271"/>
                    </a:lnTo>
                    <a:lnTo>
                      <a:pt x="2896" y="273"/>
                    </a:lnTo>
                    <a:lnTo>
                      <a:pt x="2906" y="274"/>
                    </a:lnTo>
                    <a:lnTo>
                      <a:pt x="2913" y="274"/>
                    </a:lnTo>
                    <a:lnTo>
                      <a:pt x="2918" y="275"/>
                    </a:lnTo>
                    <a:lnTo>
                      <a:pt x="2922" y="275"/>
                    </a:lnTo>
                    <a:lnTo>
                      <a:pt x="2926" y="277"/>
                    </a:lnTo>
                    <a:lnTo>
                      <a:pt x="2931" y="277"/>
                    </a:lnTo>
                    <a:lnTo>
                      <a:pt x="2935" y="277"/>
                    </a:lnTo>
                    <a:lnTo>
                      <a:pt x="2939" y="278"/>
                    </a:lnTo>
                    <a:lnTo>
                      <a:pt x="2944" y="278"/>
                    </a:lnTo>
                    <a:lnTo>
                      <a:pt x="2948" y="278"/>
                    </a:lnTo>
                    <a:lnTo>
                      <a:pt x="2952" y="280"/>
                    </a:lnTo>
                    <a:lnTo>
                      <a:pt x="2955" y="281"/>
                    </a:lnTo>
                    <a:lnTo>
                      <a:pt x="2956" y="281"/>
                    </a:lnTo>
                    <a:lnTo>
                      <a:pt x="2948" y="281"/>
                    </a:lnTo>
                    <a:lnTo>
                      <a:pt x="2951" y="283"/>
                    </a:lnTo>
                    <a:lnTo>
                      <a:pt x="2952" y="283"/>
                    </a:lnTo>
                    <a:lnTo>
                      <a:pt x="2955" y="283"/>
                    </a:lnTo>
                    <a:lnTo>
                      <a:pt x="2956" y="283"/>
                    </a:lnTo>
                    <a:lnTo>
                      <a:pt x="2958" y="283"/>
                    </a:lnTo>
                    <a:lnTo>
                      <a:pt x="2961" y="284"/>
                    </a:lnTo>
                    <a:lnTo>
                      <a:pt x="2962" y="284"/>
                    </a:lnTo>
                    <a:lnTo>
                      <a:pt x="2965" y="285"/>
                    </a:lnTo>
                    <a:lnTo>
                      <a:pt x="2968" y="285"/>
                    </a:lnTo>
                    <a:lnTo>
                      <a:pt x="2969" y="287"/>
                    </a:lnTo>
                    <a:lnTo>
                      <a:pt x="2975" y="288"/>
                    </a:lnTo>
                    <a:lnTo>
                      <a:pt x="2981" y="288"/>
                    </a:lnTo>
                    <a:lnTo>
                      <a:pt x="2982" y="290"/>
                    </a:lnTo>
                    <a:lnTo>
                      <a:pt x="2985" y="291"/>
                    </a:lnTo>
                    <a:lnTo>
                      <a:pt x="2991" y="291"/>
                    </a:lnTo>
                    <a:lnTo>
                      <a:pt x="2997" y="293"/>
                    </a:lnTo>
                    <a:lnTo>
                      <a:pt x="3003" y="294"/>
                    </a:lnTo>
                    <a:lnTo>
                      <a:pt x="3008" y="296"/>
                    </a:lnTo>
                    <a:lnTo>
                      <a:pt x="3014" y="297"/>
                    </a:lnTo>
                    <a:lnTo>
                      <a:pt x="3021" y="298"/>
                    </a:lnTo>
                    <a:lnTo>
                      <a:pt x="3026" y="300"/>
                    </a:lnTo>
                    <a:lnTo>
                      <a:pt x="3026" y="298"/>
                    </a:lnTo>
                    <a:lnTo>
                      <a:pt x="3027" y="298"/>
                    </a:lnTo>
                    <a:lnTo>
                      <a:pt x="3027" y="300"/>
                    </a:lnTo>
                    <a:lnTo>
                      <a:pt x="3026" y="300"/>
                    </a:lnTo>
                    <a:lnTo>
                      <a:pt x="3027" y="300"/>
                    </a:lnTo>
                    <a:lnTo>
                      <a:pt x="3030" y="301"/>
                    </a:lnTo>
                    <a:lnTo>
                      <a:pt x="3031" y="301"/>
                    </a:lnTo>
                    <a:lnTo>
                      <a:pt x="3030" y="301"/>
                    </a:lnTo>
                    <a:lnTo>
                      <a:pt x="3030" y="300"/>
                    </a:lnTo>
                    <a:lnTo>
                      <a:pt x="3030" y="300"/>
                    </a:lnTo>
                    <a:lnTo>
                      <a:pt x="3030" y="300"/>
                    </a:lnTo>
                    <a:lnTo>
                      <a:pt x="3033" y="301"/>
                    </a:lnTo>
                    <a:lnTo>
                      <a:pt x="3036" y="301"/>
                    </a:lnTo>
                    <a:lnTo>
                      <a:pt x="3042" y="303"/>
                    </a:lnTo>
                    <a:lnTo>
                      <a:pt x="3043" y="304"/>
                    </a:lnTo>
                    <a:lnTo>
                      <a:pt x="3044" y="306"/>
                    </a:lnTo>
                    <a:lnTo>
                      <a:pt x="3046" y="306"/>
                    </a:lnTo>
                    <a:lnTo>
                      <a:pt x="3049" y="306"/>
                    </a:lnTo>
                    <a:lnTo>
                      <a:pt x="3050" y="307"/>
                    </a:lnTo>
                    <a:lnTo>
                      <a:pt x="3053" y="307"/>
                    </a:lnTo>
                    <a:lnTo>
                      <a:pt x="3055" y="309"/>
                    </a:lnTo>
                    <a:lnTo>
                      <a:pt x="3057" y="309"/>
                    </a:lnTo>
                    <a:lnTo>
                      <a:pt x="3059" y="309"/>
                    </a:lnTo>
                    <a:lnTo>
                      <a:pt x="3059" y="309"/>
                    </a:lnTo>
                    <a:lnTo>
                      <a:pt x="3060" y="309"/>
                    </a:lnTo>
                    <a:lnTo>
                      <a:pt x="3060" y="309"/>
                    </a:lnTo>
                    <a:lnTo>
                      <a:pt x="3062" y="309"/>
                    </a:lnTo>
                    <a:lnTo>
                      <a:pt x="3062" y="309"/>
                    </a:lnTo>
                    <a:lnTo>
                      <a:pt x="3063" y="309"/>
                    </a:lnTo>
                    <a:lnTo>
                      <a:pt x="3063" y="309"/>
                    </a:lnTo>
                    <a:lnTo>
                      <a:pt x="3065" y="309"/>
                    </a:lnTo>
                    <a:lnTo>
                      <a:pt x="3065" y="310"/>
                    </a:lnTo>
                    <a:lnTo>
                      <a:pt x="3066" y="310"/>
                    </a:lnTo>
                    <a:lnTo>
                      <a:pt x="3068" y="310"/>
                    </a:lnTo>
                    <a:lnTo>
                      <a:pt x="3069" y="310"/>
                    </a:lnTo>
                    <a:lnTo>
                      <a:pt x="3070" y="310"/>
                    </a:lnTo>
                    <a:lnTo>
                      <a:pt x="3073" y="310"/>
                    </a:lnTo>
                    <a:lnTo>
                      <a:pt x="3073" y="311"/>
                    </a:lnTo>
                    <a:lnTo>
                      <a:pt x="3075" y="311"/>
                    </a:lnTo>
                    <a:lnTo>
                      <a:pt x="3076" y="313"/>
                    </a:lnTo>
                    <a:lnTo>
                      <a:pt x="3078" y="313"/>
                    </a:lnTo>
                    <a:lnTo>
                      <a:pt x="3079" y="313"/>
                    </a:lnTo>
                    <a:lnTo>
                      <a:pt x="3082" y="313"/>
                    </a:lnTo>
                    <a:lnTo>
                      <a:pt x="3083" y="313"/>
                    </a:lnTo>
                    <a:lnTo>
                      <a:pt x="3085" y="313"/>
                    </a:lnTo>
                    <a:lnTo>
                      <a:pt x="3086" y="313"/>
                    </a:lnTo>
                    <a:lnTo>
                      <a:pt x="3089" y="313"/>
                    </a:lnTo>
                    <a:lnTo>
                      <a:pt x="3089" y="314"/>
                    </a:lnTo>
                    <a:lnTo>
                      <a:pt x="3091" y="314"/>
                    </a:lnTo>
                    <a:lnTo>
                      <a:pt x="3092" y="316"/>
                    </a:lnTo>
                    <a:lnTo>
                      <a:pt x="3095" y="316"/>
                    </a:lnTo>
                    <a:lnTo>
                      <a:pt x="3096" y="316"/>
                    </a:lnTo>
                    <a:lnTo>
                      <a:pt x="3098" y="316"/>
                    </a:lnTo>
                    <a:lnTo>
                      <a:pt x="3099" y="316"/>
                    </a:lnTo>
                    <a:lnTo>
                      <a:pt x="3104" y="317"/>
                    </a:lnTo>
                    <a:lnTo>
                      <a:pt x="3108" y="319"/>
                    </a:lnTo>
                    <a:lnTo>
                      <a:pt x="3112" y="320"/>
                    </a:lnTo>
                    <a:lnTo>
                      <a:pt x="3115" y="320"/>
                    </a:lnTo>
                    <a:lnTo>
                      <a:pt x="3122" y="323"/>
                    </a:lnTo>
                    <a:lnTo>
                      <a:pt x="3128" y="326"/>
                    </a:lnTo>
                    <a:lnTo>
                      <a:pt x="3130" y="326"/>
                    </a:lnTo>
                    <a:lnTo>
                      <a:pt x="3131" y="326"/>
                    </a:lnTo>
                    <a:lnTo>
                      <a:pt x="3131" y="326"/>
                    </a:lnTo>
                    <a:lnTo>
                      <a:pt x="3132" y="326"/>
                    </a:lnTo>
                    <a:lnTo>
                      <a:pt x="3135" y="329"/>
                    </a:lnTo>
                    <a:lnTo>
                      <a:pt x="3138" y="330"/>
                    </a:lnTo>
                    <a:lnTo>
                      <a:pt x="3141" y="332"/>
                    </a:lnTo>
                    <a:lnTo>
                      <a:pt x="3144" y="333"/>
                    </a:lnTo>
                    <a:lnTo>
                      <a:pt x="3145" y="333"/>
                    </a:lnTo>
                    <a:lnTo>
                      <a:pt x="3147" y="333"/>
                    </a:lnTo>
                    <a:lnTo>
                      <a:pt x="3147" y="334"/>
                    </a:lnTo>
                    <a:lnTo>
                      <a:pt x="3148" y="333"/>
                    </a:lnTo>
                    <a:lnTo>
                      <a:pt x="3148" y="333"/>
                    </a:lnTo>
                    <a:lnTo>
                      <a:pt x="3148" y="333"/>
                    </a:lnTo>
                    <a:lnTo>
                      <a:pt x="3148" y="333"/>
                    </a:lnTo>
                    <a:lnTo>
                      <a:pt x="3148" y="332"/>
                    </a:lnTo>
                    <a:lnTo>
                      <a:pt x="3147" y="332"/>
                    </a:lnTo>
                    <a:lnTo>
                      <a:pt x="3145" y="330"/>
                    </a:lnTo>
                    <a:lnTo>
                      <a:pt x="3148" y="330"/>
                    </a:lnTo>
                    <a:lnTo>
                      <a:pt x="3150" y="332"/>
                    </a:lnTo>
                    <a:lnTo>
                      <a:pt x="3153" y="333"/>
                    </a:lnTo>
                    <a:lnTo>
                      <a:pt x="3154" y="333"/>
                    </a:lnTo>
                    <a:lnTo>
                      <a:pt x="3158" y="336"/>
                    </a:lnTo>
                    <a:lnTo>
                      <a:pt x="3161" y="337"/>
                    </a:lnTo>
                    <a:lnTo>
                      <a:pt x="3163" y="339"/>
                    </a:lnTo>
                    <a:lnTo>
                      <a:pt x="3166" y="342"/>
                    </a:lnTo>
                    <a:lnTo>
                      <a:pt x="3167" y="343"/>
                    </a:lnTo>
                    <a:lnTo>
                      <a:pt x="3169" y="343"/>
                    </a:lnTo>
                    <a:lnTo>
                      <a:pt x="3171" y="345"/>
                    </a:lnTo>
                    <a:lnTo>
                      <a:pt x="3174" y="346"/>
                    </a:lnTo>
                    <a:lnTo>
                      <a:pt x="3176" y="347"/>
                    </a:lnTo>
                    <a:lnTo>
                      <a:pt x="3179" y="349"/>
                    </a:lnTo>
                    <a:lnTo>
                      <a:pt x="3180" y="350"/>
                    </a:lnTo>
                    <a:lnTo>
                      <a:pt x="3181" y="350"/>
                    </a:lnTo>
                    <a:lnTo>
                      <a:pt x="3183" y="352"/>
                    </a:lnTo>
                    <a:lnTo>
                      <a:pt x="3184" y="353"/>
                    </a:lnTo>
                    <a:lnTo>
                      <a:pt x="3187" y="353"/>
                    </a:lnTo>
                    <a:lnTo>
                      <a:pt x="3187" y="353"/>
                    </a:lnTo>
                    <a:lnTo>
                      <a:pt x="3189" y="353"/>
                    </a:lnTo>
                    <a:lnTo>
                      <a:pt x="3190" y="353"/>
                    </a:lnTo>
                    <a:lnTo>
                      <a:pt x="3193" y="355"/>
                    </a:lnTo>
                    <a:lnTo>
                      <a:pt x="3194" y="356"/>
                    </a:lnTo>
                    <a:lnTo>
                      <a:pt x="3196" y="356"/>
                    </a:lnTo>
                    <a:lnTo>
                      <a:pt x="3197" y="358"/>
                    </a:lnTo>
                    <a:lnTo>
                      <a:pt x="3199" y="359"/>
                    </a:lnTo>
                    <a:lnTo>
                      <a:pt x="3200" y="359"/>
                    </a:lnTo>
                    <a:lnTo>
                      <a:pt x="3203" y="359"/>
                    </a:lnTo>
                    <a:lnTo>
                      <a:pt x="3203" y="359"/>
                    </a:lnTo>
                    <a:lnTo>
                      <a:pt x="3203" y="358"/>
                    </a:lnTo>
                    <a:lnTo>
                      <a:pt x="3203" y="358"/>
                    </a:lnTo>
                    <a:lnTo>
                      <a:pt x="3205" y="358"/>
                    </a:lnTo>
                    <a:lnTo>
                      <a:pt x="3206" y="359"/>
                    </a:lnTo>
                    <a:lnTo>
                      <a:pt x="3207" y="360"/>
                    </a:lnTo>
                    <a:lnTo>
                      <a:pt x="3210" y="362"/>
                    </a:lnTo>
                    <a:lnTo>
                      <a:pt x="3213" y="363"/>
                    </a:lnTo>
                    <a:lnTo>
                      <a:pt x="3215" y="363"/>
                    </a:lnTo>
                    <a:lnTo>
                      <a:pt x="3216" y="365"/>
                    </a:lnTo>
                    <a:lnTo>
                      <a:pt x="3218" y="365"/>
                    </a:lnTo>
                    <a:lnTo>
                      <a:pt x="3218" y="365"/>
                    </a:lnTo>
                    <a:lnTo>
                      <a:pt x="3216" y="363"/>
                    </a:lnTo>
                    <a:lnTo>
                      <a:pt x="3216" y="362"/>
                    </a:lnTo>
                    <a:lnTo>
                      <a:pt x="3215" y="360"/>
                    </a:lnTo>
                    <a:lnTo>
                      <a:pt x="3213" y="360"/>
                    </a:lnTo>
                    <a:lnTo>
                      <a:pt x="3212" y="359"/>
                    </a:lnTo>
                    <a:lnTo>
                      <a:pt x="3210" y="358"/>
                    </a:lnTo>
                    <a:lnTo>
                      <a:pt x="3209" y="356"/>
                    </a:lnTo>
                    <a:lnTo>
                      <a:pt x="3207" y="356"/>
                    </a:lnTo>
                    <a:lnTo>
                      <a:pt x="3206" y="356"/>
                    </a:lnTo>
                    <a:lnTo>
                      <a:pt x="3203" y="356"/>
                    </a:lnTo>
                    <a:lnTo>
                      <a:pt x="3202" y="356"/>
                    </a:lnTo>
                    <a:lnTo>
                      <a:pt x="3200" y="355"/>
                    </a:lnTo>
                    <a:lnTo>
                      <a:pt x="3199" y="355"/>
                    </a:lnTo>
                    <a:lnTo>
                      <a:pt x="3197" y="353"/>
                    </a:lnTo>
                    <a:lnTo>
                      <a:pt x="3197" y="353"/>
                    </a:lnTo>
                    <a:lnTo>
                      <a:pt x="3199" y="352"/>
                    </a:lnTo>
                    <a:lnTo>
                      <a:pt x="3199" y="352"/>
                    </a:lnTo>
                    <a:lnTo>
                      <a:pt x="3197" y="350"/>
                    </a:lnTo>
                    <a:lnTo>
                      <a:pt x="3196" y="349"/>
                    </a:lnTo>
                    <a:lnTo>
                      <a:pt x="3194" y="347"/>
                    </a:lnTo>
                    <a:lnTo>
                      <a:pt x="3192" y="347"/>
                    </a:lnTo>
                    <a:lnTo>
                      <a:pt x="3189" y="346"/>
                    </a:lnTo>
                    <a:lnTo>
                      <a:pt x="3186" y="345"/>
                    </a:lnTo>
                    <a:lnTo>
                      <a:pt x="3181" y="343"/>
                    </a:lnTo>
                    <a:lnTo>
                      <a:pt x="3179" y="343"/>
                    </a:lnTo>
                    <a:lnTo>
                      <a:pt x="3177" y="343"/>
                    </a:lnTo>
                    <a:lnTo>
                      <a:pt x="3174" y="343"/>
                    </a:lnTo>
                    <a:lnTo>
                      <a:pt x="3173" y="343"/>
                    </a:lnTo>
                    <a:lnTo>
                      <a:pt x="3171" y="342"/>
                    </a:lnTo>
                    <a:lnTo>
                      <a:pt x="3173" y="342"/>
                    </a:lnTo>
                    <a:lnTo>
                      <a:pt x="3174" y="340"/>
                    </a:lnTo>
                    <a:lnTo>
                      <a:pt x="3177" y="340"/>
                    </a:lnTo>
                    <a:lnTo>
                      <a:pt x="3179" y="340"/>
                    </a:lnTo>
                    <a:lnTo>
                      <a:pt x="3184" y="339"/>
                    </a:lnTo>
                    <a:lnTo>
                      <a:pt x="3186" y="339"/>
                    </a:lnTo>
                    <a:lnTo>
                      <a:pt x="3189" y="339"/>
                    </a:lnTo>
                    <a:lnTo>
                      <a:pt x="3190" y="339"/>
                    </a:lnTo>
                    <a:lnTo>
                      <a:pt x="3190" y="340"/>
                    </a:lnTo>
                    <a:lnTo>
                      <a:pt x="3192" y="340"/>
                    </a:lnTo>
                    <a:lnTo>
                      <a:pt x="3193" y="342"/>
                    </a:lnTo>
                    <a:lnTo>
                      <a:pt x="3193" y="342"/>
                    </a:lnTo>
                    <a:lnTo>
                      <a:pt x="3194" y="342"/>
                    </a:lnTo>
                    <a:lnTo>
                      <a:pt x="3202" y="342"/>
                    </a:lnTo>
                    <a:lnTo>
                      <a:pt x="3200" y="343"/>
                    </a:lnTo>
                    <a:lnTo>
                      <a:pt x="3200" y="343"/>
                    </a:lnTo>
                    <a:lnTo>
                      <a:pt x="3200" y="343"/>
                    </a:lnTo>
                    <a:lnTo>
                      <a:pt x="3200" y="343"/>
                    </a:lnTo>
                    <a:lnTo>
                      <a:pt x="3200" y="345"/>
                    </a:lnTo>
                    <a:lnTo>
                      <a:pt x="3202" y="345"/>
                    </a:lnTo>
                    <a:lnTo>
                      <a:pt x="3203" y="346"/>
                    </a:lnTo>
                    <a:lnTo>
                      <a:pt x="3205" y="345"/>
                    </a:lnTo>
                    <a:lnTo>
                      <a:pt x="3205" y="345"/>
                    </a:lnTo>
                    <a:lnTo>
                      <a:pt x="3206" y="345"/>
                    </a:lnTo>
                    <a:lnTo>
                      <a:pt x="3206" y="343"/>
                    </a:lnTo>
                    <a:lnTo>
                      <a:pt x="3206" y="343"/>
                    </a:lnTo>
                    <a:lnTo>
                      <a:pt x="3206" y="342"/>
                    </a:lnTo>
                    <a:lnTo>
                      <a:pt x="3207" y="343"/>
                    </a:lnTo>
                    <a:lnTo>
                      <a:pt x="3209" y="343"/>
                    </a:lnTo>
                    <a:lnTo>
                      <a:pt x="3210" y="343"/>
                    </a:lnTo>
                    <a:lnTo>
                      <a:pt x="3212" y="345"/>
                    </a:lnTo>
                    <a:lnTo>
                      <a:pt x="3216" y="345"/>
                    </a:lnTo>
                    <a:lnTo>
                      <a:pt x="3220" y="345"/>
                    </a:lnTo>
                    <a:lnTo>
                      <a:pt x="3218" y="343"/>
                    </a:lnTo>
                    <a:lnTo>
                      <a:pt x="3216" y="343"/>
                    </a:lnTo>
                    <a:lnTo>
                      <a:pt x="3215" y="343"/>
                    </a:lnTo>
                    <a:lnTo>
                      <a:pt x="3212" y="343"/>
                    </a:lnTo>
                    <a:lnTo>
                      <a:pt x="3210" y="343"/>
                    </a:lnTo>
                    <a:lnTo>
                      <a:pt x="3209" y="343"/>
                    </a:lnTo>
                    <a:lnTo>
                      <a:pt x="3207" y="343"/>
                    </a:lnTo>
                    <a:lnTo>
                      <a:pt x="3206" y="342"/>
                    </a:lnTo>
                    <a:lnTo>
                      <a:pt x="3206" y="342"/>
                    </a:lnTo>
                    <a:lnTo>
                      <a:pt x="3207" y="342"/>
                    </a:lnTo>
                    <a:lnTo>
                      <a:pt x="3207" y="342"/>
                    </a:lnTo>
                    <a:lnTo>
                      <a:pt x="3209" y="342"/>
                    </a:lnTo>
                    <a:lnTo>
                      <a:pt x="3210" y="342"/>
                    </a:lnTo>
                    <a:lnTo>
                      <a:pt x="3212" y="342"/>
                    </a:lnTo>
                    <a:lnTo>
                      <a:pt x="3213" y="342"/>
                    </a:lnTo>
                    <a:lnTo>
                      <a:pt x="3215" y="342"/>
                    </a:lnTo>
                    <a:lnTo>
                      <a:pt x="3218" y="343"/>
                    </a:lnTo>
                    <a:lnTo>
                      <a:pt x="3220" y="343"/>
                    </a:lnTo>
                    <a:lnTo>
                      <a:pt x="3225" y="343"/>
                    </a:lnTo>
                    <a:lnTo>
                      <a:pt x="3228" y="343"/>
                    </a:lnTo>
                    <a:lnTo>
                      <a:pt x="3231" y="343"/>
                    </a:lnTo>
                    <a:lnTo>
                      <a:pt x="3233" y="343"/>
                    </a:lnTo>
                    <a:lnTo>
                      <a:pt x="3236" y="343"/>
                    </a:lnTo>
                    <a:lnTo>
                      <a:pt x="3241" y="345"/>
                    </a:lnTo>
                    <a:lnTo>
                      <a:pt x="3242" y="346"/>
                    </a:lnTo>
                    <a:lnTo>
                      <a:pt x="3243" y="347"/>
                    </a:lnTo>
                    <a:lnTo>
                      <a:pt x="3248" y="349"/>
                    </a:lnTo>
                    <a:lnTo>
                      <a:pt x="3251" y="352"/>
                    </a:lnTo>
                    <a:lnTo>
                      <a:pt x="3252" y="352"/>
                    </a:lnTo>
                    <a:lnTo>
                      <a:pt x="3255" y="353"/>
                    </a:lnTo>
                    <a:lnTo>
                      <a:pt x="3255" y="353"/>
                    </a:lnTo>
                    <a:lnTo>
                      <a:pt x="3258" y="353"/>
                    </a:lnTo>
                    <a:lnTo>
                      <a:pt x="3259" y="355"/>
                    </a:lnTo>
                    <a:lnTo>
                      <a:pt x="3262" y="355"/>
                    </a:lnTo>
                    <a:lnTo>
                      <a:pt x="3265" y="355"/>
                    </a:lnTo>
                    <a:lnTo>
                      <a:pt x="3267" y="356"/>
                    </a:lnTo>
                    <a:lnTo>
                      <a:pt x="3272" y="358"/>
                    </a:lnTo>
                    <a:lnTo>
                      <a:pt x="3274" y="358"/>
                    </a:lnTo>
                    <a:lnTo>
                      <a:pt x="3277" y="359"/>
                    </a:lnTo>
                    <a:lnTo>
                      <a:pt x="3280" y="359"/>
                    </a:lnTo>
                    <a:lnTo>
                      <a:pt x="3281" y="360"/>
                    </a:lnTo>
                    <a:lnTo>
                      <a:pt x="3282" y="360"/>
                    </a:lnTo>
                    <a:lnTo>
                      <a:pt x="3284" y="360"/>
                    </a:lnTo>
                    <a:lnTo>
                      <a:pt x="3284" y="362"/>
                    </a:lnTo>
                    <a:lnTo>
                      <a:pt x="3291" y="362"/>
                    </a:lnTo>
                    <a:lnTo>
                      <a:pt x="3293" y="362"/>
                    </a:lnTo>
                    <a:lnTo>
                      <a:pt x="3293" y="362"/>
                    </a:lnTo>
                    <a:lnTo>
                      <a:pt x="3294" y="363"/>
                    </a:lnTo>
                    <a:lnTo>
                      <a:pt x="3295" y="363"/>
                    </a:lnTo>
                    <a:lnTo>
                      <a:pt x="3295" y="363"/>
                    </a:lnTo>
                    <a:lnTo>
                      <a:pt x="3295" y="363"/>
                    </a:lnTo>
                    <a:lnTo>
                      <a:pt x="3295" y="365"/>
                    </a:lnTo>
                    <a:lnTo>
                      <a:pt x="3300" y="365"/>
                    </a:lnTo>
                    <a:lnTo>
                      <a:pt x="3301" y="365"/>
                    </a:lnTo>
                    <a:lnTo>
                      <a:pt x="3303" y="366"/>
                    </a:lnTo>
                    <a:lnTo>
                      <a:pt x="3304" y="366"/>
                    </a:lnTo>
                    <a:lnTo>
                      <a:pt x="3306" y="368"/>
                    </a:lnTo>
                    <a:lnTo>
                      <a:pt x="3304" y="369"/>
                    </a:lnTo>
                    <a:lnTo>
                      <a:pt x="3304" y="369"/>
                    </a:lnTo>
                    <a:lnTo>
                      <a:pt x="3304" y="371"/>
                    </a:lnTo>
                    <a:lnTo>
                      <a:pt x="3303" y="372"/>
                    </a:lnTo>
                    <a:lnTo>
                      <a:pt x="3303" y="372"/>
                    </a:lnTo>
                    <a:lnTo>
                      <a:pt x="3304" y="373"/>
                    </a:lnTo>
                    <a:lnTo>
                      <a:pt x="3304" y="373"/>
                    </a:lnTo>
                    <a:lnTo>
                      <a:pt x="3304" y="375"/>
                    </a:lnTo>
                    <a:lnTo>
                      <a:pt x="3306" y="376"/>
                    </a:lnTo>
                    <a:lnTo>
                      <a:pt x="3307" y="378"/>
                    </a:lnTo>
                    <a:lnTo>
                      <a:pt x="3308" y="378"/>
                    </a:lnTo>
                    <a:lnTo>
                      <a:pt x="3308" y="378"/>
                    </a:lnTo>
                    <a:lnTo>
                      <a:pt x="3308" y="378"/>
                    </a:lnTo>
                    <a:lnTo>
                      <a:pt x="3308" y="379"/>
                    </a:lnTo>
                    <a:lnTo>
                      <a:pt x="3306" y="379"/>
                    </a:lnTo>
                    <a:lnTo>
                      <a:pt x="3303" y="378"/>
                    </a:lnTo>
                    <a:lnTo>
                      <a:pt x="3300" y="378"/>
                    </a:lnTo>
                    <a:lnTo>
                      <a:pt x="3297" y="378"/>
                    </a:lnTo>
                    <a:lnTo>
                      <a:pt x="3295" y="378"/>
                    </a:lnTo>
                    <a:lnTo>
                      <a:pt x="3297" y="378"/>
                    </a:lnTo>
                    <a:lnTo>
                      <a:pt x="3300" y="379"/>
                    </a:lnTo>
                    <a:lnTo>
                      <a:pt x="3303" y="382"/>
                    </a:lnTo>
                    <a:lnTo>
                      <a:pt x="3303" y="384"/>
                    </a:lnTo>
                    <a:lnTo>
                      <a:pt x="3304" y="385"/>
                    </a:lnTo>
                    <a:lnTo>
                      <a:pt x="3303" y="385"/>
                    </a:lnTo>
                    <a:lnTo>
                      <a:pt x="3301" y="385"/>
                    </a:lnTo>
                    <a:lnTo>
                      <a:pt x="3300" y="384"/>
                    </a:lnTo>
                    <a:lnTo>
                      <a:pt x="3297" y="382"/>
                    </a:lnTo>
                    <a:lnTo>
                      <a:pt x="3295" y="382"/>
                    </a:lnTo>
                    <a:lnTo>
                      <a:pt x="3295" y="382"/>
                    </a:lnTo>
                    <a:lnTo>
                      <a:pt x="3294" y="382"/>
                    </a:lnTo>
                    <a:lnTo>
                      <a:pt x="3293" y="382"/>
                    </a:lnTo>
                    <a:lnTo>
                      <a:pt x="3290" y="384"/>
                    </a:lnTo>
                    <a:lnTo>
                      <a:pt x="3290" y="384"/>
                    </a:lnTo>
                    <a:lnTo>
                      <a:pt x="3288" y="384"/>
                    </a:lnTo>
                    <a:lnTo>
                      <a:pt x="3287" y="382"/>
                    </a:lnTo>
                    <a:lnTo>
                      <a:pt x="3287" y="382"/>
                    </a:lnTo>
                    <a:lnTo>
                      <a:pt x="3285" y="382"/>
                    </a:lnTo>
                    <a:lnTo>
                      <a:pt x="3284" y="381"/>
                    </a:lnTo>
                    <a:lnTo>
                      <a:pt x="3281" y="381"/>
                    </a:lnTo>
                    <a:lnTo>
                      <a:pt x="3280" y="381"/>
                    </a:lnTo>
                    <a:lnTo>
                      <a:pt x="3278" y="379"/>
                    </a:lnTo>
                    <a:lnTo>
                      <a:pt x="3278" y="379"/>
                    </a:lnTo>
                    <a:lnTo>
                      <a:pt x="3275" y="379"/>
                    </a:lnTo>
                    <a:lnTo>
                      <a:pt x="3272" y="379"/>
                    </a:lnTo>
                    <a:lnTo>
                      <a:pt x="3269" y="378"/>
                    </a:lnTo>
                    <a:lnTo>
                      <a:pt x="3267" y="378"/>
                    </a:lnTo>
                    <a:lnTo>
                      <a:pt x="3265" y="378"/>
                    </a:lnTo>
                    <a:lnTo>
                      <a:pt x="3262" y="378"/>
                    </a:lnTo>
                    <a:lnTo>
                      <a:pt x="3261" y="379"/>
                    </a:lnTo>
                    <a:lnTo>
                      <a:pt x="3265" y="379"/>
                    </a:lnTo>
                    <a:lnTo>
                      <a:pt x="3267" y="379"/>
                    </a:lnTo>
                    <a:lnTo>
                      <a:pt x="3269" y="379"/>
                    </a:lnTo>
                    <a:lnTo>
                      <a:pt x="3271" y="381"/>
                    </a:lnTo>
                    <a:lnTo>
                      <a:pt x="3272" y="382"/>
                    </a:lnTo>
                    <a:lnTo>
                      <a:pt x="3275" y="384"/>
                    </a:lnTo>
                    <a:lnTo>
                      <a:pt x="3278" y="385"/>
                    </a:lnTo>
                    <a:lnTo>
                      <a:pt x="3278" y="385"/>
                    </a:lnTo>
                    <a:lnTo>
                      <a:pt x="3280" y="384"/>
                    </a:lnTo>
                    <a:lnTo>
                      <a:pt x="3281" y="384"/>
                    </a:lnTo>
                    <a:lnTo>
                      <a:pt x="3281" y="384"/>
                    </a:lnTo>
                    <a:lnTo>
                      <a:pt x="3282" y="384"/>
                    </a:lnTo>
                    <a:lnTo>
                      <a:pt x="3284" y="384"/>
                    </a:lnTo>
                    <a:lnTo>
                      <a:pt x="3284" y="385"/>
                    </a:lnTo>
                    <a:lnTo>
                      <a:pt x="3284" y="386"/>
                    </a:lnTo>
                    <a:lnTo>
                      <a:pt x="3285" y="386"/>
                    </a:lnTo>
                    <a:lnTo>
                      <a:pt x="3287" y="388"/>
                    </a:lnTo>
                    <a:lnTo>
                      <a:pt x="3290" y="389"/>
                    </a:lnTo>
                    <a:lnTo>
                      <a:pt x="3291" y="389"/>
                    </a:lnTo>
                    <a:lnTo>
                      <a:pt x="3290" y="389"/>
                    </a:lnTo>
                    <a:lnTo>
                      <a:pt x="3288" y="389"/>
                    </a:lnTo>
                    <a:lnTo>
                      <a:pt x="3287" y="389"/>
                    </a:lnTo>
                    <a:lnTo>
                      <a:pt x="3285" y="391"/>
                    </a:lnTo>
                    <a:lnTo>
                      <a:pt x="3284" y="391"/>
                    </a:lnTo>
                    <a:lnTo>
                      <a:pt x="3284" y="391"/>
                    </a:lnTo>
                    <a:lnTo>
                      <a:pt x="3287" y="391"/>
                    </a:lnTo>
                    <a:lnTo>
                      <a:pt x="3290" y="391"/>
                    </a:lnTo>
                    <a:lnTo>
                      <a:pt x="3291" y="392"/>
                    </a:lnTo>
                    <a:lnTo>
                      <a:pt x="3293" y="392"/>
                    </a:lnTo>
                    <a:lnTo>
                      <a:pt x="3295" y="394"/>
                    </a:lnTo>
                    <a:lnTo>
                      <a:pt x="3297" y="395"/>
                    </a:lnTo>
                    <a:lnTo>
                      <a:pt x="3298" y="396"/>
                    </a:lnTo>
                    <a:lnTo>
                      <a:pt x="3298" y="396"/>
                    </a:lnTo>
                    <a:lnTo>
                      <a:pt x="3300" y="396"/>
                    </a:lnTo>
                    <a:lnTo>
                      <a:pt x="3300" y="396"/>
                    </a:lnTo>
                    <a:lnTo>
                      <a:pt x="3300" y="398"/>
                    </a:lnTo>
                    <a:lnTo>
                      <a:pt x="3300" y="398"/>
                    </a:lnTo>
                    <a:lnTo>
                      <a:pt x="3300" y="398"/>
                    </a:lnTo>
                    <a:lnTo>
                      <a:pt x="3298" y="399"/>
                    </a:lnTo>
                    <a:lnTo>
                      <a:pt x="3298" y="399"/>
                    </a:lnTo>
                    <a:lnTo>
                      <a:pt x="3297" y="399"/>
                    </a:lnTo>
                    <a:lnTo>
                      <a:pt x="3295" y="399"/>
                    </a:lnTo>
                    <a:lnTo>
                      <a:pt x="3293" y="399"/>
                    </a:lnTo>
                    <a:lnTo>
                      <a:pt x="3291" y="399"/>
                    </a:lnTo>
                    <a:lnTo>
                      <a:pt x="3290" y="401"/>
                    </a:lnTo>
                    <a:lnTo>
                      <a:pt x="3290" y="401"/>
                    </a:lnTo>
                    <a:lnTo>
                      <a:pt x="3288" y="402"/>
                    </a:lnTo>
                    <a:lnTo>
                      <a:pt x="3290" y="401"/>
                    </a:lnTo>
                    <a:lnTo>
                      <a:pt x="3291" y="401"/>
                    </a:lnTo>
                    <a:lnTo>
                      <a:pt x="3294" y="401"/>
                    </a:lnTo>
                    <a:lnTo>
                      <a:pt x="3295" y="401"/>
                    </a:lnTo>
                    <a:lnTo>
                      <a:pt x="3297" y="402"/>
                    </a:lnTo>
                    <a:lnTo>
                      <a:pt x="3298" y="402"/>
                    </a:lnTo>
                    <a:lnTo>
                      <a:pt x="3298" y="404"/>
                    </a:lnTo>
                    <a:lnTo>
                      <a:pt x="3298" y="404"/>
                    </a:lnTo>
                    <a:lnTo>
                      <a:pt x="3298" y="405"/>
                    </a:lnTo>
                    <a:lnTo>
                      <a:pt x="3298" y="405"/>
                    </a:lnTo>
                    <a:lnTo>
                      <a:pt x="3300" y="405"/>
                    </a:lnTo>
                    <a:lnTo>
                      <a:pt x="3300" y="405"/>
                    </a:lnTo>
                    <a:lnTo>
                      <a:pt x="3301" y="405"/>
                    </a:lnTo>
                    <a:lnTo>
                      <a:pt x="3301" y="404"/>
                    </a:lnTo>
                    <a:lnTo>
                      <a:pt x="3301" y="404"/>
                    </a:lnTo>
                    <a:lnTo>
                      <a:pt x="3301" y="402"/>
                    </a:lnTo>
                    <a:lnTo>
                      <a:pt x="3303" y="401"/>
                    </a:lnTo>
                    <a:lnTo>
                      <a:pt x="3303" y="401"/>
                    </a:lnTo>
                    <a:lnTo>
                      <a:pt x="3304" y="401"/>
                    </a:lnTo>
                    <a:lnTo>
                      <a:pt x="3304" y="401"/>
                    </a:lnTo>
                    <a:lnTo>
                      <a:pt x="3306" y="401"/>
                    </a:lnTo>
                    <a:lnTo>
                      <a:pt x="3307" y="402"/>
                    </a:lnTo>
                    <a:lnTo>
                      <a:pt x="3308" y="402"/>
                    </a:lnTo>
                    <a:lnTo>
                      <a:pt x="3310" y="402"/>
                    </a:lnTo>
                    <a:lnTo>
                      <a:pt x="3308" y="404"/>
                    </a:lnTo>
                    <a:lnTo>
                      <a:pt x="3307" y="405"/>
                    </a:lnTo>
                    <a:lnTo>
                      <a:pt x="3307" y="405"/>
                    </a:lnTo>
                    <a:lnTo>
                      <a:pt x="3306" y="405"/>
                    </a:lnTo>
                    <a:lnTo>
                      <a:pt x="3304" y="405"/>
                    </a:lnTo>
                    <a:lnTo>
                      <a:pt x="3303" y="405"/>
                    </a:lnTo>
                    <a:lnTo>
                      <a:pt x="3304" y="407"/>
                    </a:lnTo>
                    <a:lnTo>
                      <a:pt x="3306" y="407"/>
                    </a:lnTo>
                    <a:lnTo>
                      <a:pt x="3307" y="407"/>
                    </a:lnTo>
                    <a:lnTo>
                      <a:pt x="3307" y="407"/>
                    </a:lnTo>
                    <a:lnTo>
                      <a:pt x="3311" y="408"/>
                    </a:lnTo>
                    <a:lnTo>
                      <a:pt x="3314" y="409"/>
                    </a:lnTo>
                    <a:lnTo>
                      <a:pt x="3316" y="411"/>
                    </a:lnTo>
                    <a:lnTo>
                      <a:pt x="3316" y="412"/>
                    </a:lnTo>
                    <a:lnTo>
                      <a:pt x="3317" y="412"/>
                    </a:lnTo>
                    <a:close/>
                    <a:moveTo>
                      <a:pt x="3291" y="376"/>
                    </a:moveTo>
                    <a:lnTo>
                      <a:pt x="3293" y="376"/>
                    </a:lnTo>
                    <a:lnTo>
                      <a:pt x="3291" y="376"/>
                    </a:lnTo>
                    <a:lnTo>
                      <a:pt x="3291" y="376"/>
                    </a:lnTo>
                    <a:lnTo>
                      <a:pt x="3291" y="376"/>
                    </a:lnTo>
                    <a:close/>
                    <a:moveTo>
                      <a:pt x="1455" y="104"/>
                    </a:moveTo>
                    <a:lnTo>
                      <a:pt x="1457" y="105"/>
                    </a:lnTo>
                    <a:lnTo>
                      <a:pt x="1458" y="107"/>
                    </a:lnTo>
                    <a:lnTo>
                      <a:pt x="1458" y="107"/>
                    </a:lnTo>
                    <a:lnTo>
                      <a:pt x="1460" y="107"/>
                    </a:lnTo>
                    <a:lnTo>
                      <a:pt x="1461" y="105"/>
                    </a:lnTo>
                    <a:lnTo>
                      <a:pt x="1460" y="105"/>
                    </a:lnTo>
                    <a:lnTo>
                      <a:pt x="1458" y="105"/>
                    </a:lnTo>
                    <a:lnTo>
                      <a:pt x="1455" y="104"/>
                    </a:lnTo>
                    <a:close/>
                    <a:moveTo>
                      <a:pt x="87" y="291"/>
                    </a:moveTo>
                    <a:lnTo>
                      <a:pt x="87" y="290"/>
                    </a:lnTo>
                    <a:lnTo>
                      <a:pt x="88" y="288"/>
                    </a:lnTo>
                    <a:lnTo>
                      <a:pt x="89" y="288"/>
                    </a:lnTo>
                    <a:lnTo>
                      <a:pt x="91" y="288"/>
                    </a:lnTo>
                    <a:lnTo>
                      <a:pt x="89" y="288"/>
                    </a:lnTo>
                    <a:lnTo>
                      <a:pt x="88" y="288"/>
                    </a:lnTo>
                    <a:lnTo>
                      <a:pt x="87" y="288"/>
                    </a:lnTo>
                    <a:lnTo>
                      <a:pt x="87" y="290"/>
                    </a:lnTo>
                    <a:lnTo>
                      <a:pt x="87" y="291"/>
                    </a:lnTo>
                    <a:close/>
                    <a:moveTo>
                      <a:pt x="1017" y="327"/>
                    </a:moveTo>
                    <a:lnTo>
                      <a:pt x="1015" y="327"/>
                    </a:lnTo>
                    <a:lnTo>
                      <a:pt x="1015" y="327"/>
                    </a:lnTo>
                    <a:lnTo>
                      <a:pt x="1012" y="326"/>
                    </a:lnTo>
                    <a:lnTo>
                      <a:pt x="1011" y="326"/>
                    </a:lnTo>
                    <a:lnTo>
                      <a:pt x="1011" y="326"/>
                    </a:lnTo>
                    <a:lnTo>
                      <a:pt x="1010" y="326"/>
                    </a:lnTo>
                    <a:lnTo>
                      <a:pt x="1010" y="327"/>
                    </a:lnTo>
                    <a:lnTo>
                      <a:pt x="1010" y="327"/>
                    </a:lnTo>
                    <a:lnTo>
                      <a:pt x="1012" y="327"/>
                    </a:lnTo>
                    <a:lnTo>
                      <a:pt x="1015" y="327"/>
                    </a:lnTo>
                    <a:lnTo>
                      <a:pt x="1017" y="327"/>
                    </a:lnTo>
                    <a:close/>
                    <a:moveTo>
                      <a:pt x="2097" y="236"/>
                    </a:moveTo>
                    <a:lnTo>
                      <a:pt x="2096" y="235"/>
                    </a:lnTo>
                    <a:lnTo>
                      <a:pt x="2094" y="235"/>
                    </a:lnTo>
                    <a:lnTo>
                      <a:pt x="2094" y="235"/>
                    </a:lnTo>
                    <a:lnTo>
                      <a:pt x="2093" y="235"/>
                    </a:lnTo>
                    <a:lnTo>
                      <a:pt x="2093" y="235"/>
                    </a:lnTo>
                    <a:lnTo>
                      <a:pt x="2091" y="235"/>
                    </a:lnTo>
                    <a:lnTo>
                      <a:pt x="2097" y="236"/>
                    </a:lnTo>
                    <a:close/>
                    <a:moveTo>
                      <a:pt x="2916" y="466"/>
                    </a:moveTo>
                    <a:lnTo>
                      <a:pt x="2918" y="466"/>
                    </a:lnTo>
                    <a:lnTo>
                      <a:pt x="2916" y="464"/>
                    </a:lnTo>
                    <a:lnTo>
                      <a:pt x="2915" y="464"/>
                    </a:lnTo>
                    <a:lnTo>
                      <a:pt x="2912" y="464"/>
                    </a:lnTo>
                    <a:lnTo>
                      <a:pt x="2910" y="464"/>
                    </a:lnTo>
                    <a:lnTo>
                      <a:pt x="2913" y="464"/>
                    </a:lnTo>
                    <a:lnTo>
                      <a:pt x="2916" y="466"/>
                    </a:lnTo>
                    <a:close/>
                    <a:moveTo>
                      <a:pt x="2923" y="470"/>
                    </a:moveTo>
                    <a:lnTo>
                      <a:pt x="2925" y="470"/>
                    </a:lnTo>
                    <a:lnTo>
                      <a:pt x="2923" y="470"/>
                    </a:lnTo>
                    <a:lnTo>
                      <a:pt x="2923" y="469"/>
                    </a:lnTo>
                    <a:lnTo>
                      <a:pt x="2920" y="467"/>
                    </a:lnTo>
                    <a:lnTo>
                      <a:pt x="2920" y="467"/>
                    </a:lnTo>
                    <a:lnTo>
                      <a:pt x="2922" y="469"/>
                    </a:lnTo>
                    <a:lnTo>
                      <a:pt x="2923" y="470"/>
                    </a:lnTo>
                    <a:close/>
                    <a:moveTo>
                      <a:pt x="2928" y="464"/>
                    </a:moveTo>
                    <a:lnTo>
                      <a:pt x="2922" y="464"/>
                    </a:lnTo>
                    <a:lnTo>
                      <a:pt x="2919" y="464"/>
                    </a:lnTo>
                    <a:lnTo>
                      <a:pt x="2920" y="466"/>
                    </a:lnTo>
                    <a:lnTo>
                      <a:pt x="2922" y="466"/>
                    </a:lnTo>
                    <a:lnTo>
                      <a:pt x="2923" y="466"/>
                    </a:lnTo>
                    <a:lnTo>
                      <a:pt x="2925" y="466"/>
                    </a:lnTo>
                    <a:lnTo>
                      <a:pt x="2925" y="466"/>
                    </a:lnTo>
                    <a:lnTo>
                      <a:pt x="2926" y="466"/>
                    </a:lnTo>
                    <a:lnTo>
                      <a:pt x="2928" y="464"/>
                    </a:lnTo>
                    <a:close/>
                    <a:moveTo>
                      <a:pt x="3096" y="404"/>
                    </a:moveTo>
                    <a:lnTo>
                      <a:pt x="3095" y="402"/>
                    </a:lnTo>
                    <a:lnTo>
                      <a:pt x="3091" y="399"/>
                    </a:lnTo>
                    <a:lnTo>
                      <a:pt x="3086" y="398"/>
                    </a:lnTo>
                    <a:lnTo>
                      <a:pt x="3082" y="396"/>
                    </a:lnTo>
                    <a:lnTo>
                      <a:pt x="3079" y="395"/>
                    </a:lnTo>
                    <a:lnTo>
                      <a:pt x="3075" y="395"/>
                    </a:lnTo>
                    <a:lnTo>
                      <a:pt x="3072" y="394"/>
                    </a:lnTo>
                    <a:lnTo>
                      <a:pt x="3070" y="395"/>
                    </a:lnTo>
                    <a:lnTo>
                      <a:pt x="3068" y="395"/>
                    </a:lnTo>
                    <a:lnTo>
                      <a:pt x="3066" y="395"/>
                    </a:lnTo>
                    <a:lnTo>
                      <a:pt x="3066" y="395"/>
                    </a:lnTo>
                    <a:lnTo>
                      <a:pt x="3066" y="395"/>
                    </a:lnTo>
                    <a:lnTo>
                      <a:pt x="3068" y="396"/>
                    </a:lnTo>
                    <a:lnTo>
                      <a:pt x="3069" y="396"/>
                    </a:lnTo>
                    <a:lnTo>
                      <a:pt x="3078" y="396"/>
                    </a:lnTo>
                    <a:lnTo>
                      <a:pt x="3079" y="396"/>
                    </a:lnTo>
                    <a:lnTo>
                      <a:pt x="3079" y="396"/>
                    </a:lnTo>
                    <a:lnTo>
                      <a:pt x="3081" y="396"/>
                    </a:lnTo>
                    <a:lnTo>
                      <a:pt x="3082" y="398"/>
                    </a:lnTo>
                    <a:lnTo>
                      <a:pt x="3086" y="399"/>
                    </a:lnTo>
                    <a:lnTo>
                      <a:pt x="3088" y="401"/>
                    </a:lnTo>
                    <a:lnTo>
                      <a:pt x="3089" y="402"/>
                    </a:lnTo>
                    <a:lnTo>
                      <a:pt x="3088" y="402"/>
                    </a:lnTo>
                    <a:lnTo>
                      <a:pt x="3086" y="402"/>
                    </a:lnTo>
                    <a:lnTo>
                      <a:pt x="3085" y="402"/>
                    </a:lnTo>
                    <a:lnTo>
                      <a:pt x="3082" y="402"/>
                    </a:lnTo>
                    <a:lnTo>
                      <a:pt x="3081" y="402"/>
                    </a:lnTo>
                    <a:lnTo>
                      <a:pt x="3079" y="401"/>
                    </a:lnTo>
                    <a:lnTo>
                      <a:pt x="3078" y="399"/>
                    </a:lnTo>
                    <a:lnTo>
                      <a:pt x="3076" y="399"/>
                    </a:lnTo>
                    <a:lnTo>
                      <a:pt x="3075" y="399"/>
                    </a:lnTo>
                    <a:lnTo>
                      <a:pt x="3073" y="399"/>
                    </a:lnTo>
                    <a:lnTo>
                      <a:pt x="3072" y="401"/>
                    </a:lnTo>
                    <a:lnTo>
                      <a:pt x="3070" y="401"/>
                    </a:lnTo>
                    <a:lnTo>
                      <a:pt x="3068" y="401"/>
                    </a:lnTo>
                    <a:lnTo>
                      <a:pt x="3063" y="399"/>
                    </a:lnTo>
                    <a:lnTo>
                      <a:pt x="3066" y="401"/>
                    </a:lnTo>
                    <a:lnTo>
                      <a:pt x="3069" y="401"/>
                    </a:lnTo>
                    <a:lnTo>
                      <a:pt x="3073" y="402"/>
                    </a:lnTo>
                    <a:lnTo>
                      <a:pt x="3078" y="405"/>
                    </a:lnTo>
                    <a:lnTo>
                      <a:pt x="3076" y="405"/>
                    </a:lnTo>
                    <a:lnTo>
                      <a:pt x="3076" y="407"/>
                    </a:lnTo>
                    <a:lnTo>
                      <a:pt x="3075" y="407"/>
                    </a:lnTo>
                    <a:lnTo>
                      <a:pt x="3075" y="408"/>
                    </a:lnTo>
                    <a:lnTo>
                      <a:pt x="3075" y="408"/>
                    </a:lnTo>
                    <a:lnTo>
                      <a:pt x="3076" y="408"/>
                    </a:lnTo>
                    <a:lnTo>
                      <a:pt x="3079" y="407"/>
                    </a:lnTo>
                    <a:lnTo>
                      <a:pt x="3081" y="405"/>
                    </a:lnTo>
                    <a:lnTo>
                      <a:pt x="3082" y="405"/>
                    </a:lnTo>
                    <a:lnTo>
                      <a:pt x="3082" y="405"/>
                    </a:lnTo>
                    <a:lnTo>
                      <a:pt x="3083" y="405"/>
                    </a:lnTo>
                    <a:lnTo>
                      <a:pt x="3085" y="405"/>
                    </a:lnTo>
                    <a:lnTo>
                      <a:pt x="3085" y="407"/>
                    </a:lnTo>
                    <a:lnTo>
                      <a:pt x="3086" y="407"/>
                    </a:lnTo>
                    <a:lnTo>
                      <a:pt x="3088" y="407"/>
                    </a:lnTo>
                    <a:lnTo>
                      <a:pt x="3088" y="407"/>
                    </a:lnTo>
                    <a:lnTo>
                      <a:pt x="3089" y="405"/>
                    </a:lnTo>
                    <a:lnTo>
                      <a:pt x="3089" y="404"/>
                    </a:lnTo>
                    <a:lnTo>
                      <a:pt x="3089" y="404"/>
                    </a:lnTo>
                    <a:lnTo>
                      <a:pt x="3091" y="402"/>
                    </a:lnTo>
                    <a:lnTo>
                      <a:pt x="3092" y="402"/>
                    </a:lnTo>
                    <a:lnTo>
                      <a:pt x="3092" y="402"/>
                    </a:lnTo>
                    <a:lnTo>
                      <a:pt x="3094" y="402"/>
                    </a:lnTo>
                    <a:lnTo>
                      <a:pt x="3096" y="404"/>
                    </a:lnTo>
                    <a:close/>
                    <a:moveTo>
                      <a:pt x="3125" y="386"/>
                    </a:moveTo>
                    <a:lnTo>
                      <a:pt x="3127" y="386"/>
                    </a:lnTo>
                    <a:lnTo>
                      <a:pt x="3127" y="388"/>
                    </a:lnTo>
                    <a:lnTo>
                      <a:pt x="3128" y="388"/>
                    </a:lnTo>
                    <a:lnTo>
                      <a:pt x="3128" y="388"/>
                    </a:lnTo>
                    <a:lnTo>
                      <a:pt x="3128" y="386"/>
                    </a:lnTo>
                    <a:lnTo>
                      <a:pt x="3128" y="386"/>
                    </a:lnTo>
                    <a:lnTo>
                      <a:pt x="3128" y="386"/>
                    </a:lnTo>
                    <a:lnTo>
                      <a:pt x="3127" y="386"/>
                    </a:lnTo>
                    <a:lnTo>
                      <a:pt x="3127" y="386"/>
                    </a:lnTo>
                    <a:lnTo>
                      <a:pt x="3125" y="386"/>
                    </a:lnTo>
                    <a:close/>
                    <a:moveTo>
                      <a:pt x="1035" y="149"/>
                    </a:moveTo>
                    <a:lnTo>
                      <a:pt x="1034" y="147"/>
                    </a:lnTo>
                    <a:lnTo>
                      <a:pt x="1031" y="146"/>
                    </a:lnTo>
                    <a:lnTo>
                      <a:pt x="1030" y="146"/>
                    </a:lnTo>
                    <a:lnTo>
                      <a:pt x="1031" y="146"/>
                    </a:lnTo>
                    <a:lnTo>
                      <a:pt x="1034" y="146"/>
                    </a:lnTo>
                    <a:lnTo>
                      <a:pt x="1034" y="146"/>
                    </a:lnTo>
                    <a:lnTo>
                      <a:pt x="1035" y="146"/>
                    </a:lnTo>
                    <a:lnTo>
                      <a:pt x="1035" y="147"/>
                    </a:lnTo>
                    <a:lnTo>
                      <a:pt x="1035" y="147"/>
                    </a:lnTo>
                    <a:lnTo>
                      <a:pt x="1037" y="147"/>
                    </a:lnTo>
                    <a:lnTo>
                      <a:pt x="1038" y="147"/>
                    </a:lnTo>
                    <a:lnTo>
                      <a:pt x="1038" y="149"/>
                    </a:lnTo>
                    <a:lnTo>
                      <a:pt x="1040" y="149"/>
                    </a:lnTo>
                    <a:lnTo>
                      <a:pt x="1038" y="147"/>
                    </a:lnTo>
                    <a:lnTo>
                      <a:pt x="1038" y="146"/>
                    </a:lnTo>
                    <a:lnTo>
                      <a:pt x="1037" y="146"/>
                    </a:lnTo>
                    <a:lnTo>
                      <a:pt x="1038" y="146"/>
                    </a:lnTo>
                    <a:lnTo>
                      <a:pt x="1038" y="146"/>
                    </a:lnTo>
                    <a:lnTo>
                      <a:pt x="1040" y="146"/>
                    </a:lnTo>
                    <a:lnTo>
                      <a:pt x="1040" y="146"/>
                    </a:lnTo>
                    <a:lnTo>
                      <a:pt x="1041" y="146"/>
                    </a:lnTo>
                    <a:lnTo>
                      <a:pt x="1043" y="146"/>
                    </a:lnTo>
                    <a:lnTo>
                      <a:pt x="1043" y="146"/>
                    </a:lnTo>
                    <a:lnTo>
                      <a:pt x="1041" y="144"/>
                    </a:lnTo>
                    <a:lnTo>
                      <a:pt x="1041" y="143"/>
                    </a:lnTo>
                    <a:lnTo>
                      <a:pt x="1040" y="143"/>
                    </a:lnTo>
                    <a:lnTo>
                      <a:pt x="1040" y="141"/>
                    </a:lnTo>
                    <a:lnTo>
                      <a:pt x="1040" y="141"/>
                    </a:lnTo>
                    <a:lnTo>
                      <a:pt x="1038" y="141"/>
                    </a:lnTo>
                    <a:lnTo>
                      <a:pt x="1037" y="141"/>
                    </a:lnTo>
                    <a:lnTo>
                      <a:pt x="1034" y="141"/>
                    </a:lnTo>
                    <a:lnTo>
                      <a:pt x="1033" y="143"/>
                    </a:lnTo>
                    <a:lnTo>
                      <a:pt x="1031" y="143"/>
                    </a:lnTo>
                    <a:lnTo>
                      <a:pt x="1028" y="144"/>
                    </a:lnTo>
                    <a:lnTo>
                      <a:pt x="1028" y="144"/>
                    </a:lnTo>
                    <a:lnTo>
                      <a:pt x="1027" y="144"/>
                    </a:lnTo>
                    <a:lnTo>
                      <a:pt x="1027" y="144"/>
                    </a:lnTo>
                    <a:lnTo>
                      <a:pt x="1028" y="146"/>
                    </a:lnTo>
                    <a:lnTo>
                      <a:pt x="1028" y="146"/>
                    </a:lnTo>
                    <a:lnTo>
                      <a:pt x="1028" y="147"/>
                    </a:lnTo>
                    <a:lnTo>
                      <a:pt x="1028" y="147"/>
                    </a:lnTo>
                    <a:lnTo>
                      <a:pt x="1027" y="149"/>
                    </a:lnTo>
                    <a:lnTo>
                      <a:pt x="1027" y="149"/>
                    </a:lnTo>
                    <a:lnTo>
                      <a:pt x="1027" y="149"/>
                    </a:lnTo>
                    <a:lnTo>
                      <a:pt x="1027" y="150"/>
                    </a:lnTo>
                    <a:lnTo>
                      <a:pt x="1028" y="150"/>
                    </a:lnTo>
                    <a:lnTo>
                      <a:pt x="1030" y="150"/>
                    </a:lnTo>
                    <a:lnTo>
                      <a:pt x="1030" y="150"/>
                    </a:lnTo>
                    <a:lnTo>
                      <a:pt x="1033" y="150"/>
                    </a:lnTo>
                    <a:lnTo>
                      <a:pt x="1034" y="150"/>
                    </a:lnTo>
                    <a:lnTo>
                      <a:pt x="1035" y="150"/>
                    </a:lnTo>
                    <a:lnTo>
                      <a:pt x="1038" y="150"/>
                    </a:lnTo>
                    <a:lnTo>
                      <a:pt x="1040" y="150"/>
                    </a:lnTo>
                    <a:lnTo>
                      <a:pt x="1041" y="150"/>
                    </a:lnTo>
                    <a:lnTo>
                      <a:pt x="1038" y="150"/>
                    </a:lnTo>
                    <a:lnTo>
                      <a:pt x="1035" y="149"/>
                    </a:lnTo>
                    <a:close/>
                    <a:moveTo>
                      <a:pt x="387" y="290"/>
                    </a:moveTo>
                    <a:lnTo>
                      <a:pt x="387" y="291"/>
                    </a:lnTo>
                    <a:lnTo>
                      <a:pt x="387" y="291"/>
                    </a:lnTo>
                    <a:lnTo>
                      <a:pt x="387" y="293"/>
                    </a:lnTo>
                    <a:lnTo>
                      <a:pt x="388" y="294"/>
                    </a:lnTo>
                    <a:lnTo>
                      <a:pt x="388" y="296"/>
                    </a:lnTo>
                    <a:lnTo>
                      <a:pt x="389" y="296"/>
                    </a:lnTo>
                    <a:lnTo>
                      <a:pt x="391" y="297"/>
                    </a:lnTo>
                    <a:lnTo>
                      <a:pt x="394" y="297"/>
                    </a:lnTo>
                    <a:lnTo>
                      <a:pt x="397" y="298"/>
                    </a:lnTo>
                    <a:lnTo>
                      <a:pt x="401" y="298"/>
                    </a:lnTo>
                    <a:lnTo>
                      <a:pt x="404" y="297"/>
                    </a:lnTo>
                    <a:lnTo>
                      <a:pt x="405" y="297"/>
                    </a:lnTo>
                    <a:lnTo>
                      <a:pt x="407" y="296"/>
                    </a:lnTo>
                    <a:lnTo>
                      <a:pt x="408" y="296"/>
                    </a:lnTo>
                    <a:lnTo>
                      <a:pt x="410" y="296"/>
                    </a:lnTo>
                    <a:lnTo>
                      <a:pt x="412" y="296"/>
                    </a:lnTo>
                    <a:lnTo>
                      <a:pt x="414" y="296"/>
                    </a:lnTo>
                    <a:lnTo>
                      <a:pt x="415" y="296"/>
                    </a:lnTo>
                    <a:lnTo>
                      <a:pt x="417" y="294"/>
                    </a:lnTo>
                    <a:lnTo>
                      <a:pt x="418" y="293"/>
                    </a:lnTo>
                    <a:lnTo>
                      <a:pt x="418" y="293"/>
                    </a:lnTo>
                    <a:lnTo>
                      <a:pt x="420" y="291"/>
                    </a:lnTo>
                    <a:lnTo>
                      <a:pt x="421" y="291"/>
                    </a:lnTo>
                    <a:lnTo>
                      <a:pt x="423" y="290"/>
                    </a:lnTo>
                    <a:lnTo>
                      <a:pt x="423" y="288"/>
                    </a:lnTo>
                    <a:lnTo>
                      <a:pt x="424" y="288"/>
                    </a:lnTo>
                    <a:lnTo>
                      <a:pt x="424" y="288"/>
                    </a:lnTo>
                    <a:lnTo>
                      <a:pt x="425" y="288"/>
                    </a:lnTo>
                    <a:lnTo>
                      <a:pt x="425" y="288"/>
                    </a:lnTo>
                    <a:lnTo>
                      <a:pt x="427" y="288"/>
                    </a:lnTo>
                    <a:lnTo>
                      <a:pt x="427" y="290"/>
                    </a:lnTo>
                    <a:lnTo>
                      <a:pt x="427" y="291"/>
                    </a:lnTo>
                    <a:lnTo>
                      <a:pt x="427" y="290"/>
                    </a:lnTo>
                    <a:lnTo>
                      <a:pt x="427" y="288"/>
                    </a:lnTo>
                    <a:lnTo>
                      <a:pt x="427" y="288"/>
                    </a:lnTo>
                    <a:lnTo>
                      <a:pt x="427" y="287"/>
                    </a:lnTo>
                    <a:lnTo>
                      <a:pt x="425" y="285"/>
                    </a:lnTo>
                    <a:lnTo>
                      <a:pt x="424" y="284"/>
                    </a:lnTo>
                    <a:lnTo>
                      <a:pt x="423" y="284"/>
                    </a:lnTo>
                    <a:lnTo>
                      <a:pt x="421" y="283"/>
                    </a:lnTo>
                    <a:lnTo>
                      <a:pt x="420" y="283"/>
                    </a:lnTo>
                    <a:lnTo>
                      <a:pt x="418" y="283"/>
                    </a:lnTo>
                    <a:lnTo>
                      <a:pt x="415" y="281"/>
                    </a:lnTo>
                    <a:lnTo>
                      <a:pt x="412" y="280"/>
                    </a:lnTo>
                    <a:lnTo>
                      <a:pt x="411" y="280"/>
                    </a:lnTo>
                    <a:lnTo>
                      <a:pt x="408" y="278"/>
                    </a:lnTo>
                    <a:lnTo>
                      <a:pt x="404" y="278"/>
                    </a:lnTo>
                    <a:lnTo>
                      <a:pt x="401" y="278"/>
                    </a:lnTo>
                    <a:lnTo>
                      <a:pt x="398" y="278"/>
                    </a:lnTo>
                    <a:lnTo>
                      <a:pt x="395" y="280"/>
                    </a:lnTo>
                    <a:lnTo>
                      <a:pt x="392" y="280"/>
                    </a:lnTo>
                    <a:lnTo>
                      <a:pt x="391" y="280"/>
                    </a:lnTo>
                    <a:lnTo>
                      <a:pt x="389" y="280"/>
                    </a:lnTo>
                    <a:lnTo>
                      <a:pt x="388" y="280"/>
                    </a:lnTo>
                    <a:lnTo>
                      <a:pt x="387" y="281"/>
                    </a:lnTo>
                    <a:lnTo>
                      <a:pt x="387" y="283"/>
                    </a:lnTo>
                    <a:lnTo>
                      <a:pt x="385" y="283"/>
                    </a:lnTo>
                    <a:lnTo>
                      <a:pt x="385" y="284"/>
                    </a:lnTo>
                    <a:lnTo>
                      <a:pt x="385" y="285"/>
                    </a:lnTo>
                    <a:lnTo>
                      <a:pt x="385" y="287"/>
                    </a:lnTo>
                    <a:lnTo>
                      <a:pt x="385" y="288"/>
                    </a:lnTo>
                    <a:lnTo>
                      <a:pt x="387" y="290"/>
                    </a:lnTo>
                    <a:close/>
                    <a:moveTo>
                      <a:pt x="539" y="249"/>
                    </a:moveTo>
                    <a:lnTo>
                      <a:pt x="539" y="251"/>
                    </a:lnTo>
                    <a:lnTo>
                      <a:pt x="541" y="251"/>
                    </a:lnTo>
                    <a:lnTo>
                      <a:pt x="544" y="251"/>
                    </a:lnTo>
                    <a:lnTo>
                      <a:pt x="542" y="251"/>
                    </a:lnTo>
                    <a:lnTo>
                      <a:pt x="541" y="251"/>
                    </a:lnTo>
                    <a:lnTo>
                      <a:pt x="541" y="251"/>
                    </a:lnTo>
                    <a:lnTo>
                      <a:pt x="539" y="249"/>
                    </a:lnTo>
                    <a:lnTo>
                      <a:pt x="539" y="249"/>
                    </a:lnTo>
                    <a:lnTo>
                      <a:pt x="539" y="249"/>
                    </a:lnTo>
                    <a:close/>
                    <a:moveTo>
                      <a:pt x="519" y="249"/>
                    </a:moveTo>
                    <a:lnTo>
                      <a:pt x="519" y="249"/>
                    </a:lnTo>
                    <a:lnTo>
                      <a:pt x="521" y="249"/>
                    </a:lnTo>
                    <a:lnTo>
                      <a:pt x="519" y="249"/>
                    </a:lnTo>
                    <a:close/>
                    <a:moveTo>
                      <a:pt x="474" y="245"/>
                    </a:moveTo>
                    <a:lnTo>
                      <a:pt x="474" y="245"/>
                    </a:lnTo>
                    <a:lnTo>
                      <a:pt x="476" y="245"/>
                    </a:lnTo>
                    <a:lnTo>
                      <a:pt x="476" y="244"/>
                    </a:lnTo>
                    <a:lnTo>
                      <a:pt x="474" y="244"/>
                    </a:lnTo>
                    <a:lnTo>
                      <a:pt x="474" y="245"/>
                    </a:lnTo>
                    <a:close/>
                    <a:moveTo>
                      <a:pt x="421" y="219"/>
                    </a:moveTo>
                    <a:lnTo>
                      <a:pt x="421" y="218"/>
                    </a:lnTo>
                    <a:lnTo>
                      <a:pt x="421" y="218"/>
                    </a:lnTo>
                    <a:lnTo>
                      <a:pt x="421" y="216"/>
                    </a:lnTo>
                    <a:lnTo>
                      <a:pt x="421" y="216"/>
                    </a:lnTo>
                    <a:lnTo>
                      <a:pt x="421" y="215"/>
                    </a:lnTo>
                    <a:lnTo>
                      <a:pt x="423" y="215"/>
                    </a:lnTo>
                    <a:lnTo>
                      <a:pt x="424" y="213"/>
                    </a:lnTo>
                    <a:lnTo>
                      <a:pt x="424" y="212"/>
                    </a:lnTo>
                    <a:lnTo>
                      <a:pt x="425" y="212"/>
                    </a:lnTo>
                    <a:lnTo>
                      <a:pt x="427" y="212"/>
                    </a:lnTo>
                    <a:lnTo>
                      <a:pt x="427" y="211"/>
                    </a:lnTo>
                    <a:lnTo>
                      <a:pt x="430" y="211"/>
                    </a:lnTo>
                    <a:lnTo>
                      <a:pt x="430" y="212"/>
                    </a:lnTo>
                    <a:lnTo>
                      <a:pt x="433" y="212"/>
                    </a:lnTo>
                    <a:lnTo>
                      <a:pt x="434" y="213"/>
                    </a:lnTo>
                    <a:lnTo>
                      <a:pt x="436" y="213"/>
                    </a:lnTo>
                    <a:lnTo>
                      <a:pt x="438" y="213"/>
                    </a:lnTo>
                    <a:lnTo>
                      <a:pt x="438" y="212"/>
                    </a:lnTo>
                    <a:lnTo>
                      <a:pt x="438" y="212"/>
                    </a:lnTo>
                    <a:lnTo>
                      <a:pt x="438" y="211"/>
                    </a:lnTo>
                    <a:lnTo>
                      <a:pt x="438" y="209"/>
                    </a:lnTo>
                    <a:lnTo>
                      <a:pt x="438" y="209"/>
                    </a:lnTo>
                    <a:lnTo>
                      <a:pt x="438" y="208"/>
                    </a:lnTo>
                    <a:lnTo>
                      <a:pt x="438" y="208"/>
                    </a:lnTo>
                    <a:lnTo>
                      <a:pt x="440" y="208"/>
                    </a:lnTo>
                    <a:lnTo>
                      <a:pt x="441" y="208"/>
                    </a:lnTo>
                    <a:lnTo>
                      <a:pt x="441" y="206"/>
                    </a:lnTo>
                    <a:lnTo>
                      <a:pt x="441" y="206"/>
                    </a:lnTo>
                    <a:lnTo>
                      <a:pt x="443" y="206"/>
                    </a:lnTo>
                    <a:lnTo>
                      <a:pt x="444" y="205"/>
                    </a:lnTo>
                    <a:lnTo>
                      <a:pt x="443" y="205"/>
                    </a:lnTo>
                    <a:lnTo>
                      <a:pt x="441" y="205"/>
                    </a:lnTo>
                    <a:lnTo>
                      <a:pt x="441" y="205"/>
                    </a:lnTo>
                    <a:lnTo>
                      <a:pt x="441" y="205"/>
                    </a:lnTo>
                    <a:lnTo>
                      <a:pt x="441" y="203"/>
                    </a:lnTo>
                    <a:lnTo>
                      <a:pt x="441" y="202"/>
                    </a:lnTo>
                    <a:lnTo>
                      <a:pt x="443" y="202"/>
                    </a:lnTo>
                    <a:lnTo>
                      <a:pt x="443" y="202"/>
                    </a:lnTo>
                    <a:lnTo>
                      <a:pt x="443" y="200"/>
                    </a:lnTo>
                    <a:lnTo>
                      <a:pt x="444" y="200"/>
                    </a:lnTo>
                    <a:lnTo>
                      <a:pt x="444" y="199"/>
                    </a:lnTo>
                    <a:lnTo>
                      <a:pt x="443" y="199"/>
                    </a:lnTo>
                    <a:lnTo>
                      <a:pt x="443" y="199"/>
                    </a:lnTo>
                    <a:lnTo>
                      <a:pt x="441" y="200"/>
                    </a:lnTo>
                    <a:lnTo>
                      <a:pt x="441" y="200"/>
                    </a:lnTo>
                    <a:lnTo>
                      <a:pt x="441" y="199"/>
                    </a:lnTo>
                    <a:lnTo>
                      <a:pt x="441" y="199"/>
                    </a:lnTo>
                    <a:lnTo>
                      <a:pt x="443" y="199"/>
                    </a:lnTo>
                    <a:lnTo>
                      <a:pt x="444" y="199"/>
                    </a:lnTo>
                    <a:lnTo>
                      <a:pt x="444" y="199"/>
                    </a:lnTo>
                    <a:lnTo>
                      <a:pt x="446" y="199"/>
                    </a:lnTo>
                    <a:lnTo>
                      <a:pt x="447" y="199"/>
                    </a:lnTo>
                    <a:lnTo>
                      <a:pt x="446" y="199"/>
                    </a:lnTo>
                    <a:lnTo>
                      <a:pt x="444" y="198"/>
                    </a:lnTo>
                    <a:lnTo>
                      <a:pt x="443" y="198"/>
                    </a:lnTo>
                    <a:lnTo>
                      <a:pt x="443" y="198"/>
                    </a:lnTo>
                    <a:lnTo>
                      <a:pt x="441" y="198"/>
                    </a:lnTo>
                    <a:lnTo>
                      <a:pt x="440" y="198"/>
                    </a:lnTo>
                    <a:lnTo>
                      <a:pt x="438" y="199"/>
                    </a:lnTo>
                    <a:lnTo>
                      <a:pt x="438" y="199"/>
                    </a:lnTo>
                    <a:lnTo>
                      <a:pt x="437" y="199"/>
                    </a:lnTo>
                    <a:lnTo>
                      <a:pt x="436" y="198"/>
                    </a:lnTo>
                    <a:lnTo>
                      <a:pt x="434" y="198"/>
                    </a:lnTo>
                    <a:lnTo>
                      <a:pt x="434" y="196"/>
                    </a:lnTo>
                    <a:lnTo>
                      <a:pt x="433" y="196"/>
                    </a:lnTo>
                    <a:lnTo>
                      <a:pt x="433" y="196"/>
                    </a:lnTo>
                    <a:lnTo>
                      <a:pt x="431" y="196"/>
                    </a:lnTo>
                    <a:lnTo>
                      <a:pt x="433" y="195"/>
                    </a:lnTo>
                    <a:lnTo>
                      <a:pt x="434" y="193"/>
                    </a:lnTo>
                    <a:lnTo>
                      <a:pt x="436" y="192"/>
                    </a:lnTo>
                    <a:lnTo>
                      <a:pt x="438" y="192"/>
                    </a:lnTo>
                    <a:lnTo>
                      <a:pt x="440" y="192"/>
                    </a:lnTo>
                    <a:lnTo>
                      <a:pt x="443" y="192"/>
                    </a:lnTo>
                    <a:lnTo>
                      <a:pt x="444" y="192"/>
                    </a:lnTo>
                    <a:lnTo>
                      <a:pt x="447" y="193"/>
                    </a:lnTo>
                    <a:lnTo>
                      <a:pt x="447" y="193"/>
                    </a:lnTo>
                    <a:lnTo>
                      <a:pt x="446" y="192"/>
                    </a:lnTo>
                    <a:lnTo>
                      <a:pt x="446" y="192"/>
                    </a:lnTo>
                    <a:lnTo>
                      <a:pt x="444" y="190"/>
                    </a:lnTo>
                    <a:lnTo>
                      <a:pt x="443" y="189"/>
                    </a:lnTo>
                    <a:lnTo>
                      <a:pt x="443" y="187"/>
                    </a:lnTo>
                    <a:lnTo>
                      <a:pt x="443" y="186"/>
                    </a:lnTo>
                    <a:lnTo>
                      <a:pt x="443" y="186"/>
                    </a:lnTo>
                    <a:lnTo>
                      <a:pt x="444" y="185"/>
                    </a:lnTo>
                    <a:lnTo>
                      <a:pt x="444" y="185"/>
                    </a:lnTo>
                    <a:lnTo>
                      <a:pt x="446" y="183"/>
                    </a:lnTo>
                    <a:lnTo>
                      <a:pt x="447" y="183"/>
                    </a:lnTo>
                    <a:lnTo>
                      <a:pt x="449" y="182"/>
                    </a:lnTo>
                    <a:lnTo>
                      <a:pt x="450" y="182"/>
                    </a:lnTo>
                    <a:lnTo>
                      <a:pt x="453" y="182"/>
                    </a:lnTo>
                    <a:lnTo>
                      <a:pt x="456" y="183"/>
                    </a:lnTo>
                    <a:lnTo>
                      <a:pt x="459" y="183"/>
                    </a:lnTo>
                    <a:lnTo>
                      <a:pt x="462" y="183"/>
                    </a:lnTo>
                    <a:lnTo>
                      <a:pt x="463" y="182"/>
                    </a:lnTo>
                    <a:lnTo>
                      <a:pt x="464" y="182"/>
                    </a:lnTo>
                    <a:lnTo>
                      <a:pt x="466" y="182"/>
                    </a:lnTo>
                    <a:lnTo>
                      <a:pt x="470" y="180"/>
                    </a:lnTo>
                    <a:lnTo>
                      <a:pt x="473" y="180"/>
                    </a:lnTo>
                    <a:lnTo>
                      <a:pt x="474" y="180"/>
                    </a:lnTo>
                    <a:lnTo>
                      <a:pt x="480" y="182"/>
                    </a:lnTo>
                    <a:lnTo>
                      <a:pt x="483" y="182"/>
                    </a:lnTo>
                    <a:lnTo>
                      <a:pt x="486" y="182"/>
                    </a:lnTo>
                    <a:lnTo>
                      <a:pt x="487" y="182"/>
                    </a:lnTo>
                    <a:lnTo>
                      <a:pt x="485" y="182"/>
                    </a:lnTo>
                    <a:lnTo>
                      <a:pt x="483" y="180"/>
                    </a:lnTo>
                    <a:lnTo>
                      <a:pt x="482" y="180"/>
                    </a:lnTo>
                    <a:lnTo>
                      <a:pt x="482" y="179"/>
                    </a:lnTo>
                    <a:lnTo>
                      <a:pt x="473" y="179"/>
                    </a:lnTo>
                    <a:lnTo>
                      <a:pt x="472" y="179"/>
                    </a:lnTo>
                    <a:lnTo>
                      <a:pt x="469" y="180"/>
                    </a:lnTo>
                    <a:lnTo>
                      <a:pt x="464" y="180"/>
                    </a:lnTo>
                    <a:lnTo>
                      <a:pt x="460" y="182"/>
                    </a:lnTo>
                    <a:lnTo>
                      <a:pt x="459" y="182"/>
                    </a:lnTo>
                    <a:lnTo>
                      <a:pt x="457" y="182"/>
                    </a:lnTo>
                    <a:lnTo>
                      <a:pt x="459" y="182"/>
                    </a:lnTo>
                    <a:lnTo>
                      <a:pt x="459" y="180"/>
                    </a:lnTo>
                    <a:lnTo>
                      <a:pt x="459" y="180"/>
                    </a:lnTo>
                    <a:lnTo>
                      <a:pt x="459" y="179"/>
                    </a:lnTo>
                    <a:lnTo>
                      <a:pt x="459" y="179"/>
                    </a:lnTo>
                    <a:lnTo>
                      <a:pt x="459" y="179"/>
                    </a:lnTo>
                    <a:lnTo>
                      <a:pt x="459" y="177"/>
                    </a:lnTo>
                    <a:lnTo>
                      <a:pt x="459" y="177"/>
                    </a:lnTo>
                    <a:lnTo>
                      <a:pt x="460" y="176"/>
                    </a:lnTo>
                    <a:lnTo>
                      <a:pt x="462" y="176"/>
                    </a:lnTo>
                    <a:lnTo>
                      <a:pt x="463" y="174"/>
                    </a:lnTo>
                    <a:lnTo>
                      <a:pt x="464" y="174"/>
                    </a:lnTo>
                    <a:lnTo>
                      <a:pt x="466" y="173"/>
                    </a:lnTo>
                    <a:lnTo>
                      <a:pt x="467" y="173"/>
                    </a:lnTo>
                    <a:lnTo>
                      <a:pt x="474" y="173"/>
                    </a:lnTo>
                    <a:lnTo>
                      <a:pt x="472" y="173"/>
                    </a:lnTo>
                    <a:lnTo>
                      <a:pt x="467" y="172"/>
                    </a:lnTo>
                    <a:lnTo>
                      <a:pt x="464" y="172"/>
                    </a:lnTo>
                    <a:lnTo>
                      <a:pt x="463" y="172"/>
                    </a:lnTo>
                    <a:lnTo>
                      <a:pt x="462" y="173"/>
                    </a:lnTo>
                    <a:lnTo>
                      <a:pt x="459" y="173"/>
                    </a:lnTo>
                    <a:lnTo>
                      <a:pt x="459" y="174"/>
                    </a:lnTo>
                    <a:lnTo>
                      <a:pt x="457" y="174"/>
                    </a:lnTo>
                    <a:lnTo>
                      <a:pt x="456" y="174"/>
                    </a:lnTo>
                    <a:lnTo>
                      <a:pt x="453" y="174"/>
                    </a:lnTo>
                    <a:lnTo>
                      <a:pt x="451" y="173"/>
                    </a:lnTo>
                    <a:lnTo>
                      <a:pt x="450" y="172"/>
                    </a:lnTo>
                    <a:lnTo>
                      <a:pt x="449" y="172"/>
                    </a:lnTo>
                    <a:lnTo>
                      <a:pt x="447" y="172"/>
                    </a:lnTo>
                    <a:lnTo>
                      <a:pt x="447" y="172"/>
                    </a:lnTo>
                    <a:lnTo>
                      <a:pt x="449" y="170"/>
                    </a:lnTo>
                    <a:lnTo>
                      <a:pt x="451" y="170"/>
                    </a:lnTo>
                    <a:lnTo>
                      <a:pt x="453" y="169"/>
                    </a:lnTo>
                    <a:lnTo>
                      <a:pt x="456" y="169"/>
                    </a:lnTo>
                    <a:lnTo>
                      <a:pt x="459" y="167"/>
                    </a:lnTo>
                    <a:lnTo>
                      <a:pt x="462" y="166"/>
                    </a:lnTo>
                    <a:lnTo>
                      <a:pt x="464" y="166"/>
                    </a:lnTo>
                    <a:lnTo>
                      <a:pt x="463" y="166"/>
                    </a:lnTo>
                    <a:lnTo>
                      <a:pt x="463" y="164"/>
                    </a:lnTo>
                    <a:lnTo>
                      <a:pt x="462" y="164"/>
                    </a:lnTo>
                    <a:lnTo>
                      <a:pt x="463" y="164"/>
                    </a:lnTo>
                    <a:lnTo>
                      <a:pt x="463" y="164"/>
                    </a:lnTo>
                    <a:lnTo>
                      <a:pt x="464" y="163"/>
                    </a:lnTo>
                    <a:lnTo>
                      <a:pt x="467" y="163"/>
                    </a:lnTo>
                    <a:lnTo>
                      <a:pt x="469" y="163"/>
                    </a:lnTo>
                    <a:lnTo>
                      <a:pt x="470" y="163"/>
                    </a:lnTo>
                    <a:lnTo>
                      <a:pt x="470" y="163"/>
                    </a:lnTo>
                    <a:lnTo>
                      <a:pt x="472" y="163"/>
                    </a:lnTo>
                    <a:lnTo>
                      <a:pt x="473" y="163"/>
                    </a:lnTo>
                    <a:lnTo>
                      <a:pt x="476" y="163"/>
                    </a:lnTo>
                    <a:lnTo>
                      <a:pt x="479" y="163"/>
                    </a:lnTo>
                    <a:lnTo>
                      <a:pt x="482" y="163"/>
                    </a:lnTo>
                    <a:lnTo>
                      <a:pt x="482" y="163"/>
                    </a:lnTo>
                    <a:lnTo>
                      <a:pt x="480" y="161"/>
                    </a:lnTo>
                    <a:lnTo>
                      <a:pt x="477" y="160"/>
                    </a:lnTo>
                    <a:lnTo>
                      <a:pt x="476" y="160"/>
                    </a:lnTo>
                    <a:lnTo>
                      <a:pt x="473" y="160"/>
                    </a:lnTo>
                    <a:lnTo>
                      <a:pt x="469" y="159"/>
                    </a:lnTo>
                    <a:lnTo>
                      <a:pt x="464" y="159"/>
                    </a:lnTo>
                    <a:lnTo>
                      <a:pt x="466" y="159"/>
                    </a:lnTo>
                    <a:lnTo>
                      <a:pt x="467" y="159"/>
                    </a:lnTo>
                    <a:lnTo>
                      <a:pt x="469" y="159"/>
                    </a:lnTo>
                    <a:lnTo>
                      <a:pt x="470" y="159"/>
                    </a:lnTo>
                    <a:lnTo>
                      <a:pt x="473" y="159"/>
                    </a:lnTo>
                    <a:lnTo>
                      <a:pt x="474" y="159"/>
                    </a:lnTo>
                    <a:lnTo>
                      <a:pt x="476" y="159"/>
                    </a:lnTo>
                    <a:lnTo>
                      <a:pt x="474" y="159"/>
                    </a:lnTo>
                    <a:lnTo>
                      <a:pt x="474" y="157"/>
                    </a:lnTo>
                    <a:lnTo>
                      <a:pt x="473" y="157"/>
                    </a:lnTo>
                    <a:lnTo>
                      <a:pt x="472" y="157"/>
                    </a:lnTo>
                    <a:lnTo>
                      <a:pt x="470" y="156"/>
                    </a:lnTo>
                    <a:lnTo>
                      <a:pt x="467" y="156"/>
                    </a:lnTo>
                    <a:lnTo>
                      <a:pt x="470" y="156"/>
                    </a:lnTo>
                    <a:lnTo>
                      <a:pt x="472" y="154"/>
                    </a:lnTo>
                    <a:lnTo>
                      <a:pt x="474" y="154"/>
                    </a:lnTo>
                    <a:lnTo>
                      <a:pt x="476" y="154"/>
                    </a:lnTo>
                    <a:lnTo>
                      <a:pt x="480" y="154"/>
                    </a:lnTo>
                    <a:lnTo>
                      <a:pt x="479" y="154"/>
                    </a:lnTo>
                    <a:lnTo>
                      <a:pt x="476" y="154"/>
                    </a:lnTo>
                    <a:lnTo>
                      <a:pt x="474" y="153"/>
                    </a:lnTo>
                    <a:lnTo>
                      <a:pt x="472" y="153"/>
                    </a:lnTo>
                    <a:lnTo>
                      <a:pt x="472" y="153"/>
                    </a:lnTo>
                    <a:lnTo>
                      <a:pt x="470" y="151"/>
                    </a:lnTo>
                    <a:lnTo>
                      <a:pt x="470" y="151"/>
                    </a:lnTo>
                    <a:lnTo>
                      <a:pt x="472" y="150"/>
                    </a:lnTo>
                    <a:lnTo>
                      <a:pt x="473" y="150"/>
                    </a:lnTo>
                    <a:lnTo>
                      <a:pt x="474" y="149"/>
                    </a:lnTo>
                    <a:lnTo>
                      <a:pt x="476" y="149"/>
                    </a:lnTo>
                    <a:lnTo>
                      <a:pt x="479" y="149"/>
                    </a:lnTo>
                    <a:lnTo>
                      <a:pt x="482" y="149"/>
                    </a:lnTo>
                    <a:lnTo>
                      <a:pt x="482" y="149"/>
                    </a:lnTo>
                    <a:lnTo>
                      <a:pt x="483" y="149"/>
                    </a:lnTo>
                    <a:lnTo>
                      <a:pt x="485" y="149"/>
                    </a:lnTo>
                    <a:lnTo>
                      <a:pt x="487" y="149"/>
                    </a:lnTo>
                    <a:lnTo>
                      <a:pt x="489" y="150"/>
                    </a:lnTo>
                    <a:lnTo>
                      <a:pt x="490" y="150"/>
                    </a:lnTo>
                    <a:lnTo>
                      <a:pt x="492" y="149"/>
                    </a:lnTo>
                    <a:lnTo>
                      <a:pt x="493" y="149"/>
                    </a:lnTo>
                    <a:lnTo>
                      <a:pt x="485" y="149"/>
                    </a:lnTo>
                    <a:lnTo>
                      <a:pt x="483" y="147"/>
                    </a:lnTo>
                    <a:lnTo>
                      <a:pt x="482" y="147"/>
                    </a:lnTo>
                    <a:lnTo>
                      <a:pt x="482" y="147"/>
                    </a:lnTo>
                    <a:lnTo>
                      <a:pt x="480" y="147"/>
                    </a:lnTo>
                    <a:lnTo>
                      <a:pt x="479" y="147"/>
                    </a:lnTo>
                    <a:lnTo>
                      <a:pt x="477" y="147"/>
                    </a:lnTo>
                    <a:lnTo>
                      <a:pt x="476" y="146"/>
                    </a:lnTo>
                    <a:lnTo>
                      <a:pt x="473" y="146"/>
                    </a:lnTo>
                    <a:lnTo>
                      <a:pt x="474" y="144"/>
                    </a:lnTo>
                    <a:lnTo>
                      <a:pt x="476" y="144"/>
                    </a:lnTo>
                    <a:lnTo>
                      <a:pt x="477" y="144"/>
                    </a:lnTo>
                    <a:lnTo>
                      <a:pt x="479" y="144"/>
                    </a:lnTo>
                    <a:lnTo>
                      <a:pt x="480" y="144"/>
                    </a:lnTo>
                    <a:lnTo>
                      <a:pt x="482" y="143"/>
                    </a:lnTo>
                    <a:lnTo>
                      <a:pt x="483" y="143"/>
                    </a:lnTo>
                    <a:lnTo>
                      <a:pt x="485" y="143"/>
                    </a:lnTo>
                    <a:lnTo>
                      <a:pt x="483" y="143"/>
                    </a:lnTo>
                    <a:lnTo>
                      <a:pt x="483" y="143"/>
                    </a:lnTo>
                    <a:lnTo>
                      <a:pt x="482" y="143"/>
                    </a:lnTo>
                    <a:lnTo>
                      <a:pt x="479" y="143"/>
                    </a:lnTo>
                    <a:lnTo>
                      <a:pt x="480" y="141"/>
                    </a:lnTo>
                    <a:lnTo>
                      <a:pt x="480" y="141"/>
                    </a:lnTo>
                    <a:lnTo>
                      <a:pt x="482" y="141"/>
                    </a:lnTo>
                    <a:lnTo>
                      <a:pt x="482" y="141"/>
                    </a:lnTo>
                    <a:lnTo>
                      <a:pt x="480" y="141"/>
                    </a:lnTo>
                    <a:lnTo>
                      <a:pt x="480" y="141"/>
                    </a:lnTo>
                    <a:lnTo>
                      <a:pt x="479" y="141"/>
                    </a:lnTo>
                    <a:lnTo>
                      <a:pt x="477" y="141"/>
                    </a:lnTo>
                    <a:lnTo>
                      <a:pt x="476" y="141"/>
                    </a:lnTo>
                    <a:lnTo>
                      <a:pt x="473" y="141"/>
                    </a:lnTo>
                    <a:lnTo>
                      <a:pt x="472" y="141"/>
                    </a:lnTo>
                    <a:lnTo>
                      <a:pt x="470" y="140"/>
                    </a:lnTo>
                    <a:lnTo>
                      <a:pt x="470" y="140"/>
                    </a:lnTo>
                    <a:lnTo>
                      <a:pt x="469" y="138"/>
                    </a:lnTo>
                    <a:lnTo>
                      <a:pt x="470" y="137"/>
                    </a:lnTo>
                    <a:lnTo>
                      <a:pt x="470" y="137"/>
                    </a:lnTo>
                    <a:lnTo>
                      <a:pt x="472" y="137"/>
                    </a:lnTo>
                    <a:lnTo>
                      <a:pt x="472" y="137"/>
                    </a:lnTo>
                    <a:lnTo>
                      <a:pt x="473" y="137"/>
                    </a:lnTo>
                    <a:lnTo>
                      <a:pt x="473" y="137"/>
                    </a:lnTo>
                    <a:lnTo>
                      <a:pt x="476" y="137"/>
                    </a:lnTo>
                    <a:lnTo>
                      <a:pt x="479" y="137"/>
                    </a:lnTo>
                    <a:lnTo>
                      <a:pt x="480" y="138"/>
                    </a:lnTo>
                    <a:lnTo>
                      <a:pt x="482" y="138"/>
                    </a:lnTo>
                    <a:lnTo>
                      <a:pt x="483" y="138"/>
                    </a:lnTo>
                    <a:lnTo>
                      <a:pt x="483" y="138"/>
                    </a:lnTo>
                    <a:lnTo>
                      <a:pt x="485" y="138"/>
                    </a:lnTo>
                    <a:lnTo>
                      <a:pt x="486" y="137"/>
                    </a:lnTo>
                    <a:lnTo>
                      <a:pt x="487" y="137"/>
                    </a:lnTo>
                    <a:lnTo>
                      <a:pt x="486" y="136"/>
                    </a:lnTo>
                    <a:lnTo>
                      <a:pt x="486" y="136"/>
                    </a:lnTo>
                    <a:lnTo>
                      <a:pt x="485" y="134"/>
                    </a:lnTo>
                    <a:lnTo>
                      <a:pt x="486" y="133"/>
                    </a:lnTo>
                    <a:lnTo>
                      <a:pt x="487" y="133"/>
                    </a:lnTo>
                    <a:lnTo>
                      <a:pt x="490" y="133"/>
                    </a:lnTo>
                    <a:lnTo>
                      <a:pt x="492" y="133"/>
                    </a:lnTo>
                    <a:lnTo>
                      <a:pt x="498" y="134"/>
                    </a:lnTo>
                    <a:lnTo>
                      <a:pt x="499" y="134"/>
                    </a:lnTo>
                    <a:lnTo>
                      <a:pt x="502" y="134"/>
                    </a:lnTo>
                    <a:lnTo>
                      <a:pt x="500" y="133"/>
                    </a:lnTo>
                    <a:lnTo>
                      <a:pt x="500" y="133"/>
                    </a:lnTo>
                    <a:lnTo>
                      <a:pt x="499" y="131"/>
                    </a:lnTo>
                    <a:lnTo>
                      <a:pt x="499" y="131"/>
                    </a:lnTo>
                    <a:lnTo>
                      <a:pt x="498" y="131"/>
                    </a:lnTo>
                    <a:lnTo>
                      <a:pt x="498" y="131"/>
                    </a:lnTo>
                    <a:lnTo>
                      <a:pt x="496" y="131"/>
                    </a:lnTo>
                    <a:lnTo>
                      <a:pt x="498" y="130"/>
                    </a:lnTo>
                    <a:lnTo>
                      <a:pt x="499" y="130"/>
                    </a:lnTo>
                    <a:lnTo>
                      <a:pt x="499" y="128"/>
                    </a:lnTo>
                    <a:lnTo>
                      <a:pt x="500" y="128"/>
                    </a:lnTo>
                    <a:lnTo>
                      <a:pt x="502" y="128"/>
                    </a:lnTo>
                    <a:lnTo>
                      <a:pt x="505" y="128"/>
                    </a:lnTo>
                    <a:lnTo>
                      <a:pt x="503" y="127"/>
                    </a:lnTo>
                    <a:lnTo>
                      <a:pt x="502" y="127"/>
                    </a:lnTo>
                    <a:lnTo>
                      <a:pt x="502" y="127"/>
                    </a:lnTo>
                    <a:lnTo>
                      <a:pt x="502" y="125"/>
                    </a:lnTo>
                    <a:lnTo>
                      <a:pt x="502" y="125"/>
                    </a:lnTo>
                    <a:lnTo>
                      <a:pt x="503" y="125"/>
                    </a:lnTo>
                    <a:lnTo>
                      <a:pt x="505" y="125"/>
                    </a:lnTo>
                    <a:lnTo>
                      <a:pt x="508" y="125"/>
                    </a:lnTo>
                    <a:lnTo>
                      <a:pt x="509" y="125"/>
                    </a:lnTo>
                    <a:lnTo>
                      <a:pt x="511" y="125"/>
                    </a:lnTo>
                    <a:lnTo>
                      <a:pt x="511" y="125"/>
                    </a:lnTo>
                    <a:lnTo>
                      <a:pt x="512" y="124"/>
                    </a:lnTo>
                    <a:lnTo>
                      <a:pt x="513" y="123"/>
                    </a:lnTo>
                    <a:lnTo>
                      <a:pt x="516" y="123"/>
                    </a:lnTo>
                    <a:lnTo>
                      <a:pt x="518" y="121"/>
                    </a:lnTo>
                    <a:lnTo>
                      <a:pt x="519" y="120"/>
                    </a:lnTo>
                    <a:lnTo>
                      <a:pt x="521" y="120"/>
                    </a:lnTo>
                    <a:lnTo>
                      <a:pt x="524" y="118"/>
                    </a:lnTo>
                    <a:lnTo>
                      <a:pt x="525" y="118"/>
                    </a:lnTo>
                    <a:lnTo>
                      <a:pt x="528" y="118"/>
                    </a:lnTo>
                    <a:lnTo>
                      <a:pt x="529" y="118"/>
                    </a:lnTo>
                    <a:lnTo>
                      <a:pt x="532" y="118"/>
                    </a:lnTo>
                    <a:lnTo>
                      <a:pt x="534" y="118"/>
                    </a:lnTo>
                    <a:lnTo>
                      <a:pt x="536" y="118"/>
                    </a:lnTo>
                    <a:lnTo>
                      <a:pt x="538" y="120"/>
                    </a:lnTo>
                    <a:lnTo>
                      <a:pt x="538" y="118"/>
                    </a:lnTo>
                    <a:lnTo>
                      <a:pt x="538" y="118"/>
                    </a:lnTo>
                    <a:lnTo>
                      <a:pt x="536" y="118"/>
                    </a:lnTo>
                    <a:lnTo>
                      <a:pt x="536" y="117"/>
                    </a:lnTo>
                    <a:lnTo>
                      <a:pt x="535" y="117"/>
                    </a:lnTo>
                    <a:lnTo>
                      <a:pt x="534" y="117"/>
                    </a:lnTo>
                    <a:lnTo>
                      <a:pt x="534" y="115"/>
                    </a:lnTo>
                    <a:lnTo>
                      <a:pt x="535" y="115"/>
                    </a:lnTo>
                    <a:lnTo>
                      <a:pt x="536" y="115"/>
                    </a:lnTo>
                    <a:lnTo>
                      <a:pt x="538" y="114"/>
                    </a:lnTo>
                    <a:lnTo>
                      <a:pt x="539" y="115"/>
                    </a:lnTo>
                    <a:lnTo>
                      <a:pt x="541" y="115"/>
                    </a:lnTo>
                    <a:lnTo>
                      <a:pt x="542" y="115"/>
                    </a:lnTo>
                    <a:lnTo>
                      <a:pt x="544" y="117"/>
                    </a:lnTo>
                    <a:lnTo>
                      <a:pt x="544" y="117"/>
                    </a:lnTo>
                    <a:lnTo>
                      <a:pt x="542" y="117"/>
                    </a:lnTo>
                    <a:lnTo>
                      <a:pt x="542" y="117"/>
                    </a:lnTo>
                    <a:lnTo>
                      <a:pt x="541" y="117"/>
                    </a:lnTo>
                    <a:lnTo>
                      <a:pt x="542" y="118"/>
                    </a:lnTo>
                    <a:lnTo>
                      <a:pt x="544" y="118"/>
                    </a:lnTo>
                    <a:lnTo>
                      <a:pt x="545" y="118"/>
                    </a:lnTo>
                    <a:lnTo>
                      <a:pt x="545" y="118"/>
                    </a:lnTo>
                    <a:lnTo>
                      <a:pt x="548" y="117"/>
                    </a:lnTo>
                    <a:lnTo>
                      <a:pt x="549" y="117"/>
                    </a:lnTo>
                    <a:lnTo>
                      <a:pt x="549" y="117"/>
                    </a:lnTo>
                    <a:lnTo>
                      <a:pt x="549" y="117"/>
                    </a:lnTo>
                    <a:lnTo>
                      <a:pt x="548" y="115"/>
                    </a:lnTo>
                    <a:lnTo>
                      <a:pt x="548" y="115"/>
                    </a:lnTo>
                    <a:lnTo>
                      <a:pt x="548" y="114"/>
                    </a:lnTo>
                    <a:lnTo>
                      <a:pt x="548" y="114"/>
                    </a:lnTo>
                    <a:lnTo>
                      <a:pt x="548" y="112"/>
                    </a:lnTo>
                    <a:lnTo>
                      <a:pt x="549" y="112"/>
                    </a:lnTo>
                    <a:lnTo>
                      <a:pt x="551" y="111"/>
                    </a:lnTo>
                    <a:lnTo>
                      <a:pt x="551" y="111"/>
                    </a:lnTo>
                    <a:lnTo>
                      <a:pt x="552" y="111"/>
                    </a:lnTo>
                    <a:lnTo>
                      <a:pt x="554" y="111"/>
                    </a:lnTo>
                    <a:lnTo>
                      <a:pt x="557" y="111"/>
                    </a:lnTo>
                    <a:lnTo>
                      <a:pt x="560" y="111"/>
                    </a:lnTo>
                    <a:lnTo>
                      <a:pt x="564" y="111"/>
                    </a:lnTo>
                    <a:lnTo>
                      <a:pt x="565" y="111"/>
                    </a:lnTo>
                    <a:lnTo>
                      <a:pt x="567" y="111"/>
                    </a:lnTo>
                    <a:lnTo>
                      <a:pt x="570" y="112"/>
                    </a:lnTo>
                    <a:lnTo>
                      <a:pt x="573" y="112"/>
                    </a:lnTo>
                    <a:lnTo>
                      <a:pt x="575" y="112"/>
                    </a:lnTo>
                    <a:lnTo>
                      <a:pt x="578" y="112"/>
                    </a:lnTo>
                    <a:lnTo>
                      <a:pt x="583" y="112"/>
                    </a:lnTo>
                    <a:lnTo>
                      <a:pt x="586" y="112"/>
                    </a:lnTo>
                    <a:lnTo>
                      <a:pt x="588" y="112"/>
                    </a:lnTo>
                    <a:lnTo>
                      <a:pt x="593" y="111"/>
                    </a:lnTo>
                    <a:lnTo>
                      <a:pt x="594" y="111"/>
                    </a:lnTo>
                    <a:lnTo>
                      <a:pt x="597" y="111"/>
                    </a:lnTo>
                    <a:lnTo>
                      <a:pt x="600" y="111"/>
                    </a:lnTo>
                    <a:lnTo>
                      <a:pt x="603" y="111"/>
                    </a:lnTo>
                    <a:lnTo>
                      <a:pt x="604" y="111"/>
                    </a:lnTo>
                    <a:lnTo>
                      <a:pt x="607" y="111"/>
                    </a:lnTo>
                    <a:lnTo>
                      <a:pt x="609" y="108"/>
                    </a:lnTo>
                    <a:lnTo>
                      <a:pt x="610" y="108"/>
                    </a:lnTo>
                    <a:lnTo>
                      <a:pt x="611" y="107"/>
                    </a:lnTo>
                    <a:lnTo>
                      <a:pt x="613" y="107"/>
                    </a:lnTo>
                    <a:lnTo>
                      <a:pt x="613" y="107"/>
                    </a:lnTo>
                    <a:lnTo>
                      <a:pt x="614" y="107"/>
                    </a:lnTo>
                    <a:lnTo>
                      <a:pt x="616" y="108"/>
                    </a:lnTo>
                    <a:lnTo>
                      <a:pt x="617" y="108"/>
                    </a:lnTo>
                    <a:lnTo>
                      <a:pt x="617" y="108"/>
                    </a:lnTo>
                    <a:lnTo>
                      <a:pt x="620" y="107"/>
                    </a:lnTo>
                    <a:lnTo>
                      <a:pt x="620" y="105"/>
                    </a:lnTo>
                    <a:lnTo>
                      <a:pt x="620" y="105"/>
                    </a:lnTo>
                    <a:lnTo>
                      <a:pt x="620" y="105"/>
                    </a:lnTo>
                    <a:lnTo>
                      <a:pt x="622" y="105"/>
                    </a:lnTo>
                    <a:lnTo>
                      <a:pt x="623" y="105"/>
                    </a:lnTo>
                    <a:lnTo>
                      <a:pt x="624" y="105"/>
                    </a:lnTo>
                    <a:lnTo>
                      <a:pt x="626" y="105"/>
                    </a:lnTo>
                    <a:lnTo>
                      <a:pt x="629" y="105"/>
                    </a:lnTo>
                    <a:lnTo>
                      <a:pt x="630" y="105"/>
                    </a:lnTo>
                    <a:lnTo>
                      <a:pt x="632" y="105"/>
                    </a:lnTo>
                    <a:lnTo>
                      <a:pt x="630" y="104"/>
                    </a:lnTo>
                    <a:lnTo>
                      <a:pt x="629" y="104"/>
                    </a:lnTo>
                    <a:lnTo>
                      <a:pt x="629" y="102"/>
                    </a:lnTo>
                    <a:lnTo>
                      <a:pt x="627" y="102"/>
                    </a:lnTo>
                    <a:lnTo>
                      <a:pt x="630" y="101"/>
                    </a:lnTo>
                    <a:lnTo>
                      <a:pt x="635" y="98"/>
                    </a:lnTo>
                    <a:lnTo>
                      <a:pt x="639" y="97"/>
                    </a:lnTo>
                    <a:lnTo>
                      <a:pt x="643" y="97"/>
                    </a:lnTo>
                    <a:lnTo>
                      <a:pt x="648" y="95"/>
                    </a:lnTo>
                    <a:lnTo>
                      <a:pt x="653" y="94"/>
                    </a:lnTo>
                    <a:lnTo>
                      <a:pt x="656" y="94"/>
                    </a:lnTo>
                    <a:lnTo>
                      <a:pt x="662" y="94"/>
                    </a:lnTo>
                    <a:lnTo>
                      <a:pt x="663" y="94"/>
                    </a:lnTo>
                    <a:lnTo>
                      <a:pt x="666" y="94"/>
                    </a:lnTo>
                    <a:lnTo>
                      <a:pt x="668" y="95"/>
                    </a:lnTo>
                    <a:lnTo>
                      <a:pt x="671" y="95"/>
                    </a:lnTo>
                    <a:lnTo>
                      <a:pt x="674" y="98"/>
                    </a:lnTo>
                    <a:lnTo>
                      <a:pt x="678" y="99"/>
                    </a:lnTo>
                    <a:lnTo>
                      <a:pt x="679" y="99"/>
                    </a:lnTo>
                    <a:lnTo>
                      <a:pt x="681" y="101"/>
                    </a:lnTo>
                    <a:lnTo>
                      <a:pt x="681" y="101"/>
                    </a:lnTo>
                    <a:lnTo>
                      <a:pt x="681" y="102"/>
                    </a:lnTo>
                    <a:lnTo>
                      <a:pt x="682" y="102"/>
                    </a:lnTo>
                    <a:lnTo>
                      <a:pt x="682" y="104"/>
                    </a:lnTo>
                    <a:lnTo>
                      <a:pt x="684" y="105"/>
                    </a:lnTo>
                    <a:lnTo>
                      <a:pt x="685" y="105"/>
                    </a:lnTo>
                    <a:lnTo>
                      <a:pt x="681" y="107"/>
                    </a:lnTo>
                    <a:lnTo>
                      <a:pt x="676" y="110"/>
                    </a:lnTo>
                    <a:lnTo>
                      <a:pt x="668" y="112"/>
                    </a:lnTo>
                    <a:lnTo>
                      <a:pt x="659" y="115"/>
                    </a:lnTo>
                    <a:lnTo>
                      <a:pt x="650" y="118"/>
                    </a:lnTo>
                    <a:lnTo>
                      <a:pt x="642" y="120"/>
                    </a:lnTo>
                    <a:lnTo>
                      <a:pt x="632" y="121"/>
                    </a:lnTo>
                    <a:lnTo>
                      <a:pt x="622" y="123"/>
                    </a:lnTo>
                    <a:lnTo>
                      <a:pt x="613" y="125"/>
                    </a:lnTo>
                    <a:lnTo>
                      <a:pt x="611" y="125"/>
                    </a:lnTo>
                    <a:lnTo>
                      <a:pt x="611" y="125"/>
                    </a:lnTo>
                    <a:lnTo>
                      <a:pt x="609" y="125"/>
                    </a:lnTo>
                    <a:lnTo>
                      <a:pt x="607" y="125"/>
                    </a:lnTo>
                    <a:lnTo>
                      <a:pt x="604" y="125"/>
                    </a:lnTo>
                    <a:lnTo>
                      <a:pt x="603" y="125"/>
                    </a:lnTo>
                    <a:lnTo>
                      <a:pt x="603" y="125"/>
                    </a:lnTo>
                    <a:lnTo>
                      <a:pt x="601" y="125"/>
                    </a:lnTo>
                    <a:lnTo>
                      <a:pt x="600" y="125"/>
                    </a:lnTo>
                    <a:lnTo>
                      <a:pt x="599" y="127"/>
                    </a:lnTo>
                    <a:lnTo>
                      <a:pt x="597" y="127"/>
                    </a:lnTo>
                    <a:lnTo>
                      <a:pt x="594" y="128"/>
                    </a:lnTo>
                    <a:lnTo>
                      <a:pt x="591" y="128"/>
                    </a:lnTo>
                    <a:lnTo>
                      <a:pt x="590" y="128"/>
                    </a:lnTo>
                    <a:lnTo>
                      <a:pt x="588" y="128"/>
                    </a:lnTo>
                    <a:lnTo>
                      <a:pt x="587" y="128"/>
                    </a:lnTo>
                    <a:lnTo>
                      <a:pt x="586" y="128"/>
                    </a:lnTo>
                    <a:lnTo>
                      <a:pt x="584" y="130"/>
                    </a:lnTo>
                    <a:lnTo>
                      <a:pt x="581" y="131"/>
                    </a:lnTo>
                    <a:lnTo>
                      <a:pt x="578" y="133"/>
                    </a:lnTo>
                    <a:lnTo>
                      <a:pt x="577" y="133"/>
                    </a:lnTo>
                    <a:lnTo>
                      <a:pt x="575" y="134"/>
                    </a:lnTo>
                    <a:lnTo>
                      <a:pt x="574" y="134"/>
                    </a:lnTo>
                    <a:lnTo>
                      <a:pt x="574" y="134"/>
                    </a:lnTo>
                    <a:lnTo>
                      <a:pt x="571" y="136"/>
                    </a:lnTo>
                    <a:lnTo>
                      <a:pt x="570" y="136"/>
                    </a:lnTo>
                    <a:lnTo>
                      <a:pt x="568" y="136"/>
                    </a:lnTo>
                    <a:lnTo>
                      <a:pt x="568" y="134"/>
                    </a:lnTo>
                    <a:lnTo>
                      <a:pt x="567" y="134"/>
                    </a:lnTo>
                    <a:lnTo>
                      <a:pt x="567" y="134"/>
                    </a:lnTo>
                    <a:lnTo>
                      <a:pt x="567" y="136"/>
                    </a:lnTo>
                    <a:lnTo>
                      <a:pt x="565" y="136"/>
                    </a:lnTo>
                    <a:lnTo>
                      <a:pt x="564" y="137"/>
                    </a:lnTo>
                    <a:lnTo>
                      <a:pt x="562" y="137"/>
                    </a:lnTo>
                    <a:lnTo>
                      <a:pt x="561" y="137"/>
                    </a:lnTo>
                    <a:lnTo>
                      <a:pt x="560" y="137"/>
                    </a:lnTo>
                    <a:lnTo>
                      <a:pt x="558" y="138"/>
                    </a:lnTo>
                    <a:lnTo>
                      <a:pt x="558" y="138"/>
                    </a:lnTo>
                    <a:lnTo>
                      <a:pt x="558" y="140"/>
                    </a:lnTo>
                    <a:lnTo>
                      <a:pt x="558" y="140"/>
                    </a:lnTo>
                    <a:lnTo>
                      <a:pt x="558" y="140"/>
                    </a:lnTo>
                    <a:lnTo>
                      <a:pt x="557" y="140"/>
                    </a:lnTo>
                    <a:lnTo>
                      <a:pt x="557" y="140"/>
                    </a:lnTo>
                    <a:lnTo>
                      <a:pt x="555" y="140"/>
                    </a:lnTo>
                    <a:lnTo>
                      <a:pt x="554" y="140"/>
                    </a:lnTo>
                    <a:lnTo>
                      <a:pt x="552" y="140"/>
                    </a:lnTo>
                    <a:lnTo>
                      <a:pt x="552" y="140"/>
                    </a:lnTo>
                    <a:lnTo>
                      <a:pt x="552" y="141"/>
                    </a:lnTo>
                    <a:lnTo>
                      <a:pt x="551" y="141"/>
                    </a:lnTo>
                    <a:lnTo>
                      <a:pt x="554" y="141"/>
                    </a:lnTo>
                    <a:lnTo>
                      <a:pt x="555" y="141"/>
                    </a:lnTo>
                    <a:lnTo>
                      <a:pt x="557" y="143"/>
                    </a:lnTo>
                    <a:lnTo>
                      <a:pt x="558" y="143"/>
                    </a:lnTo>
                    <a:lnTo>
                      <a:pt x="558" y="144"/>
                    </a:lnTo>
                    <a:lnTo>
                      <a:pt x="558" y="146"/>
                    </a:lnTo>
                    <a:lnTo>
                      <a:pt x="557" y="146"/>
                    </a:lnTo>
                    <a:lnTo>
                      <a:pt x="557" y="146"/>
                    </a:lnTo>
                    <a:lnTo>
                      <a:pt x="555" y="146"/>
                    </a:lnTo>
                    <a:lnTo>
                      <a:pt x="555" y="146"/>
                    </a:lnTo>
                    <a:lnTo>
                      <a:pt x="555" y="146"/>
                    </a:lnTo>
                    <a:lnTo>
                      <a:pt x="554" y="147"/>
                    </a:lnTo>
                    <a:lnTo>
                      <a:pt x="554" y="147"/>
                    </a:lnTo>
                    <a:lnTo>
                      <a:pt x="552" y="147"/>
                    </a:lnTo>
                    <a:lnTo>
                      <a:pt x="551" y="149"/>
                    </a:lnTo>
                    <a:lnTo>
                      <a:pt x="549" y="149"/>
                    </a:lnTo>
                    <a:lnTo>
                      <a:pt x="547" y="149"/>
                    </a:lnTo>
                    <a:lnTo>
                      <a:pt x="547" y="149"/>
                    </a:lnTo>
                    <a:lnTo>
                      <a:pt x="547" y="150"/>
                    </a:lnTo>
                    <a:lnTo>
                      <a:pt x="545" y="150"/>
                    </a:lnTo>
                    <a:lnTo>
                      <a:pt x="545" y="150"/>
                    </a:lnTo>
                    <a:lnTo>
                      <a:pt x="542" y="151"/>
                    </a:lnTo>
                    <a:lnTo>
                      <a:pt x="541" y="150"/>
                    </a:lnTo>
                    <a:lnTo>
                      <a:pt x="539" y="150"/>
                    </a:lnTo>
                    <a:lnTo>
                      <a:pt x="538" y="149"/>
                    </a:lnTo>
                    <a:lnTo>
                      <a:pt x="536" y="149"/>
                    </a:lnTo>
                    <a:lnTo>
                      <a:pt x="535" y="149"/>
                    </a:lnTo>
                    <a:lnTo>
                      <a:pt x="536" y="149"/>
                    </a:lnTo>
                    <a:lnTo>
                      <a:pt x="536" y="150"/>
                    </a:lnTo>
                    <a:lnTo>
                      <a:pt x="538" y="150"/>
                    </a:lnTo>
                    <a:lnTo>
                      <a:pt x="538" y="151"/>
                    </a:lnTo>
                    <a:lnTo>
                      <a:pt x="536" y="151"/>
                    </a:lnTo>
                    <a:lnTo>
                      <a:pt x="536" y="151"/>
                    </a:lnTo>
                    <a:lnTo>
                      <a:pt x="536" y="151"/>
                    </a:lnTo>
                    <a:lnTo>
                      <a:pt x="536" y="153"/>
                    </a:lnTo>
                    <a:lnTo>
                      <a:pt x="535" y="153"/>
                    </a:lnTo>
                    <a:lnTo>
                      <a:pt x="535" y="154"/>
                    </a:lnTo>
                    <a:lnTo>
                      <a:pt x="534" y="154"/>
                    </a:lnTo>
                    <a:lnTo>
                      <a:pt x="534" y="154"/>
                    </a:lnTo>
                    <a:lnTo>
                      <a:pt x="531" y="154"/>
                    </a:lnTo>
                    <a:lnTo>
                      <a:pt x="529" y="154"/>
                    </a:lnTo>
                    <a:lnTo>
                      <a:pt x="525" y="154"/>
                    </a:lnTo>
                    <a:lnTo>
                      <a:pt x="524" y="153"/>
                    </a:lnTo>
                    <a:lnTo>
                      <a:pt x="522" y="153"/>
                    </a:lnTo>
                    <a:lnTo>
                      <a:pt x="521" y="151"/>
                    </a:lnTo>
                    <a:lnTo>
                      <a:pt x="522" y="153"/>
                    </a:lnTo>
                    <a:lnTo>
                      <a:pt x="526" y="154"/>
                    </a:lnTo>
                    <a:lnTo>
                      <a:pt x="528" y="154"/>
                    </a:lnTo>
                    <a:lnTo>
                      <a:pt x="531" y="156"/>
                    </a:lnTo>
                    <a:lnTo>
                      <a:pt x="532" y="157"/>
                    </a:lnTo>
                    <a:lnTo>
                      <a:pt x="534" y="159"/>
                    </a:lnTo>
                    <a:lnTo>
                      <a:pt x="531" y="159"/>
                    </a:lnTo>
                    <a:lnTo>
                      <a:pt x="529" y="160"/>
                    </a:lnTo>
                    <a:lnTo>
                      <a:pt x="528" y="160"/>
                    </a:lnTo>
                    <a:lnTo>
                      <a:pt x="528" y="160"/>
                    </a:lnTo>
                    <a:lnTo>
                      <a:pt x="528" y="161"/>
                    </a:lnTo>
                    <a:lnTo>
                      <a:pt x="526" y="163"/>
                    </a:lnTo>
                    <a:lnTo>
                      <a:pt x="525" y="163"/>
                    </a:lnTo>
                    <a:lnTo>
                      <a:pt x="525" y="163"/>
                    </a:lnTo>
                    <a:lnTo>
                      <a:pt x="525" y="163"/>
                    </a:lnTo>
                    <a:lnTo>
                      <a:pt x="525" y="163"/>
                    </a:lnTo>
                    <a:lnTo>
                      <a:pt x="526" y="164"/>
                    </a:lnTo>
                    <a:lnTo>
                      <a:pt x="526" y="166"/>
                    </a:lnTo>
                    <a:lnTo>
                      <a:pt x="525" y="166"/>
                    </a:lnTo>
                    <a:lnTo>
                      <a:pt x="524" y="166"/>
                    </a:lnTo>
                    <a:lnTo>
                      <a:pt x="522" y="166"/>
                    </a:lnTo>
                    <a:lnTo>
                      <a:pt x="521" y="166"/>
                    </a:lnTo>
                    <a:lnTo>
                      <a:pt x="519" y="164"/>
                    </a:lnTo>
                    <a:lnTo>
                      <a:pt x="516" y="164"/>
                    </a:lnTo>
                    <a:lnTo>
                      <a:pt x="516" y="163"/>
                    </a:lnTo>
                    <a:lnTo>
                      <a:pt x="515" y="161"/>
                    </a:lnTo>
                    <a:lnTo>
                      <a:pt x="513" y="161"/>
                    </a:lnTo>
                    <a:lnTo>
                      <a:pt x="512" y="161"/>
                    </a:lnTo>
                    <a:lnTo>
                      <a:pt x="512" y="161"/>
                    </a:lnTo>
                    <a:lnTo>
                      <a:pt x="511" y="163"/>
                    </a:lnTo>
                    <a:lnTo>
                      <a:pt x="512" y="163"/>
                    </a:lnTo>
                    <a:lnTo>
                      <a:pt x="512" y="163"/>
                    </a:lnTo>
                    <a:lnTo>
                      <a:pt x="513" y="163"/>
                    </a:lnTo>
                    <a:lnTo>
                      <a:pt x="515" y="163"/>
                    </a:lnTo>
                    <a:lnTo>
                      <a:pt x="516" y="164"/>
                    </a:lnTo>
                    <a:lnTo>
                      <a:pt x="518" y="166"/>
                    </a:lnTo>
                    <a:lnTo>
                      <a:pt x="519" y="166"/>
                    </a:lnTo>
                    <a:lnTo>
                      <a:pt x="521" y="167"/>
                    </a:lnTo>
                    <a:lnTo>
                      <a:pt x="522" y="167"/>
                    </a:lnTo>
                    <a:lnTo>
                      <a:pt x="522" y="169"/>
                    </a:lnTo>
                    <a:lnTo>
                      <a:pt x="522" y="169"/>
                    </a:lnTo>
                    <a:lnTo>
                      <a:pt x="522" y="170"/>
                    </a:lnTo>
                    <a:lnTo>
                      <a:pt x="522" y="170"/>
                    </a:lnTo>
                    <a:lnTo>
                      <a:pt x="521" y="172"/>
                    </a:lnTo>
                    <a:lnTo>
                      <a:pt x="521" y="172"/>
                    </a:lnTo>
                    <a:lnTo>
                      <a:pt x="519" y="172"/>
                    </a:lnTo>
                    <a:lnTo>
                      <a:pt x="518" y="172"/>
                    </a:lnTo>
                    <a:lnTo>
                      <a:pt x="518" y="173"/>
                    </a:lnTo>
                    <a:lnTo>
                      <a:pt x="518" y="173"/>
                    </a:lnTo>
                    <a:lnTo>
                      <a:pt x="516" y="174"/>
                    </a:lnTo>
                    <a:lnTo>
                      <a:pt x="516" y="176"/>
                    </a:lnTo>
                    <a:lnTo>
                      <a:pt x="515" y="176"/>
                    </a:lnTo>
                    <a:lnTo>
                      <a:pt x="515" y="176"/>
                    </a:lnTo>
                    <a:lnTo>
                      <a:pt x="513" y="177"/>
                    </a:lnTo>
                    <a:lnTo>
                      <a:pt x="511" y="177"/>
                    </a:lnTo>
                    <a:lnTo>
                      <a:pt x="512" y="177"/>
                    </a:lnTo>
                    <a:lnTo>
                      <a:pt x="515" y="179"/>
                    </a:lnTo>
                    <a:lnTo>
                      <a:pt x="516" y="179"/>
                    </a:lnTo>
                    <a:lnTo>
                      <a:pt x="515" y="179"/>
                    </a:lnTo>
                    <a:lnTo>
                      <a:pt x="515" y="180"/>
                    </a:lnTo>
                    <a:lnTo>
                      <a:pt x="512" y="180"/>
                    </a:lnTo>
                    <a:lnTo>
                      <a:pt x="511" y="182"/>
                    </a:lnTo>
                    <a:lnTo>
                      <a:pt x="509" y="182"/>
                    </a:lnTo>
                    <a:lnTo>
                      <a:pt x="508" y="182"/>
                    </a:lnTo>
                    <a:lnTo>
                      <a:pt x="508" y="183"/>
                    </a:lnTo>
                    <a:lnTo>
                      <a:pt x="508" y="183"/>
                    </a:lnTo>
                    <a:lnTo>
                      <a:pt x="508" y="185"/>
                    </a:lnTo>
                    <a:lnTo>
                      <a:pt x="506" y="185"/>
                    </a:lnTo>
                    <a:lnTo>
                      <a:pt x="505" y="185"/>
                    </a:lnTo>
                    <a:lnTo>
                      <a:pt x="503" y="185"/>
                    </a:lnTo>
                    <a:lnTo>
                      <a:pt x="502" y="185"/>
                    </a:lnTo>
                    <a:lnTo>
                      <a:pt x="503" y="185"/>
                    </a:lnTo>
                    <a:lnTo>
                      <a:pt x="502" y="186"/>
                    </a:lnTo>
                    <a:lnTo>
                      <a:pt x="502" y="186"/>
                    </a:lnTo>
                    <a:lnTo>
                      <a:pt x="500" y="187"/>
                    </a:lnTo>
                    <a:lnTo>
                      <a:pt x="499" y="187"/>
                    </a:lnTo>
                    <a:lnTo>
                      <a:pt x="500" y="187"/>
                    </a:lnTo>
                    <a:lnTo>
                      <a:pt x="499" y="189"/>
                    </a:lnTo>
                    <a:lnTo>
                      <a:pt x="499" y="189"/>
                    </a:lnTo>
                    <a:lnTo>
                      <a:pt x="498" y="189"/>
                    </a:lnTo>
                    <a:lnTo>
                      <a:pt x="498" y="190"/>
                    </a:lnTo>
                    <a:lnTo>
                      <a:pt x="495" y="190"/>
                    </a:lnTo>
                    <a:lnTo>
                      <a:pt x="493" y="190"/>
                    </a:lnTo>
                    <a:lnTo>
                      <a:pt x="495" y="190"/>
                    </a:lnTo>
                    <a:lnTo>
                      <a:pt x="498" y="190"/>
                    </a:lnTo>
                    <a:lnTo>
                      <a:pt x="499" y="190"/>
                    </a:lnTo>
                    <a:lnTo>
                      <a:pt x="499" y="192"/>
                    </a:lnTo>
                    <a:lnTo>
                      <a:pt x="500" y="192"/>
                    </a:lnTo>
                    <a:lnTo>
                      <a:pt x="500" y="193"/>
                    </a:lnTo>
                    <a:lnTo>
                      <a:pt x="500" y="193"/>
                    </a:lnTo>
                    <a:lnTo>
                      <a:pt x="500" y="195"/>
                    </a:lnTo>
                    <a:lnTo>
                      <a:pt x="500" y="195"/>
                    </a:lnTo>
                    <a:lnTo>
                      <a:pt x="499" y="195"/>
                    </a:lnTo>
                    <a:lnTo>
                      <a:pt x="498" y="196"/>
                    </a:lnTo>
                    <a:lnTo>
                      <a:pt x="495" y="195"/>
                    </a:lnTo>
                    <a:lnTo>
                      <a:pt x="493" y="195"/>
                    </a:lnTo>
                    <a:lnTo>
                      <a:pt x="490" y="195"/>
                    </a:lnTo>
                    <a:lnTo>
                      <a:pt x="490" y="193"/>
                    </a:lnTo>
                    <a:lnTo>
                      <a:pt x="489" y="193"/>
                    </a:lnTo>
                    <a:lnTo>
                      <a:pt x="490" y="195"/>
                    </a:lnTo>
                    <a:lnTo>
                      <a:pt x="492" y="195"/>
                    </a:lnTo>
                    <a:lnTo>
                      <a:pt x="493" y="196"/>
                    </a:lnTo>
                    <a:lnTo>
                      <a:pt x="493" y="196"/>
                    </a:lnTo>
                    <a:lnTo>
                      <a:pt x="496" y="196"/>
                    </a:lnTo>
                    <a:lnTo>
                      <a:pt x="495" y="196"/>
                    </a:lnTo>
                    <a:lnTo>
                      <a:pt x="495" y="196"/>
                    </a:lnTo>
                    <a:lnTo>
                      <a:pt x="493" y="196"/>
                    </a:lnTo>
                    <a:lnTo>
                      <a:pt x="495" y="198"/>
                    </a:lnTo>
                    <a:lnTo>
                      <a:pt x="495" y="198"/>
                    </a:lnTo>
                    <a:lnTo>
                      <a:pt x="496" y="199"/>
                    </a:lnTo>
                    <a:lnTo>
                      <a:pt x="496" y="200"/>
                    </a:lnTo>
                    <a:lnTo>
                      <a:pt x="495" y="202"/>
                    </a:lnTo>
                    <a:lnTo>
                      <a:pt x="495" y="202"/>
                    </a:lnTo>
                    <a:lnTo>
                      <a:pt x="493" y="202"/>
                    </a:lnTo>
                    <a:lnTo>
                      <a:pt x="492" y="202"/>
                    </a:lnTo>
                    <a:lnTo>
                      <a:pt x="490" y="202"/>
                    </a:lnTo>
                    <a:lnTo>
                      <a:pt x="490" y="202"/>
                    </a:lnTo>
                    <a:lnTo>
                      <a:pt x="489" y="202"/>
                    </a:lnTo>
                    <a:lnTo>
                      <a:pt x="490" y="203"/>
                    </a:lnTo>
                    <a:lnTo>
                      <a:pt x="492" y="205"/>
                    </a:lnTo>
                    <a:lnTo>
                      <a:pt x="492" y="206"/>
                    </a:lnTo>
                    <a:lnTo>
                      <a:pt x="493" y="206"/>
                    </a:lnTo>
                    <a:lnTo>
                      <a:pt x="493" y="208"/>
                    </a:lnTo>
                    <a:lnTo>
                      <a:pt x="495" y="208"/>
                    </a:lnTo>
                    <a:lnTo>
                      <a:pt x="495" y="208"/>
                    </a:lnTo>
                    <a:lnTo>
                      <a:pt x="496" y="209"/>
                    </a:lnTo>
                    <a:lnTo>
                      <a:pt x="496" y="211"/>
                    </a:lnTo>
                    <a:lnTo>
                      <a:pt x="496" y="211"/>
                    </a:lnTo>
                    <a:lnTo>
                      <a:pt x="498" y="212"/>
                    </a:lnTo>
                    <a:lnTo>
                      <a:pt x="498" y="213"/>
                    </a:lnTo>
                    <a:lnTo>
                      <a:pt x="498" y="215"/>
                    </a:lnTo>
                    <a:lnTo>
                      <a:pt x="498" y="215"/>
                    </a:lnTo>
                    <a:lnTo>
                      <a:pt x="499" y="216"/>
                    </a:lnTo>
                    <a:lnTo>
                      <a:pt x="500" y="219"/>
                    </a:lnTo>
                    <a:lnTo>
                      <a:pt x="502" y="221"/>
                    </a:lnTo>
                    <a:lnTo>
                      <a:pt x="506" y="223"/>
                    </a:lnTo>
                    <a:lnTo>
                      <a:pt x="511" y="226"/>
                    </a:lnTo>
                    <a:lnTo>
                      <a:pt x="513" y="229"/>
                    </a:lnTo>
                    <a:lnTo>
                      <a:pt x="515" y="231"/>
                    </a:lnTo>
                    <a:lnTo>
                      <a:pt x="516" y="234"/>
                    </a:lnTo>
                    <a:lnTo>
                      <a:pt x="519" y="235"/>
                    </a:lnTo>
                    <a:lnTo>
                      <a:pt x="522" y="236"/>
                    </a:lnTo>
                    <a:lnTo>
                      <a:pt x="525" y="238"/>
                    </a:lnTo>
                    <a:lnTo>
                      <a:pt x="528" y="239"/>
                    </a:lnTo>
                    <a:lnTo>
                      <a:pt x="531" y="239"/>
                    </a:lnTo>
                    <a:lnTo>
                      <a:pt x="532" y="239"/>
                    </a:lnTo>
                    <a:lnTo>
                      <a:pt x="535" y="241"/>
                    </a:lnTo>
                    <a:lnTo>
                      <a:pt x="535" y="241"/>
                    </a:lnTo>
                    <a:lnTo>
                      <a:pt x="536" y="241"/>
                    </a:lnTo>
                    <a:lnTo>
                      <a:pt x="538" y="242"/>
                    </a:lnTo>
                    <a:lnTo>
                      <a:pt x="541" y="242"/>
                    </a:lnTo>
                    <a:lnTo>
                      <a:pt x="544" y="242"/>
                    </a:lnTo>
                    <a:lnTo>
                      <a:pt x="545" y="242"/>
                    </a:lnTo>
                    <a:lnTo>
                      <a:pt x="547" y="242"/>
                    </a:lnTo>
                    <a:lnTo>
                      <a:pt x="547" y="244"/>
                    </a:lnTo>
                    <a:lnTo>
                      <a:pt x="547" y="244"/>
                    </a:lnTo>
                    <a:lnTo>
                      <a:pt x="548" y="244"/>
                    </a:lnTo>
                    <a:lnTo>
                      <a:pt x="549" y="245"/>
                    </a:lnTo>
                    <a:lnTo>
                      <a:pt x="549" y="245"/>
                    </a:lnTo>
                    <a:lnTo>
                      <a:pt x="551" y="245"/>
                    </a:lnTo>
                    <a:lnTo>
                      <a:pt x="551" y="245"/>
                    </a:lnTo>
                    <a:lnTo>
                      <a:pt x="549" y="245"/>
                    </a:lnTo>
                    <a:lnTo>
                      <a:pt x="551" y="247"/>
                    </a:lnTo>
                    <a:lnTo>
                      <a:pt x="551" y="247"/>
                    </a:lnTo>
                    <a:lnTo>
                      <a:pt x="551" y="247"/>
                    </a:lnTo>
                    <a:lnTo>
                      <a:pt x="551" y="247"/>
                    </a:lnTo>
                    <a:lnTo>
                      <a:pt x="551" y="248"/>
                    </a:lnTo>
                    <a:lnTo>
                      <a:pt x="551" y="248"/>
                    </a:lnTo>
                    <a:lnTo>
                      <a:pt x="549" y="248"/>
                    </a:lnTo>
                    <a:lnTo>
                      <a:pt x="549" y="248"/>
                    </a:lnTo>
                    <a:lnTo>
                      <a:pt x="548" y="248"/>
                    </a:lnTo>
                    <a:lnTo>
                      <a:pt x="547" y="248"/>
                    </a:lnTo>
                    <a:lnTo>
                      <a:pt x="545" y="249"/>
                    </a:lnTo>
                    <a:lnTo>
                      <a:pt x="544" y="249"/>
                    </a:lnTo>
                    <a:lnTo>
                      <a:pt x="542" y="249"/>
                    </a:lnTo>
                    <a:lnTo>
                      <a:pt x="542" y="249"/>
                    </a:lnTo>
                    <a:lnTo>
                      <a:pt x="539" y="249"/>
                    </a:lnTo>
                    <a:lnTo>
                      <a:pt x="538" y="248"/>
                    </a:lnTo>
                    <a:lnTo>
                      <a:pt x="538" y="248"/>
                    </a:lnTo>
                    <a:lnTo>
                      <a:pt x="538" y="249"/>
                    </a:lnTo>
                    <a:lnTo>
                      <a:pt x="539" y="249"/>
                    </a:lnTo>
                    <a:lnTo>
                      <a:pt x="539" y="249"/>
                    </a:lnTo>
                    <a:lnTo>
                      <a:pt x="539" y="249"/>
                    </a:lnTo>
                    <a:lnTo>
                      <a:pt x="538" y="249"/>
                    </a:lnTo>
                    <a:lnTo>
                      <a:pt x="532" y="249"/>
                    </a:lnTo>
                    <a:lnTo>
                      <a:pt x="529" y="248"/>
                    </a:lnTo>
                    <a:lnTo>
                      <a:pt x="526" y="248"/>
                    </a:lnTo>
                    <a:lnTo>
                      <a:pt x="528" y="249"/>
                    </a:lnTo>
                    <a:lnTo>
                      <a:pt x="528" y="249"/>
                    </a:lnTo>
                    <a:lnTo>
                      <a:pt x="529" y="249"/>
                    </a:lnTo>
                    <a:lnTo>
                      <a:pt x="531" y="249"/>
                    </a:lnTo>
                    <a:lnTo>
                      <a:pt x="532" y="249"/>
                    </a:lnTo>
                    <a:lnTo>
                      <a:pt x="532" y="251"/>
                    </a:lnTo>
                    <a:lnTo>
                      <a:pt x="534" y="251"/>
                    </a:lnTo>
                    <a:lnTo>
                      <a:pt x="535" y="251"/>
                    </a:lnTo>
                    <a:lnTo>
                      <a:pt x="534" y="252"/>
                    </a:lnTo>
                    <a:lnTo>
                      <a:pt x="534" y="252"/>
                    </a:lnTo>
                    <a:lnTo>
                      <a:pt x="532" y="252"/>
                    </a:lnTo>
                    <a:lnTo>
                      <a:pt x="529" y="252"/>
                    </a:lnTo>
                    <a:lnTo>
                      <a:pt x="528" y="251"/>
                    </a:lnTo>
                    <a:lnTo>
                      <a:pt x="525" y="251"/>
                    </a:lnTo>
                    <a:lnTo>
                      <a:pt x="522" y="249"/>
                    </a:lnTo>
                    <a:lnTo>
                      <a:pt x="519" y="248"/>
                    </a:lnTo>
                    <a:lnTo>
                      <a:pt x="518" y="248"/>
                    </a:lnTo>
                    <a:lnTo>
                      <a:pt x="519" y="249"/>
                    </a:lnTo>
                    <a:lnTo>
                      <a:pt x="518" y="249"/>
                    </a:lnTo>
                    <a:lnTo>
                      <a:pt x="516" y="248"/>
                    </a:lnTo>
                    <a:lnTo>
                      <a:pt x="515" y="248"/>
                    </a:lnTo>
                    <a:lnTo>
                      <a:pt x="515" y="248"/>
                    </a:lnTo>
                    <a:lnTo>
                      <a:pt x="513" y="248"/>
                    </a:lnTo>
                    <a:lnTo>
                      <a:pt x="512" y="248"/>
                    </a:lnTo>
                    <a:lnTo>
                      <a:pt x="511" y="247"/>
                    </a:lnTo>
                    <a:lnTo>
                      <a:pt x="511" y="247"/>
                    </a:lnTo>
                    <a:lnTo>
                      <a:pt x="509" y="248"/>
                    </a:lnTo>
                    <a:lnTo>
                      <a:pt x="509" y="248"/>
                    </a:lnTo>
                    <a:lnTo>
                      <a:pt x="509" y="249"/>
                    </a:lnTo>
                    <a:lnTo>
                      <a:pt x="508" y="251"/>
                    </a:lnTo>
                    <a:lnTo>
                      <a:pt x="508" y="251"/>
                    </a:lnTo>
                    <a:lnTo>
                      <a:pt x="506" y="251"/>
                    </a:lnTo>
                    <a:lnTo>
                      <a:pt x="505" y="251"/>
                    </a:lnTo>
                    <a:lnTo>
                      <a:pt x="505" y="251"/>
                    </a:lnTo>
                    <a:lnTo>
                      <a:pt x="502" y="251"/>
                    </a:lnTo>
                    <a:lnTo>
                      <a:pt x="500" y="249"/>
                    </a:lnTo>
                    <a:lnTo>
                      <a:pt x="499" y="248"/>
                    </a:lnTo>
                    <a:lnTo>
                      <a:pt x="496" y="247"/>
                    </a:lnTo>
                    <a:lnTo>
                      <a:pt x="498" y="248"/>
                    </a:lnTo>
                    <a:lnTo>
                      <a:pt x="499" y="248"/>
                    </a:lnTo>
                    <a:lnTo>
                      <a:pt x="496" y="248"/>
                    </a:lnTo>
                    <a:lnTo>
                      <a:pt x="493" y="248"/>
                    </a:lnTo>
                    <a:lnTo>
                      <a:pt x="493" y="248"/>
                    </a:lnTo>
                    <a:lnTo>
                      <a:pt x="492" y="247"/>
                    </a:lnTo>
                    <a:lnTo>
                      <a:pt x="490" y="247"/>
                    </a:lnTo>
                    <a:lnTo>
                      <a:pt x="489" y="245"/>
                    </a:lnTo>
                    <a:lnTo>
                      <a:pt x="489" y="245"/>
                    </a:lnTo>
                    <a:lnTo>
                      <a:pt x="487" y="247"/>
                    </a:lnTo>
                    <a:lnTo>
                      <a:pt x="486" y="247"/>
                    </a:lnTo>
                    <a:lnTo>
                      <a:pt x="486" y="247"/>
                    </a:lnTo>
                    <a:lnTo>
                      <a:pt x="485" y="247"/>
                    </a:lnTo>
                    <a:lnTo>
                      <a:pt x="485" y="247"/>
                    </a:lnTo>
                    <a:lnTo>
                      <a:pt x="483" y="245"/>
                    </a:lnTo>
                    <a:lnTo>
                      <a:pt x="482" y="245"/>
                    </a:lnTo>
                    <a:lnTo>
                      <a:pt x="480" y="245"/>
                    </a:lnTo>
                    <a:lnTo>
                      <a:pt x="476" y="244"/>
                    </a:lnTo>
                    <a:lnTo>
                      <a:pt x="476" y="244"/>
                    </a:lnTo>
                    <a:lnTo>
                      <a:pt x="476" y="244"/>
                    </a:lnTo>
                    <a:lnTo>
                      <a:pt x="476" y="242"/>
                    </a:lnTo>
                    <a:lnTo>
                      <a:pt x="474" y="241"/>
                    </a:lnTo>
                    <a:lnTo>
                      <a:pt x="474" y="241"/>
                    </a:lnTo>
                    <a:lnTo>
                      <a:pt x="473" y="241"/>
                    </a:lnTo>
                    <a:lnTo>
                      <a:pt x="473" y="241"/>
                    </a:lnTo>
                    <a:lnTo>
                      <a:pt x="472" y="241"/>
                    </a:lnTo>
                    <a:lnTo>
                      <a:pt x="472" y="239"/>
                    </a:lnTo>
                    <a:lnTo>
                      <a:pt x="473" y="238"/>
                    </a:lnTo>
                    <a:lnTo>
                      <a:pt x="473" y="238"/>
                    </a:lnTo>
                    <a:lnTo>
                      <a:pt x="474" y="238"/>
                    </a:lnTo>
                    <a:lnTo>
                      <a:pt x="474" y="238"/>
                    </a:lnTo>
                    <a:lnTo>
                      <a:pt x="476" y="238"/>
                    </a:lnTo>
                    <a:lnTo>
                      <a:pt x="476" y="238"/>
                    </a:lnTo>
                    <a:lnTo>
                      <a:pt x="477" y="238"/>
                    </a:lnTo>
                    <a:lnTo>
                      <a:pt x="479" y="238"/>
                    </a:lnTo>
                    <a:lnTo>
                      <a:pt x="480" y="236"/>
                    </a:lnTo>
                    <a:lnTo>
                      <a:pt x="479" y="236"/>
                    </a:lnTo>
                    <a:lnTo>
                      <a:pt x="477" y="236"/>
                    </a:lnTo>
                    <a:lnTo>
                      <a:pt x="474" y="236"/>
                    </a:lnTo>
                    <a:lnTo>
                      <a:pt x="473" y="236"/>
                    </a:lnTo>
                    <a:lnTo>
                      <a:pt x="470" y="236"/>
                    </a:lnTo>
                    <a:lnTo>
                      <a:pt x="469" y="235"/>
                    </a:lnTo>
                    <a:lnTo>
                      <a:pt x="466" y="234"/>
                    </a:lnTo>
                    <a:lnTo>
                      <a:pt x="467" y="234"/>
                    </a:lnTo>
                    <a:lnTo>
                      <a:pt x="467" y="232"/>
                    </a:lnTo>
                    <a:lnTo>
                      <a:pt x="469" y="232"/>
                    </a:lnTo>
                    <a:lnTo>
                      <a:pt x="469" y="232"/>
                    </a:lnTo>
                    <a:lnTo>
                      <a:pt x="470" y="231"/>
                    </a:lnTo>
                    <a:lnTo>
                      <a:pt x="472" y="231"/>
                    </a:lnTo>
                    <a:lnTo>
                      <a:pt x="472" y="231"/>
                    </a:lnTo>
                    <a:lnTo>
                      <a:pt x="472" y="231"/>
                    </a:lnTo>
                    <a:lnTo>
                      <a:pt x="472" y="231"/>
                    </a:lnTo>
                    <a:lnTo>
                      <a:pt x="470" y="231"/>
                    </a:lnTo>
                    <a:lnTo>
                      <a:pt x="469" y="231"/>
                    </a:lnTo>
                    <a:lnTo>
                      <a:pt x="467" y="232"/>
                    </a:lnTo>
                    <a:lnTo>
                      <a:pt x="464" y="232"/>
                    </a:lnTo>
                    <a:lnTo>
                      <a:pt x="464" y="232"/>
                    </a:lnTo>
                    <a:lnTo>
                      <a:pt x="464" y="232"/>
                    </a:lnTo>
                    <a:lnTo>
                      <a:pt x="463" y="232"/>
                    </a:lnTo>
                    <a:lnTo>
                      <a:pt x="463" y="231"/>
                    </a:lnTo>
                    <a:lnTo>
                      <a:pt x="463" y="229"/>
                    </a:lnTo>
                    <a:lnTo>
                      <a:pt x="464" y="228"/>
                    </a:lnTo>
                    <a:lnTo>
                      <a:pt x="463" y="228"/>
                    </a:lnTo>
                    <a:lnTo>
                      <a:pt x="462" y="226"/>
                    </a:lnTo>
                    <a:lnTo>
                      <a:pt x="460" y="226"/>
                    </a:lnTo>
                    <a:lnTo>
                      <a:pt x="460" y="226"/>
                    </a:lnTo>
                    <a:lnTo>
                      <a:pt x="459" y="228"/>
                    </a:lnTo>
                    <a:lnTo>
                      <a:pt x="459" y="228"/>
                    </a:lnTo>
                    <a:lnTo>
                      <a:pt x="459" y="228"/>
                    </a:lnTo>
                    <a:lnTo>
                      <a:pt x="457" y="228"/>
                    </a:lnTo>
                    <a:lnTo>
                      <a:pt x="457" y="228"/>
                    </a:lnTo>
                    <a:lnTo>
                      <a:pt x="456" y="228"/>
                    </a:lnTo>
                    <a:lnTo>
                      <a:pt x="454" y="228"/>
                    </a:lnTo>
                    <a:lnTo>
                      <a:pt x="454" y="229"/>
                    </a:lnTo>
                    <a:lnTo>
                      <a:pt x="454" y="229"/>
                    </a:lnTo>
                    <a:lnTo>
                      <a:pt x="454" y="231"/>
                    </a:lnTo>
                    <a:lnTo>
                      <a:pt x="457" y="231"/>
                    </a:lnTo>
                    <a:lnTo>
                      <a:pt x="457" y="231"/>
                    </a:lnTo>
                    <a:lnTo>
                      <a:pt x="459" y="232"/>
                    </a:lnTo>
                    <a:lnTo>
                      <a:pt x="459" y="232"/>
                    </a:lnTo>
                    <a:lnTo>
                      <a:pt x="459" y="232"/>
                    </a:lnTo>
                    <a:lnTo>
                      <a:pt x="460" y="234"/>
                    </a:lnTo>
                    <a:lnTo>
                      <a:pt x="462" y="235"/>
                    </a:lnTo>
                    <a:lnTo>
                      <a:pt x="462" y="236"/>
                    </a:lnTo>
                    <a:lnTo>
                      <a:pt x="462" y="238"/>
                    </a:lnTo>
                    <a:lnTo>
                      <a:pt x="462" y="238"/>
                    </a:lnTo>
                    <a:lnTo>
                      <a:pt x="462" y="239"/>
                    </a:lnTo>
                    <a:lnTo>
                      <a:pt x="460" y="238"/>
                    </a:lnTo>
                    <a:lnTo>
                      <a:pt x="459" y="236"/>
                    </a:lnTo>
                    <a:lnTo>
                      <a:pt x="456" y="236"/>
                    </a:lnTo>
                    <a:lnTo>
                      <a:pt x="454" y="235"/>
                    </a:lnTo>
                    <a:lnTo>
                      <a:pt x="451" y="235"/>
                    </a:lnTo>
                    <a:lnTo>
                      <a:pt x="449" y="234"/>
                    </a:lnTo>
                    <a:lnTo>
                      <a:pt x="447" y="234"/>
                    </a:lnTo>
                    <a:lnTo>
                      <a:pt x="444" y="234"/>
                    </a:lnTo>
                    <a:lnTo>
                      <a:pt x="446" y="232"/>
                    </a:lnTo>
                    <a:lnTo>
                      <a:pt x="446" y="231"/>
                    </a:lnTo>
                    <a:lnTo>
                      <a:pt x="447" y="231"/>
                    </a:lnTo>
                    <a:lnTo>
                      <a:pt x="447" y="231"/>
                    </a:lnTo>
                    <a:lnTo>
                      <a:pt x="450" y="229"/>
                    </a:lnTo>
                    <a:lnTo>
                      <a:pt x="451" y="229"/>
                    </a:lnTo>
                    <a:lnTo>
                      <a:pt x="453" y="231"/>
                    </a:lnTo>
                    <a:lnTo>
                      <a:pt x="453" y="231"/>
                    </a:lnTo>
                    <a:lnTo>
                      <a:pt x="454" y="231"/>
                    </a:lnTo>
                    <a:lnTo>
                      <a:pt x="457" y="232"/>
                    </a:lnTo>
                    <a:lnTo>
                      <a:pt x="457" y="232"/>
                    </a:lnTo>
                    <a:lnTo>
                      <a:pt x="457" y="232"/>
                    </a:lnTo>
                    <a:lnTo>
                      <a:pt x="456" y="231"/>
                    </a:lnTo>
                    <a:lnTo>
                      <a:pt x="454" y="231"/>
                    </a:lnTo>
                    <a:lnTo>
                      <a:pt x="454" y="231"/>
                    </a:lnTo>
                    <a:lnTo>
                      <a:pt x="454" y="231"/>
                    </a:lnTo>
                    <a:lnTo>
                      <a:pt x="453" y="231"/>
                    </a:lnTo>
                    <a:lnTo>
                      <a:pt x="454" y="231"/>
                    </a:lnTo>
                    <a:lnTo>
                      <a:pt x="453" y="229"/>
                    </a:lnTo>
                    <a:lnTo>
                      <a:pt x="450" y="228"/>
                    </a:lnTo>
                    <a:lnTo>
                      <a:pt x="449" y="228"/>
                    </a:lnTo>
                    <a:lnTo>
                      <a:pt x="447" y="226"/>
                    </a:lnTo>
                    <a:lnTo>
                      <a:pt x="444" y="226"/>
                    </a:lnTo>
                    <a:lnTo>
                      <a:pt x="443" y="226"/>
                    </a:lnTo>
                    <a:lnTo>
                      <a:pt x="440" y="226"/>
                    </a:lnTo>
                    <a:lnTo>
                      <a:pt x="441" y="226"/>
                    </a:lnTo>
                    <a:lnTo>
                      <a:pt x="441" y="228"/>
                    </a:lnTo>
                    <a:lnTo>
                      <a:pt x="440" y="228"/>
                    </a:lnTo>
                    <a:lnTo>
                      <a:pt x="440" y="228"/>
                    </a:lnTo>
                    <a:lnTo>
                      <a:pt x="438" y="228"/>
                    </a:lnTo>
                    <a:lnTo>
                      <a:pt x="437" y="228"/>
                    </a:lnTo>
                    <a:lnTo>
                      <a:pt x="436" y="228"/>
                    </a:lnTo>
                    <a:lnTo>
                      <a:pt x="436" y="228"/>
                    </a:lnTo>
                    <a:lnTo>
                      <a:pt x="434" y="228"/>
                    </a:lnTo>
                    <a:lnTo>
                      <a:pt x="433" y="228"/>
                    </a:lnTo>
                    <a:lnTo>
                      <a:pt x="430" y="228"/>
                    </a:lnTo>
                    <a:lnTo>
                      <a:pt x="430" y="228"/>
                    </a:lnTo>
                    <a:lnTo>
                      <a:pt x="428" y="226"/>
                    </a:lnTo>
                    <a:lnTo>
                      <a:pt x="427" y="226"/>
                    </a:lnTo>
                    <a:lnTo>
                      <a:pt x="427" y="225"/>
                    </a:lnTo>
                    <a:lnTo>
                      <a:pt x="425" y="223"/>
                    </a:lnTo>
                    <a:lnTo>
                      <a:pt x="424" y="223"/>
                    </a:lnTo>
                    <a:lnTo>
                      <a:pt x="423" y="222"/>
                    </a:lnTo>
                    <a:lnTo>
                      <a:pt x="421" y="219"/>
                    </a:lnTo>
                    <a:close/>
                    <a:moveTo>
                      <a:pt x="459" y="232"/>
                    </a:moveTo>
                    <a:lnTo>
                      <a:pt x="457" y="232"/>
                    </a:lnTo>
                    <a:lnTo>
                      <a:pt x="459" y="234"/>
                    </a:lnTo>
                    <a:lnTo>
                      <a:pt x="459" y="232"/>
                    </a:lnTo>
                    <a:lnTo>
                      <a:pt x="459" y="232"/>
                    </a:lnTo>
                    <a:close/>
                    <a:moveTo>
                      <a:pt x="503" y="169"/>
                    </a:moveTo>
                    <a:lnTo>
                      <a:pt x="508" y="169"/>
                    </a:lnTo>
                    <a:lnTo>
                      <a:pt x="508" y="169"/>
                    </a:lnTo>
                    <a:lnTo>
                      <a:pt x="508" y="169"/>
                    </a:lnTo>
                    <a:lnTo>
                      <a:pt x="506" y="169"/>
                    </a:lnTo>
                    <a:lnTo>
                      <a:pt x="503" y="169"/>
                    </a:lnTo>
                    <a:close/>
                    <a:moveTo>
                      <a:pt x="496" y="182"/>
                    </a:moveTo>
                    <a:lnTo>
                      <a:pt x="499" y="183"/>
                    </a:lnTo>
                    <a:lnTo>
                      <a:pt x="500" y="183"/>
                    </a:lnTo>
                    <a:lnTo>
                      <a:pt x="499" y="182"/>
                    </a:lnTo>
                    <a:lnTo>
                      <a:pt x="498" y="182"/>
                    </a:lnTo>
                    <a:lnTo>
                      <a:pt x="496" y="182"/>
                    </a:lnTo>
                    <a:close/>
                    <a:moveTo>
                      <a:pt x="493" y="182"/>
                    </a:moveTo>
                    <a:lnTo>
                      <a:pt x="495" y="182"/>
                    </a:lnTo>
                    <a:lnTo>
                      <a:pt x="495" y="182"/>
                    </a:lnTo>
                    <a:lnTo>
                      <a:pt x="493" y="182"/>
                    </a:lnTo>
                    <a:lnTo>
                      <a:pt x="493" y="182"/>
                    </a:lnTo>
                    <a:close/>
                    <a:moveTo>
                      <a:pt x="473" y="244"/>
                    </a:moveTo>
                    <a:lnTo>
                      <a:pt x="473" y="244"/>
                    </a:lnTo>
                    <a:lnTo>
                      <a:pt x="472" y="244"/>
                    </a:lnTo>
                    <a:lnTo>
                      <a:pt x="470" y="245"/>
                    </a:lnTo>
                    <a:lnTo>
                      <a:pt x="469" y="245"/>
                    </a:lnTo>
                    <a:lnTo>
                      <a:pt x="472" y="245"/>
                    </a:lnTo>
                    <a:lnTo>
                      <a:pt x="473" y="244"/>
                    </a:lnTo>
                    <a:lnTo>
                      <a:pt x="474" y="244"/>
                    </a:lnTo>
                    <a:lnTo>
                      <a:pt x="474" y="244"/>
                    </a:lnTo>
                    <a:lnTo>
                      <a:pt x="473" y="244"/>
                    </a:lnTo>
                    <a:close/>
                    <a:moveTo>
                      <a:pt x="606" y="274"/>
                    </a:moveTo>
                    <a:lnTo>
                      <a:pt x="607" y="274"/>
                    </a:lnTo>
                    <a:lnTo>
                      <a:pt x="607" y="274"/>
                    </a:lnTo>
                    <a:lnTo>
                      <a:pt x="609" y="274"/>
                    </a:lnTo>
                    <a:lnTo>
                      <a:pt x="610" y="274"/>
                    </a:lnTo>
                    <a:lnTo>
                      <a:pt x="611" y="274"/>
                    </a:lnTo>
                    <a:lnTo>
                      <a:pt x="614" y="274"/>
                    </a:lnTo>
                    <a:lnTo>
                      <a:pt x="617" y="274"/>
                    </a:lnTo>
                    <a:lnTo>
                      <a:pt x="619" y="273"/>
                    </a:lnTo>
                    <a:lnTo>
                      <a:pt x="620" y="273"/>
                    </a:lnTo>
                    <a:lnTo>
                      <a:pt x="620" y="273"/>
                    </a:lnTo>
                    <a:lnTo>
                      <a:pt x="620" y="271"/>
                    </a:lnTo>
                    <a:lnTo>
                      <a:pt x="620" y="271"/>
                    </a:lnTo>
                    <a:lnTo>
                      <a:pt x="620" y="270"/>
                    </a:lnTo>
                    <a:lnTo>
                      <a:pt x="620" y="270"/>
                    </a:lnTo>
                    <a:lnTo>
                      <a:pt x="619" y="268"/>
                    </a:lnTo>
                    <a:lnTo>
                      <a:pt x="617" y="267"/>
                    </a:lnTo>
                    <a:lnTo>
                      <a:pt x="614" y="267"/>
                    </a:lnTo>
                    <a:lnTo>
                      <a:pt x="609" y="264"/>
                    </a:lnTo>
                    <a:lnTo>
                      <a:pt x="603" y="262"/>
                    </a:lnTo>
                    <a:lnTo>
                      <a:pt x="601" y="261"/>
                    </a:lnTo>
                    <a:lnTo>
                      <a:pt x="599" y="260"/>
                    </a:lnTo>
                    <a:lnTo>
                      <a:pt x="594" y="258"/>
                    </a:lnTo>
                    <a:lnTo>
                      <a:pt x="590" y="257"/>
                    </a:lnTo>
                    <a:lnTo>
                      <a:pt x="587" y="255"/>
                    </a:lnTo>
                    <a:lnTo>
                      <a:pt x="586" y="255"/>
                    </a:lnTo>
                    <a:lnTo>
                      <a:pt x="583" y="255"/>
                    </a:lnTo>
                    <a:lnTo>
                      <a:pt x="581" y="255"/>
                    </a:lnTo>
                    <a:lnTo>
                      <a:pt x="580" y="255"/>
                    </a:lnTo>
                    <a:lnTo>
                      <a:pt x="578" y="255"/>
                    </a:lnTo>
                    <a:lnTo>
                      <a:pt x="578" y="257"/>
                    </a:lnTo>
                    <a:lnTo>
                      <a:pt x="577" y="257"/>
                    </a:lnTo>
                    <a:lnTo>
                      <a:pt x="575" y="257"/>
                    </a:lnTo>
                    <a:lnTo>
                      <a:pt x="575" y="257"/>
                    </a:lnTo>
                    <a:lnTo>
                      <a:pt x="575" y="258"/>
                    </a:lnTo>
                    <a:lnTo>
                      <a:pt x="577" y="258"/>
                    </a:lnTo>
                    <a:lnTo>
                      <a:pt x="578" y="260"/>
                    </a:lnTo>
                    <a:lnTo>
                      <a:pt x="580" y="260"/>
                    </a:lnTo>
                    <a:lnTo>
                      <a:pt x="581" y="260"/>
                    </a:lnTo>
                    <a:lnTo>
                      <a:pt x="578" y="260"/>
                    </a:lnTo>
                    <a:lnTo>
                      <a:pt x="577" y="260"/>
                    </a:lnTo>
                    <a:lnTo>
                      <a:pt x="575" y="260"/>
                    </a:lnTo>
                    <a:lnTo>
                      <a:pt x="577" y="261"/>
                    </a:lnTo>
                    <a:lnTo>
                      <a:pt x="577" y="261"/>
                    </a:lnTo>
                    <a:lnTo>
                      <a:pt x="578" y="262"/>
                    </a:lnTo>
                    <a:lnTo>
                      <a:pt x="578" y="264"/>
                    </a:lnTo>
                    <a:lnTo>
                      <a:pt x="578" y="264"/>
                    </a:lnTo>
                    <a:lnTo>
                      <a:pt x="580" y="265"/>
                    </a:lnTo>
                    <a:lnTo>
                      <a:pt x="581" y="265"/>
                    </a:lnTo>
                    <a:lnTo>
                      <a:pt x="583" y="267"/>
                    </a:lnTo>
                    <a:lnTo>
                      <a:pt x="583" y="267"/>
                    </a:lnTo>
                    <a:lnTo>
                      <a:pt x="584" y="268"/>
                    </a:lnTo>
                    <a:lnTo>
                      <a:pt x="586" y="268"/>
                    </a:lnTo>
                    <a:lnTo>
                      <a:pt x="587" y="268"/>
                    </a:lnTo>
                    <a:lnTo>
                      <a:pt x="590" y="268"/>
                    </a:lnTo>
                    <a:lnTo>
                      <a:pt x="588" y="268"/>
                    </a:lnTo>
                    <a:lnTo>
                      <a:pt x="588" y="267"/>
                    </a:lnTo>
                    <a:lnTo>
                      <a:pt x="588" y="267"/>
                    </a:lnTo>
                    <a:lnTo>
                      <a:pt x="590" y="267"/>
                    </a:lnTo>
                    <a:lnTo>
                      <a:pt x="590" y="267"/>
                    </a:lnTo>
                    <a:lnTo>
                      <a:pt x="593" y="267"/>
                    </a:lnTo>
                    <a:lnTo>
                      <a:pt x="594" y="268"/>
                    </a:lnTo>
                    <a:lnTo>
                      <a:pt x="597" y="268"/>
                    </a:lnTo>
                    <a:lnTo>
                      <a:pt x="597" y="268"/>
                    </a:lnTo>
                    <a:lnTo>
                      <a:pt x="599" y="268"/>
                    </a:lnTo>
                    <a:lnTo>
                      <a:pt x="600" y="270"/>
                    </a:lnTo>
                    <a:lnTo>
                      <a:pt x="603" y="273"/>
                    </a:lnTo>
                    <a:lnTo>
                      <a:pt x="603" y="273"/>
                    </a:lnTo>
                    <a:lnTo>
                      <a:pt x="604" y="274"/>
                    </a:lnTo>
                    <a:lnTo>
                      <a:pt x="606" y="274"/>
                    </a:lnTo>
                    <a:close/>
                    <a:moveTo>
                      <a:pt x="756" y="182"/>
                    </a:moveTo>
                    <a:lnTo>
                      <a:pt x="756" y="182"/>
                    </a:lnTo>
                    <a:lnTo>
                      <a:pt x="756" y="183"/>
                    </a:lnTo>
                    <a:lnTo>
                      <a:pt x="756" y="183"/>
                    </a:lnTo>
                    <a:lnTo>
                      <a:pt x="757" y="185"/>
                    </a:lnTo>
                    <a:lnTo>
                      <a:pt x="757" y="186"/>
                    </a:lnTo>
                    <a:lnTo>
                      <a:pt x="757" y="189"/>
                    </a:lnTo>
                    <a:lnTo>
                      <a:pt x="757" y="189"/>
                    </a:lnTo>
                    <a:lnTo>
                      <a:pt x="757" y="189"/>
                    </a:lnTo>
                    <a:lnTo>
                      <a:pt x="757" y="190"/>
                    </a:lnTo>
                    <a:lnTo>
                      <a:pt x="757" y="190"/>
                    </a:lnTo>
                    <a:lnTo>
                      <a:pt x="757" y="190"/>
                    </a:lnTo>
                    <a:lnTo>
                      <a:pt x="759" y="190"/>
                    </a:lnTo>
                    <a:lnTo>
                      <a:pt x="759" y="189"/>
                    </a:lnTo>
                    <a:lnTo>
                      <a:pt x="759" y="189"/>
                    </a:lnTo>
                    <a:lnTo>
                      <a:pt x="759" y="189"/>
                    </a:lnTo>
                    <a:lnTo>
                      <a:pt x="763" y="189"/>
                    </a:lnTo>
                    <a:lnTo>
                      <a:pt x="767" y="189"/>
                    </a:lnTo>
                    <a:lnTo>
                      <a:pt x="772" y="189"/>
                    </a:lnTo>
                    <a:lnTo>
                      <a:pt x="774" y="187"/>
                    </a:lnTo>
                    <a:lnTo>
                      <a:pt x="777" y="187"/>
                    </a:lnTo>
                    <a:lnTo>
                      <a:pt x="780" y="187"/>
                    </a:lnTo>
                    <a:lnTo>
                      <a:pt x="785" y="186"/>
                    </a:lnTo>
                    <a:lnTo>
                      <a:pt x="787" y="186"/>
                    </a:lnTo>
                    <a:lnTo>
                      <a:pt x="786" y="185"/>
                    </a:lnTo>
                    <a:lnTo>
                      <a:pt x="786" y="185"/>
                    </a:lnTo>
                    <a:lnTo>
                      <a:pt x="785" y="185"/>
                    </a:lnTo>
                    <a:lnTo>
                      <a:pt x="785" y="185"/>
                    </a:lnTo>
                    <a:lnTo>
                      <a:pt x="783" y="185"/>
                    </a:lnTo>
                    <a:lnTo>
                      <a:pt x="782" y="185"/>
                    </a:lnTo>
                    <a:lnTo>
                      <a:pt x="780" y="185"/>
                    </a:lnTo>
                    <a:lnTo>
                      <a:pt x="779" y="186"/>
                    </a:lnTo>
                    <a:lnTo>
                      <a:pt x="777" y="185"/>
                    </a:lnTo>
                    <a:lnTo>
                      <a:pt x="776" y="185"/>
                    </a:lnTo>
                    <a:lnTo>
                      <a:pt x="776" y="185"/>
                    </a:lnTo>
                    <a:lnTo>
                      <a:pt x="776" y="183"/>
                    </a:lnTo>
                    <a:lnTo>
                      <a:pt x="776" y="183"/>
                    </a:lnTo>
                    <a:lnTo>
                      <a:pt x="776" y="182"/>
                    </a:lnTo>
                    <a:lnTo>
                      <a:pt x="776" y="180"/>
                    </a:lnTo>
                    <a:lnTo>
                      <a:pt x="776" y="179"/>
                    </a:lnTo>
                    <a:lnTo>
                      <a:pt x="773" y="177"/>
                    </a:lnTo>
                    <a:lnTo>
                      <a:pt x="770" y="177"/>
                    </a:lnTo>
                    <a:lnTo>
                      <a:pt x="767" y="177"/>
                    </a:lnTo>
                    <a:lnTo>
                      <a:pt x="764" y="177"/>
                    </a:lnTo>
                    <a:lnTo>
                      <a:pt x="761" y="177"/>
                    </a:lnTo>
                    <a:lnTo>
                      <a:pt x="759" y="177"/>
                    </a:lnTo>
                    <a:lnTo>
                      <a:pt x="757" y="177"/>
                    </a:lnTo>
                    <a:lnTo>
                      <a:pt x="754" y="179"/>
                    </a:lnTo>
                    <a:lnTo>
                      <a:pt x="754" y="180"/>
                    </a:lnTo>
                    <a:lnTo>
                      <a:pt x="756" y="182"/>
                    </a:lnTo>
                    <a:close/>
                    <a:moveTo>
                      <a:pt x="2883" y="239"/>
                    </a:moveTo>
                    <a:lnTo>
                      <a:pt x="2884" y="239"/>
                    </a:lnTo>
                    <a:lnTo>
                      <a:pt x="2886" y="241"/>
                    </a:lnTo>
                    <a:lnTo>
                      <a:pt x="2887" y="241"/>
                    </a:lnTo>
                    <a:lnTo>
                      <a:pt x="2889" y="244"/>
                    </a:lnTo>
                    <a:lnTo>
                      <a:pt x="2890" y="244"/>
                    </a:lnTo>
                    <a:lnTo>
                      <a:pt x="2892" y="245"/>
                    </a:lnTo>
                    <a:lnTo>
                      <a:pt x="2893" y="245"/>
                    </a:lnTo>
                    <a:lnTo>
                      <a:pt x="2894" y="245"/>
                    </a:lnTo>
                    <a:lnTo>
                      <a:pt x="2894" y="245"/>
                    </a:lnTo>
                    <a:lnTo>
                      <a:pt x="2897" y="245"/>
                    </a:lnTo>
                    <a:lnTo>
                      <a:pt x="2899" y="244"/>
                    </a:lnTo>
                    <a:lnTo>
                      <a:pt x="2902" y="244"/>
                    </a:lnTo>
                    <a:lnTo>
                      <a:pt x="2903" y="244"/>
                    </a:lnTo>
                    <a:lnTo>
                      <a:pt x="2906" y="242"/>
                    </a:lnTo>
                    <a:lnTo>
                      <a:pt x="2906" y="242"/>
                    </a:lnTo>
                    <a:lnTo>
                      <a:pt x="2907" y="242"/>
                    </a:lnTo>
                    <a:lnTo>
                      <a:pt x="2909" y="241"/>
                    </a:lnTo>
                    <a:lnTo>
                      <a:pt x="2909" y="241"/>
                    </a:lnTo>
                    <a:lnTo>
                      <a:pt x="2910" y="241"/>
                    </a:lnTo>
                    <a:lnTo>
                      <a:pt x="2912" y="241"/>
                    </a:lnTo>
                    <a:lnTo>
                      <a:pt x="2915" y="241"/>
                    </a:lnTo>
                    <a:lnTo>
                      <a:pt x="2918" y="241"/>
                    </a:lnTo>
                    <a:lnTo>
                      <a:pt x="2920" y="241"/>
                    </a:lnTo>
                    <a:lnTo>
                      <a:pt x="2922" y="241"/>
                    </a:lnTo>
                    <a:lnTo>
                      <a:pt x="2923" y="242"/>
                    </a:lnTo>
                    <a:lnTo>
                      <a:pt x="2925" y="242"/>
                    </a:lnTo>
                    <a:lnTo>
                      <a:pt x="2925" y="242"/>
                    </a:lnTo>
                    <a:lnTo>
                      <a:pt x="2926" y="242"/>
                    </a:lnTo>
                    <a:lnTo>
                      <a:pt x="2928" y="242"/>
                    </a:lnTo>
                    <a:lnTo>
                      <a:pt x="2929" y="242"/>
                    </a:lnTo>
                    <a:lnTo>
                      <a:pt x="2932" y="242"/>
                    </a:lnTo>
                    <a:lnTo>
                      <a:pt x="2936" y="241"/>
                    </a:lnTo>
                    <a:lnTo>
                      <a:pt x="2939" y="241"/>
                    </a:lnTo>
                    <a:lnTo>
                      <a:pt x="2944" y="241"/>
                    </a:lnTo>
                    <a:lnTo>
                      <a:pt x="2945" y="239"/>
                    </a:lnTo>
                    <a:lnTo>
                      <a:pt x="2946" y="239"/>
                    </a:lnTo>
                    <a:lnTo>
                      <a:pt x="2948" y="239"/>
                    </a:lnTo>
                    <a:lnTo>
                      <a:pt x="2949" y="238"/>
                    </a:lnTo>
                    <a:lnTo>
                      <a:pt x="2951" y="238"/>
                    </a:lnTo>
                    <a:lnTo>
                      <a:pt x="2952" y="238"/>
                    </a:lnTo>
                    <a:lnTo>
                      <a:pt x="2951" y="235"/>
                    </a:lnTo>
                    <a:lnTo>
                      <a:pt x="2949" y="235"/>
                    </a:lnTo>
                    <a:lnTo>
                      <a:pt x="2945" y="232"/>
                    </a:lnTo>
                    <a:lnTo>
                      <a:pt x="2942" y="231"/>
                    </a:lnTo>
                    <a:lnTo>
                      <a:pt x="2938" y="229"/>
                    </a:lnTo>
                    <a:lnTo>
                      <a:pt x="2933" y="229"/>
                    </a:lnTo>
                    <a:lnTo>
                      <a:pt x="2931" y="229"/>
                    </a:lnTo>
                    <a:lnTo>
                      <a:pt x="2926" y="229"/>
                    </a:lnTo>
                    <a:lnTo>
                      <a:pt x="2923" y="229"/>
                    </a:lnTo>
                    <a:lnTo>
                      <a:pt x="2920" y="228"/>
                    </a:lnTo>
                    <a:lnTo>
                      <a:pt x="2919" y="226"/>
                    </a:lnTo>
                    <a:lnTo>
                      <a:pt x="2918" y="226"/>
                    </a:lnTo>
                    <a:lnTo>
                      <a:pt x="2916" y="226"/>
                    </a:lnTo>
                    <a:lnTo>
                      <a:pt x="2912" y="226"/>
                    </a:lnTo>
                    <a:lnTo>
                      <a:pt x="2910" y="226"/>
                    </a:lnTo>
                    <a:lnTo>
                      <a:pt x="2907" y="226"/>
                    </a:lnTo>
                    <a:lnTo>
                      <a:pt x="2906" y="226"/>
                    </a:lnTo>
                    <a:lnTo>
                      <a:pt x="2903" y="226"/>
                    </a:lnTo>
                    <a:lnTo>
                      <a:pt x="2900" y="226"/>
                    </a:lnTo>
                    <a:lnTo>
                      <a:pt x="2897" y="226"/>
                    </a:lnTo>
                    <a:lnTo>
                      <a:pt x="2894" y="226"/>
                    </a:lnTo>
                    <a:lnTo>
                      <a:pt x="2892" y="226"/>
                    </a:lnTo>
                    <a:lnTo>
                      <a:pt x="2889" y="226"/>
                    </a:lnTo>
                    <a:lnTo>
                      <a:pt x="2889" y="226"/>
                    </a:lnTo>
                    <a:lnTo>
                      <a:pt x="2889" y="226"/>
                    </a:lnTo>
                    <a:lnTo>
                      <a:pt x="2886" y="228"/>
                    </a:lnTo>
                    <a:lnTo>
                      <a:pt x="2884" y="229"/>
                    </a:lnTo>
                    <a:lnTo>
                      <a:pt x="2883" y="232"/>
                    </a:lnTo>
                    <a:lnTo>
                      <a:pt x="2882" y="234"/>
                    </a:lnTo>
                    <a:lnTo>
                      <a:pt x="2882" y="235"/>
                    </a:lnTo>
                    <a:lnTo>
                      <a:pt x="2882" y="236"/>
                    </a:lnTo>
                    <a:lnTo>
                      <a:pt x="2882" y="236"/>
                    </a:lnTo>
                    <a:lnTo>
                      <a:pt x="2882" y="238"/>
                    </a:lnTo>
                    <a:lnTo>
                      <a:pt x="2882" y="238"/>
                    </a:lnTo>
                    <a:lnTo>
                      <a:pt x="2883" y="239"/>
                    </a:lnTo>
                    <a:close/>
                    <a:moveTo>
                      <a:pt x="3415" y="447"/>
                    </a:moveTo>
                    <a:lnTo>
                      <a:pt x="3411" y="444"/>
                    </a:lnTo>
                    <a:lnTo>
                      <a:pt x="3408" y="441"/>
                    </a:lnTo>
                    <a:lnTo>
                      <a:pt x="3405" y="438"/>
                    </a:lnTo>
                    <a:lnTo>
                      <a:pt x="3402" y="437"/>
                    </a:lnTo>
                    <a:lnTo>
                      <a:pt x="3399" y="435"/>
                    </a:lnTo>
                    <a:lnTo>
                      <a:pt x="3398" y="434"/>
                    </a:lnTo>
                    <a:lnTo>
                      <a:pt x="3396" y="434"/>
                    </a:lnTo>
                    <a:lnTo>
                      <a:pt x="3393" y="434"/>
                    </a:lnTo>
                    <a:lnTo>
                      <a:pt x="3392" y="434"/>
                    </a:lnTo>
                    <a:lnTo>
                      <a:pt x="3391" y="434"/>
                    </a:lnTo>
                    <a:lnTo>
                      <a:pt x="3388" y="434"/>
                    </a:lnTo>
                    <a:lnTo>
                      <a:pt x="3386" y="435"/>
                    </a:lnTo>
                    <a:lnTo>
                      <a:pt x="3383" y="435"/>
                    </a:lnTo>
                    <a:lnTo>
                      <a:pt x="3381" y="435"/>
                    </a:lnTo>
                    <a:lnTo>
                      <a:pt x="3379" y="435"/>
                    </a:lnTo>
                    <a:lnTo>
                      <a:pt x="3378" y="435"/>
                    </a:lnTo>
                    <a:lnTo>
                      <a:pt x="3375" y="434"/>
                    </a:lnTo>
                    <a:lnTo>
                      <a:pt x="3372" y="434"/>
                    </a:lnTo>
                    <a:lnTo>
                      <a:pt x="3368" y="434"/>
                    </a:lnTo>
                    <a:lnTo>
                      <a:pt x="3365" y="434"/>
                    </a:lnTo>
                    <a:lnTo>
                      <a:pt x="3363" y="433"/>
                    </a:lnTo>
                    <a:lnTo>
                      <a:pt x="3360" y="433"/>
                    </a:lnTo>
                    <a:lnTo>
                      <a:pt x="3359" y="431"/>
                    </a:lnTo>
                    <a:lnTo>
                      <a:pt x="3360" y="433"/>
                    </a:lnTo>
                    <a:lnTo>
                      <a:pt x="3362" y="434"/>
                    </a:lnTo>
                    <a:lnTo>
                      <a:pt x="3366" y="437"/>
                    </a:lnTo>
                    <a:lnTo>
                      <a:pt x="3368" y="440"/>
                    </a:lnTo>
                    <a:lnTo>
                      <a:pt x="3370" y="441"/>
                    </a:lnTo>
                    <a:lnTo>
                      <a:pt x="3373" y="443"/>
                    </a:lnTo>
                    <a:lnTo>
                      <a:pt x="3375" y="444"/>
                    </a:lnTo>
                    <a:lnTo>
                      <a:pt x="3378" y="444"/>
                    </a:lnTo>
                    <a:lnTo>
                      <a:pt x="3379" y="443"/>
                    </a:lnTo>
                    <a:lnTo>
                      <a:pt x="3383" y="443"/>
                    </a:lnTo>
                    <a:lnTo>
                      <a:pt x="3386" y="441"/>
                    </a:lnTo>
                    <a:lnTo>
                      <a:pt x="3385" y="441"/>
                    </a:lnTo>
                    <a:lnTo>
                      <a:pt x="3385" y="441"/>
                    </a:lnTo>
                    <a:lnTo>
                      <a:pt x="3386" y="440"/>
                    </a:lnTo>
                    <a:lnTo>
                      <a:pt x="3388" y="440"/>
                    </a:lnTo>
                    <a:lnTo>
                      <a:pt x="3391" y="440"/>
                    </a:lnTo>
                    <a:lnTo>
                      <a:pt x="3392" y="440"/>
                    </a:lnTo>
                    <a:lnTo>
                      <a:pt x="3395" y="441"/>
                    </a:lnTo>
                    <a:lnTo>
                      <a:pt x="3396" y="441"/>
                    </a:lnTo>
                    <a:lnTo>
                      <a:pt x="3402" y="443"/>
                    </a:lnTo>
                    <a:lnTo>
                      <a:pt x="3408" y="444"/>
                    </a:lnTo>
                    <a:lnTo>
                      <a:pt x="3409" y="446"/>
                    </a:lnTo>
                    <a:lnTo>
                      <a:pt x="3411" y="446"/>
                    </a:lnTo>
                    <a:lnTo>
                      <a:pt x="3414" y="447"/>
                    </a:lnTo>
                    <a:lnTo>
                      <a:pt x="3415" y="448"/>
                    </a:lnTo>
                    <a:lnTo>
                      <a:pt x="3417" y="448"/>
                    </a:lnTo>
                    <a:lnTo>
                      <a:pt x="3418" y="450"/>
                    </a:lnTo>
                    <a:lnTo>
                      <a:pt x="3415" y="447"/>
                    </a:lnTo>
                    <a:close/>
                  </a:path>
                </a:pathLst>
              </a:custGeom>
              <a:grpFill/>
              <a:ln w="3175">
                <a:solidFill>
                  <a:schemeClr val="accent2">
                    <a:lumMod val="60000"/>
                    <a:lumOff val="40000"/>
                  </a:schemeClr>
                </a:solidFill>
              </a:ln>
            </p:spPr>
            <p:txBody>
              <a:bodyPr vert="horz" wrap="square" lIns="91273" tIns="45637" rIns="91273" bIns="4563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97" b="0" i="0" u="none" strike="noStrike" kern="1200" cap="none" spc="0" normalizeH="0" baseline="0" noProof="0" dirty="0">
                  <a:ln>
                    <a:noFill/>
                  </a:ln>
                  <a:solidFill>
                    <a:srgbClr val="000000"/>
                  </a:solidFill>
                  <a:effectLst/>
                  <a:uLnTx/>
                  <a:uFillTx/>
                  <a:latin typeface="Calibri"/>
                  <a:ea typeface="+mn-ea"/>
                  <a:cs typeface="+mn-cs"/>
                </a:endParaRPr>
              </a:p>
            </p:txBody>
          </p:sp>
          <p:sp>
            <p:nvSpPr>
              <p:cNvPr id="40" name="North Korea">
                <a:extLst>
                  <a:ext uri="{FF2B5EF4-FFF2-40B4-BE49-F238E27FC236}">
                    <a16:creationId xmlns:a16="http://schemas.microsoft.com/office/drawing/2014/main" id="{4414BB24-D6CB-2492-D4BD-7BCAE235DC17}"/>
                  </a:ext>
                </a:extLst>
              </p:cNvPr>
              <p:cNvSpPr>
                <a:spLocks/>
              </p:cNvSpPr>
              <p:nvPr/>
            </p:nvSpPr>
            <p:spPr bwMode="auto">
              <a:xfrm>
                <a:off x="6326567" y="2277101"/>
                <a:ext cx="104348" cy="132255"/>
              </a:xfrm>
              <a:custGeom>
                <a:avLst/>
                <a:gdLst/>
                <a:ahLst/>
                <a:cxnLst>
                  <a:cxn ang="0">
                    <a:pos x="0" y="31"/>
                  </a:cxn>
                  <a:cxn ang="0">
                    <a:pos x="2" y="28"/>
                  </a:cxn>
                  <a:cxn ang="0">
                    <a:pos x="4" y="27"/>
                  </a:cxn>
                  <a:cxn ang="0">
                    <a:pos x="8" y="23"/>
                  </a:cxn>
                  <a:cxn ang="0">
                    <a:pos x="10" y="22"/>
                  </a:cxn>
                  <a:cxn ang="0">
                    <a:pos x="11" y="20"/>
                  </a:cxn>
                  <a:cxn ang="0">
                    <a:pos x="12" y="14"/>
                  </a:cxn>
                  <a:cxn ang="0">
                    <a:pos x="14" y="13"/>
                  </a:cxn>
                  <a:cxn ang="0">
                    <a:pos x="17" y="15"/>
                  </a:cxn>
                  <a:cxn ang="0">
                    <a:pos x="24" y="17"/>
                  </a:cxn>
                  <a:cxn ang="0">
                    <a:pos x="27" y="15"/>
                  </a:cxn>
                  <a:cxn ang="0">
                    <a:pos x="25" y="14"/>
                  </a:cxn>
                  <a:cxn ang="0">
                    <a:pos x="22" y="11"/>
                  </a:cxn>
                  <a:cxn ang="0">
                    <a:pos x="29" y="10"/>
                  </a:cxn>
                  <a:cxn ang="0">
                    <a:pos x="30" y="7"/>
                  </a:cxn>
                  <a:cxn ang="0">
                    <a:pos x="33" y="6"/>
                  </a:cxn>
                  <a:cxn ang="0">
                    <a:pos x="32" y="0"/>
                  </a:cxn>
                  <a:cxn ang="0">
                    <a:pos x="37" y="2"/>
                  </a:cxn>
                  <a:cxn ang="0">
                    <a:pos x="43" y="8"/>
                  </a:cxn>
                  <a:cxn ang="0">
                    <a:pos x="41" y="7"/>
                  </a:cxn>
                  <a:cxn ang="0">
                    <a:pos x="40" y="9"/>
                  </a:cxn>
                  <a:cxn ang="0">
                    <a:pos x="38" y="15"/>
                  </a:cxn>
                  <a:cxn ang="0">
                    <a:pos x="42" y="23"/>
                  </a:cxn>
                  <a:cxn ang="0">
                    <a:pos x="40" y="25"/>
                  </a:cxn>
                  <a:cxn ang="0">
                    <a:pos x="39" y="27"/>
                  </a:cxn>
                  <a:cxn ang="0">
                    <a:pos x="37" y="29"/>
                  </a:cxn>
                  <a:cxn ang="0">
                    <a:pos x="36" y="31"/>
                  </a:cxn>
                  <a:cxn ang="0">
                    <a:pos x="33" y="32"/>
                  </a:cxn>
                  <a:cxn ang="0">
                    <a:pos x="31" y="34"/>
                  </a:cxn>
                  <a:cxn ang="0">
                    <a:pos x="30" y="36"/>
                  </a:cxn>
                  <a:cxn ang="0">
                    <a:pos x="32" y="39"/>
                  </a:cxn>
                  <a:cxn ang="0">
                    <a:pos x="31" y="39"/>
                  </a:cxn>
                  <a:cxn ang="0">
                    <a:pos x="35" y="41"/>
                  </a:cxn>
                  <a:cxn ang="0">
                    <a:pos x="43" y="48"/>
                  </a:cxn>
                  <a:cxn ang="0">
                    <a:pos x="33" y="51"/>
                  </a:cxn>
                  <a:cxn ang="0">
                    <a:pos x="31" y="55"/>
                  </a:cxn>
                  <a:cxn ang="0">
                    <a:pos x="27" y="56"/>
                  </a:cxn>
                  <a:cxn ang="0">
                    <a:pos x="24" y="55"/>
                  </a:cxn>
                  <a:cxn ang="0">
                    <a:pos x="21" y="53"/>
                  </a:cxn>
                  <a:cxn ang="0">
                    <a:pos x="23" y="54"/>
                  </a:cxn>
                  <a:cxn ang="0">
                    <a:pos x="21" y="57"/>
                  </a:cxn>
                  <a:cxn ang="0">
                    <a:pos x="21" y="55"/>
                  </a:cxn>
                  <a:cxn ang="0">
                    <a:pos x="20" y="55"/>
                  </a:cxn>
                  <a:cxn ang="0">
                    <a:pos x="16" y="54"/>
                  </a:cxn>
                  <a:cxn ang="0">
                    <a:pos x="18" y="53"/>
                  </a:cxn>
                  <a:cxn ang="0">
                    <a:pos x="13" y="52"/>
                  </a:cxn>
                  <a:cxn ang="0">
                    <a:pos x="15" y="51"/>
                  </a:cxn>
                  <a:cxn ang="0">
                    <a:pos x="13" y="47"/>
                  </a:cxn>
                  <a:cxn ang="0">
                    <a:pos x="16" y="46"/>
                  </a:cxn>
                  <a:cxn ang="0">
                    <a:pos x="19" y="47"/>
                  </a:cxn>
                  <a:cxn ang="0">
                    <a:pos x="13" y="43"/>
                  </a:cxn>
                  <a:cxn ang="0">
                    <a:pos x="13" y="39"/>
                  </a:cxn>
                  <a:cxn ang="0">
                    <a:pos x="12" y="37"/>
                  </a:cxn>
                  <a:cxn ang="0">
                    <a:pos x="5" y="34"/>
                  </a:cxn>
                  <a:cxn ang="0">
                    <a:pos x="5" y="36"/>
                  </a:cxn>
                  <a:cxn ang="0">
                    <a:pos x="3" y="34"/>
                  </a:cxn>
                  <a:cxn ang="0">
                    <a:pos x="2" y="32"/>
                  </a:cxn>
                  <a:cxn ang="0">
                    <a:pos x="0" y="31"/>
                  </a:cxn>
                </a:cxnLst>
                <a:rect l="0" t="0" r="r" b="b"/>
                <a:pathLst>
                  <a:path w="45" h="57">
                    <a:moveTo>
                      <a:pt x="0" y="31"/>
                    </a:moveTo>
                    <a:cubicBezTo>
                      <a:pt x="1" y="30"/>
                      <a:pt x="1" y="29"/>
                      <a:pt x="2" y="28"/>
                    </a:cubicBezTo>
                    <a:cubicBezTo>
                      <a:pt x="3" y="27"/>
                      <a:pt x="4" y="27"/>
                      <a:pt x="4" y="27"/>
                    </a:cubicBezTo>
                    <a:cubicBezTo>
                      <a:pt x="5" y="25"/>
                      <a:pt x="8" y="25"/>
                      <a:pt x="8" y="23"/>
                    </a:cubicBezTo>
                    <a:cubicBezTo>
                      <a:pt x="8" y="22"/>
                      <a:pt x="9" y="23"/>
                      <a:pt x="10" y="22"/>
                    </a:cubicBezTo>
                    <a:cubicBezTo>
                      <a:pt x="11" y="22"/>
                      <a:pt x="11" y="20"/>
                      <a:pt x="11" y="20"/>
                    </a:cubicBezTo>
                    <a:cubicBezTo>
                      <a:pt x="12" y="17"/>
                      <a:pt x="11" y="15"/>
                      <a:pt x="12" y="14"/>
                    </a:cubicBezTo>
                    <a:cubicBezTo>
                      <a:pt x="13" y="14"/>
                      <a:pt x="13" y="13"/>
                      <a:pt x="14" y="13"/>
                    </a:cubicBezTo>
                    <a:cubicBezTo>
                      <a:pt x="15" y="14"/>
                      <a:pt x="16" y="15"/>
                      <a:pt x="17" y="15"/>
                    </a:cubicBezTo>
                    <a:cubicBezTo>
                      <a:pt x="19" y="16"/>
                      <a:pt x="22" y="17"/>
                      <a:pt x="24" y="17"/>
                    </a:cubicBezTo>
                    <a:cubicBezTo>
                      <a:pt x="25" y="17"/>
                      <a:pt x="28" y="17"/>
                      <a:pt x="27" y="15"/>
                    </a:cubicBezTo>
                    <a:cubicBezTo>
                      <a:pt x="26" y="14"/>
                      <a:pt x="25" y="14"/>
                      <a:pt x="25" y="14"/>
                    </a:cubicBezTo>
                    <a:cubicBezTo>
                      <a:pt x="24" y="13"/>
                      <a:pt x="23" y="12"/>
                      <a:pt x="22" y="11"/>
                    </a:cubicBezTo>
                    <a:cubicBezTo>
                      <a:pt x="24" y="10"/>
                      <a:pt x="27" y="10"/>
                      <a:pt x="29" y="10"/>
                    </a:cubicBezTo>
                    <a:cubicBezTo>
                      <a:pt x="31" y="10"/>
                      <a:pt x="30" y="8"/>
                      <a:pt x="30" y="7"/>
                    </a:cubicBezTo>
                    <a:cubicBezTo>
                      <a:pt x="31" y="6"/>
                      <a:pt x="32" y="7"/>
                      <a:pt x="33" y="6"/>
                    </a:cubicBezTo>
                    <a:cubicBezTo>
                      <a:pt x="35" y="6"/>
                      <a:pt x="32" y="1"/>
                      <a:pt x="32" y="0"/>
                    </a:cubicBezTo>
                    <a:cubicBezTo>
                      <a:pt x="34" y="0"/>
                      <a:pt x="36" y="1"/>
                      <a:pt x="37" y="2"/>
                    </a:cubicBezTo>
                    <a:cubicBezTo>
                      <a:pt x="38" y="5"/>
                      <a:pt x="42" y="5"/>
                      <a:pt x="43" y="8"/>
                    </a:cubicBezTo>
                    <a:cubicBezTo>
                      <a:pt x="43" y="8"/>
                      <a:pt x="42" y="7"/>
                      <a:pt x="41" y="7"/>
                    </a:cubicBezTo>
                    <a:cubicBezTo>
                      <a:pt x="41" y="8"/>
                      <a:pt x="40" y="9"/>
                      <a:pt x="40" y="9"/>
                    </a:cubicBezTo>
                    <a:cubicBezTo>
                      <a:pt x="39" y="11"/>
                      <a:pt x="38" y="13"/>
                      <a:pt x="38" y="15"/>
                    </a:cubicBezTo>
                    <a:cubicBezTo>
                      <a:pt x="39" y="16"/>
                      <a:pt x="45" y="22"/>
                      <a:pt x="42" y="23"/>
                    </a:cubicBezTo>
                    <a:cubicBezTo>
                      <a:pt x="41" y="24"/>
                      <a:pt x="40" y="24"/>
                      <a:pt x="40" y="25"/>
                    </a:cubicBezTo>
                    <a:cubicBezTo>
                      <a:pt x="39" y="26"/>
                      <a:pt x="40" y="26"/>
                      <a:pt x="39" y="27"/>
                    </a:cubicBezTo>
                    <a:cubicBezTo>
                      <a:pt x="39" y="28"/>
                      <a:pt x="38" y="28"/>
                      <a:pt x="37" y="29"/>
                    </a:cubicBezTo>
                    <a:cubicBezTo>
                      <a:pt x="37" y="30"/>
                      <a:pt x="37" y="30"/>
                      <a:pt x="36" y="31"/>
                    </a:cubicBezTo>
                    <a:cubicBezTo>
                      <a:pt x="35" y="32"/>
                      <a:pt x="34" y="32"/>
                      <a:pt x="33" y="32"/>
                    </a:cubicBezTo>
                    <a:cubicBezTo>
                      <a:pt x="32" y="32"/>
                      <a:pt x="32" y="33"/>
                      <a:pt x="31" y="34"/>
                    </a:cubicBezTo>
                    <a:cubicBezTo>
                      <a:pt x="30" y="34"/>
                      <a:pt x="29" y="35"/>
                      <a:pt x="30" y="36"/>
                    </a:cubicBezTo>
                    <a:cubicBezTo>
                      <a:pt x="31" y="36"/>
                      <a:pt x="31" y="38"/>
                      <a:pt x="32" y="39"/>
                    </a:cubicBezTo>
                    <a:cubicBezTo>
                      <a:pt x="31" y="38"/>
                      <a:pt x="31" y="38"/>
                      <a:pt x="31" y="39"/>
                    </a:cubicBezTo>
                    <a:cubicBezTo>
                      <a:pt x="31" y="41"/>
                      <a:pt x="33" y="41"/>
                      <a:pt x="35" y="41"/>
                    </a:cubicBezTo>
                    <a:cubicBezTo>
                      <a:pt x="37" y="43"/>
                      <a:pt x="43" y="45"/>
                      <a:pt x="43" y="48"/>
                    </a:cubicBezTo>
                    <a:cubicBezTo>
                      <a:pt x="42" y="52"/>
                      <a:pt x="35" y="48"/>
                      <a:pt x="33" y="51"/>
                    </a:cubicBezTo>
                    <a:cubicBezTo>
                      <a:pt x="32" y="53"/>
                      <a:pt x="32" y="56"/>
                      <a:pt x="31" y="55"/>
                    </a:cubicBezTo>
                    <a:cubicBezTo>
                      <a:pt x="30" y="55"/>
                      <a:pt x="26" y="54"/>
                      <a:pt x="27" y="56"/>
                    </a:cubicBezTo>
                    <a:cubicBezTo>
                      <a:pt x="27" y="56"/>
                      <a:pt x="25" y="55"/>
                      <a:pt x="24" y="55"/>
                    </a:cubicBezTo>
                    <a:cubicBezTo>
                      <a:pt x="24" y="54"/>
                      <a:pt x="22" y="53"/>
                      <a:pt x="21" y="53"/>
                    </a:cubicBezTo>
                    <a:cubicBezTo>
                      <a:pt x="22" y="53"/>
                      <a:pt x="22" y="54"/>
                      <a:pt x="23" y="54"/>
                    </a:cubicBezTo>
                    <a:cubicBezTo>
                      <a:pt x="22" y="54"/>
                      <a:pt x="22" y="56"/>
                      <a:pt x="21" y="57"/>
                    </a:cubicBezTo>
                    <a:cubicBezTo>
                      <a:pt x="20" y="56"/>
                      <a:pt x="21" y="56"/>
                      <a:pt x="21" y="55"/>
                    </a:cubicBezTo>
                    <a:cubicBezTo>
                      <a:pt x="21" y="54"/>
                      <a:pt x="20" y="54"/>
                      <a:pt x="20" y="55"/>
                    </a:cubicBezTo>
                    <a:cubicBezTo>
                      <a:pt x="19" y="54"/>
                      <a:pt x="17" y="55"/>
                      <a:pt x="16" y="54"/>
                    </a:cubicBezTo>
                    <a:cubicBezTo>
                      <a:pt x="18" y="54"/>
                      <a:pt x="16" y="52"/>
                      <a:pt x="18" y="53"/>
                    </a:cubicBezTo>
                    <a:cubicBezTo>
                      <a:pt x="17" y="52"/>
                      <a:pt x="14" y="52"/>
                      <a:pt x="13" y="52"/>
                    </a:cubicBezTo>
                    <a:cubicBezTo>
                      <a:pt x="13" y="51"/>
                      <a:pt x="14" y="51"/>
                      <a:pt x="15" y="51"/>
                    </a:cubicBezTo>
                    <a:cubicBezTo>
                      <a:pt x="13" y="50"/>
                      <a:pt x="14" y="48"/>
                      <a:pt x="13" y="47"/>
                    </a:cubicBezTo>
                    <a:cubicBezTo>
                      <a:pt x="15" y="48"/>
                      <a:pt x="14" y="46"/>
                      <a:pt x="16" y="46"/>
                    </a:cubicBezTo>
                    <a:cubicBezTo>
                      <a:pt x="17" y="46"/>
                      <a:pt x="18" y="46"/>
                      <a:pt x="19" y="47"/>
                    </a:cubicBezTo>
                    <a:cubicBezTo>
                      <a:pt x="18" y="44"/>
                      <a:pt x="13" y="47"/>
                      <a:pt x="13" y="43"/>
                    </a:cubicBezTo>
                    <a:cubicBezTo>
                      <a:pt x="13" y="42"/>
                      <a:pt x="14" y="40"/>
                      <a:pt x="13" y="39"/>
                    </a:cubicBezTo>
                    <a:cubicBezTo>
                      <a:pt x="13" y="38"/>
                      <a:pt x="12" y="38"/>
                      <a:pt x="12" y="37"/>
                    </a:cubicBezTo>
                    <a:cubicBezTo>
                      <a:pt x="10" y="38"/>
                      <a:pt x="7" y="35"/>
                      <a:pt x="5" y="34"/>
                    </a:cubicBezTo>
                    <a:cubicBezTo>
                      <a:pt x="6" y="35"/>
                      <a:pt x="6" y="36"/>
                      <a:pt x="5" y="36"/>
                    </a:cubicBezTo>
                    <a:cubicBezTo>
                      <a:pt x="5" y="35"/>
                      <a:pt x="4" y="35"/>
                      <a:pt x="3" y="34"/>
                    </a:cubicBezTo>
                    <a:cubicBezTo>
                      <a:pt x="2" y="34"/>
                      <a:pt x="0" y="32"/>
                      <a:pt x="2" y="32"/>
                    </a:cubicBezTo>
                    <a:cubicBezTo>
                      <a:pt x="1" y="31"/>
                      <a:pt x="1" y="31"/>
                      <a:pt x="0" y="31"/>
                    </a:cubicBezTo>
                  </a:path>
                </a:pathLst>
              </a:custGeom>
              <a:solidFill>
                <a:schemeClr val="accent2"/>
              </a:solidFill>
              <a:ln w="3175">
                <a:solidFill>
                  <a:schemeClr val="accent2"/>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41" name="Mongolia">
                <a:extLst>
                  <a:ext uri="{FF2B5EF4-FFF2-40B4-BE49-F238E27FC236}">
                    <a16:creationId xmlns:a16="http://schemas.microsoft.com/office/drawing/2014/main" id="{12FB5838-1897-A1D7-A50E-E110DA032549}"/>
                  </a:ext>
                </a:extLst>
              </p:cNvPr>
              <p:cNvSpPr>
                <a:spLocks/>
              </p:cNvSpPr>
              <p:nvPr/>
            </p:nvSpPr>
            <p:spPr bwMode="auto">
              <a:xfrm>
                <a:off x="5503925" y="2055060"/>
                <a:ext cx="656416" cy="257228"/>
              </a:xfrm>
              <a:custGeom>
                <a:avLst/>
                <a:gdLst/>
                <a:ahLst/>
                <a:cxnLst>
                  <a:cxn ang="0">
                    <a:pos x="8" y="27"/>
                  </a:cxn>
                  <a:cxn ang="0">
                    <a:pos x="14" y="25"/>
                  </a:cxn>
                  <a:cxn ang="0">
                    <a:pos x="16" y="21"/>
                  </a:cxn>
                  <a:cxn ang="0">
                    <a:pos x="25" y="17"/>
                  </a:cxn>
                  <a:cxn ang="0">
                    <a:pos x="33" y="15"/>
                  </a:cxn>
                  <a:cxn ang="0">
                    <a:pos x="44" y="16"/>
                  </a:cxn>
                  <a:cxn ang="0">
                    <a:pos x="63" y="22"/>
                  </a:cxn>
                  <a:cxn ang="0">
                    <a:pos x="77" y="24"/>
                  </a:cxn>
                  <a:cxn ang="0">
                    <a:pos x="79" y="17"/>
                  </a:cxn>
                  <a:cxn ang="0">
                    <a:pos x="76" y="4"/>
                  </a:cxn>
                  <a:cxn ang="0">
                    <a:pos x="89" y="4"/>
                  </a:cxn>
                  <a:cxn ang="0">
                    <a:pos x="110" y="11"/>
                  </a:cxn>
                  <a:cxn ang="0">
                    <a:pos x="123" y="20"/>
                  </a:cxn>
                  <a:cxn ang="0">
                    <a:pos x="137" y="18"/>
                  </a:cxn>
                  <a:cxn ang="0">
                    <a:pos x="162" y="23"/>
                  </a:cxn>
                  <a:cxn ang="0">
                    <a:pos x="174" y="29"/>
                  </a:cxn>
                  <a:cxn ang="0">
                    <a:pos x="191" y="31"/>
                  </a:cxn>
                  <a:cxn ang="0">
                    <a:pos x="207" y="26"/>
                  </a:cxn>
                  <a:cxn ang="0">
                    <a:pos x="220" y="21"/>
                  </a:cxn>
                  <a:cxn ang="0">
                    <a:pos x="236" y="24"/>
                  </a:cxn>
                  <a:cxn ang="0">
                    <a:pos x="241" y="46"/>
                  </a:cxn>
                  <a:cxn ang="0">
                    <a:pos x="255" y="45"/>
                  </a:cxn>
                  <a:cxn ang="0">
                    <a:pos x="279" y="55"/>
                  </a:cxn>
                  <a:cxn ang="0">
                    <a:pos x="268" y="57"/>
                  </a:cxn>
                  <a:cxn ang="0">
                    <a:pos x="259" y="60"/>
                  </a:cxn>
                  <a:cxn ang="0">
                    <a:pos x="255" y="67"/>
                  </a:cxn>
                  <a:cxn ang="0">
                    <a:pos x="243" y="71"/>
                  </a:cxn>
                  <a:cxn ang="0">
                    <a:pos x="238" y="78"/>
                  </a:cxn>
                  <a:cxn ang="0">
                    <a:pos x="221" y="79"/>
                  </a:cxn>
                  <a:cxn ang="0">
                    <a:pos x="228" y="89"/>
                  </a:cxn>
                  <a:cxn ang="0">
                    <a:pos x="220" y="99"/>
                  </a:cxn>
                  <a:cxn ang="0">
                    <a:pos x="201" y="102"/>
                  </a:cxn>
                  <a:cxn ang="0">
                    <a:pos x="178" y="111"/>
                  </a:cxn>
                  <a:cxn ang="0">
                    <a:pos x="157" y="106"/>
                  </a:cxn>
                  <a:cxn ang="0">
                    <a:pos x="139" y="100"/>
                  </a:cxn>
                  <a:cxn ang="0">
                    <a:pos x="119" y="100"/>
                  </a:cxn>
                  <a:cxn ang="0">
                    <a:pos x="99" y="97"/>
                  </a:cxn>
                  <a:cxn ang="0">
                    <a:pos x="85" y="84"/>
                  </a:cxn>
                  <a:cxn ang="0">
                    <a:pos x="69" y="77"/>
                  </a:cxn>
                  <a:cxn ang="0">
                    <a:pos x="39" y="68"/>
                  </a:cxn>
                  <a:cxn ang="0">
                    <a:pos x="33" y="52"/>
                  </a:cxn>
                  <a:cxn ang="0">
                    <a:pos x="23" y="45"/>
                  </a:cxn>
                  <a:cxn ang="0">
                    <a:pos x="11" y="41"/>
                  </a:cxn>
                  <a:cxn ang="0">
                    <a:pos x="1" y="34"/>
                  </a:cxn>
                </a:cxnLst>
                <a:rect l="0" t="0" r="r" b="b"/>
                <a:pathLst>
                  <a:path w="283" h="111">
                    <a:moveTo>
                      <a:pt x="0" y="31"/>
                    </a:moveTo>
                    <a:cubicBezTo>
                      <a:pt x="3" y="31"/>
                      <a:pt x="2" y="30"/>
                      <a:pt x="2" y="29"/>
                    </a:cubicBezTo>
                    <a:cubicBezTo>
                      <a:pt x="3" y="26"/>
                      <a:pt x="8" y="29"/>
                      <a:pt x="8" y="27"/>
                    </a:cubicBezTo>
                    <a:cubicBezTo>
                      <a:pt x="9" y="27"/>
                      <a:pt x="9" y="28"/>
                      <a:pt x="10" y="27"/>
                    </a:cubicBezTo>
                    <a:cubicBezTo>
                      <a:pt x="10" y="27"/>
                      <a:pt x="10" y="27"/>
                      <a:pt x="10" y="27"/>
                    </a:cubicBezTo>
                    <a:cubicBezTo>
                      <a:pt x="11" y="26"/>
                      <a:pt x="12" y="26"/>
                      <a:pt x="14" y="25"/>
                    </a:cubicBezTo>
                    <a:cubicBezTo>
                      <a:pt x="13" y="25"/>
                      <a:pt x="12" y="24"/>
                      <a:pt x="12" y="23"/>
                    </a:cubicBezTo>
                    <a:cubicBezTo>
                      <a:pt x="13" y="23"/>
                      <a:pt x="15" y="23"/>
                      <a:pt x="15" y="22"/>
                    </a:cubicBezTo>
                    <a:cubicBezTo>
                      <a:pt x="15" y="21"/>
                      <a:pt x="16" y="21"/>
                      <a:pt x="16" y="21"/>
                    </a:cubicBezTo>
                    <a:cubicBezTo>
                      <a:pt x="17" y="20"/>
                      <a:pt x="19" y="20"/>
                      <a:pt x="19" y="20"/>
                    </a:cubicBezTo>
                    <a:cubicBezTo>
                      <a:pt x="20" y="19"/>
                      <a:pt x="21" y="18"/>
                      <a:pt x="22" y="18"/>
                    </a:cubicBezTo>
                    <a:cubicBezTo>
                      <a:pt x="23" y="17"/>
                      <a:pt x="24" y="18"/>
                      <a:pt x="25" y="17"/>
                    </a:cubicBezTo>
                    <a:cubicBezTo>
                      <a:pt x="25" y="16"/>
                      <a:pt x="25" y="16"/>
                      <a:pt x="26" y="15"/>
                    </a:cubicBezTo>
                    <a:cubicBezTo>
                      <a:pt x="27" y="15"/>
                      <a:pt x="31" y="16"/>
                      <a:pt x="30" y="14"/>
                    </a:cubicBezTo>
                    <a:cubicBezTo>
                      <a:pt x="32" y="14"/>
                      <a:pt x="32" y="16"/>
                      <a:pt x="33" y="15"/>
                    </a:cubicBezTo>
                    <a:cubicBezTo>
                      <a:pt x="34" y="15"/>
                      <a:pt x="35" y="14"/>
                      <a:pt x="35" y="14"/>
                    </a:cubicBezTo>
                    <a:cubicBezTo>
                      <a:pt x="36" y="15"/>
                      <a:pt x="36" y="16"/>
                      <a:pt x="38" y="16"/>
                    </a:cubicBezTo>
                    <a:cubicBezTo>
                      <a:pt x="40" y="16"/>
                      <a:pt x="42" y="16"/>
                      <a:pt x="44" y="16"/>
                    </a:cubicBezTo>
                    <a:cubicBezTo>
                      <a:pt x="46" y="16"/>
                      <a:pt x="47" y="16"/>
                      <a:pt x="49" y="18"/>
                    </a:cubicBezTo>
                    <a:cubicBezTo>
                      <a:pt x="51" y="22"/>
                      <a:pt x="54" y="22"/>
                      <a:pt x="58" y="23"/>
                    </a:cubicBezTo>
                    <a:cubicBezTo>
                      <a:pt x="60" y="23"/>
                      <a:pt x="61" y="22"/>
                      <a:pt x="63" y="22"/>
                    </a:cubicBezTo>
                    <a:cubicBezTo>
                      <a:pt x="65" y="23"/>
                      <a:pt x="65" y="23"/>
                      <a:pt x="65" y="23"/>
                    </a:cubicBezTo>
                    <a:cubicBezTo>
                      <a:pt x="67" y="23"/>
                      <a:pt x="70" y="23"/>
                      <a:pt x="72" y="24"/>
                    </a:cubicBezTo>
                    <a:cubicBezTo>
                      <a:pt x="74" y="24"/>
                      <a:pt x="77" y="26"/>
                      <a:pt x="77" y="24"/>
                    </a:cubicBezTo>
                    <a:cubicBezTo>
                      <a:pt x="78" y="23"/>
                      <a:pt x="79" y="23"/>
                      <a:pt x="80" y="23"/>
                    </a:cubicBezTo>
                    <a:cubicBezTo>
                      <a:pt x="81" y="22"/>
                      <a:pt x="81" y="20"/>
                      <a:pt x="81" y="19"/>
                    </a:cubicBezTo>
                    <a:cubicBezTo>
                      <a:pt x="81" y="18"/>
                      <a:pt x="80" y="17"/>
                      <a:pt x="79" y="17"/>
                    </a:cubicBezTo>
                    <a:cubicBezTo>
                      <a:pt x="77" y="16"/>
                      <a:pt x="76" y="14"/>
                      <a:pt x="75" y="13"/>
                    </a:cubicBezTo>
                    <a:cubicBezTo>
                      <a:pt x="74" y="12"/>
                      <a:pt x="72" y="6"/>
                      <a:pt x="75" y="7"/>
                    </a:cubicBezTo>
                    <a:cubicBezTo>
                      <a:pt x="74" y="6"/>
                      <a:pt x="74" y="5"/>
                      <a:pt x="76" y="4"/>
                    </a:cubicBezTo>
                    <a:cubicBezTo>
                      <a:pt x="77" y="4"/>
                      <a:pt x="77" y="2"/>
                      <a:pt x="77" y="0"/>
                    </a:cubicBezTo>
                    <a:cubicBezTo>
                      <a:pt x="79" y="1"/>
                      <a:pt x="80" y="2"/>
                      <a:pt x="82" y="2"/>
                    </a:cubicBezTo>
                    <a:cubicBezTo>
                      <a:pt x="84" y="3"/>
                      <a:pt x="86" y="4"/>
                      <a:pt x="89" y="4"/>
                    </a:cubicBezTo>
                    <a:cubicBezTo>
                      <a:pt x="91" y="5"/>
                      <a:pt x="92" y="5"/>
                      <a:pt x="95" y="5"/>
                    </a:cubicBezTo>
                    <a:cubicBezTo>
                      <a:pt x="97" y="6"/>
                      <a:pt x="100" y="7"/>
                      <a:pt x="102" y="7"/>
                    </a:cubicBezTo>
                    <a:cubicBezTo>
                      <a:pt x="105" y="6"/>
                      <a:pt x="109" y="9"/>
                      <a:pt x="110" y="11"/>
                    </a:cubicBezTo>
                    <a:cubicBezTo>
                      <a:pt x="110" y="13"/>
                      <a:pt x="112" y="14"/>
                      <a:pt x="113" y="15"/>
                    </a:cubicBezTo>
                    <a:cubicBezTo>
                      <a:pt x="114" y="17"/>
                      <a:pt x="116" y="18"/>
                      <a:pt x="118" y="18"/>
                    </a:cubicBezTo>
                    <a:cubicBezTo>
                      <a:pt x="119" y="19"/>
                      <a:pt x="121" y="19"/>
                      <a:pt x="123" y="20"/>
                    </a:cubicBezTo>
                    <a:cubicBezTo>
                      <a:pt x="123" y="21"/>
                      <a:pt x="126" y="21"/>
                      <a:pt x="127" y="21"/>
                    </a:cubicBezTo>
                    <a:cubicBezTo>
                      <a:pt x="129" y="20"/>
                      <a:pt x="129" y="21"/>
                      <a:pt x="131" y="20"/>
                    </a:cubicBezTo>
                    <a:cubicBezTo>
                      <a:pt x="133" y="19"/>
                      <a:pt x="135" y="18"/>
                      <a:pt x="137" y="18"/>
                    </a:cubicBezTo>
                    <a:cubicBezTo>
                      <a:pt x="141" y="17"/>
                      <a:pt x="146" y="18"/>
                      <a:pt x="150" y="19"/>
                    </a:cubicBezTo>
                    <a:cubicBezTo>
                      <a:pt x="151" y="19"/>
                      <a:pt x="153" y="20"/>
                      <a:pt x="154" y="21"/>
                    </a:cubicBezTo>
                    <a:cubicBezTo>
                      <a:pt x="157" y="23"/>
                      <a:pt x="159" y="22"/>
                      <a:pt x="162" y="23"/>
                    </a:cubicBezTo>
                    <a:cubicBezTo>
                      <a:pt x="163" y="23"/>
                      <a:pt x="164" y="24"/>
                      <a:pt x="165" y="25"/>
                    </a:cubicBezTo>
                    <a:cubicBezTo>
                      <a:pt x="166" y="27"/>
                      <a:pt x="167" y="27"/>
                      <a:pt x="168" y="28"/>
                    </a:cubicBezTo>
                    <a:cubicBezTo>
                      <a:pt x="170" y="29"/>
                      <a:pt x="172" y="29"/>
                      <a:pt x="174" y="29"/>
                    </a:cubicBezTo>
                    <a:cubicBezTo>
                      <a:pt x="177" y="29"/>
                      <a:pt x="179" y="30"/>
                      <a:pt x="181" y="30"/>
                    </a:cubicBezTo>
                    <a:cubicBezTo>
                      <a:pt x="183" y="31"/>
                      <a:pt x="185" y="31"/>
                      <a:pt x="187" y="31"/>
                    </a:cubicBezTo>
                    <a:cubicBezTo>
                      <a:pt x="189" y="31"/>
                      <a:pt x="191" y="32"/>
                      <a:pt x="191" y="31"/>
                    </a:cubicBezTo>
                    <a:cubicBezTo>
                      <a:pt x="193" y="29"/>
                      <a:pt x="194" y="29"/>
                      <a:pt x="197" y="29"/>
                    </a:cubicBezTo>
                    <a:cubicBezTo>
                      <a:pt x="198" y="29"/>
                      <a:pt x="201" y="27"/>
                      <a:pt x="203" y="27"/>
                    </a:cubicBezTo>
                    <a:cubicBezTo>
                      <a:pt x="205" y="28"/>
                      <a:pt x="206" y="27"/>
                      <a:pt x="207" y="26"/>
                    </a:cubicBezTo>
                    <a:cubicBezTo>
                      <a:pt x="207" y="24"/>
                      <a:pt x="208" y="23"/>
                      <a:pt x="210" y="21"/>
                    </a:cubicBezTo>
                    <a:cubicBezTo>
                      <a:pt x="212" y="20"/>
                      <a:pt x="212" y="20"/>
                      <a:pt x="214" y="20"/>
                    </a:cubicBezTo>
                    <a:cubicBezTo>
                      <a:pt x="216" y="20"/>
                      <a:pt x="218" y="19"/>
                      <a:pt x="220" y="21"/>
                    </a:cubicBezTo>
                    <a:cubicBezTo>
                      <a:pt x="222" y="22"/>
                      <a:pt x="224" y="23"/>
                      <a:pt x="225" y="24"/>
                    </a:cubicBezTo>
                    <a:cubicBezTo>
                      <a:pt x="227" y="24"/>
                      <a:pt x="228" y="23"/>
                      <a:pt x="230" y="23"/>
                    </a:cubicBezTo>
                    <a:cubicBezTo>
                      <a:pt x="232" y="22"/>
                      <a:pt x="235" y="23"/>
                      <a:pt x="236" y="24"/>
                    </a:cubicBezTo>
                    <a:cubicBezTo>
                      <a:pt x="237" y="40"/>
                      <a:pt x="237" y="40"/>
                      <a:pt x="237" y="40"/>
                    </a:cubicBezTo>
                    <a:cubicBezTo>
                      <a:pt x="238" y="41"/>
                      <a:pt x="235" y="42"/>
                      <a:pt x="236" y="43"/>
                    </a:cubicBezTo>
                    <a:cubicBezTo>
                      <a:pt x="237" y="44"/>
                      <a:pt x="239" y="46"/>
                      <a:pt x="241" y="46"/>
                    </a:cubicBezTo>
                    <a:cubicBezTo>
                      <a:pt x="242" y="47"/>
                      <a:pt x="243" y="45"/>
                      <a:pt x="244" y="45"/>
                    </a:cubicBezTo>
                    <a:cubicBezTo>
                      <a:pt x="246" y="45"/>
                      <a:pt x="248" y="44"/>
                      <a:pt x="250" y="45"/>
                    </a:cubicBezTo>
                    <a:cubicBezTo>
                      <a:pt x="252" y="46"/>
                      <a:pt x="253" y="47"/>
                      <a:pt x="255" y="45"/>
                    </a:cubicBezTo>
                    <a:cubicBezTo>
                      <a:pt x="256" y="44"/>
                      <a:pt x="257" y="43"/>
                      <a:pt x="259" y="43"/>
                    </a:cubicBezTo>
                    <a:cubicBezTo>
                      <a:pt x="262" y="43"/>
                      <a:pt x="266" y="46"/>
                      <a:pt x="269" y="48"/>
                    </a:cubicBezTo>
                    <a:cubicBezTo>
                      <a:pt x="273" y="50"/>
                      <a:pt x="276" y="52"/>
                      <a:pt x="279" y="55"/>
                    </a:cubicBezTo>
                    <a:cubicBezTo>
                      <a:pt x="283" y="58"/>
                      <a:pt x="277" y="58"/>
                      <a:pt x="275" y="58"/>
                    </a:cubicBezTo>
                    <a:cubicBezTo>
                      <a:pt x="273" y="57"/>
                      <a:pt x="272" y="56"/>
                      <a:pt x="271" y="57"/>
                    </a:cubicBezTo>
                    <a:cubicBezTo>
                      <a:pt x="271" y="57"/>
                      <a:pt x="269" y="57"/>
                      <a:pt x="268" y="57"/>
                    </a:cubicBezTo>
                    <a:cubicBezTo>
                      <a:pt x="266" y="57"/>
                      <a:pt x="265" y="58"/>
                      <a:pt x="264" y="58"/>
                    </a:cubicBezTo>
                    <a:cubicBezTo>
                      <a:pt x="263" y="59"/>
                      <a:pt x="261" y="58"/>
                      <a:pt x="261" y="59"/>
                    </a:cubicBezTo>
                    <a:cubicBezTo>
                      <a:pt x="260" y="60"/>
                      <a:pt x="261" y="61"/>
                      <a:pt x="259" y="60"/>
                    </a:cubicBezTo>
                    <a:cubicBezTo>
                      <a:pt x="257" y="60"/>
                      <a:pt x="255" y="60"/>
                      <a:pt x="255" y="62"/>
                    </a:cubicBezTo>
                    <a:cubicBezTo>
                      <a:pt x="254" y="63"/>
                      <a:pt x="254" y="64"/>
                      <a:pt x="254" y="64"/>
                    </a:cubicBezTo>
                    <a:cubicBezTo>
                      <a:pt x="254" y="65"/>
                      <a:pt x="255" y="66"/>
                      <a:pt x="255" y="67"/>
                    </a:cubicBezTo>
                    <a:cubicBezTo>
                      <a:pt x="255" y="67"/>
                      <a:pt x="252" y="69"/>
                      <a:pt x="252" y="70"/>
                    </a:cubicBezTo>
                    <a:cubicBezTo>
                      <a:pt x="250" y="71"/>
                      <a:pt x="248" y="71"/>
                      <a:pt x="247" y="71"/>
                    </a:cubicBezTo>
                    <a:cubicBezTo>
                      <a:pt x="246" y="71"/>
                      <a:pt x="244" y="70"/>
                      <a:pt x="243" y="71"/>
                    </a:cubicBezTo>
                    <a:cubicBezTo>
                      <a:pt x="243" y="72"/>
                      <a:pt x="242" y="74"/>
                      <a:pt x="241" y="75"/>
                    </a:cubicBezTo>
                    <a:cubicBezTo>
                      <a:pt x="241" y="76"/>
                      <a:pt x="240" y="75"/>
                      <a:pt x="239" y="76"/>
                    </a:cubicBezTo>
                    <a:cubicBezTo>
                      <a:pt x="239" y="77"/>
                      <a:pt x="238" y="78"/>
                      <a:pt x="238" y="78"/>
                    </a:cubicBezTo>
                    <a:cubicBezTo>
                      <a:pt x="236" y="77"/>
                      <a:pt x="234" y="77"/>
                      <a:pt x="232" y="77"/>
                    </a:cubicBezTo>
                    <a:cubicBezTo>
                      <a:pt x="229" y="76"/>
                      <a:pt x="225" y="72"/>
                      <a:pt x="222" y="75"/>
                    </a:cubicBezTo>
                    <a:cubicBezTo>
                      <a:pt x="221" y="76"/>
                      <a:pt x="221" y="77"/>
                      <a:pt x="221" y="79"/>
                    </a:cubicBezTo>
                    <a:cubicBezTo>
                      <a:pt x="222" y="79"/>
                      <a:pt x="221" y="80"/>
                      <a:pt x="221" y="81"/>
                    </a:cubicBezTo>
                    <a:cubicBezTo>
                      <a:pt x="221" y="82"/>
                      <a:pt x="222" y="82"/>
                      <a:pt x="223" y="83"/>
                    </a:cubicBezTo>
                    <a:cubicBezTo>
                      <a:pt x="224" y="84"/>
                      <a:pt x="231" y="88"/>
                      <a:pt x="228" y="89"/>
                    </a:cubicBezTo>
                    <a:cubicBezTo>
                      <a:pt x="227" y="89"/>
                      <a:pt x="226" y="91"/>
                      <a:pt x="226" y="91"/>
                    </a:cubicBezTo>
                    <a:cubicBezTo>
                      <a:pt x="225" y="92"/>
                      <a:pt x="223" y="92"/>
                      <a:pt x="223" y="94"/>
                    </a:cubicBezTo>
                    <a:cubicBezTo>
                      <a:pt x="222" y="95"/>
                      <a:pt x="221" y="98"/>
                      <a:pt x="220" y="99"/>
                    </a:cubicBezTo>
                    <a:cubicBezTo>
                      <a:pt x="219" y="100"/>
                      <a:pt x="216" y="100"/>
                      <a:pt x="215" y="101"/>
                    </a:cubicBezTo>
                    <a:cubicBezTo>
                      <a:pt x="213" y="102"/>
                      <a:pt x="210" y="102"/>
                      <a:pt x="208" y="102"/>
                    </a:cubicBezTo>
                    <a:cubicBezTo>
                      <a:pt x="206" y="102"/>
                      <a:pt x="204" y="102"/>
                      <a:pt x="201" y="102"/>
                    </a:cubicBezTo>
                    <a:cubicBezTo>
                      <a:pt x="196" y="103"/>
                      <a:pt x="192" y="104"/>
                      <a:pt x="187" y="106"/>
                    </a:cubicBezTo>
                    <a:cubicBezTo>
                      <a:pt x="185" y="107"/>
                      <a:pt x="183" y="108"/>
                      <a:pt x="181" y="109"/>
                    </a:cubicBezTo>
                    <a:cubicBezTo>
                      <a:pt x="180" y="111"/>
                      <a:pt x="180" y="111"/>
                      <a:pt x="178" y="111"/>
                    </a:cubicBezTo>
                    <a:cubicBezTo>
                      <a:pt x="177" y="110"/>
                      <a:pt x="176" y="111"/>
                      <a:pt x="175" y="110"/>
                    </a:cubicBezTo>
                    <a:cubicBezTo>
                      <a:pt x="173" y="108"/>
                      <a:pt x="173" y="108"/>
                      <a:pt x="171" y="109"/>
                    </a:cubicBezTo>
                    <a:cubicBezTo>
                      <a:pt x="166" y="109"/>
                      <a:pt x="162" y="107"/>
                      <a:pt x="157" y="106"/>
                    </a:cubicBezTo>
                    <a:cubicBezTo>
                      <a:pt x="155" y="106"/>
                      <a:pt x="153" y="105"/>
                      <a:pt x="151" y="104"/>
                    </a:cubicBezTo>
                    <a:cubicBezTo>
                      <a:pt x="149" y="103"/>
                      <a:pt x="148" y="101"/>
                      <a:pt x="145" y="101"/>
                    </a:cubicBezTo>
                    <a:cubicBezTo>
                      <a:pt x="143" y="100"/>
                      <a:pt x="141" y="101"/>
                      <a:pt x="139" y="100"/>
                    </a:cubicBezTo>
                    <a:cubicBezTo>
                      <a:pt x="137" y="100"/>
                      <a:pt x="135" y="100"/>
                      <a:pt x="133" y="99"/>
                    </a:cubicBezTo>
                    <a:cubicBezTo>
                      <a:pt x="131" y="99"/>
                      <a:pt x="130" y="100"/>
                      <a:pt x="128" y="100"/>
                    </a:cubicBezTo>
                    <a:cubicBezTo>
                      <a:pt x="125" y="101"/>
                      <a:pt x="122" y="100"/>
                      <a:pt x="119" y="100"/>
                    </a:cubicBezTo>
                    <a:cubicBezTo>
                      <a:pt x="115" y="100"/>
                      <a:pt x="110" y="98"/>
                      <a:pt x="105" y="98"/>
                    </a:cubicBezTo>
                    <a:cubicBezTo>
                      <a:pt x="104" y="99"/>
                      <a:pt x="102" y="99"/>
                      <a:pt x="101" y="99"/>
                    </a:cubicBezTo>
                    <a:cubicBezTo>
                      <a:pt x="100" y="98"/>
                      <a:pt x="100" y="98"/>
                      <a:pt x="99" y="97"/>
                    </a:cubicBezTo>
                    <a:cubicBezTo>
                      <a:pt x="99" y="96"/>
                      <a:pt x="98" y="96"/>
                      <a:pt x="97" y="95"/>
                    </a:cubicBezTo>
                    <a:cubicBezTo>
                      <a:pt x="93" y="93"/>
                      <a:pt x="92" y="89"/>
                      <a:pt x="89" y="87"/>
                    </a:cubicBezTo>
                    <a:cubicBezTo>
                      <a:pt x="87" y="86"/>
                      <a:pt x="86" y="85"/>
                      <a:pt x="85" y="84"/>
                    </a:cubicBezTo>
                    <a:cubicBezTo>
                      <a:pt x="85" y="82"/>
                      <a:pt x="81" y="83"/>
                      <a:pt x="80" y="82"/>
                    </a:cubicBezTo>
                    <a:cubicBezTo>
                      <a:pt x="78" y="81"/>
                      <a:pt x="76" y="80"/>
                      <a:pt x="74" y="79"/>
                    </a:cubicBezTo>
                    <a:cubicBezTo>
                      <a:pt x="73" y="78"/>
                      <a:pt x="71" y="78"/>
                      <a:pt x="69" y="77"/>
                    </a:cubicBezTo>
                    <a:cubicBezTo>
                      <a:pt x="66" y="74"/>
                      <a:pt x="61" y="75"/>
                      <a:pt x="57" y="75"/>
                    </a:cubicBezTo>
                    <a:cubicBezTo>
                      <a:pt x="53" y="74"/>
                      <a:pt x="50" y="74"/>
                      <a:pt x="47" y="73"/>
                    </a:cubicBezTo>
                    <a:cubicBezTo>
                      <a:pt x="44" y="73"/>
                      <a:pt x="40" y="71"/>
                      <a:pt x="39" y="68"/>
                    </a:cubicBezTo>
                    <a:cubicBezTo>
                      <a:pt x="39" y="66"/>
                      <a:pt x="41" y="64"/>
                      <a:pt x="40" y="63"/>
                    </a:cubicBezTo>
                    <a:cubicBezTo>
                      <a:pt x="39" y="61"/>
                      <a:pt x="39" y="59"/>
                      <a:pt x="38" y="58"/>
                    </a:cubicBezTo>
                    <a:cubicBezTo>
                      <a:pt x="36" y="55"/>
                      <a:pt x="35" y="54"/>
                      <a:pt x="33" y="52"/>
                    </a:cubicBezTo>
                    <a:cubicBezTo>
                      <a:pt x="31" y="51"/>
                      <a:pt x="30" y="49"/>
                      <a:pt x="29" y="48"/>
                    </a:cubicBezTo>
                    <a:cubicBezTo>
                      <a:pt x="28" y="46"/>
                      <a:pt x="26" y="46"/>
                      <a:pt x="25" y="45"/>
                    </a:cubicBezTo>
                    <a:cubicBezTo>
                      <a:pt x="23" y="44"/>
                      <a:pt x="24" y="45"/>
                      <a:pt x="23" y="45"/>
                    </a:cubicBezTo>
                    <a:cubicBezTo>
                      <a:pt x="22" y="45"/>
                      <a:pt x="22" y="44"/>
                      <a:pt x="21" y="44"/>
                    </a:cubicBezTo>
                    <a:cubicBezTo>
                      <a:pt x="19" y="43"/>
                      <a:pt x="19" y="43"/>
                      <a:pt x="17" y="43"/>
                    </a:cubicBezTo>
                    <a:cubicBezTo>
                      <a:pt x="15" y="44"/>
                      <a:pt x="13" y="42"/>
                      <a:pt x="11" y="41"/>
                    </a:cubicBezTo>
                    <a:cubicBezTo>
                      <a:pt x="10" y="40"/>
                      <a:pt x="8" y="38"/>
                      <a:pt x="7" y="38"/>
                    </a:cubicBezTo>
                    <a:cubicBezTo>
                      <a:pt x="5" y="38"/>
                      <a:pt x="4" y="38"/>
                      <a:pt x="4" y="36"/>
                    </a:cubicBezTo>
                    <a:cubicBezTo>
                      <a:pt x="4" y="35"/>
                      <a:pt x="2" y="35"/>
                      <a:pt x="1" y="34"/>
                    </a:cubicBezTo>
                    <a:cubicBezTo>
                      <a:pt x="1" y="34"/>
                      <a:pt x="2" y="34"/>
                      <a:pt x="2" y="33"/>
                    </a:cubicBezTo>
                    <a:cubicBezTo>
                      <a:pt x="2" y="33"/>
                      <a:pt x="1" y="32"/>
                      <a:pt x="0" y="31"/>
                    </a:cubicBezTo>
                  </a:path>
                </a:pathLst>
              </a:custGeom>
              <a:grpFill/>
              <a:ln w="3175">
                <a:solidFill>
                  <a:schemeClr val="accent2">
                    <a:lumMod val="60000"/>
                    <a:lumOff val="4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grpSp>
        <p:sp>
          <p:nvSpPr>
            <p:cNvPr id="42" name="Kazakhstan">
              <a:extLst>
                <a:ext uri="{FF2B5EF4-FFF2-40B4-BE49-F238E27FC236}">
                  <a16:creationId xmlns:a16="http://schemas.microsoft.com/office/drawing/2014/main" id="{BF0CDAF2-9482-F545-E402-1C3E5CA2C5DA}"/>
                </a:ext>
              </a:extLst>
            </p:cNvPr>
            <p:cNvSpPr>
              <a:spLocks noEditPoints="1"/>
            </p:cNvSpPr>
            <p:nvPr/>
          </p:nvSpPr>
          <p:spPr bwMode="auto">
            <a:xfrm>
              <a:off x="3103282" y="1273224"/>
              <a:ext cx="497357" cy="227772"/>
            </a:xfrm>
            <a:custGeom>
              <a:avLst/>
              <a:gdLst>
                <a:gd name="T0" fmla="*/ 2453 w 2498"/>
                <a:gd name="T1" fmla="*/ 630 h 1144"/>
                <a:gd name="T2" fmla="*/ 2292 w 2498"/>
                <a:gd name="T3" fmla="*/ 680 h 1144"/>
                <a:gd name="T4" fmla="*/ 2268 w 2498"/>
                <a:gd name="T5" fmla="*/ 786 h 1144"/>
                <a:gd name="T6" fmla="*/ 2210 w 2498"/>
                <a:gd name="T7" fmla="*/ 870 h 1144"/>
                <a:gd name="T8" fmla="*/ 2235 w 2498"/>
                <a:gd name="T9" fmla="*/ 984 h 1144"/>
                <a:gd name="T10" fmla="*/ 2062 w 2498"/>
                <a:gd name="T11" fmla="*/ 967 h 1144"/>
                <a:gd name="T12" fmla="*/ 1843 w 2498"/>
                <a:gd name="T13" fmla="*/ 939 h 1144"/>
                <a:gd name="T14" fmla="*/ 1708 w 2498"/>
                <a:gd name="T15" fmla="*/ 974 h 1144"/>
                <a:gd name="T16" fmla="*/ 1616 w 2498"/>
                <a:gd name="T17" fmla="*/ 1038 h 1144"/>
                <a:gd name="T18" fmla="*/ 1506 w 2498"/>
                <a:gd name="T19" fmla="*/ 1140 h 1144"/>
                <a:gd name="T20" fmla="*/ 1362 w 2498"/>
                <a:gd name="T21" fmla="*/ 1040 h 1144"/>
                <a:gd name="T22" fmla="*/ 1228 w 2498"/>
                <a:gd name="T23" fmla="*/ 905 h 1144"/>
                <a:gd name="T24" fmla="*/ 944 w 2498"/>
                <a:gd name="T25" fmla="*/ 814 h 1144"/>
                <a:gd name="T26" fmla="*/ 882 w 2498"/>
                <a:gd name="T27" fmla="*/ 744 h 1144"/>
                <a:gd name="T28" fmla="*/ 870 w 2498"/>
                <a:gd name="T29" fmla="*/ 719 h 1144"/>
                <a:gd name="T30" fmla="*/ 833 w 2498"/>
                <a:gd name="T31" fmla="*/ 739 h 1144"/>
                <a:gd name="T32" fmla="*/ 764 w 2498"/>
                <a:gd name="T33" fmla="*/ 766 h 1144"/>
                <a:gd name="T34" fmla="*/ 703 w 2498"/>
                <a:gd name="T35" fmla="*/ 1065 h 1144"/>
                <a:gd name="T36" fmla="*/ 475 w 2498"/>
                <a:gd name="T37" fmla="*/ 995 h 1144"/>
                <a:gd name="T38" fmla="*/ 375 w 2498"/>
                <a:gd name="T39" fmla="*/ 926 h 1144"/>
                <a:gd name="T40" fmla="*/ 346 w 2498"/>
                <a:gd name="T41" fmla="*/ 840 h 1144"/>
                <a:gd name="T42" fmla="*/ 397 w 2498"/>
                <a:gd name="T43" fmla="*/ 773 h 1144"/>
                <a:gd name="T44" fmla="*/ 392 w 2498"/>
                <a:gd name="T45" fmla="*/ 652 h 1144"/>
                <a:gd name="T46" fmla="*/ 217 w 2498"/>
                <a:gd name="T47" fmla="*/ 683 h 1144"/>
                <a:gd name="T48" fmla="*/ 148 w 2498"/>
                <a:gd name="T49" fmla="*/ 665 h 1144"/>
                <a:gd name="T50" fmla="*/ 42 w 2498"/>
                <a:gd name="T51" fmla="*/ 565 h 1144"/>
                <a:gd name="T52" fmla="*/ 19 w 2498"/>
                <a:gd name="T53" fmla="*/ 490 h 1144"/>
                <a:gd name="T54" fmla="*/ 74 w 2498"/>
                <a:gd name="T55" fmla="*/ 410 h 1144"/>
                <a:gd name="T56" fmla="*/ 134 w 2498"/>
                <a:gd name="T57" fmla="*/ 336 h 1144"/>
                <a:gd name="T58" fmla="*/ 231 w 2498"/>
                <a:gd name="T59" fmla="*/ 282 h 1144"/>
                <a:gd name="T60" fmla="*/ 350 w 2498"/>
                <a:gd name="T61" fmla="*/ 295 h 1144"/>
                <a:gd name="T62" fmla="*/ 457 w 2498"/>
                <a:gd name="T63" fmla="*/ 348 h 1144"/>
                <a:gd name="T64" fmla="*/ 567 w 2498"/>
                <a:gd name="T65" fmla="*/ 335 h 1144"/>
                <a:gd name="T66" fmla="*/ 672 w 2498"/>
                <a:gd name="T67" fmla="*/ 325 h 1144"/>
                <a:gd name="T68" fmla="*/ 798 w 2498"/>
                <a:gd name="T69" fmla="*/ 354 h 1144"/>
                <a:gd name="T70" fmla="*/ 820 w 2498"/>
                <a:gd name="T71" fmla="*/ 291 h 1144"/>
                <a:gd name="T72" fmla="*/ 800 w 2498"/>
                <a:gd name="T73" fmla="*/ 226 h 1144"/>
                <a:gd name="T74" fmla="*/ 838 w 2498"/>
                <a:gd name="T75" fmla="*/ 169 h 1144"/>
                <a:gd name="T76" fmla="*/ 776 w 2498"/>
                <a:gd name="T77" fmla="*/ 112 h 1144"/>
                <a:gd name="T78" fmla="*/ 890 w 2498"/>
                <a:gd name="T79" fmla="*/ 93 h 1144"/>
                <a:gd name="T80" fmla="*/ 1073 w 2498"/>
                <a:gd name="T81" fmla="*/ 52 h 1144"/>
                <a:gd name="T82" fmla="*/ 1235 w 2498"/>
                <a:gd name="T83" fmla="*/ 1 h 1144"/>
                <a:gd name="T84" fmla="*/ 1355 w 2498"/>
                <a:gd name="T85" fmla="*/ 70 h 1144"/>
                <a:gd name="T86" fmla="*/ 1444 w 2498"/>
                <a:gd name="T87" fmla="*/ 97 h 1144"/>
                <a:gd name="T88" fmla="*/ 1514 w 2498"/>
                <a:gd name="T89" fmla="*/ 117 h 1144"/>
                <a:gd name="T90" fmla="*/ 1588 w 2498"/>
                <a:gd name="T91" fmla="*/ 125 h 1144"/>
                <a:gd name="T92" fmla="*/ 1682 w 2498"/>
                <a:gd name="T93" fmla="*/ 99 h 1144"/>
                <a:gd name="T94" fmla="*/ 2017 w 2498"/>
                <a:gd name="T95" fmla="*/ 329 h 1144"/>
                <a:gd name="T96" fmla="*/ 2104 w 2498"/>
                <a:gd name="T97" fmla="*/ 354 h 1144"/>
                <a:gd name="T98" fmla="*/ 2287 w 2498"/>
                <a:gd name="T99" fmla="*/ 393 h 1144"/>
                <a:gd name="T100" fmla="*/ 2438 w 2498"/>
                <a:gd name="T101" fmla="*/ 431 h 1144"/>
                <a:gd name="T102" fmla="*/ 812 w 2498"/>
                <a:gd name="T103" fmla="*/ 777 h 1144"/>
                <a:gd name="T104" fmla="*/ 812 w 2498"/>
                <a:gd name="T105" fmla="*/ 821 h 1144"/>
                <a:gd name="T106" fmla="*/ 2022 w 2498"/>
                <a:gd name="T107" fmla="*/ 697 h 1144"/>
                <a:gd name="T108" fmla="*/ 1965 w 2498"/>
                <a:gd name="T109" fmla="*/ 671 h 1144"/>
                <a:gd name="T110" fmla="*/ 1872 w 2498"/>
                <a:gd name="T111" fmla="*/ 661 h 1144"/>
                <a:gd name="T112" fmla="*/ 1748 w 2498"/>
                <a:gd name="T113" fmla="*/ 697 h 1144"/>
                <a:gd name="T114" fmla="*/ 1757 w 2498"/>
                <a:gd name="T115" fmla="*/ 774 h 1144"/>
                <a:gd name="T116" fmla="*/ 1789 w 2498"/>
                <a:gd name="T117" fmla="*/ 721 h 1144"/>
                <a:gd name="T118" fmla="*/ 1856 w 2498"/>
                <a:gd name="T119" fmla="*/ 683 h 1144"/>
                <a:gd name="T120" fmla="*/ 2058 w 2498"/>
                <a:gd name="T121" fmla="*/ 692 h 1144"/>
                <a:gd name="T122" fmla="*/ 883 w 2498"/>
                <a:gd name="T123" fmla="*/ 670 h 1144"/>
                <a:gd name="T124" fmla="*/ 926 w 2498"/>
                <a:gd name="T125" fmla="*/ 713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98" h="1144">
                  <a:moveTo>
                    <a:pt x="2498" y="483"/>
                  </a:moveTo>
                  <a:lnTo>
                    <a:pt x="2495" y="483"/>
                  </a:lnTo>
                  <a:lnTo>
                    <a:pt x="2492" y="483"/>
                  </a:lnTo>
                  <a:lnTo>
                    <a:pt x="2486" y="482"/>
                  </a:lnTo>
                  <a:lnTo>
                    <a:pt x="2480" y="482"/>
                  </a:lnTo>
                  <a:lnTo>
                    <a:pt x="2477" y="482"/>
                  </a:lnTo>
                  <a:lnTo>
                    <a:pt x="2475" y="482"/>
                  </a:lnTo>
                  <a:lnTo>
                    <a:pt x="2472" y="482"/>
                  </a:lnTo>
                  <a:lnTo>
                    <a:pt x="2471" y="483"/>
                  </a:lnTo>
                  <a:lnTo>
                    <a:pt x="2469" y="484"/>
                  </a:lnTo>
                  <a:lnTo>
                    <a:pt x="2468" y="486"/>
                  </a:lnTo>
                  <a:lnTo>
                    <a:pt x="2467" y="488"/>
                  </a:lnTo>
                  <a:lnTo>
                    <a:pt x="2467" y="491"/>
                  </a:lnTo>
                  <a:lnTo>
                    <a:pt x="2467" y="492"/>
                  </a:lnTo>
                  <a:lnTo>
                    <a:pt x="2467" y="493"/>
                  </a:lnTo>
                  <a:lnTo>
                    <a:pt x="2468" y="496"/>
                  </a:lnTo>
                  <a:lnTo>
                    <a:pt x="2468" y="497"/>
                  </a:lnTo>
                  <a:lnTo>
                    <a:pt x="2469" y="500"/>
                  </a:lnTo>
                  <a:lnTo>
                    <a:pt x="2471" y="503"/>
                  </a:lnTo>
                  <a:lnTo>
                    <a:pt x="2471" y="505"/>
                  </a:lnTo>
                  <a:lnTo>
                    <a:pt x="2471" y="508"/>
                  </a:lnTo>
                  <a:lnTo>
                    <a:pt x="2471" y="509"/>
                  </a:lnTo>
                  <a:lnTo>
                    <a:pt x="2471" y="512"/>
                  </a:lnTo>
                  <a:lnTo>
                    <a:pt x="2471" y="513"/>
                  </a:lnTo>
                  <a:lnTo>
                    <a:pt x="2469" y="516"/>
                  </a:lnTo>
                  <a:lnTo>
                    <a:pt x="2468" y="517"/>
                  </a:lnTo>
                  <a:lnTo>
                    <a:pt x="2467" y="519"/>
                  </a:lnTo>
                  <a:lnTo>
                    <a:pt x="2466" y="521"/>
                  </a:lnTo>
                  <a:lnTo>
                    <a:pt x="2463" y="521"/>
                  </a:lnTo>
                  <a:lnTo>
                    <a:pt x="2460" y="523"/>
                  </a:lnTo>
                  <a:lnTo>
                    <a:pt x="2458" y="525"/>
                  </a:lnTo>
                  <a:lnTo>
                    <a:pt x="2455" y="526"/>
                  </a:lnTo>
                  <a:lnTo>
                    <a:pt x="2454" y="527"/>
                  </a:lnTo>
                  <a:lnTo>
                    <a:pt x="2453" y="528"/>
                  </a:lnTo>
                  <a:lnTo>
                    <a:pt x="2450" y="530"/>
                  </a:lnTo>
                  <a:lnTo>
                    <a:pt x="2447" y="530"/>
                  </a:lnTo>
                  <a:lnTo>
                    <a:pt x="2446" y="531"/>
                  </a:lnTo>
                  <a:lnTo>
                    <a:pt x="2441" y="531"/>
                  </a:lnTo>
                  <a:lnTo>
                    <a:pt x="2436" y="532"/>
                  </a:lnTo>
                  <a:lnTo>
                    <a:pt x="2433" y="532"/>
                  </a:lnTo>
                  <a:lnTo>
                    <a:pt x="2431" y="534"/>
                  </a:lnTo>
                  <a:lnTo>
                    <a:pt x="2429" y="534"/>
                  </a:lnTo>
                  <a:lnTo>
                    <a:pt x="2427" y="535"/>
                  </a:lnTo>
                  <a:lnTo>
                    <a:pt x="2425" y="536"/>
                  </a:lnTo>
                  <a:lnTo>
                    <a:pt x="2424" y="538"/>
                  </a:lnTo>
                  <a:lnTo>
                    <a:pt x="2424" y="539"/>
                  </a:lnTo>
                  <a:lnTo>
                    <a:pt x="2424" y="541"/>
                  </a:lnTo>
                  <a:lnTo>
                    <a:pt x="2423" y="545"/>
                  </a:lnTo>
                  <a:lnTo>
                    <a:pt x="2423" y="549"/>
                  </a:lnTo>
                  <a:lnTo>
                    <a:pt x="2423" y="552"/>
                  </a:lnTo>
                  <a:lnTo>
                    <a:pt x="2423" y="554"/>
                  </a:lnTo>
                  <a:lnTo>
                    <a:pt x="2423" y="560"/>
                  </a:lnTo>
                  <a:lnTo>
                    <a:pt x="2423" y="565"/>
                  </a:lnTo>
                  <a:lnTo>
                    <a:pt x="2424" y="570"/>
                  </a:lnTo>
                  <a:lnTo>
                    <a:pt x="2425" y="574"/>
                  </a:lnTo>
                  <a:lnTo>
                    <a:pt x="2428" y="578"/>
                  </a:lnTo>
                  <a:lnTo>
                    <a:pt x="2431" y="582"/>
                  </a:lnTo>
                  <a:lnTo>
                    <a:pt x="2433" y="586"/>
                  </a:lnTo>
                  <a:lnTo>
                    <a:pt x="2436" y="590"/>
                  </a:lnTo>
                  <a:lnTo>
                    <a:pt x="2438" y="593"/>
                  </a:lnTo>
                  <a:lnTo>
                    <a:pt x="2441" y="597"/>
                  </a:lnTo>
                  <a:lnTo>
                    <a:pt x="2445" y="601"/>
                  </a:lnTo>
                  <a:lnTo>
                    <a:pt x="2447" y="606"/>
                  </a:lnTo>
                  <a:lnTo>
                    <a:pt x="2450" y="612"/>
                  </a:lnTo>
                  <a:lnTo>
                    <a:pt x="2454" y="617"/>
                  </a:lnTo>
                  <a:lnTo>
                    <a:pt x="2454" y="618"/>
                  </a:lnTo>
                  <a:lnTo>
                    <a:pt x="2455" y="621"/>
                  </a:lnTo>
                  <a:lnTo>
                    <a:pt x="2455" y="622"/>
                  </a:lnTo>
                  <a:lnTo>
                    <a:pt x="2455" y="625"/>
                  </a:lnTo>
                  <a:lnTo>
                    <a:pt x="2455" y="626"/>
                  </a:lnTo>
                  <a:lnTo>
                    <a:pt x="2454" y="627"/>
                  </a:lnTo>
                  <a:lnTo>
                    <a:pt x="2453" y="630"/>
                  </a:lnTo>
                  <a:lnTo>
                    <a:pt x="2451" y="632"/>
                  </a:lnTo>
                  <a:lnTo>
                    <a:pt x="2449" y="635"/>
                  </a:lnTo>
                  <a:lnTo>
                    <a:pt x="2446" y="638"/>
                  </a:lnTo>
                  <a:lnTo>
                    <a:pt x="2444" y="640"/>
                  </a:lnTo>
                  <a:lnTo>
                    <a:pt x="2441" y="641"/>
                  </a:lnTo>
                  <a:lnTo>
                    <a:pt x="2438" y="643"/>
                  </a:lnTo>
                  <a:lnTo>
                    <a:pt x="2436" y="644"/>
                  </a:lnTo>
                  <a:lnTo>
                    <a:pt x="2433" y="645"/>
                  </a:lnTo>
                  <a:lnTo>
                    <a:pt x="2429" y="645"/>
                  </a:lnTo>
                  <a:lnTo>
                    <a:pt x="2427" y="645"/>
                  </a:lnTo>
                  <a:lnTo>
                    <a:pt x="2425" y="645"/>
                  </a:lnTo>
                  <a:lnTo>
                    <a:pt x="2424" y="645"/>
                  </a:lnTo>
                  <a:lnTo>
                    <a:pt x="2421" y="649"/>
                  </a:lnTo>
                  <a:lnTo>
                    <a:pt x="2418" y="652"/>
                  </a:lnTo>
                  <a:lnTo>
                    <a:pt x="2416" y="652"/>
                  </a:lnTo>
                  <a:lnTo>
                    <a:pt x="2415" y="653"/>
                  </a:lnTo>
                  <a:lnTo>
                    <a:pt x="2414" y="654"/>
                  </a:lnTo>
                  <a:lnTo>
                    <a:pt x="2412" y="654"/>
                  </a:lnTo>
                  <a:lnTo>
                    <a:pt x="2411" y="654"/>
                  </a:lnTo>
                  <a:lnTo>
                    <a:pt x="2410" y="654"/>
                  </a:lnTo>
                  <a:lnTo>
                    <a:pt x="2409" y="654"/>
                  </a:lnTo>
                  <a:lnTo>
                    <a:pt x="2407" y="653"/>
                  </a:lnTo>
                  <a:lnTo>
                    <a:pt x="2406" y="652"/>
                  </a:lnTo>
                  <a:lnTo>
                    <a:pt x="2405" y="651"/>
                  </a:lnTo>
                  <a:lnTo>
                    <a:pt x="2403" y="648"/>
                  </a:lnTo>
                  <a:lnTo>
                    <a:pt x="2402" y="645"/>
                  </a:lnTo>
                  <a:lnTo>
                    <a:pt x="2399" y="645"/>
                  </a:lnTo>
                  <a:lnTo>
                    <a:pt x="2398" y="644"/>
                  </a:lnTo>
                  <a:lnTo>
                    <a:pt x="2397" y="644"/>
                  </a:lnTo>
                  <a:lnTo>
                    <a:pt x="2394" y="643"/>
                  </a:lnTo>
                  <a:lnTo>
                    <a:pt x="2393" y="643"/>
                  </a:lnTo>
                  <a:lnTo>
                    <a:pt x="2390" y="643"/>
                  </a:lnTo>
                  <a:lnTo>
                    <a:pt x="2385" y="644"/>
                  </a:lnTo>
                  <a:lnTo>
                    <a:pt x="2380" y="644"/>
                  </a:lnTo>
                  <a:lnTo>
                    <a:pt x="2376" y="645"/>
                  </a:lnTo>
                  <a:lnTo>
                    <a:pt x="2370" y="645"/>
                  </a:lnTo>
                  <a:lnTo>
                    <a:pt x="2367" y="645"/>
                  </a:lnTo>
                  <a:lnTo>
                    <a:pt x="2364" y="645"/>
                  </a:lnTo>
                  <a:lnTo>
                    <a:pt x="2359" y="645"/>
                  </a:lnTo>
                  <a:lnTo>
                    <a:pt x="2354" y="645"/>
                  </a:lnTo>
                  <a:lnTo>
                    <a:pt x="2350" y="645"/>
                  </a:lnTo>
                  <a:lnTo>
                    <a:pt x="2346" y="645"/>
                  </a:lnTo>
                  <a:lnTo>
                    <a:pt x="2342" y="644"/>
                  </a:lnTo>
                  <a:lnTo>
                    <a:pt x="2338" y="644"/>
                  </a:lnTo>
                  <a:lnTo>
                    <a:pt x="2335" y="643"/>
                  </a:lnTo>
                  <a:lnTo>
                    <a:pt x="2332" y="641"/>
                  </a:lnTo>
                  <a:lnTo>
                    <a:pt x="2326" y="639"/>
                  </a:lnTo>
                  <a:lnTo>
                    <a:pt x="2319" y="636"/>
                  </a:lnTo>
                  <a:lnTo>
                    <a:pt x="2316" y="635"/>
                  </a:lnTo>
                  <a:lnTo>
                    <a:pt x="2313" y="634"/>
                  </a:lnTo>
                  <a:lnTo>
                    <a:pt x="2309" y="632"/>
                  </a:lnTo>
                  <a:lnTo>
                    <a:pt x="2305" y="631"/>
                  </a:lnTo>
                  <a:lnTo>
                    <a:pt x="2302" y="631"/>
                  </a:lnTo>
                  <a:lnTo>
                    <a:pt x="2301" y="630"/>
                  </a:lnTo>
                  <a:lnTo>
                    <a:pt x="2300" y="630"/>
                  </a:lnTo>
                  <a:lnTo>
                    <a:pt x="2298" y="631"/>
                  </a:lnTo>
                  <a:lnTo>
                    <a:pt x="2297" y="631"/>
                  </a:lnTo>
                  <a:lnTo>
                    <a:pt x="2296" y="632"/>
                  </a:lnTo>
                  <a:lnTo>
                    <a:pt x="2296" y="632"/>
                  </a:lnTo>
                  <a:lnTo>
                    <a:pt x="2294" y="634"/>
                  </a:lnTo>
                  <a:lnTo>
                    <a:pt x="2293" y="635"/>
                  </a:lnTo>
                  <a:lnTo>
                    <a:pt x="2293" y="638"/>
                  </a:lnTo>
                  <a:lnTo>
                    <a:pt x="2292" y="640"/>
                  </a:lnTo>
                  <a:lnTo>
                    <a:pt x="2292" y="645"/>
                  </a:lnTo>
                  <a:lnTo>
                    <a:pt x="2292" y="649"/>
                  </a:lnTo>
                  <a:lnTo>
                    <a:pt x="2292" y="653"/>
                  </a:lnTo>
                  <a:lnTo>
                    <a:pt x="2292" y="658"/>
                  </a:lnTo>
                  <a:lnTo>
                    <a:pt x="2292" y="664"/>
                  </a:lnTo>
                  <a:lnTo>
                    <a:pt x="2292" y="667"/>
                  </a:lnTo>
                  <a:lnTo>
                    <a:pt x="2292" y="673"/>
                  </a:lnTo>
                  <a:lnTo>
                    <a:pt x="2292" y="677"/>
                  </a:lnTo>
                  <a:lnTo>
                    <a:pt x="2292" y="680"/>
                  </a:lnTo>
                  <a:lnTo>
                    <a:pt x="2290" y="682"/>
                  </a:lnTo>
                  <a:lnTo>
                    <a:pt x="2290" y="683"/>
                  </a:lnTo>
                  <a:lnTo>
                    <a:pt x="2290" y="686"/>
                  </a:lnTo>
                  <a:lnTo>
                    <a:pt x="2290" y="690"/>
                  </a:lnTo>
                  <a:lnTo>
                    <a:pt x="2290" y="692"/>
                  </a:lnTo>
                  <a:lnTo>
                    <a:pt x="2290" y="696"/>
                  </a:lnTo>
                  <a:lnTo>
                    <a:pt x="2292" y="700"/>
                  </a:lnTo>
                  <a:lnTo>
                    <a:pt x="2292" y="704"/>
                  </a:lnTo>
                  <a:lnTo>
                    <a:pt x="2293" y="708"/>
                  </a:lnTo>
                  <a:lnTo>
                    <a:pt x="2293" y="710"/>
                  </a:lnTo>
                  <a:lnTo>
                    <a:pt x="2293" y="715"/>
                  </a:lnTo>
                  <a:lnTo>
                    <a:pt x="2293" y="719"/>
                  </a:lnTo>
                  <a:lnTo>
                    <a:pt x="2293" y="725"/>
                  </a:lnTo>
                  <a:lnTo>
                    <a:pt x="2293" y="730"/>
                  </a:lnTo>
                  <a:lnTo>
                    <a:pt x="2293" y="734"/>
                  </a:lnTo>
                  <a:lnTo>
                    <a:pt x="2292" y="739"/>
                  </a:lnTo>
                  <a:lnTo>
                    <a:pt x="2292" y="744"/>
                  </a:lnTo>
                  <a:lnTo>
                    <a:pt x="2290" y="751"/>
                  </a:lnTo>
                  <a:lnTo>
                    <a:pt x="2289" y="752"/>
                  </a:lnTo>
                  <a:lnTo>
                    <a:pt x="2289" y="754"/>
                  </a:lnTo>
                  <a:lnTo>
                    <a:pt x="2289" y="754"/>
                  </a:lnTo>
                  <a:lnTo>
                    <a:pt x="2289" y="756"/>
                  </a:lnTo>
                  <a:lnTo>
                    <a:pt x="2289" y="757"/>
                  </a:lnTo>
                  <a:lnTo>
                    <a:pt x="2290" y="758"/>
                  </a:lnTo>
                  <a:lnTo>
                    <a:pt x="2290" y="760"/>
                  </a:lnTo>
                  <a:lnTo>
                    <a:pt x="2292" y="760"/>
                  </a:lnTo>
                  <a:lnTo>
                    <a:pt x="2293" y="761"/>
                  </a:lnTo>
                  <a:lnTo>
                    <a:pt x="2297" y="762"/>
                  </a:lnTo>
                  <a:lnTo>
                    <a:pt x="2300" y="762"/>
                  </a:lnTo>
                  <a:lnTo>
                    <a:pt x="2302" y="764"/>
                  </a:lnTo>
                  <a:lnTo>
                    <a:pt x="2305" y="764"/>
                  </a:lnTo>
                  <a:lnTo>
                    <a:pt x="2309" y="765"/>
                  </a:lnTo>
                  <a:lnTo>
                    <a:pt x="2310" y="766"/>
                  </a:lnTo>
                  <a:lnTo>
                    <a:pt x="2311" y="767"/>
                  </a:lnTo>
                  <a:lnTo>
                    <a:pt x="2313" y="767"/>
                  </a:lnTo>
                  <a:lnTo>
                    <a:pt x="2314" y="769"/>
                  </a:lnTo>
                  <a:lnTo>
                    <a:pt x="2315" y="770"/>
                  </a:lnTo>
                  <a:lnTo>
                    <a:pt x="2316" y="771"/>
                  </a:lnTo>
                  <a:lnTo>
                    <a:pt x="2318" y="774"/>
                  </a:lnTo>
                  <a:lnTo>
                    <a:pt x="2318" y="775"/>
                  </a:lnTo>
                  <a:lnTo>
                    <a:pt x="2319" y="778"/>
                  </a:lnTo>
                  <a:lnTo>
                    <a:pt x="2319" y="782"/>
                  </a:lnTo>
                  <a:lnTo>
                    <a:pt x="2319" y="784"/>
                  </a:lnTo>
                  <a:lnTo>
                    <a:pt x="2319" y="787"/>
                  </a:lnTo>
                  <a:lnTo>
                    <a:pt x="2319" y="788"/>
                  </a:lnTo>
                  <a:lnTo>
                    <a:pt x="2319" y="790"/>
                  </a:lnTo>
                  <a:lnTo>
                    <a:pt x="2319" y="790"/>
                  </a:lnTo>
                  <a:lnTo>
                    <a:pt x="2318" y="791"/>
                  </a:lnTo>
                  <a:lnTo>
                    <a:pt x="2318" y="791"/>
                  </a:lnTo>
                  <a:lnTo>
                    <a:pt x="2316" y="791"/>
                  </a:lnTo>
                  <a:lnTo>
                    <a:pt x="2315" y="790"/>
                  </a:lnTo>
                  <a:lnTo>
                    <a:pt x="2313" y="790"/>
                  </a:lnTo>
                  <a:lnTo>
                    <a:pt x="2310" y="788"/>
                  </a:lnTo>
                  <a:lnTo>
                    <a:pt x="2307" y="787"/>
                  </a:lnTo>
                  <a:lnTo>
                    <a:pt x="2306" y="787"/>
                  </a:lnTo>
                  <a:lnTo>
                    <a:pt x="2305" y="787"/>
                  </a:lnTo>
                  <a:lnTo>
                    <a:pt x="2303" y="786"/>
                  </a:lnTo>
                  <a:lnTo>
                    <a:pt x="2302" y="786"/>
                  </a:lnTo>
                  <a:lnTo>
                    <a:pt x="2301" y="784"/>
                  </a:lnTo>
                  <a:lnTo>
                    <a:pt x="2300" y="784"/>
                  </a:lnTo>
                  <a:lnTo>
                    <a:pt x="2298" y="784"/>
                  </a:lnTo>
                  <a:lnTo>
                    <a:pt x="2297" y="784"/>
                  </a:lnTo>
                  <a:lnTo>
                    <a:pt x="2293" y="784"/>
                  </a:lnTo>
                  <a:lnTo>
                    <a:pt x="2289" y="786"/>
                  </a:lnTo>
                  <a:lnTo>
                    <a:pt x="2285" y="786"/>
                  </a:lnTo>
                  <a:lnTo>
                    <a:pt x="2280" y="787"/>
                  </a:lnTo>
                  <a:lnTo>
                    <a:pt x="2278" y="787"/>
                  </a:lnTo>
                  <a:lnTo>
                    <a:pt x="2275" y="787"/>
                  </a:lnTo>
                  <a:lnTo>
                    <a:pt x="2274" y="787"/>
                  </a:lnTo>
                  <a:lnTo>
                    <a:pt x="2272" y="787"/>
                  </a:lnTo>
                  <a:lnTo>
                    <a:pt x="2270" y="786"/>
                  </a:lnTo>
                  <a:lnTo>
                    <a:pt x="2268" y="786"/>
                  </a:lnTo>
                  <a:lnTo>
                    <a:pt x="2265" y="783"/>
                  </a:lnTo>
                  <a:lnTo>
                    <a:pt x="2261" y="780"/>
                  </a:lnTo>
                  <a:lnTo>
                    <a:pt x="2258" y="780"/>
                  </a:lnTo>
                  <a:lnTo>
                    <a:pt x="2255" y="779"/>
                  </a:lnTo>
                  <a:lnTo>
                    <a:pt x="2254" y="778"/>
                  </a:lnTo>
                  <a:lnTo>
                    <a:pt x="2253" y="778"/>
                  </a:lnTo>
                  <a:lnTo>
                    <a:pt x="2250" y="778"/>
                  </a:lnTo>
                  <a:lnTo>
                    <a:pt x="2249" y="778"/>
                  </a:lnTo>
                  <a:lnTo>
                    <a:pt x="2248" y="779"/>
                  </a:lnTo>
                  <a:lnTo>
                    <a:pt x="2245" y="780"/>
                  </a:lnTo>
                  <a:lnTo>
                    <a:pt x="2244" y="780"/>
                  </a:lnTo>
                  <a:lnTo>
                    <a:pt x="2242" y="780"/>
                  </a:lnTo>
                  <a:lnTo>
                    <a:pt x="2239" y="780"/>
                  </a:lnTo>
                  <a:lnTo>
                    <a:pt x="2235" y="780"/>
                  </a:lnTo>
                  <a:lnTo>
                    <a:pt x="2231" y="780"/>
                  </a:lnTo>
                  <a:lnTo>
                    <a:pt x="2227" y="782"/>
                  </a:lnTo>
                  <a:lnTo>
                    <a:pt x="2222" y="783"/>
                  </a:lnTo>
                  <a:lnTo>
                    <a:pt x="2219" y="786"/>
                  </a:lnTo>
                  <a:lnTo>
                    <a:pt x="2218" y="786"/>
                  </a:lnTo>
                  <a:lnTo>
                    <a:pt x="2217" y="787"/>
                  </a:lnTo>
                  <a:lnTo>
                    <a:pt x="2213" y="787"/>
                  </a:lnTo>
                  <a:lnTo>
                    <a:pt x="2209" y="787"/>
                  </a:lnTo>
                  <a:lnTo>
                    <a:pt x="2206" y="788"/>
                  </a:lnTo>
                  <a:lnTo>
                    <a:pt x="2201" y="788"/>
                  </a:lnTo>
                  <a:lnTo>
                    <a:pt x="2197" y="790"/>
                  </a:lnTo>
                  <a:lnTo>
                    <a:pt x="2192" y="791"/>
                  </a:lnTo>
                  <a:lnTo>
                    <a:pt x="2188" y="791"/>
                  </a:lnTo>
                  <a:lnTo>
                    <a:pt x="2183" y="793"/>
                  </a:lnTo>
                  <a:lnTo>
                    <a:pt x="2179" y="795"/>
                  </a:lnTo>
                  <a:lnTo>
                    <a:pt x="2175" y="796"/>
                  </a:lnTo>
                  <a:lnTo>
                    <a:pt x="2171" y="799"/>
                  </a:lnTo>
                  <a:lnTo>
                    <a:pt x="2167" y="800"/>
                  </a:lnTo>
                  <a:lnTo>
                    <a:pt x="2163" y="801"/>
                  </a:lnTo>
                  <a:lnTo>
                    <a:pt x="2161" y="804"/>
                  </a:lnTo>
                  <a:lnTo>
                    <a:pt x="2158" y="806"/>
                  </a:lnTo>
                  <a:lnTo>
                    <a:pt x="2157" y="808"/>
                  </a:lnTo>
                  <a:lnTo>
                    <a:pt x="2157" y="809"/>
                  </a:lnTo>
                  <a:lnTo>
                    <a:pt x="2157" y="810"/>
                  </a:lnTo>
                  <a:lnTo>
                    <a:pt x="2157" y="812"/>
                  </a:lnTo>
                  <a:lnTo>
                    <a:pt x="2158" y="813"/>
                  </a:lnTo>
                  <a:lnTo>
                    <a:pt x="2158" y="814"/>
                  </a:lnTo>
                  <a:lnTo>
                    <a:pt x="2159" y="814"/>
                  </a:lnTo>
                  <a:lnTo>
                    <a:pt x="2161" y="815"/>
                  </a:lnTo>
                  <a:lnTo>
                    <a:pt x="2162" y="815"/>
                  </a:lnTo>
                  <a:lnTo>
                    <a:pt x="2163" y="817"/>
                  </a:lnTo>
                  <a:lnTo>
                    <a:pt x="2167" y="817"/>
                  </a:lnTo>
                  <a:lnTo>
                    <a:pt x="2171" y="817"/>
                  </a:lnTo>
                  <a:lnTo>
                    <a:pt x="2175" y="817"/>
                  </a:lnTo>
                  <a:lnTo>
                    <a:pt x="2179" y="817"/>
                  </a:lnTo>
                  <a:lnTo>
                    <a:pt x="2183" y="817"/>
                  </a:lnTo>
                  <a:lnTo>
                    <a:pt x="2187" y="817"/>
                  </a:lnTo>
                  <a:lnTo>
                    <a:pt x="2191" y="817"/>
                  </a:lnTo>
                  <a:lnTo>
                    <a:pt x="2193" y="818"/>
                  </a:lnTo>
                  <a:lnTo>
                    <a:pt x="2196" y="818"/>
                  </a:lnTo>
                  <a:lnTo>
                    <a:pt x="2197" y="818"/>
                  </a:lnTo>
                  <a:lnTo>
                    <a:pt x="2198" y="819"/>
                  </a:lnTo>
                  <a:lnTo>
                    <a:pt x="2200" y="819"/>
                  </a:lnTo>
                  <a:lnTo>
                    <a:pt x="2200" y="821"/>
                  </a:lnTo>
                  <a:lnTo>
                    <a:pt x="2201" y="822"/>
                  </a:lnTo>
                  <a:lnTo>
                    <a:pt x="2201" y="823"/>
                  </a:lnTo>
                  <a:lnTo>
                    <a:pt x="2201" y="825"/>
                  </a:lnTo>
                  <a:lnTo>
                    <a:pt x="2201" y="827"/>
                  </a:lnTo>
                  <a:lnTo>
                    <a:pt x="2200" y="830"/>
                  </a:lnTo>
                  <a:lnTo>
                    <a:pt x="2200" y="832"/>
                  </a:lnTo>
                  <a:lnTo>
                    <a:pt x="2200" y="835"/>
                  </a:lnTo>
                  <a:lnTo>
                    <a:pt x="2200" y="841"/>
                  </a:lnTo>
                  <a:lnTo>
                    <a:pt x="2201" y="847"/>
                  </a:lnTo>
                  <a:lnTo>
                    <a:pt x="2202" y="852"/>
                  </a:lnTo>
                  <a:lnTo>
                    <a:pt x="2204" y="857"/>
                  </a:lnTo>
                  <a:lnTo>
                    <a:pt x="2205" y="862"/>
                  </a:lnTo>
                  <a:lnTo>
                    <a:pt x="2207" y="866"/>
                  </a:lnTo>
                  <a:lnTo>
                    <a:pt x="2210" y="870"/>
                  </a:lnTo>
                  <a:lnTo>
                    <a:pt x="2213" y="875"/>
                  </a:lnTo>
                  <a:lnTo>
                    <a:pt x="2215" y="879"/>
                  </a:lnTo>
                  <a:lnTo>
                    <a:pt x="2219" y="882"/>
                  </a:lnTo>
                  <a:lnTo>
                    <a:pt x="2222" y="884"/>
                  </a:lnTo>
                  <a:lnTo>
                    <a:pt x="2224" y="887"/>
                  </a:lnTo>
                  <a:lnTo>
                    <a:pt x="2228" y="889"/>
                  </a:lnTo>
                  <a:lnTo>
                    <a:pt x="2231" y="891"/>
                  </a:lnTo>
                  <a:lnTo>
                    <a:pt x="2232" y="895"/>
                  </a:lnTo>
                  <a:lnTo>
                    <a:pt x="2233" y="896"/>
                  </a:lnTo>
                  <a:lnTo>
                    <a:pt x="2236" y="901"/>
                  </a:lnTo>
                  <a:lnTo>
                    <a:pt x="2239" y="905"/>
                  </a:lnTo>
                  <a:lnTo>
                    <a:pt x="2241" y="909"/>
                  </a:lnTo>
                  <a:lnTo>
                    <a:pt x="2242" y="914"/>
                  </a:lnTo>
                  <a:lnTo>
                    <a:pt x="2244" y="918"/>
                  </a:lnTo>
                  <a:lnTo>
                    <a:pt x="2245" y="923"/>
                  </a:lnTo>
                  <a:lnTo>
                    <a:pt x="2245" y="926"/>
                  </a:lnTo>
                  <a:lnTo>
                    <a:pt x="2245" y="928"/>
                  </a:lnTo>
                  <a:lnTo>
                    <a:pt x="2248" y="930"/>
                  </a:lnTo>
                  <a:lnTo>
                    <a:pt x="2249" y="931"/>
                  </a:lnTo>
                  <a:lnTo>
                    <a:pt x="2253" y="934"/>
                  </a:lnTo>
                  <a:lnTo>
                    <a:pt x="2255" y="936"/>
                  </a:lnTo>
                  <a:lnTo>
                    <a:pt x="2257" y="939"/>
                  </a:lnTo>
                  <a:lnTo>
                    <a:pt x="2258" y="940"/>
                  </a:lnTo>
                  <a:lnTo>
                    <a:pt x="2259" y="940"/>
                  </a:lnTo>
                  <a:lnTo>
                    <a:pt x="2261" y="941"/>
                  </a:lnTo>
                  <a:lnTo>
                    <a:pt x="2262" y="944"/>
                  </a:lnTo>
                  <a:lnTo>
                    <a:pt x="2262" y="945"/>
                  </a:lnTo>
                  <a:lnTo>
                    <a:pt x="2262" y="947"/>
                  </a:lnTo>
                  <a:lnTo>
                    <a:pt x="2262" y="948"/>
                  </a:lnTo>
                  <a:lnTo>
                    <a:pt x="2262" y="949"/>
                  </a:lnTo>
                  <a:lnTo>
                    <a:pt x="2261" y="951"/>
                  </a:lnTo>
                  <a:lnTo>
                    <a:pt x="2258" y="949"/>
                  </a:lnTo>
                  <a:lnTo>
                    <a:pt x="2255" y="948"/>
                  </a:lnTo>
                  <a:lnTo>
                    <a:pt x="2253" y="948"/>
                  </a:lnTo>
                  <a:lnTo>
                    <a:pt x="2250" y="948"/>
                  </a:lnTo>
                  <a:lnTo>
                    <a:pt x="2249" y="948"/>
                  </a:lnTo>
                  <a:lnTo>
                    <a:pt x="2246" y="948"/>
                  </a:lnTo>
                  <a:lnTo>
                    <a:pt x="2245" y="948"/>
                  </a:lnTo>
                  <a:lnTo>
                    <a:pt x="2244" y="949"/>
                  </a:lnTo>
                  <a:lnTo>
                    <a:pt x="2242" y="949"/>
                  </a:lnTo>
                  <a:lnTo>
                    <a:pt x="2241" y="951"/>
                  </a:lnTo>
                  <a:lnTo>
                    <a:pt x="2240" y="952"/>
                  </a:lnTo>
                  <a:lnTo>
                    <a:pt x="2239" y="953"/>
                  </a:lnTo>
                  <a:lnTo>
                    <a:pt x="2239" y="954"/>
                  </a:lnTo>
                  <a:lnTo>
                    <a:pt x="2239" y="956"/>
                  </a:lnTo>
                  <a:lnTo>
                    <a:pt x="2237" y="956"/>
                  </a:lnTo>
                  <a:lnTo>
                    <a:pt x="2237" y="958"/>
                  </a:lnTo>
                  <a:lnTo>
                    <a:pt x="2239" y="960"/>
                  </a:lnTo>
                  <a:lnTo>
                    <a:pt x="2240" y="961"/>
                  </a:lnTo>
                  <a:lnTo>
                    <a:pt x="2242" y="962"/>
                  </a:lnTo>
                  <a:lnTo>
                    <a:pt x="2244" y="964"/>
                  </a:lnTo>
                  <a:lnTo>
                    <a:pt x="2245" y="965"/>
                  </a:lnTo>
                  <a:lnTo>
                    <a:pt x="2246" y="965"/>
                  </a:lnTo>
                  <a:lnTo>
                    <a:pt x="2249" y="965"/>
                  </a:lnTo>
                  <a:lnTo>
                    <a:pt x="2250" y="966"/>
                  </a:lnTo>
                  <a:lnTo>
                    <a:pt x="2252" y="966"/>
                  </a:lnTo>
                  <a:lnTo>
                    <a:pt x="2253" y="966"/>
                  </a:lnTo>
                  <a:lnTo>
                    <a:pt x="2250" y="966"/>
                  </a:lnTo>
                  <a:lnTo>
                    <a:pt x="2248" y="967"/>
                  </a:lnTo>
                  <a:lnTo>
                    <a:pt x="2246" y="967"/>
                  </a:lnTo>
                  <a:lnTo>
                    <a:pt x="2244" y="969"/>
                  </a:lnTo>
                  <a:lnTo>
                    <a:pt x="2242" y="970"/>
                  </a:lnTo>
                  <a:lnTo>
                    <a:pt x="2240" y="970"/>
                  </a:lnTo>
                  <a:lnTo>
                    <a:pt x="2239" y="971"/>
                  </a:lnTo>
                  <a:lnTo>
                    <a:pt x="2237" y="971"/>
                  </a:lnTo>
                  <a:lnTo>
                    <a:pt x="2237" y="973"/>
                  </a:lnTo>
                  <a:lnTo>
                    <a:pt x="2236" y="974"/>
                  </a:lnTo>
                  <a:lnTo>
                    <a:pt x="2236" y="976"/>
                  </a:lnTo>
                  <a:lnTo>
                    <a:pt x="2235" y="978"/>
                  </a:lnTo>
                  <a:lnTo>
                    <a:pt x="2235" y="980"/>
                  </a:lnTo>
                  <a:lnTo>
                    <a:pt x="2235" y="983"/>
                  </a:lnTo>
                  <a:lnTo>
                    <a:pt x="2235" y="984"/>
                  </a:lnTo>
                  <a:lnTo>
                    <a:pt x="2236" y="987"/>
                  </a:lnTo>
                  <a:lnTo>
                    <a:pt x="2236" y="988"/>
                  </a:lnTo>
                  <a:lnTo>
                    <a:pt x="2237" y="989"/>
                  </a:lnTo>
                  <a:lnTo>
                    <a:pt x="2237" y="992"/>
                  </a:lnTo>
                  <a:lnTo>
                    <a:pt x="2237" y="993"/>
                  </a:lnTo>
                  <a:lnTo>
                    <a:pt x="2237" y="995"/>
                  </a:lnTo>
                  <a:lnTo>
                    <a:pt x="2239" y="997"/>
                  </a:lnTo>
                  <a:lnTo>
                    <a:pt x="2239" y="999"/>
                  </a:lnTo>
                  <a:lnTo>
                    <a:pt x="2239" y="1000"/>
                  </a:lnTo>
                  <a:lnTo>
                    <a:pt x="2240" y="1002"/>
                  </a:lnTo>
                  <a:lnTo>
                    <a:pt x="2241" y="1004"/>
                  </a:lnTo>
                  <a:lnTo>
                    <a:pt x="2242" y="1006"/>
                  </a:lnTo>
                  <a:lnTo>
                    <a:pt x="2245" y="1012"/>
                  </a:lnTo>
                  <a:lnTo>
                    <a:pt x="2249" y="1017"/>
                  </a:lnTo>
                  <a:lnTo>
                    <a:pt x="2250" y="1018"/>
                  </a:lnTo>
                  <a:lnTo>
                    <a:pt x="2250" y="1021"/>
                  </a:lnTo>
                  <a:lnTo>
                    <a:pt x="2252" y="1025"/>
                  </a:lnTo>
                  <a:lnTo>
                    <a:pt x="2253" y="1027"/>
                  </a:lnTo>
                  <a:lnTo>
                    <a:pt x="2253" y="1030"/>
                  </a:lnTo>
                  <a:lnTo>
                    <a:pt x="2253" y="1032"/>
                  </a:lnTo>
                  <a:lnTo>
                    <a:pt x="2250" y="1030"/>
                  </a:lnTo>
                  <a:lnTo>
                    <a:pt x="2248" y="1027"/>
                  </a:lnTo>
                  <a:lnTo>
                    <a:pt x="2241" y="1021"/>
                  </a:lnTo>
                  <a:lnTo>
                    <a:pt x="2235" y="1017"/>
                  </a:lnTo>
                  <a:lnTo>
                    <a:pt x="2231" y="1014"/>
                  </a:lnTo>
                  <a:lnTo>
                    <a:pt x="2228" y="1012"/>
                  </a:lnTo>
                  <a:lnTo>
                    <a:pt x="2224" y="1010"/>
                  </a:lnTo>
                  <a:lnTo>
                    <a:pt x="2222" y="1008"/>
                  </a:lnTo>
                  <a:lnTo>
                    <a:pt x="2219" y="1006"/>
                  </a:lnTo>
                  <a:lnTo>
                    <a:pt x="2217" y="1005"/>
                  </a:lnTo>
                  <a:lnTo>
                    <a:pt x="2214" y="1004"/>
                  </a:lnTo>
                  <a:lnTo>
                    <a:pt x="2211" y="1002"/>
                  </a:lnTo>
                  <a:lnTo>
                    <a:pt x="2210" y="1002"/>
                  </a:lnTo>
                  <a:lnTo>
                    <a:pt x="2209" y="1002"/>
                  </a:lnTo>
                  <a:lnTo>
                    <a:pt x="2205" y="1002"/>
                  </a:lnTo>
                  <a:lnTo>
                    <a:pt x="2201" y="1002"/>
                  </a:lnTo>
                  <a:lnTo>
                    <a:pt x="2198" y="1001"/>
                  </a:lnTo>
                  <a:lnTo>
                    <a:pt x="2196" y="1000"/>
                  </a:lnTo>
                  <a:lnTo>
                    <a:pt x="2193" y="999"/>
                  </a:lnTo>
                  <a:lnTo>
                    <a:pt x="2191" y="997"/>
                  </a:lnTo>
                  <a:lnTo>
                    <a:pt x="2189" y="996"/>
                  </a:lnTo>
                  <a:lnTo>
                    <a:pt x="2187" y="995"/>
                  </a:lnTo>
                  <a:lnTo>
                    <a:pt x="2184" y="991"/>
                  </a:lnTo>
                  <a:lnTo>
                    <a:pt x="2180" y="987"/>
                  </a:lnTo>
                  <a:lnTo>
                    <a:pt x="2178" y="986"/>
                  </a:lnTo>
                  <a:lnTo>
                    <a:pt x="2176" y="983"/>
                  </a:lnTo>
                  <a:lnTo>
                    <a:pt x="2174" y="982"/>
                  </a:lnTo>
                  <a:lnTo>
                    <a:pt x="2171" y="980"/>
                  </a:lnTo>
                  <a:lnTo>
                    <a:pt x="2169" y="979"/>
                  </a:lnTo>
                  <a:lnTo>
                    <a:pt x="2165" y="978"/>
                  </a:lnTo>
                  <a:lnTo>
                    <a:pt x="2161" y="976"/>
                  </a:lnTo>
                  <a:lnTo>
                    <a:pt x="2158" y="975"/>
                  </a:lnTo>
                  <a:lnTo>
                    <a:pt x="2154" y="974"/>
                  </a:lnTo>
                  <a:lnTo>
                    <a:pt x="2150" y="973"/>
                  </a:lnTo>
                  <a:lnTo>
                    <a:pt x="2141" y="970"/>
                  </a:lnTo>
                  <a:lnTo>
                    <a:pt x="2134" y="969"/>
                  </a:lnTo>
                  <a:lnTo>
                    <a:pt x="2128" y="967"/>
                  </a:lnTo>
                  <a:lnTo>
                    <a:pt x="2126" y="967"/>
                  </a:lnTo>
                  <a:lnTo>
                    <a:pt x="2122" y="966"/>
                  </a:lnTo>
                  <a:lnTo>
                    <a:pt x="2118" y="966"/>
                  </a:lnTo>
                  <a:lnTo>
                    <a:pt x="2114" y="966"/>
                  </a:lnTo>
                  <a:lnTo>
                    <a:pt x="2113" y="966"/>
                  </a:lnTo>
                  <a:lnTo>
                    <a:pt x="2106" y="967"/>
                  </a:lnTo>
                  <a:lnTo>
                    <a:pt x="2101" y="967"/>
                  </a:lnTo>
                  <a:lnTo>
                    <a:pt x="2096" y="969"/>
                  </a:lnTo>
                  <a:lnTo>
                    <a:pt x="2089" y="969"/>
                  </a:lnTo>
                  <a:lnTo>
                    <a:pt x="2084" y="969"/>
                  </a:lnTo>
                  <a:lnTo>
                    <a:pt x="2080" y="969"/>
                  </a:lnTo>
                  <a:lnTo>
                    <a:pt x="2075" y="969"/>
                  </a:lnTo>
                  <a:lnTo>
                    <a:pt x="2070" y="969"/>
                  </a:lnTo>
                  <a:lnTo>
                    <a:pt x="2066" y="967"/>
                  </a:lnTo>
                  <a:lnTo>
                    <a:pt x="2062" y="967"/>
                  </a:lnTo>
                  <a:lnTo>
                    <a:pt x="2058" y="967"/>
                  </a:lnTo>
                  <a:lnTo>
                    <a:pt x="2054" y="966"/>
                  </a:lnTo>
                  <a:lnTo>
                    <a:pt x="2052" y="966"/>
                  </a:lnTo>
                  <a:lnTo>
                    <a:pt x="2049" y="966"/>
                  </a:lnTo>
                  <a:lnTo>
                    <a:pt x="2047" y="966"/>
                  </a:lnTo>
                  <a:lnTo>
                    <a:pt x="2045" y="966"/>
                  </a:lnTo>
                  <a:lnTo>
                    <a:pt x="2044" y="966"/>
                  </a:lnTo>
                  <a:lnTo>
                    <a:pt x="2043" y="966"/>
                  </a:lnTo>
                  <a:lnTo>
                    <a:pt x="2040" y="965"/>
                  </a:lnTo>
                  <a:lnTo>
                    <a:pt x="2039" y="965"/>
                  </a:lnTo>
                  <a:lnTo>
                    <a:pt x="2038" y="965"/>
                  </a:lnTo>
                  <a:lnTo>
                    <a:pt x="2036" y="964"/>
                  </a:lnTo>
                  <a:lnTo>
                    <a:pt x="2035" y="962"/>
                  </a:lnTo>
                  <a:lnTo>
                    <a:pt x="2032" y="961"/>
                  </a:lnTo>
                  <a:lnTo>
                    <a:pt x="2032" y="960"/>
                  </a:lnTo>
                  <a:lnTo>
                    <a:pt x="2030" y="958"/>
                  </a:lnTo>
                  <a:lnTo>
                    <a:pt x="2027" y="958"/>
                  </a:lnTo>
                  <a:lnTo>
                    <a:pt x="2025" y="958"/>
                  </a:lnTo>
                  <a:lnTo>
                    <a:pt x="2021" y="958"/>
                  </a:lnTo>
                  <a:lnTo>
                    <a:pt x="2017" y="958"/>
                  </a:lnTo>
                  <a:lnTo>
                    <a:pt x="2013" y="958"/>
                  </a:lnTo>
                  <a:lnTo>
                    <a:pt x="2009" y="960"/>
                  </a:lnTo>
                  <a:lnTo>
                    <a:pt x="2006" y="961"/>
                  </a:lnTo>
                  <a:lnTo>
                    <a:pt x="2004" y="964"/>
                  </a:lnTo>
                  <a:lnTo>
                    <a:pt x="2003" y="965"/>
                  </a:lnTo>
                  <a:lnTo>
                    <a:pt x="2001" y="966"/>
                  </a:lnTo>
                  <a:lnTo>
                    <a:pt x="1999" y="966"/>
                  </a:lnTo>
                  <a:lnTo>
                    <a:pt x="1997" y="966"/>
                  </a:lnTo>
                  <a:lnTo>
                    <a:pt x="1993" y="967"/>
                  </a:lnTo>
                  <a:lnTo>
                    <a:pt x="1990" y="967"/>
                  </a:lnTo>
                  <a:lnTo>
                    <a:pt x="1986" y="967"/>
                  </a:lnTo>
                  <a:lnTo>
                    <a:pt x="1981" y="967"/>
                  </a:lnTo>
                  <a:lnTo>
                    <a:pt x="1975" y="967"/>
                  </a:lnTo>
                  <a:lnTo>
                    <a:pt x="1971" y="966"/>
                  </a:lnTo>
                  <a:lnTo>
                    <a:pt x="1966" y="966"/>
                  </a:lnTo>
                  <a:lnTo>
                    <a:pt x="1962" y="965"/>
                  </a:lnTo>
                  <a:lnTo>
                    <a:pt x="1957" y="965"/>
                  </a:lnTo>
                  <a:lnTo>
                    <a:pt x="1955" y="964"/>
                  </a:lnTo>
                  <a:lnTo>
                    <a:pt x="1953" y="964"/>
                  </a:lnTo>
                  <a:lnTo>
                    <a:pt x="1952" y="964"/>
                  </a:lnTo>
                  <a:lnTo>
                    <a:pt x="1951" y="964"/>
                  </a:lnTo>
                  <a:lnTo>
                    <a:pt x="1949" y="964"/>
                  </a:lnTo>
                  <a:lnTo>
                    <a:pt x="1948" y="964"/>
                  </a:lnTo>
                  <a:lnTo>
                    <a:pt x="1948" y="964"/>
                  </a:lnTo>
                  <a:lnTo>
                    <a:pt x="1948" y="965"/>
                  </a:lnTo>
                  <a:lnTo>
                    <a:pt x="1948" y="965"/>
                  </a:lnTo>
                  <a:lnTo>
                    <a:pt x="1948" y="966"/>
                  </a:lnTo>
                  <a:lnTo>
                    <a:pt x="1948" y="969"/>
                  </a:lnTo>
                  <a:lnTo>
                    <a:pt x="1948" y="970"/>
                  </a:lnTo>
                  <a:lnTo>
                    <a:pt x="1945" y="971"/>
                  </a:lnTo>
                  <a:lnTo>
                    <a:pt x="1944" y="973"/>
                  </a:lnTo>
                  <a:lnTo>
                    <a:pt x="1942" y="974"/>
                  </a:lnTo>
                  <a:lnTo>
                    <a:pt x="1940" y="974"/>
                  </a:lnTo>
                  <a:lnTo>
                    <a:pt x="1936" y="974"/>
                  </a:lnTo>
                  <a:lnTo>
                    <a:pt x="1934" y="974"/>
                  </a:lnTo>
                  <a:lnTo>
                    <a:pt x="1930" y="974"/>
                  </a:lnTo>
                  <a:lnTo>
                    <a:pt x="1926" y="973"/>
                  </a:lnTo>
                  <a:lnTo>
                    <a:pt x="1922" y="973"/>
                  </a:lnTo>
                  <a:lnTo>
                    <a:pt x="1917" y="971"/>
                  </a:lnTo>
                  <a:lnTo>
                    <a:pt x="1913" y="970"/>
                  </a:lnTo>
                  <a:lnTo>
                    <a:pt x="1908" y="969"/>
                  </a:lnTo>
                  <a:lnTo>
                    <a:pt x="1899" y="965"/>
                  </a:lnTo>
                  <a:lnTo>
                    <a:pt x="1888" y="961"/>
                  </a:lnTo>
                  <a:lnTo>
                    <a:pt x="1879" y="956"/>
                  </a:lnTo>
                  <a:lnTo>
                    <a:pt x="1869" y="952"/>
                  </a:lnTo>
                  <a:lnTo>
                    <a:pt x="1865" y="949"/>
                  </a:lnTo>
                  <a:lnTo>
                    <a:pt x="1861" y="948"/>
                  </a:lnTo>
                  <a:lnTo>
                    <a:pt x="1857" y="945"/>
                  </a:lnTo>
                  <a:lnTo>
                    <a:pt x="1853" y="944"/>
                  </a:lnTo>
                  <a:lnTo>
                    <a:pt x="1850" y="941"/>
                  </a:lnTo>
                  <a:lnTo>
                    <a:pt x="1847" y="940"/>
                  </a:lnTo>
                  <a:lnTo>
                    <a:pt x="1843" y="939"/>
                  </a:lnTo>
                  <a:lnTo>
                    <a:pt x="1840" y="938"/>
                  </a:lnTo>
                  <a:lnTo>
                    <a:pt x="1839" y="936"/>
                  </a:lnTo>
                  <a:lnTo>
                    <a:pt x="1837" y="936"/>
                  </a:lnTo>
                  <a:lnTo>
                    <a:pt x="1837" y="938"/>
                  </a:lnTo>
                  <a:lnTo>
                    <a:pt x="1837" y="939"/>
                  </a:lnTo>
                  <a:lnTo>
                    <a:pt x="1835" y="940"/>
                  </a:lnTo>
                  <a:lnTo>
                    <a:pt x="1834" y="941"/>
                  </a:lnTo>
                  <a:lnTo>
                    <a:pt x="1833" y="943"/>
                  </a:lnTo>
                  <a:lnTo>
                    <a:pt x="1830" y="944"/>
                  </a:lnTo>
                  <a:lnTo>
                    <a:pt x="1827" y="945"/>
                  </a:lnTo>
                  <a:lnTo>
                    <a:pt x="1825" y="945"/>
                  </a:lnTo>
                  <a:lnTo>
                    <a:pt x="1820" y="948"/>
                  </a:lnTo>
                  <a:lnTo>
                    <a:pt x="1816" y="949"/>
                  </a:lnTo>
                  <a:lnTo>
                    <a:pt x="1813" y="951"/>
                  </a:lnTo>
                  <a:lnTo>
                    <a:pt x="1811" y="951"/>
                  </a:lnTo>
                  <a:lnTo>
                    <a:pt x="1809" y="951"/>
                  </a:lnTo>
                  <a:lnTo>
                    <a:pt x="1808" y="951"/>
                  </a:lnTo>
                  <a:lnTo>
                    <a:pt x="1807" y="952"/>
                  </a:lnTo>
                  <a:lnTo>
                    <a:pt x="1805" y="953"/>
                  </a:lnTo>
                  <a:lnTo>
                    <a:pt x="1803" y="954"/>
                  </a:lnTo>
                  <a:lnTo>
                    <a:pt x="1802" y="957"/>
                  </a:lnTo>
                  <a:lnTo>
                    <a:pt x="1800" y="961"/>
                  </a:lnTo>
                  <a:lnTo>
                    <a:pt x="1800" y="965"/>
                  </a:lnTo>
                  <a:lnTo>
                    <a:pt x="1800" y="969"/>
                  </a:lnTo>
                  <a:lnTo>
                    <a:pt x="1800" y="973"/>
                  </a:lnTo>
                  <a:lnTo>
                    <a:pt x="1800" y="976"/>
                  </a:lnTo>
                  <a:lnTo>
                    <a:pt x="1802" y="980"/>
                  </a:lnTo>
                  <a:lnTo>
                    <a:pt x="1802" y="986"/>
                  </a:lnTo>
                  <a:lnTo>
                    <a:pt x="1804" y="988"/>
                  </a:lnTo>
                  <a:lnTo>
                    <a:pt x="1805" y="992"/>
                  </a:lnTo>
                  <a:lnTo>
                    <a:pt x="1808" y="996"/>
                  </a:lnTo>
                  <a:lnTo>
                    <a:pt x="1809" y="999"/>
                  </a:lnTo>
                  <a:lnTo>
                    <a:pt x="1812" y="1001"/>
                  </a:lnTo>
                  <a:lnTo>
                    <a:pt x="1813" y="1002"/>
                  </a:lnTo>
                  <a:lnTo>
                    <a:pt x="1816" y="1002"/>
                  </a:lnTo>
                  <a:lnTo>
                    <a:pt x="1813" y="1002"/>
                  </a:lnTo>
                  <a:lnTo>
                    <a:pt x="1812" y="1002"/>
                  </a:lnTo>
                  <a:lnTo>
                    <a:pt x="1808" y="1001"/>
                  </a:lnTo>
                  <a:lnTo>
                    <a:pt x="1804" y="1000"/>
                  </a:lnTo>
                  <a:lnTo>
                    <a:pt x="1800" y="999"/>
                  </a:lnTo>
                  <a:lnTo>
                    <a:pt x="1796" y="997"/>
                  </a:lnTo>
                  <a:lnTo>
                    <a:pt x="1792" y="996"/>
                  </a:lnTo>
                  <a:lnTo>
                    <a:pt x="1789" y="996"/>
                  </a:lnTo>
                  <a:lnTo>
                    <a:pt x="1786" y="995"/>
                  </a:lnTo>
                  <a:lnTo>
                    <a:pt x="1786" y="995"/>
                  </a:lnTo>
                  <a:lnTo>
                    <a:pt x="1783" y="995"/>
                  </a:lnTo>
                  <a:lnTo>
                    <a:pt x="1781" y="993"/>
                  </a:lnTo>
                  <a:lnTo>
                    <a:pt x="1778" y="993"/>
                  </a:lnTo>
                  <a:lnTo>
                    <a:pt x="1776" y="993"/>
                  </a:lnTo>
                  <a:lnTo>
                    <a:pt x="1774" y="992"/>
                  </a:lnTo>
                  <a:lnTo>
                    <a:pt x="1773" y="992"/>
                  </a:lnTo>
                  <a:lnTo>
                    <a:pt x="1772" y="992"/>
                  </a:lnTo>
                  <a:lnTo>
                    <a:pt x="1770" y="992"/>
                  </a:lnTo>
                  <a:lnTo>
                    <a:pt x="1769" y="992"/>
                  </a:lnTo>
                  <a:lnTo>
                    <a:pt x="1766" y="991"/>
                  </a:lnTo>
                  <a:lnTo>
                    <a:pt x="1765" y="991"/>
                  </a:lnTo>
                  <a:lnTo>
                    <a:pt x="1765" y="991"/>
                  </a:lnTo>
                  <a:lnTo>
                    <a:pt x="1764" y="991"/>
                  </a:lnTo>
                  <a:lnTo>
                    <a:pt x="1764" y="991"/>
                  </a:lnTo>
                  <a:lnTo>
                    <a:pt x="1763" y="991"/>
                  </a:lnTo>
                  <a:lnTo>
                    <a:pt x="1763" y="991"/>
                  </a:lnTo>
                  <a:lnTo>
                    <a:pt x="1761" y="991"/>
                  </a:lnTo>
                  <a:lnTo>
                    <a:pt x="1760" y="989"/>
                  </a:lnTo>
                  <a:lnTo>
                    <a:pt x="1757" y="988"/>
                  </a:lnTo>
                  <a:lnTo>
                    <a:pt x="1756" y="988"/>
                  </a:lnTo>
                  <a:lnTo>
                    <a:pt x="1755" y="987"/>
                  </a:lnTo>
                  <a:lnTo>
                    <a:pt x="1747" y="986"/>
                  </a:lnTo>
                  <a:lnTo>
                    <a:pt x="1739" y="983"/>
                  </a:lnTo>
                  <a:lnTo>
                    <a:pt x="1731" y="980"/>
                  </a:lnTo>
                  <a:lnTo>
                    <a:pt x="1724" y="978"/>
                  </a:lnTo>
                  <a:lnTo>
                    <a:pt x="1716" y="975"/>
                  </a:lnTo>
                  <a:lnTo>
                    <a:pt x="1708" y="974"/>
                  </a:lnTo>
                  <a:lnTo>
                    <a:pt x="1702" y="973"/>
                  </a:lnTo>
                  <a:lnTo>
                    <a:pt x="1699" y="973"/>
                  </a:lnTo>
                  <a:lnTo>
                    <a:pt x="1696" y="973"/>
                  </a:lnTo>
                  <a:lnTo>
                    <a:pt x="1693" y="974"/>
                  </a:lnTo>
                  <a:lnTo>
                    <a:pt x="1689" y="975"/>
                  </a:lnTo>
                  <a:lnTo>
                    <a:pt x="1686" y="975"/>
                  </a:lnTo>
                  <a:lnTo>
                    <a:pt x="1683" y="976"/>
                  </a:lnTo>
                  <a:lnTo>
                    <a:pt x="1681" y="976"/>
                  </a:lnTo>
                  <a:lnTo>
                    <a:pt x="1678" y="976"/>
                  </a:lnTo>
                  <a:lnTo>
                    <a:pt x="1677" y="976"/>
                  </a:lnTo>
                  <a:lnTo>
                    <a:pt x="1676" y="976"/>
                  </a:lnTo>
                  <a:lnTo>
                    <a:pt x="1672" y="976"/>
                  </a:lnTo>
                  <a:lnTo>
                    <a:pt x="1669" y="976"/>
                  </a:lnTo>
                  <a:lnTo>
                    <a:pt x="1668" y="976"/>
                  </a:lnTo>
                  <a:lnTo>
                    <a:pt x="1667" y="978"/>
                  </a:lnTo>
                  <a:lnTo>
                    <a:pt x="1664" y="978"/>
                  </a:lnTo>
                  <a:lnTo>
                    <a:pt x="1661" y="979"/>
                  </a:lnTo>
                  <a:lnTo>
                    <a:pt x="1659" y="980"/>
                  </a:lnTo>
                  <a:lnTo>
                    <a:pt x="1659" y="980"/>
                  </a:lnTo>
                  <a:lnTo>
                    <a:pt x="1658" y="982"/>
                  </a:lnTo>
                  <a:lnTo>
                    <a:pt x="1658" y="983"/>
                  </a:lnTo>
                  <a:lnTo>
                    <a:pt x="1655" y="986"/>
                  </a:lnTo>
                  <a:lnTo>
                    <a:pt x="1654" y="987"/>
                  </a:lnTo>
                  <a:lnTo>
                    <a:pt x="1652" y="989"/>
                  </a:lnTo>
                  <a:lnTo>
                    <a:pt x="1652" y="992"/>
                  </a:lnTo>
                  <a:lnTo>
                    <a:pt x="1652" y="993"/>
                  </a:lnTo>
                  <a:lnTo>
                    <a:pt x="1651" y="995"/>
                  </a:lnTo>
                  <a:lnTo>
                    <a:pt x="1651" y="997"/>
                  </a:lnTo>
                  <a:lnTo>
                    <a:pt x="1651" y="1000"/>
                  </a:lnTo>
                  <a:lnTo>
                    <a:pt x="1651" y="1002"/>
                  </a:lnTo>
                  <a:lnTo>
                    <a:pt x="1651" y="1004"/>
                  </a:lnTo>
                  <a:lnTo>
                    <a:pt x="1650" y="1005"/>
                  </a:lnTo>
                  <a:lnTo>
                    <a:pt x="1650" y="1006"/>
                  </a:lnTo>
                  <a:lnTo>
                    <a:pt x="1650" y="1008"/>
                  </a:lnTo>
                  <a:lnTo>
                    <a:pt x="1650" y="1009"/>
                  </a:lnTo>
                  <a:lnTo>
                    <a:pt x="1650" y="1010"/>
                  </a:lnTo>
                  <a:lnTo>
                    <a:pt x="1650" y="1012"/>
                  </a:lnTo>
                  <a:lnTo>
                    <a:pt x="1651" y="1012"/>
                  </a:lnTo>
                  <a:lnTo>
                    <a:pt x="1651" y="1013"/>
                  </a:lnTo>
                  <a:lnTo>
                    <a:pt x="1652" y="1014"/>
                  </a:lnTo>
                  <a:lnTo>
                    <a:pt x="1655" y="1015"/>
                  </a:lnTo>
                  <a:lnTo>
                    <a:pt x="1656" y="1017"/>
                  </a:lnTo>
                  <a:lnTo>
                    <a:pt x="1659" y="1018"/>
                  </a:lnTo>
                  <a:lnTo>
                    <a:pt x="1656" y="1018"/>
                  </a:lnTo>
                  <a:lnTo>
                    <a:pt x="1654" y="1018"/>
                  </a:lnTo>
                  <a:lnTo>
                    <a:pt x="1651" y="1018"/>
                  </a:lnTo>
                  <a:lnTo>
                    <a:pt x="1650" y="1018"/>
                  </a:lnTo>
                  <a:lnTo>
                    <a:pt x="1647" y="1019"/>
                  </a:lnTo>
                  <a:lnTo>
                    <a:pt x="1646" y="1019"/>
                  </a:lnTo>
                  <a:lnTo>
                    <a:pt x="1645" y="1021"/>
                  </a:lnTo>
                  <a:lnTo>
                    <a:pt x="1642" y="1022"/>
                  </a:lnTo>
                  <a:lnTo>
                    <a:pt x="1641" y="1023"/>
                  </a:lnTo>
                  <a:lnTo>
                    <a:pt x="1641" y="1025"/>
                  </a:lnTo>
                  <a:lnTo>
                    <a:pt x="1639" y="1026"/>
                  </a:lnTo>
                  <a:lnTo>
                    <a:pt x="1638" y="1027"/>
                  </a:lnTo>
                  <a:lnTo>
                    <a:pt x="1638" y="1028"/>
                  </a:lnTo>
                  <a:lnTo>
                    <a:pt x="1637" y="1030"/>
                  </a:lnTo>
                  <a:lnTo>
                    <a:pt x="1637" y="1031"/>
                  </a:lnTo>
                  <a:lnTo>
                    <a:pt x="1637" y="1032"/>
                  </a:lnTo>
                  <a:lnTo>
                    <a:pt x="1636" y="1032"/>
                  </a:lnTo>
                  <a:lnTo>
                    <a:pt x="1634" y="1032"/>
                  </a:lnTo>
                  <a:lnTo>
                    <a:pt x="1632" y="1031"/>
                  </a:lnTo>
                  <a:lnTo>
                    <a:pt x="1629" y="1031"/>
                  </a:lnTo>
                  <a:lnTo>
                    <a:pt x="1628" y="1031"/>
                  </a:lnTo>
                  <a:lnTo>
                    <a:pt x="1626" y="1031"/>
                  </a:lnTo>
                  <a:lnTo>
                    <a:pt x="1624" y="1031"/>
                  </a:lnTo>
                  <a:lnTo>
                    <a:pt x="1623" y="1031"/>
                  </a:lnTo>
                  <a:lnTo>
                    <a:pt x="1621" y="1031"/>
                  </a:lnTo>
                  <a:lnTo>
                    <a:pt x="1620" y="1032"/>
                  </a:lnTo>
                  <a:lnTo>
                    <a:pt x="1619" y="1034"/>
                  </a:lnTo>
                  <a:lnTo>
                    <a:pt x="1617" y="1035"/>
                  </a:lnTo>
                  <a:lnTo>
                    <a:pt x="1616" y="1038"/>
                  </a:lnTo>
                  <a:lnTo>
                    <a:pt x="1615" y="1040"/>
                  </a:lnTo>
                  <a:lnTo>
                    <a:pt x="1613" y="1041"/>
                  </a:lnTo>
                  <a:lnTo>
                    <a:pt x="1612" y="1044"/>
                  </a:lnTo>
                  <a:lnTo>
                    <a:pt x="1610" y="1047"/>
                  </a:lnTo>
                  <a:lnTo>
                    <a:pt x="1607" y="1049"/>
                  </a:lnTo>
                  <a:lnTo>
                    <a:pt x="1604" y="1052"/>
                  </a:lnTo>
                  <a:lnTo>
                    <a:pt x="1602" y="1053"/>
                  </a:lnTo>
                  <a:lnTo>
                    <a:pt x="1599" y="1054"/>
                  </a:lnTo>
                  <a:lnTo>
                    <a:pt x="1598" y="1056"/>
                  </a:lnTo>
                  <a:lnTo>
                    <a:pt x="1595" y="1057"/>
                  </a:lnTo>
                  <a:lnTo>
                    <a:pt x="1590" y="1060"/>
                  </a:lnTo>
                  <a:lnTo>
                    <a:pt x="1588" y="1061"/>
                  </a:lnTo>
                  <a:lnTo>
                    <a:pt x="1584" y="1062"/>
                  </a:lnTo>
                  <a:lnTo>
                    <a:pt x="1581" y="1063"/>
                  </a:lnTo>
                  <a:lnTo>
                    <a:pt x="1578" y="1065"/>
                  </a:lnTo>
                  <a:lnTo>
                    <a:pt x="1575" y="1066"/>
                  </a:lnTo>
                  <a:lnTo>
                    <a:pt x="1569" y="1069"/>
                  </a:lnTo>
                  <a:lnTo>
                    <a:pt x="1568" y="1071"/>
                  </a:lnTo>
                  <a:lnTo>
                    <a:pt x="1568" y="1071"/>
                  </a:lnTo>
                  <a:lnTo>
                    <a:pt x="1564" y="1074"/>
                  </a:lnTo>
                  <a:lnTo>
                    <a:pt x="1562" y="1075"/>
                  </a:lnTo>
                  <a:lnTo>
                    <a:pt x="1560" y="1076"/>
                  </a:lnTo>
                  <a:lnTo>
                    <a:pt x="1558" y="1079"/>
                  </a:lnTo>
                  <a:lnTo>
                    <a:pt x="1556" y="1080"/>
                  </a:lnTo>
                  <a:lnTo>
                    <a:pt x="1555" y="1082"/>
                  </a:lnTo>
                  <a:lnTo>
                    <a:pt x="1555" y="1083"/>
                  </a:lnTo>
                  <a:lnTo>
                    <a:pt x="1555" y="1084"/>
                  </a:lnTo>
                  <a:lnTo>
                    <a:pt x="1554" y="1086"/>
                  </a:lnTo>
                  <a:lnTo>
                    <a:pt x="1552" y="1087"/>
                  </a:lnTo>
                  <a:lnTo>
                    <a:pt x="1552" y="1088"/>
                  </a:lnTo>
                  <a:lnTo>
                    <a:pt x="1552" y="1089"/>
                  </a:lnTo>
                  <a:lnTo>
                    <a:pt x="1552" y="1091"/>
                  </a:lnTo>
                  <a:lnTo>
                    <a:pt x="1551" y="1092"/>
                  </a:lnTo>
                  <a:lnTo>
                    <a:pt x="1551" y="1095"/>
                  </a:lnTo>
                  <a:lnTo>
                    <a:pt x="1551" y="1096"/>
                  </a:lnTo>
                  <a:lnTo>
                    <a:pt x="1551" y="1097"/>
                  </a:lnTo>
                  <a:lnTo>
                    <a:pt x="1551" y="1097"/>
                  </a:lnTo>
                  <a:lnTo>
                    <a:pt x="1551" y="1099"/>
                  </a:lnTo>
                  <a:lnTo>
                    <a:pt x="1550" y="1099"/>
                  </a:lnTo>
                  <a:lnTo>
                    <a:pt x="1549" y="1099"/>
                  </a:lnTo>
                  <a:lnTo>
                    <a:pt x="1547" y="1099"/>
                  </a:lnTo>
                  <a:lnTo>
                    <a:pt x="1545" y="1102"/>
                  </a:lnTo>
                  <a:lnTo>
                    <a:pt x="1542" y="1105"/>
                  </a:lnTo>
                  <a:lnTo>
                    <a:pt x="1540" y="1108"/>
                  </a:lnTo>
                  <a:lnTo>
                    <a:pt x="1537" y="1110"/>
                  </a:lnTo>
                  <a:lnTo>
                    <a:pt x="1536" y="1113"/>
                  </a:lnTo>
                  <a:lnTo>
                    <a:pt x="1534" y="1115"/>
                  </a:lnTo>
                  <a:lnTo>
                    <a:pt x="1533" y="1118"/>
                  </a:lnTo>
                  <a:lnTo>
                    <a:pt x="1533" y="1121"/>
                  </a:lnTo>
                  <a:lnTo>
                    <a:pt x="1533" y="1122"/>
                  </a:lnTo>
                  <a:lnTo>
                    <a:pt x="1532" y="1123"/>
                  </a:lnTo>
                  <a:lnTo>
                    <a:pt x="1530" y="1125"/>
                  </a:lnTo>
                  <a:lnTo>
                    <a:pt x="1530" y="1126"/>
                  </a:lnTo>
                  <a:lnTo>
                    <a:pt x="1530" y="1127"/>
                  </a:lnTo>
                  <a:lnTo>
                    <a:pt x="1529" y="1128"/>
                  </a:lnTo>
                  <a:lnTo>
                    <a:pt x="1529" y="1130"/>
                  </a:lnTo>
                  <a:lnTo>
                    <a:pt x="1530" y="1132"/>
                  </a:lnTo>
                  <a:lnTo>
                    <a:pt x="1530" y="1135"/>
                  </a:lnTo>
                  <a:lnTo>
                    <a:pt x="1532" y="1139"/>
                  </a:lnTo>
                  <a:lnTo>
                    <a:pt x="1533" y="1141"/>
                  </a:lnTo>
                  <a:lnTo>
                    <a:pt x="1533" y="1143"/>
                  </a:lnTo>
                  <a:lnTo>
                    <a:pt x="1533" y="1144"/>
                  </a:lnTo>
                  <a:lnTo>
                    <a:pt x="1532" y="1144"/>
                  </a:lnTo>
                  <a:lnTo>
                    <a:pt x="1532" y="1144"/>
                  </a:lnTo>
                  <a:lnTo>
                    <a:pt x="1529" y="1143"/>
                  </a:lnTo>
                  <a:lnTo>
                    <a:pt x="1527" y="1143"/>
                  </a:lnTo>
                  <a:lnTo>
                    <a:pt x="1523" y="1143"/>
                  </a:lnTo>
                  <a:lnTo>
                    <a:pt x="1520" y="1143"/>
                  </a:lnTo>
                  <a:lnTo>
                    <a:pt x="1516" y="1143"/>
                  </a:lnTo>
                  <a:lnTo>
                    <a:pt x="1512" y="1143"/>
                  </a:lnTo>
                  <a:lnTo>
                    <a:pt x="1508" y="1141"/>
                  </a:lnTo>
                  <a:lnTo>
                    <a:pt x="1506" y="1140"/>
                  </a:lnTo>
                  <a:lnTo>
                    <a:pt x="1502" y="1139"/>
                  </a:lnTo>
                  <a:lnTo>
                    <a:pt x="1499" y="1136"/>
                  </a:lnTo>
                  <a:lnTo>
                    <a:pt x="1498" y="1134"/>
                  </a:lnTo>
                  <a:lnTo>
                    <a:pt x="1497" y="1132"/>
                  </a:lnTo>
                  <a:lnTo>
                    <a:pt x="1495" y="1131"/>
                  </a:lnTo>
                  <a:lnTo>
                    <a:pt x="1495" y="1130"/>
                  </a:lnTo>
                  <a:lnTo>
                    <a:pt x="1495" y="1128"/>
                  </a:lnTo>
                  <a:lnTo>
                    <a:pt x="1494" y="1127"/>
                  </a:lnTo>
                  <a:lnTo>
                    <a:pt x="1495" y="1126"/>
                  </a:lnTo>
                  <a:lnTo>
                    <a:pt x="1495" y="1123"/>
                  </a:lnTo>
                  <a:lnTo>
                    <a:pt x="1495" y="1122"/>
                  </a:lnTo>
                  <a:lnTo>
                    <a:pt x="1495" y="1119"/>
                  </a:lnTo>
                  <a:lnTo>
                    <a:pt x="1495" y="1118"/>
                  </a:lnTo>
                  <a:lnTo>
                    <a:pt x="1495" y="1117"/>
                  </a:lnTo>
                  <a:lnTo>
                    <a:pt x="1494" y="1114"/>
                  </a:lnTo>
                  <a:lnTo>
                    <a:pt x="1494" y="1113"/>
                  </a:lnTo>
                  <a:lnTo>
                    <a:pt x="1493" y="1112"/>
                  </a:lnTo>
                  <a:lnTo>
                    <a:pt x="1492" y="1109"/>
                  </a:lnTo>
                  <a:lnTo>
                    <a:pt x="1490" y="1108"/>
                  </a:lnTo>
                  <a:lnTo>
                    <a:pt x="1489" y="1106"/>
                  </a:lnTo>
                  <a:lnTo>
                    <a:pt x="1488" y="1104"/>
                  </a:lnTo>
                  <a:lnTo>
                    <a:pt x="1485" y="1102"/>
                  </a:lnTo>
                  <a:lnTo>
                    <a:pt x="1484" y="1101"/>
                  </a:lnTo>
                  <a:lnTo>
                    <a:pt x="1481" y="1100"/>
                  </a:lnTo>
                  <a:lnTo>
                    <a:pt x="1479" y="1100"/>
                  </a:lnTo>
                  <a:lnTo>
                    <a:pt x="1476" y="1099"/>
                  </a:lnTo>
                  <a:lnTo>
                    <a:pt x="1473" y="1099"/>
                  </a:lnTo>
                  <a:lnTo>
                    <a:pt x="1469" y="1100"/>
                  </a:lnTo>
                  <a:lnTo>
                    <a:pt x="1464" y="1100"/>
                  </a:lnTo>
                  <a:lnTo>
                    <a:pt x="1459" y="1101"/>
                  </a:lnTo>
                  <a:lnTo>
                    <a:pt x="1454" y="1102"/>
                  </a:lnTo>
                  <a:lnTo>
                    <a:pt x="1447" y="1104"/>
                  </a:lnTo>
                  <a:lnTo>
                    <a:pt x="1442" y="1105"/>
                  </a:lnTo>
                  <a:lnTo>
                    <a:pt x="1437" y="1106"/>
                  </a:lnTo>
                  <a:lnTo>
                    <a:pt x="1431" y="1106"/>
                  </a:lnTo>
                  <a:lnTo>
                    <a:pt x="1425" y="1108"/>
                  </a:lnTo>
                  <a:lnTo>
                    <a:pt x="1420" y="1108"/>
                  </a:lnTo>
                  <a:lnTo>
                    <a:pt x="1418" y="1108"/>
                  </a:lnTo>
                  <a:lnTo>
                    <a:pt x="1415" y="1106"/>
                  </a:lnTo>
                  <a:lnTo>
                    <a:pt x="1412" y="1106"/>
                  </a:lnTo>
                  <a:lnTo>
                    <a:pt x="1411" y="1105"/>
                  </a:lnTo>
                  <a:lnTo>
                    <a:pt x="1409" y="1105"/>
                  </a:lnTo>
                  <a:lnTo>
                    <a:pt x="1407" y="1104"/>
                  </a:lnTo>
                  <a:lnTo>
                    <a:pt x="1406" y="1102"/>
                  </a:lnTo>
                  <a:lnTo>
                    <a:pt x="1403" y="1100"/>
                  </a:lnTo>
                  <a:lnTo>
                    <a:pt x="1402" y="1099"/>
                  </a:lnTo>
                  <a:lnTo>
                    <a:pt x="1401" y="1096"/>
                  </a:lnTo>
                  <a:lnTo>
                    <a:pt x="1399" y="1095"/>
                  </a:lnTo>
                  <a:lnTo>
                    <a:pt x="1399" y="1092"/>
                  </a:lnTo>
                  <a:lnTo>
                    <a:pt x="1397" y="1091"/>
                  </a:lnTo>
                  <a:lnTo>
                    <a:pt x="1394" y="1088"/>
                  </a:lnTo>
                  <a:lnTo>
                    <a:pt x="1393" y="1087"/>
                  </a:lnTo>
                  <a:lnTo>
                    <a:pt x="1390" y="1084"/>
                  </a:lnTo>
                  <a:lnTo>
                    <a:pt x="1389" y="1083"/>
                  </a:lnTo>
                  <a:lnTo>
                    <a:pt x="1388" y="1080"/>
                  </a:lnTo>
                  <a:lnTo>
                    <a:pt x="1385" y="1076"/>
                  </a:lnTo>
                  <a:lnTo>
                    <a:pt x="1384" y="1071"/>
                  </a:lnTo>
                  <a:lnTo>
                    <a:pt x="1381" y="1065"/>
                  </a:lnTo>
                  <a:lnTo>
                    <a:pt x="1380" y="1061"/>
                  </a:lnTo>
                  <a:lnTo>
                    <a:pt x="1379" y="1057"/>
                  </a:lnTo>
                  <a:lnTo>
                    <a:pt x="1377" y="1054"/>
                  </a:lnTo>
                  <a:lnTo>
                    <a:pt x="1376" y="1052"/>
                  </a:lnTo>
                  <a:lnTo>
                    <a:pt x="1376" y="1051"/>
                  </a:lnTo>
                  <a:lnTo>
                    <a:pt x="1375" y="1049"/>
                  </a:lnTo>
                  <a:lnTo>
                    <a:pt x="1374" y="1048"/>
                  </a:lnTo>
                  <a:lnTo>
                    <a:pt x="1374" y="1047"/>
                  </a:lnTo>
                  <a:lnTo>
                    <a:pt x="1372" y="1045"/>
                  </a:lnTo>
                  <a:lnTo>
                    <a:pt x="1370" y="1044"/>
                  </a:lnTo>
                  <a:lnTo>
                    <a:pt x="1368" y="1043"/>
                  </a:lnTo>
                  <a:lnTo>
                    <a:pt x="1366" y="1041"/>
                  </a:lnTo>
                  <a:lnTo>
                    <a:pt x="1364" y="1041"/>
                  </a:lnTo>
                  <a:lnTo>
                    <a:pt x="1362" y="1040"/>
                  </a:lnTo>
                  <a:lnTo>
                    <a:pt x="1358" y="1040"/>
                  </a:lnTo>
                  <a:lnTo>
                    <a:pt x="1355" y="1040"/>
                  </a:lnTo>
                  <a:lnTo>
                    <a:pt x="1354" y="1039"/>
                  </a:lnTo>
                  <a:lnTo>
                    <a:pt x="1351" y="1038"/>
                  </a:lnTo>
                  <a:lnTo>
                    <a:pt x="1350" y="1036"/>
                  </a:lnTo>
                  <a:lnTo>
                    <a:pt x="1349" y="1035"/>
                  </a:lnTo>
                  <a:lnTo>
                    <a:pt x="1349" y="1034"/>
                  </a:lnTo>
                  <a:lnTo>
                    <a:pt x="1348" y="1032"/>
                  </a:lnTo>
                  <a:lnTo>
                    <a:pt x="1345" y="1032"/>
                  </a:lnTo>
                  <a:lnTo>
                    <a:pt x="1344" y="1031"/>
                  </a:lnTo>
                  <a:lnTo>
                    <a:pt x="1342" y="1030"/>
                  </a:lnTo>
                  <a:lnTo>
                    <a:pt x="1340" y="1028"/>
                  </a:lnTo>
                  <a:lnTo>
                    <a:pt x="1338" y="1026"/>
                  </a:lnTo>
                  <a:lnTo>
                    <a:pt x="1337" y="1025"/>
                  </a:lnTo>
                  <a:lnTo>
                    <a:pt x="1336" y="1021"/>
                  </a:lnTo>
                  <a:lnTo>
                    <a:pt x="1335" y="1017"/>
                  </a:lnTo>
                  <a:lnTo>
                    <a:pt x="1333" y="1012"/>
                  </a:lnTo>
                  <a:lnTo>
                    <a:pt x="1332" y="1006"/>
                  </a:lnTo>
                  <a:lnTo>
                    <a:pt x="1331" y="1001"/>
                  </a:lnTo>
                  <a:lnTo>
                    <a:pt x="1331" y="995"/>
                  </a:lnTo>
                  <a:lnTo>
                    <a:pt x="1329" y="989"/>
                  </a:lnTo>
                  <a:lnTo>
                    <a:pt x="1329" y="984"/>
                  </a:lnTo>
                  <a:lnTo>
                    <a:pt x="1328" y="978"/>
                  </a:lnTo>
                  <a:lnTo>
                    <a:pt x="1328" y="973"/>
                  </a:lnTo>
                  <a:lnTo>
                    <a:pt x="1327" y="967"/>
                  </a:lnTo>
                  <a:lnTo>
                    <a:pt x="1327" y="962"/>
                  </a:lnTo>
                  <a:lnTo>
                    <a:pt x="1326" y="958"/>
                  </a:lnTo>
                  <a:lnTo>
                    <a:pt x="1320" y="960"/>
                  </a:lnTo>
                  <a:lnTo>
                    <a:pt x="1318" y="960"/>
                  </a:lnTo>
                  <a:lnTo>
                    <a:pt x="1315" y="961"/>
                  </a:lnTo>
                  <a:lnTo>
                    <a:pt x="1313" y="961"/>
                  </a:lnTo>
                  <a:lnTo>
                    <a:pt x="1310" y="961"/>
                  </a:lnTo>
                  <a:lnTo>
                    <a:pt x="1307" y="961"/>
                  </a:lnTo>
                  <a:lnTo>
                    <a:pt x="1305" y="960"/>
                  </a:lnTo>
                  <a:lnTo>
                    <a:pt x="1303" y="958"/>
                  </a:lnTo>
                  <a:lnTo>
                    <a:pt x="1302" y="957"/>
                  </a:lnTo>
                  <a:lnTo>
                    <a:pt x="1301" y="956"/>
                  </a:lnTo>
                  <a:lnTo>
                    <a:pt x="1298" y="954"/>
                  </a:lnTo>
                  <a:lnTo>
                    <a:pt x="1297" y="953"/>
                  </a:lnTo>
                  <a:lnTo>
                    <a:pt x="1294" y="951"/>
                  </a:lnTo>
                  <a:lnTo>
                    <a:pt x="1293" y="948"/>
                  </a:lnTo>
                  <a:lnTo>
                    <a:pt x="1291" y="945"/>
                  </a:lnTo>
                  <a:lnTo>
                    <a:pt x="1288" y="943"/>
                  </a:lnTo>
                  <a:lnTo>
                    <a:pt x="1287" y="941"/>
                  </a:lnTo>
                  <a:lnTo>
                    <a:pt x="1285" y="940"/>
                  </a:lnTo>
                  <a:lnTo>
                    <a:pt x="1283" y="936"/>
                  </a:lnTo>
                  <a:lnTo>
                    <a:pt x="1280" y="934"/>
                  </a:lnTo>
                  <a:lnTo>
                    <a:pt x="1276" y="931"/>
                  </a:lnTo>
                  <a:lnTo>
                    <a:pt x="1274" y="930"/>
                  </a:lnTo>
                  <a:lnTo>
                    <a:pt x="1272" y="927"/>
                  </a:lnTo>
                  <a:lnTo>
                    <a:pt x="1270" y="926"/>
                  </a:lnTo>
                  <a:lnTo>
                    <a:pt x="1267" y="926"/>
                  </a:lnTo>
                  <a:lnTo>
                    <a:pt x="1262" y="923"/>
                  </a:lnTo>
                  <a:lnTo>
                    <a:pt x="1259" y="923"/>
                  </a:lnTo>
                  <a:lnTo>
                    <a:pt x="1258" y="922"/>
                  </a:lnTo>
                  <a:lnTo>
                    <a:pt x="1255" y="919"/>
                  </a:lnTo>
                  <a:lnTo>
                    <a:pt x="1254" y="918"/>
                  </a:lnTo>
                  <a:lnTo>
                    <a:pt x="1253" y="915"/>
                  </a:lnTo>
                  <a:lnTo>
                    <a:pt x="1252" y="913"/>
                  </a:lnTo>
                  <a:lnTo>
                    <a:pt x="1249" y="912"/>
                  </a:lnTo>
                  <a:lnTo>
                    <a:pt x="1246" y="909"/>
                  </a:lnTo>
                  <a:lnTo>
                    <a:pt x="1245" y="909"/>
                  </a:lnTo>
                  <a:lnTo>
                    <a:pt x="1244" y="908"/>
                  </a:lnTo>
                  <a:lnTo>
                    <a:pt x="1241" y="906"/>
                  </a:lnTo>
                  <a:lnTo>
                    <a:pt x="1241" y="905"/>
                  </a:lnTo>
                  <a:lnTo>
                    <a:pt x="1239" y="905"/>
                  </a:lnTo>
                  <a:lnTo>
                    <a:pt x="1237" y="904"/>
                  </a:lnTo>
                  <a:lnTo>
                    <a:pt x="1236" y="904"/>
                  </a:lnTo>
                  <a:lnTo>
                    <a:pt x="1235" y="904"/>
                  </a:lnTo>
                  <a:lnTo>
                    <a:pt x="1233" y="904"/>
                  </a:lnTo>
                  <a:lnTo>
                    <a:pt x="1231" y="904"/>
                  </a:lnTo>
                  <a:lnTo>
                    <a:pt x="1228" y="905"/>
                  </a:lnTo>
                  <a:lnTo>
                    <a:pt x="1226" y="906"/>
                  </a:lnTo>
                  <a:lnTo>
                    <a:pt x="1224" y="908"/>
                  </a:lnTo>
                  <a:lnTo>
                    <a:pt x="1222" y="909"/>
                  </a:lnTo>
                  <a:lnTo>
                    <a:pt x="1219" y="910"/>
                  </a:lnTo>
                  <a:lnTo>
                    <a:pt x="1217" y="912"/>
                  </a:lnTo>
                  <a:lnTo>
                    <a:pt x="1214" y="913"/>
                  </a:lnTo>
                  <a:lnTo>
                    <a:pt x="1210" y="913"/>
                  </a:lnTo>
                  <a:lnTo>
                    <a:pt x="1206" y="913"/>
                  </a:lnTo>
                  <a:lnTo>
                    <a:pt x="1201" y="914"/>
                  </a:lnTo>
                  <a:lnTo>
                    <a:pt x="1195" y="915"/>
                  </a:lnTo>
                  <a:lnTo>
                    <a:pt x="1189" y="917"/>
                  </a:lnTo>
                  <a:lnTo>
                    <a:pt x="1184" y="917"/>
                  </a:lnTo>
                  <a:lnTo>
                    <a:pt x="1179" y="917"/>
                  </a:lnTo>
                  <a:lnTo>
                    <a:pt x="1172" y="917"/>
                  </a:lnTo>
                  <a:lnTo>
                    <a:pt x="1167" y="915"/>
                  </a:lnTo>
                  <a:lnTo>
                    <a:pt x="1162" y="915"/>
                  </a:lnTo>
                  <a:lnTo>
                    <a:pt x="1157" y="914"/>
                  </a:lnTo>
                  <a:lnTo>
                    <a:pt x="1150" y="913"/>
                  </a:lnTo>
                  <a:lnTo>
                    <a:pt x="1140" y="912"/>
                  </a:lnTo>
                  <a:lnTo>
                    <a:pt x="1128" y="909"/>
                  </a:lnTo>
                  <a:lnTo>
                    <a:pt x="1117" y="906"/>
                  </a:lnTo>
                  <a:lnTo>
                    <a:pt x="1114" y="906"/>
                  </a:lnTo>
                  <a:lnTo>
                    <a:pt x="1112" y="906"/>
                  </a:lnTo>
                  <a:lnTo>
                    <a:pt x="1106" y="908"/>
                  </a:lnTo>
                  <a:lnTo>
                    <a:pt x="1101" y="909"/>
                  </a:lnTo>
                  <a:lnTo>
                    <a:pt x="1095" y="910"/>
                  </a:lnTo>
                  <a:lnTo>
                    <a:pt x="1089" y="913"/>
                  </a:lnTo>
                  <a:lnTo>
                    <a:pt x="1084" y="915"/>
                  </a:lnTo>
                  <a:lnTo>
                    <a:pt x="1078" y="918"/>
                  </a:lnTo>
                  <a:lnTo>
                    <a:pt x="1073" y="921"/>
                  </a:lnTo>
                  <a:lnTo>
                    <a:pt x="1069" y="921"/>
                  </a:lnTo>
                  <a:lnTo>
                    <a:pt x="1065" y="921"/>
                  </a:lnTo>
                  <a:lnTo>
                    <a:pt x="1061" y="919"/>
                  </a:lnTo>
                  <a:lnTo>
                    <a:pt x="1057" y="918"/>
                  </a:lnTo>
                  <a:lnTo>
                    <a:pt x="1054" y="917"/>
                  </a:lnTo>
                  <a:lnTo>
                    <a:pt x="1051" y="915"/>
                  </a:lnTo>
                  <a:lnTo>
                    <a:pt x="1047" y="913"/>
                  </a:lnTo>
                  <a:lnTo>
                    <a:pt x="1044" y="912"/>
                  </a:lnTo>
                  <a:lnTo>
                    <a:pt x="1040" y="909"/>
                  </a:lnTo>
                  <a:lnTo>
                    <a:pt x="1038" y="908"/>
                  </a:lnTo>
                  <a:lnTo>
                    <a:pt x="1032" y="902"/>
                  </a:lnTo>
                  <a:lnTo>
                    <a:pt x="1026" y="896"/>
                  </a:lnTo>
                  <a:lnTo>
                    <a:pt x="1021" y="891"/>
                  </a:lnTo>
                  <a:lnTo>
                    <a:pt x="977" y="847"/>
                  </a:lnTo>
                  <a:lnTo>
                    <a:pt x="974" y="844"/>
                  </a:lnTo>
                  <a:lnTo>
                    <a:pt x="971" y="843"/>
                  </a:lnTo>
                  <a:lnTo>
                    <a:pt x="970" y="840"/>
                  </a:lnTo>
                  <a:lnTo>
                    <a:pt x="969" y="839"/>
                  </a:lnTo>
                  <a:lnTo>
                    <a:pt x="968" y="838"/>
                  </a:lnTo>
                  <a:lnTo>
                    <a:pt x="966" y="836"/>
                  </a:lnTo>
                  <a:lnTo>
                    <a:pt x="964" y="835"/>
                  </a:lnTo>
                  <a:lnTo>
                    <a:pt x="962" y="835"/>
                  </a:lnTo>
                  <a:lnTo>
                    <a:pt x="961" y="834"/>
                  </a:lnTo>
                  <a:lnTo>
                    <a:pt x="961" y="832"/>
                  </a:lnTo>
                  <a:lnTo>
                    <a:pt x="958" y="832"/>
                  </a:lnTo>
                  <a:lnTo>
                    <a:pt x="956" y="831"/>
                  </a:lnTo>
                  <a:lnTo>
                    <a:pt x="953" y="830"/>
                  </a:lnTo>
                  <a:lnTo>
                    <a:pt x="951" y="827"/>
                  </a:lnTo>
                  <a:lnTo>
                    <a:pt x="948" y="826"/>
                  </a:lnTo>
                  <a:lnTo>
                    <a:pt x="947" y="825"/>
                  </a:lnTo>
                  <a:lnTo>
                    <a:pt x="947" y="825"/>
                  </a:lnTo>
                  <a:lnTo>
                    <a:pt x="948" y="825"/>
                  </a:lnTo>
                  <a:lnTo>
                    <a:pt x="949" y="823"/>
                  </a:lnTo>
                  <a:lnTo>
                    <a:pt x="949" y="822"/>
                  </a:lnTo>
                  <a:lnTo>
                    <a:pt x="949" y="822"/>
                  </a:lnTo>
                  <a:lnTo>
                    <a:pt x="949" y="821"/>
                  </a:lnTo>
                  <a:lnTo>
                    <a:pt x="949" y="821"/>
                  </a:lnTo>
                  <a:lnTo>
                    <a:pt x="948" y="819"/>
                  </a:lnTo>
                  <a:lnTo>
                    <a:pt x="948" y="818"/>
                  </a:lnTo>
                  <a:lnTo>
                    <a:pt x="947" y="817"/>
                  </a:lnTo>
                  <a:lnTo>
                    <a:pt x="946" y="815"/>
                  </a:lnTo>
                  <a:lnTo>
                    <a:pt x="944" y="814"/>
                  </a:lnTo>
                  <a:lnTo>
                    <a:pt x="942" y="813"/>
                  </a:lnTo>
                  <a:lnTo>
                    <a:pt x="938" y="812"/>
                  </a:lnTo>
                  <a:lnTo>
                    <a:pt x="935" y="809"/>
                  </a:lnTo>
                  <a:lnTo>
                    <a:pt x="933" y="808"/>
                  </a:lnTo>
                  <a:lnTo>
                    <a:pt x="930" y="806"/>
                  </a:lnTo>
                  <a:lnTo>
                    <a:pt x="927" y="804"/>
                  </a:lnTo>
                  <a:lnTo>
                    <a:pt x="926" y="804"/>
                  </a:lnTo>
                  <a:lnTo>
                    <a:pt x="925" y="802"/>
                  </a:lnTo>
                  <a:lnTo>
                    <a:pt x="922" y="800"/>
                  </a:lnTo>
                  <a:lnTo>
                    <a:pt x="921" y="797"/>
                  </a:lnTo>
                  <a:lnTo>
                    <a:pt x="920" y="795"/>
                  </a:lnTo>
                  <a:lnTo>
                    <a:pt x="918" y="793"/>
                  </a:lnTo>
                  <a:lnTo>
                    <a:pt x="917" y="791"/>
                  </a:lnTo>
                  <a:lnTo>
                    <a:pt x="916" y="790"/>
                  </a:lnTo>
                  <a:lnTo>
                    <a:pt x="914" y="788"/>
                  </a:lnTo>
                  <a:lnTo>
                    <a:pt x="914" y="787"/>
                  </a:lnTo>
                  <a:lnTo>
                    <a:pt x="914" y="784"/>
                  </a:lnTo>
                  <a:lnTo>
                    <a:pt x="914" y="783"/>
                  </a:lnTo>
                  <a:lnTo>
                    <a:pt x="914" y="782"/>
                  </a:lnTo>
                  <a:lnTo>
                    <a:pt x="914" y="780"/>
                  </a:lnTo>
                  <a:lnTo>
                    <a:pt x="916" y="778"/>
                  </a:lnTo>
                  <a:lnTo>
                    <a:pt x="917" y="777"/>
                  </a:lnTo>
                  <a:lnTo>
                    <a:pt x="917" y="775"/>
                  </a:lnTo>
                  <a:lnTo>
                    <a:pt x="918" y="773"/>
                  </a:lnTo>
                  <a:lnTo>
                    <a:pt x="918" y="771"/>
                  </a:lnTo>
                  <a:lnTo>
                    <a:pt x="918" y="770"/>
                  </a:lnTo>
                  <a:lnTo>
                    <a:pt x="918" y="769"/>
                  </a:lnTo>
                  <a:lnTo>
                    <a:pt x="918" y="767"/>
                  </a:lnTo>
                  <a:lnTo>
                    <a:pt x="918" y="765"/>
                  </a:lnTo>
                  <a:lnTo>
                    <a:pt x="918" y="762"/>
                  </a:lnTo>
                  <a:lnTo>
                    <a:pt x="917" y="760"/>
                  </a:lnTo>
                  <a:lnTo>
                    <a:pt x="917" y="757"/>
                  </a:lnTo>
                  <a:lnTo>
                    <a:pt x="917" y="757"/>
                  </a:lnTo>
                  <a:lnTo>
                    <a:pt x="916" y="756"/>
                  </a:lnTo>
                  <a:lnTo>
                    <a:pt x="916" y="756"/>
                  </a:lnTo>
                  <a:lnTo>
                    <a:pt x="914" y="754"/>
                  </a:lnTo>
                  <a:lnTo>
                    <a:pt x="914" y="754"/>
                  </a:lnTo>
                  <a:lnTo>
                    <a:pt x="914" y="754"/>
                  </a:lnTo>
                  <a:lnTo>
                    <a:pt x="912" y="753"/>
                  </a:lnTo>
                  <a:lnTo>
                    <a:pt x="908" y="753"/>
                  </a:lnTo>
                  <a:lnTo>
                    <a:pt x="905" y="753"/>
                  </a:lnTo>
                  <a:lnTo>
                    <a:pt x="901" y="752"/>
                  </a:lnTo>
                  <a:lnTo>
                    <a:pt x="899" y="752"/>
                  </a:lnTo>
                  <a:lnTo>
                    <a:pt x="895" y="752"/>
                  </a:lnTo>
                  <a:lnTo>
                    <a:pt x="891" y="753"/>
                  </a:lnTo>
                  <a:lnTo>
                    <a:pt x="888" y="753"/>
                  </a:lnTo>
                  <a:lnTo>
                    <a:pt x="886" y="753"/>
                  </a:lnTo>
                  <a:lnTo>
                    <a:pt x="883" y="754"/>
                  </a:lnTo>
                  <a:lnTo>
                    <a:pt x="882" y="754"/>
                  </a:lnTo>
                  <a:lnTo>
                    <a:pt x="882" y="754"/>
                  </a:lnTo>
                  <a:lnTo>
                    <a:pt x="881" y="756"/>
                  </a:lnTo>
                  <a:lnTo>
                    <a:pt x="881" y="756"/>
                  </a:lnTo>
                  <a:lnTo>
                    <a:pt x="881" y="757"/>
                  </a:lnTo>
                  <a:lnTo>
                    <a:pt x="879" y="757"/>
                  </a:lnTo>
                  <a:lnTo>
                    <a:pt x="877" y="756"/>
                  </a:lnTo>
                  <a:lnTo>
                    <a:pt x="875" y="754"/>
                  </a:lnTo>
                  <a:lnTo>
                    <a:pt x="874" y="754"/>
                  </a:lnTo>
                  <a:lnTo>
                    <a:pt x="873" y="753"/>
                  </a:lnTo>
                  <a:lnTo>
                    <a:pt x="872" y="753"/>
                  </a:lnTo>
                  <a:lnTo>
                    <a:pt x="872" y="752"/>
                  </a:lnTo>
                  <a:lnTo>
                    <a:pt x="872" y="751"/>
                  </a:lnTo>
                  <a:lnTo>
                    <a:pt x="872" y="751"/>
                  </a:lnTo>
                  <a:lnTo>
                    <a:pt x="872" y="749"/>
                  </a:lnTo>
                  <a:lnTo>
                    <a:pt x="873" y="749"/>
                  </a:lnTo>
                  <a:lnTo>
                    <a:pt x="873" y="748"/>
                  </a:lnTo>
                  <a:lnTo>
                    <a:pt x="874" y="747"/>
                  </a:lnTo>
                  <a:lnTo>
                    <a:pt x="877" y="745"/>
                  </a:lnTo>
                  <a:lnTo>
                    <a:pt x="878" y="744"/>
                  </a:lnTo>
                  <a:lnTo>
                    <a:pt x="879" y="743"/>
                  </a:lnTo>
                  <a:lnTo>
                    <a:pt x="879" y="743"/>
                  </a:lnTo>
                  <a:lnTo>
                    <a:pt x="881" y="743"/>
                  </a:lnTo>
                  <a:lnTo>
                    <a:pt x="882" y="744"/>
                  </a:lnTo>
                  <a:lnTo>
                    <a:pt x="883" y="744"/>
                  </a:lnTo>
                  <a:lnTo>
                    <a:pt x="886" y="744"/>
                  </a:lnTo>
                  <a:lnTo>
                    <a:pt x="888" y="745"/>
                  </a:lnTo>
                  <a:lnTo>
                    <a:pt x="892" y="745"/>
                  </a:lnTo>
                  <a:lnTo>
                    <a:pt x="899" y="745"/>
                  </a:lnTo>
                  <a:lnTo>
                    <a:pt x="901" y="745"/>
                  </a:lnTo>
                  <a:lnTo>
                    <a:pt x="904" y="745"/>
                  </a:lnTo>
                  <a:lnTo>
                    <a:pt x="907" y="745"/>
                  </a:lnTo>
                  <a:lnTo>
                    <a:pt x="907" y="745"/>
                  </a:lnTo>
                  <a:lnTo>
                    <a:pt x="908" y="745"/>
                  </a:lnTo>
                  <a:lnTo>
                    <a:pt x="909" y="744"/>
                  </a:lnTo>
                  <a:lnTo>
                    <a:pt x="909" y="744"/>
                  </a:lnTo>
                  <a:lnTo>
                    <a:pt x="909" y="743"/>
                  </a:lnTo>
                  <a:lnTo>
                    <a:pt x="909" y="743"/>
                  </a:lnTo>
                  <a:lnTo>
                    <a:pt x="907" y="743"/>
                  </a:lnTo>
                  <a:lnTo>
                    <a:pt x="904" y="743"/>
                  </a:lnTo>
                  <a:lnTo>
                    <a:pt x="901" y="743"/>
                  </a:lnTo>
                  <a:lnTo>
                    <a:pt x="899" y="741"/>
                  </a:lnTo>
                  <a:lnTo>
                    <a:pt x="898" y="740"/>
                  </a:lnTo>
                  <a:lnTo>
                    <a:pt x="896" y="739"/>
                  </a:lnTo>
                  <a:lnTo>
                    <a:pt x="895" y="738"/>
                  </a:lnTo>
                  <a:lnTo>
                    <a:pt x="895" y="736"/>
                  </a:lnTo>
                  <a:lnTo>
                    <a:pt x="895" y="735"/>
                  </a:lnTo>
                  <a:lnTo>
                    <a:pt x="894" y="735"/>
                  </a:lnTo>
                  <a:lnTo>
                    <a:pt x="894" y="734"/>
                  </a:lnTo>
                  <a:lnTo>
                    <a:pt x="894" y="734"/>
                  </a:lnTo>
                  <a:lnTo>
                    <a:pt x="894" y="734"/>
                  </a:lnTo>
                  <a:lnTo>
                    <a:pt x="895" y="734"/>
                  </a:lnTo>
                  <a:lnTo>
                    <a:pt x="896" y="734"/>
                  </a:lnTo>
                  <a:lnTo>
                    <a:pt x="898" y="735"/>
                  </a:lnTo>
                  <a:lnTo>
                    <a:pt x="899" y="735"/>
                  </a:lnTo>
                  <a:lnTo>
                    <a:pt x="899" y="736"/>
                  </a:lnTo>
                  <a:lnTo>
                    <a:pt x="900" y="736"/>
                  </a:lnTo>
                  <a:lnTo>
                    <a:pt x="901" y="738"/>
                  </a:lnTo>
                  <a:lnTo>
                    <a:pt x="903" y="738"/>
                  </a:lnTo>
                  <a:lnTo>
                    <a:pt x="904" y="738"/>
                  </a:lnTo>
                  <a:lnTo>
                    <a:pt x="903" y="736"/>
                  </a:lnTo>
                  <a:lnTo>
                    <a:pt x="903" y="736"/>
                  </a:lnTo>
                  <a:lnTo>
                    <a:pt x="901" y="735"/>
                  </a:lnTo>
                  <a:lnTo>
                    <a:pt x="900" y="734"/>
                  </a:lnTo>
                  <a:lnTo>
                    <a:pt x="899" y="732"/>
                  </a:lnTo>
                  <a:lnTo>
                    <a:pt x="896" y="731"/>
                  </a:lnTo>
                  <a:lnTo>
                    <a:pt x="894" y="730"/>
                  </a:lnTo>
                  <a:lnTo>
                    <a:pt x="892" y="728"/>
                  </a:lnTo>
                  <a:lnTo>
                    <a:pt x="890" y="728"/>
                  </a:lnTo>
                  <a:lnTo>
                    <a:pt x="888" y="727"/>
                  </a:lnTo>
                  <a:lnTo>
                    <a:pt x="888" y="727"/>
                  </a:lnTo>
                  <a:lnTo>
                    <a:pt x="890" y="726"/>
                  </a:lnTo>
                  <a:lnTo>
                    <a:pt x="892" y="726"/>
                  </a:lnTo>
                  <a:lnTo>
                    <a:pt x="894" y="725"/>
                  </a:lnTo>
                  <a:lnTo>
                    <a:pt x="895" y="723"/>
                  </a:lnTo>
                  <a:lnTo>
                    <a:pt x="896" y="723"/>
                  </a:lnTo>
                  <a:lnTo>
                    <a:pt x="898" y="722"/>
                  </a:lnTo>
                  <a:lnTo>
                    <a:pt x="899" y="721"/>
                  </a:lnTo>
                  <a:lnTo>
                    <a:pt x="899" y="719"/>
                  </a:lnTo>
                  <a:lnTo>
                    <a:pt x="899" y="718"/>
                  </a:lnTo>
                  <a:lnTo>
                    <a:pt x="899" y="717"/>
                  </a:lnTo>
                  <a:lnTo>
                    <a:pt x="899" y="717"/>
                  </a:lnTo>
                  <a:lnTo>
                    <a:pt x="899" y="715"/>
                  </a:lnTo>
                  <a:lnTo>
                    <a:pt x="898" y="715"/>
                  </a:lnTo>
                  <a:lnTo>
                    <a:pt x="898" y="714"/>
                  </a:lnTo>
                  <a:lnTo>
                    <a:pt x="896" y="714"/>
                  </a:lnTo>
                  <a:lnTo>
                    <a:pt x="895" y="713"/>
                  </a:lnTo>
                  <a:lnTo>
                    <a:pt x="894" y="713"/>
                  </a:lnTo>
                  <a:lnTo>
                    <a:pt x="891" y="713"/>
                  </a:lnTo>
                  <a:lnTo>
                    <a:pt x="888" y="714"/>
                  </a:lnTo>
                  <a:lnTo>
                    <a:pt x="887" y="714"/>
                  </a:lnTo>
                  <a:lnTo>
                    <a:pt x="882" y="715"/>
                  </a:lnTo>
                  <a:lnTo>
                    <a:pt x="877" y="717"/>
                  </a:lnTo>
                  <a:lnTo>
                    <a:pt x="874" y="718"/>
                  </a:lnTo>
                  <a:lnTo>
                    <a:pt x="872" y="718"/>
                  </a:lnTo>
                  <a:lnTo>
                    <a:pt x="870" y="719"/>
                  </a:lnTo>
                  <a:lnTo>
                    <a:pt x="868" y="719"/>
                  </a:lnTo>
                  <a:lnTo>
                    <a:pt x="868" y="719"/>
                  </a:lnTo>
                  <a:lnTo>
                    <a:pt x="866" y="721"/>
                  </a:lnTo>
                  <a:lnTo>
                    <a:pt x="865" y="721"/>
                  </a:lnTo>
                  <a:lnTo>
                    <a:pt x="865" y="719"/>
                  </a:lnTo>
                  <a:lnTo>
                    <a:pt x="865" y="717"/>
                  </a:lnTo>
                  <a:lnTo>
                    <a:pt x="866" y="714"/>
                  </a:lnTo>
                  <a:lnTo>
                    <a:pt x="866" y="712"/>
                  </a:lnTo>
                  <a:lnTo>
                    <a:pt x="866" y="710"/>
                  </a:lnTo>
                  <a:lnTo>
                    <a:pt x="865" y="708"/>
                  </a:lnTo>
                  <a:lnTo>
                    <a:pt x="865" y="706"/>
                  </a:lnTo>
                  <a:lnTo>
                    <a:pt x="864" y="705"/>
                  </a:lnTo>
                  <a:lnTo>
                    <a:pt x="862" y="704"/>
                  </a:lnTo>
                  <a:lnTo>
                    <a:pt x="861" y="703"/>
                  </a:lnTo>
                  <a:lnTo>
                    <a:pt x="859" y="701"/>
                  </a:lnTo>
                  <a:lnTo>
                    <a:pt x="857" y="700"/>
                  </a:lnTo>
                  <a:lnTo>
                    <a:pt x="856" y="700"/>
                  </a:lnTo>
                  <a:lnTo>
                    <a:pt x="853" y="699"/>
                  </a:lnTo>
                  <a:lnTo>
                    <a:pt x="852" y="699"/>
                  </a:lnTo>
                  <a:lnTo>
                    <a:pt x="851" y="699"/>
                  </a:lnTo>
                  <a:lnTo>
                    <a:pt x="848" y="699"/>
                  </a:lnTo>
                  <a:lnTo>
                    <a:pt x="846" y="699"/>
                  </a:lnTo>
                  <a:lnTo>
                    <a:pt x="843" y="699"/>
                  </a:lnTo>
                  <a:lnTo>
                    <a:pt x="844" y="699"/>
                  </a:lnTo>
                  <a:lnTo>
                    <a:pt x="846" y="700"/>
                  </a:lnTo>
                  <a:lnTo>
                    <a:pt x="846" y="700"/>
                  </a:lnTo>
                  <a:lnTo>
                    <a:pt x="847" y="701"/>
                  </a:lnTo>
                  <a:lnTo>
                    <a:pt x="848" y="703"/>
                  </a:lnTo>
                  <a:lnTo>
                    <a:pt x="851" y="704"/>
                  </a:lnTo>
                  <a:lnTo>
                    <a:pt x="852" y="705"/>
                  </a:lnTo>
                  <a:lnTo>
                    <a:pt x="852" y="708"/>
                  </a:lnTo>
                  <a:lnTo>
                    <a:pt x="853" y="709"/>
                  </a:lnTo>
                  <a:lnTo>
                    <a:pt x="855" y="710"/>
                  </a:lnTo>
                  <a:lnTo>
                    <a:pt x="856" y="713"/>
                  </a:lnTo>
                  <a:lnTo>
                    <a:pt x="857" y="715"/>
                  </a:lnTo>
                  <a:lnTo>
                    <a:pt x="857" y="718"/>
                  </a:lnTo>
                  <a:lnTo>
                    <a:pt x="857" y="721"/>
                  </a:lnTo>
                  <a:lnTo>
                    <a:pt x="857" y="722"/>
                  </a:lnTo>
                  <a:lnTo>
                    <a:pt x="857" y="723"/>
                  </a:lnTo>
                  <a:lnTo>
                    <a:pt x="857" y="727"/>
                  </a:lnTo>
                  <a:lnTo>
                    <a:pt x="857" y="731"/>
                  </a:lnTo>
                  <a:lnTo>
                    <a:pt x="857" y="735"/>
                  </a:lnTo>
                  <a:lnTo>
                    <a:pt x="857" y="738"/>
                  </a:lnTo>
                  <a:lnTo>
                    <a:pt x="857" y="739"/>
                  </a:lnTo>
                  <a:lnTo>
                    <a:pt x="857" y="740"/>
                  </a:lnTo>
                  <a:lnTo>
                    <a:pt x="857" y="741"/>
                  </a:lnTo>
                  <a:lnTo>
                    <a:pt x="857" y="741"/>
                  </a:lnTo>
                  <a:lnTo>
                    <a:pt x="857" y="743"/>
                  </a:lnTo>
                  <a:lnTo>
                    <a:pt x="857" y="743"/>
                  </a:lnTo>
                  <a:lnTo>
                    <a:pt x="857" y="744"/>
                  </a:lnTo>
                  <a:lnTo>
                    <a:pt x="857" y="744"/>
                  </a:lnTo>
                  <a:lnTo>
                    <a:pt x="856" y="745"/>
                  </a:lnTo>
                  <a:lnTo>
                    <a:pt x="856" y="745"/>
                  </a:lnTo>
                  <a:lnTo>
                    <a:pt x="855" y="745"/>
                  </a:lnTo>
                  <a:lnTo>
                    <a:pt x="855" y="745"/>
                  </a:lnTo>
                  <a:lnTo>
                    <a:pt x="853" y="745"/>
                  </a:lnTo>
                  <a:lnTo>
                    <a:pt x="852" y="745"/>
                  </a:lnTo>
                  <a:lnTo>
                    <a:pt x="852" y="744"/>
                  </a:lnTo>
                  <a:lnTo>
                    <a:pt x="851" y="743"/>
                  </a:lnTo>
                  <a:lnTo>
                    <a:pt x="850" y="743"/>
                  </a:lnTo>
                  <a:lnTo>
                    <a:pt x="848" y="743"/>
                  </a:lnTo>
                  <a:lnTo>
                    <a:pt x="846" y="743"/>
                  </a:lnTo>
                  <a:lnTo>
                    <a:pt x="844" y="743"/>
                  </a:lnTo>
                  <a:lnTo>
                    <a:pt x="843" y="743"/>
                  </a:lnTo>
                  <a:lnTo>
                    <a:pt x="840" y="743"/>
                  </a:lnTo>
                  <a:lnTo>
                    <a:pt x="839" y="743"/>
                  </a:lnTo>
                  <a:lnTo>
                    <a:pt x="838" y="743"/>
                  </a:lnTo>
                  <a:lnTo>
                    <a:pt x="837" y="743"/>
                  </a:lnTo>
                  <a:lnTo>
                    <a:pt x="835" y="743"/>
                  </a:lnTo>
                  <a:lnTo>
                    <a:pt x="834" y="741"/>
                  </a:lnTo>
                  <a:lnTo>
                    <a:pt x="834" y="740"/>
                  </a:lnTo>
                  <a:lnTo>
                    <a:pt x="833" y="739"/>
                  </a:lnTo>
                  <a:lnTo>
                    <a:pt x="834" y="738"/>
                  </a:lnTo>
                  <a:lnTo>
                    <a:pt x="834" y="736"/>
                  </a:lnTo>
                  <a:lnTo>
                    <a:pt x="834" y="735"/>
                  </a:lnTo>
                  <a:lnTo>
                    <a:pt x="835" y="732"/>
                  </a:lnTo>
                  <a:lnTo>
                    <a:pt x="837" y="731"/>
                  </a:lnTo>
                  <a:lnTo>
                    <a:pt x="838" y="730"/>
                  </a:lnTo>
                  <a:lnTo>
                    <a:pt x="838" y="728"/>
                  </a:lnTo>
                  <a:lnTo>
                    <a:pt x="838" y="728"/>
                  </a:lnTo>
                  <a:lnTo>
                    <a:pt x="837" y="727"/>
                  </a:lnTo>
                  <a:lnTo>
                    <a:pt x="835" y="727"/>
                  </a:lnTo>
                  <a:lnTo>
                    <a:pt x="834" y="726"/>
                  </a:lnTo>
                  <a:lnTo>
                    <a:pt x="831" y="726"/>
                  </a:lnTo>
                  <a:lnTo>
                    <a:pt x="830" y="726"/>
                  </a:lnTo>
                  <a:lnTo>
                    <a:pt x="827" y="726"/>
                  </a:lnTo>
                  <a:lnTo>
                    <a:pt x="825" y="726"/>
                  </a:lnTo>
                  <a:lnTo>
                    <a:pt x="822" y="727"/>
                  </a:lnTo>
                  <a:lnTo>
                    <a:pt x="820" y="727"/>
                  </a:lnTo>
                  <a:lnTo>
                    <a:pt x="818" y="728"/>
                  </a:lnTo>
                  <a:lnTo>
                    <a:pt x="816" y="730"/>
                  </a:lnTo>
                  <a:lnTo>
                    <a:pt x="813" y="731"/>
                  </a:lnTo>
                  <a:lnTo>
                    <a:pt x="811" y="732"/>
                  </a:lnTo>
                  <a:lnTo>
                    <a:pt x="809" y="734"/>
                  </a:lnTo>
                  <a:lnTo>
                    <a:pt x="808" y="734"/>
                  </a:lnTo>
                  <a:lnTo>
                    <a:pt x="807" y="735"/>
                  </a:lnTo>
                  <a:lnTo>
                    <a:pt x="807" y="735"/>
                  </a:lnTo>
                  <a:lnTo>
                    <a:pt x="805" y="735"/>
                  </a:lnTo>
                  <a:lnTo>
                    <a:pt x="805" y="735"/>
                  </a:lnTo>
                  <a:lnTo>
                    <a:pt x="804" y="735"/>
                  </a:lnTo>
                  <a:lnTo>
                    <a:pt x="804" y="734"/>
                  </a:lnTo>
                  <a:lnTo>
                    <a:pt x="803" y="734"/>
                  </a:lnTo>
                  <a:lnTo>
                    <a:pt x="803" y="735"/>
                  </a:lnTo>
                  <a:lnTo>
                    <a:pt x="803" y="735"/>
                  </a:lnTo>
                  <a:lnTo>
                    <a:pt x="802" y="736"/>
                  </a:lnTo>
                  <a:lnTo>
                    <a:pt x="802" y="738"/>
                  </a:lnTo>
                  <a:lnTo>
                    <a:pt x="802" y="739"/>
                  </a:lnTo>
                  <a:lnTo>
                    <a:pt x="802" y="740"/>
                  </a:lnTo>
                  <a:lnTo>
                    <a:pt x="802" y="741"/>
                  </a:lnTo>
                  <a:lnTo>
                    <a:pt x="802" y="743"/>
                  </a:lnTo>
                  <a:lnTo>
                    <a:pt x="802" y="744"/>
                  </a:lnTo>
                  <a:lnTo>
                    <a:pt x="800" y="744"/>
                  </a:lnTo>
                  <a:lnTo>
                    <a:pt x="799" y="744"/>
                  </a:lnTo>
                  <a:lnTo>
                    <a:pt x="799" y="743"/>
                  </a:lnTo>
                  <a:lnTo>
                    <a:pt x="798" y="743"/>
                  </a:lnTo>
                  <a:lnTo>
                    <a:pt x="799" y="744"/>
                  </a:lnTo>
                  <a:lnTo>
                    <a:pt x="800" y="745"/>
                  </a:lnTo>
                  <a:lnTo>
                    <a:pt x="802" y="747"/>
                  </a:lnTo>
                  <a:lnTo>
                    <a:pt x="803" y="748"/>
                  </a:lnTo>
                  <a:lnTo>
                    <a:pt x="803" y="749"/>
                  </a:lnTo>
                  <a:lnTo>
                    <a:pt x="803" y="751"/>
                  </a:lnTo>
                  <a:lnTo>
                    <a:pt x="803" y="752"/>
                  </a:lnTo>
                  <a:lnTo>
                    <a:pt x="803" y="753"/>
                  </a:lnTo>
                  <a:lnTo>
                    <a:pt x="803" y="754"/>
                  </a:lnTo>
                  <a:lnTo>
                    <a:pt x="802" y="754"/>
                  </a:lnTo>
                  <a:lnTo>
                    <a:pt x="800" y="756"/>
                  </a:lnTo>
                  <a:lnTo>
                    <a:pt x="799" y="756"/>
                  </a:lnTo>
                  <a:lnTo>
                    <a:pt x="798" y="757"/>
                  </a:lnTo>
                  <a:lnTo>
                    <a:pt x="795" y="757"/>
                  </a:lnTo>
                  <a:lnTo>
                    <a:pt x="792" y="757"/>
                  </a:lnTo>
                  <a:lnTo>
                    <a:pt x="791" y="757"/>
                  </a:lnTo>
                  <a:lnTo>
                    <a:pt x="790" y="757"/>
                  </a:lnTo>
                  <a:lnTo>
                    <a:pt x="790" y="758"/>
                  </a:lnTo>
                  <a:lnTo>
                    <a:pt x="789" y="758"/>
                  </a:lnTo>
                  <a:lnTo>
                    <a:pt x="787" y="758"/>
                  </a:lnTo>
                  <a:lnTo>
                    <a:pt x="786" y="758"/>
                  </a:lnTo>
                  <a:lnTo>
                    <a:pt x="785" y="760"/>
                  </a:lnTo>
                  <a:lnTo>
                    <a:pt x="783" y="760"/>
                  </a:lnTo>
                  <a:lnTo>
                    <a:pt x="781" y="761"/>
                  </a:lnTo>
                  <a:lnTo>
                    <a:pt x="778" y="761"/>
                  </a:lnTo>
                  <a:lnTo>
                    <a:pt x="776" y="762"/>
                  </a:lnTo>
                  <a:lnTo>
                    <a:pt x="772" y="764"/>
                  </a:lnTo>
                  <a:lnTo>
                    <a:pt x="769" y="765"/>
                  </a:lnTo>
                  <a:lnTo>
                    <a:pt x="764" y="766"/>
                  </a:lnTo>
                  <a:lnTo>
                    <a:pt x="760" y="767"/>
                  </a:lnTo>
                  <a:lnTo>
                    <a:pt x="755" y="769"/>
                  </a:lnTo>
                  <a:lnTo>
                    <a:pt x="748" y="770"/>
                  </a:lnTo>
                  <a:lnTo>
                    <a:pt x="743" y="771"/>
                  </a:lnTo>
                  <a:lnTo>
                    <a:pt x="739" y="773"/>
                  </a:lnTo>
                  <a:lnTo>
                    <a:pt x="735" y="774"/>
                  </a:lnTo>
                  <a:lnTo>
                    <a:pt x="732" y="775"/>
                  </a:lnTo>
                  <a:lnTo>
                    <a:pt x="729" y="777"/>
                  </a:lnTo>
                  <a:lnTo>
                    <a:pt x="724" y="778"/>
                  </a:lnTo>
                  <a:lnTo>
                    <a:pt x="720" y="779"/>
                  </a:lnTo>
                  <a:lnTo>
                    <a:pt x="716" y="780"/>
                  </a:lnTo>
                  <a:lnTo>
                    <a:pt x="711" y="782"/>
                  </a:lnTo>
                  <a:lnTo>
                    <a:pt x="707" y="783"/>
                  </a:lnTo>
                  <a:lnTo>
                    <a:pt x="702" y="784"/>
                  </a:lnTo>
                  <a:lnTo>
                    <a:pt x="696" y="786"/>
                  </a:lnTo>
                  <a:lnTo>
                    <a:pt x="691" y="787"/>
                  </a:lnTo>
                  <a:lnTo>
                    <a:pt x="686" y="790"/>
                  </a:lnTo>
                  <a:lnTo>
                    <a:pt x="681" y="791"/>
                  </a:lnTo>
                  <a:lnTo>
                    <a:pt x="674" y="792"/>
                  </a:lnTo>
                  <a:lnTo>
                    <a:pt x="668" y="795"/>
                  </a:lnTo>
                  <a:lnTo>
                    <a:pt x="663" y="796"/>
                  </a:lnTo>
                  <a:lnTo>
                    <a:pt x="656" y="799"/>
                  </a:lnTo>
                  <a:lnTo>
                    <a:pt x="650" y="800"/>
                  </a:lnTo>
                  <a:lnTo>
                    <a:pt x="642" y="801"/>
                  </a:lnTo>
                  <a:lnTo>
                    <a:pt x="642" y="802"/>
                  </a:lnTo>
                  <a:lnTo>
                    <a:pt x="642" y="802"/>
                  </a:lnTo>
                  <a:lnTo>
                    <a:pt x="643" y="804"/>
                  </a:lnTo>
                  <a:lnTo>
                    <a:pt x="643" y="805"/>
                  </a:lnTo>
                  <a:lnTo>
                    <a:pt x="643" y="806"/>
                  </a:lnTo>
                  <a:lnTo>
                    <a:pt x="643" y="809"/>
                  </a:lnTo>
                  <a:lnTo>
                    <a:pt x="645" y="812"/>
                  </a:lnTo>
                  <a:lnTo>
                    <a:pt x="645" y="814"/>
                  </a:lnTo>
                  <a:lnTo>
                    <a:pt x="646" y="815"/>
                  </a:lnTo>
                  <a:lnTo>
                    <a:pt x="646" y="817"/>
                  </a:lnTo>
                  <a:lnTo>
                    <a:pt x="646" y="819"/>
                  </a:lnTo>
                  <a:lnTo>
                    <a:pt x="647" y="822"/>
                  </a:lnTo>
                  <a:lnTo>
                    <a:pt x="647" y="823"/>
                  </a:lnTo>
                  <a:lnTo>
                    <a:pt x="648" y="826"/>
                  </a:lnTo>
                  <a:lnTo>
                    <a:pt x="648" y="830"/>
                  </a:lnTo>
                  <a:lnTo>
                    <a:pt x="650" y="832"/>
                  </a:lnTo>
                  <a:lnTo>
                    <a:pt x="650" y="835"/>
                  </a:lnTo>
                  <a:lnTo>
                    <a:pt x="651" y="839"/>
                  </a:lnTo>
                  <a:lnTo>
                    <a:pt x="651" y="841"/>
                  </a:lnTo>
                  <a:lnTo>
                    <a:pt x="652" y="845"/>
                  </a:lnTo>
                  <a:lnTo>
                    <a:pt x="652" y="849"/>
                  </a:lnTo>
                  <a:lnTo>
                    <a:pt x="654" y="853"/>
                  </a:lnTo>
                  <a:lnTo>
                    <a:pt x="655" y="858"/>
                  </a:lnTo>
                  <a:lnTo>
                    <a:pt x="656" y="864"/>
                  </a:lnTo>
                  <a:lnTo>
                    <a:pt x="658" y="867"/>
                  </a:lnTo>
                  <a:lnTo>
                    <a:pt x="659" y="873"/>
                  </a:lnTo>
                  <a:lnTo>
                    <a:pt x="660" y="879"/>
                  </a:lnTo>
                  <a:lnTo>
                    <a:pt x="661" y="884"/>
                  </a:lnTo>
                  <a:lnTo>
                    <a:pt x="663" y="889"/>
                  </a:lnTo>
                  <a:lnTo>
                    <a:pt x="664" y="896"/>
                  </a:lnTo>
                  <a:lnTo>
                    <a:pt x="665" y="902"/>
                  </a:lnTo>
                  <a:lnTo>
                    <a:pt x="667" y="909"/>
                  </a:lnTo>
                  <a:lnTo>
                    <a:pt x="668" y="917"/>
                  </a:lnTo>
                  <a:lnTo>
                    <a:pt x="671" y="925"/>
                  </a:lnTo>
                  <a:lnTo>
                    <a:pt x="672" y="932"/>
                  </a:lnTo>
                  <a:lnTo>
                    <a:pt x="674" y="940"/>
                  </a:lnTo>
                  <a:lnTo>
                    <a:pt x="676" y="949"/>
                  </a:lnTo>
                  <a:lnTo>
                    <a:pt x="678" y="957"/>
                  </a:lnTo>
                  <a:lnTo>
                    <a:pt x="681" y="966"/>
                  </a:lnTo>
                  <a:lnTo>
                    <a:pt x="682" y="976"/>
                  </a:lnTo>
                  <a:lnTo>
                    <a:pt x="685" y="986"/>
                  </a:lnTo>
                  <a:lnTo>
                    <a:pt x="687" y="996"/>
                  </a:lnTo>
                  <a:lnTo>
                    <a:pt x="690" y="1006"/>
                  </a:lnTo>
                  <a:lnTo>
                    <a:pt x="693" y="1018"/>
                  </a:lnTo>
                  <a:lnTo>
                    <a:pt x="695" y="1030"/>
                  </a:lnTo>
                  <a:lnTo>
                    <a:pt x="698" y="1040"/>
                  </a:lnTo>
                  <a:lnTo>
                    <a:pt x="700" y="1053"/>
                  </a:lnTo>
                  <a:lnTo>
                    <a:pt x="703" y="1065"/>
                  </a:lnTo>
                  <a:lnTo>
                    <a:pt x="706" y="1079"/>
                  </a:lnTo>
                  <a:lnTo>
                    <a:pt x="709" y="1092"/>
                  </a:lnTo>
                  <a:lnTo>
                    <a:pt x="686" y="1092"/>
                  </a:lnTo>
                  <a:lnTo>
                    <a:pt x="684" y="1092"/>
                  </a:lnTo>
                  <a:lnTo>
                    <a:pt x="682" y="1092"/>
                  </a:lnTo>
                  <a:lnTo>
                    <a:pt x="677" y="1091"/>
                  </a:lnTo>
                  <a:lnTo>
                    <a:pt x="673" y="1089"/>
                  </a:lnTo>
                  <a:lnTo>
                    <a:pt x="669" y="1087"/>
                  </a:lnTo>
                  <a:lnTo>
                    <a:pt x="667" y="1084"/>
                  </a:lnTo>
                  <a:lnTo>
                    <a:pt x="663" y="1082"/>
                  </a:lnTo>
                  <a:lnTo>
                    <a:pt x="660" y="1080"/>
                  </a:lnTo>
                  <a:lnTo>
                    <a:pt x="658" y="1076"/>
                  </a:lnTo>
                  <a:lnTo>
                    <a:pt x="654" y="1073"/>
                  </a:lnTo>
                  <a:lnTo>
                    <a:pt x="651" y="1069"/>
                  </a:lnTo>
                  <a:lnTo>
                    <a:pt x="646" y="1062"/>
                  </a:lnTo>
                  <a:lnTo>
                    <a:pt x="639" y="1054"/>
                  </a:lnTo>
                  <a:lnTo>
                    <a:pt x="634" y="1048"/>
                  </a:lnTo>
                  <a:lnTo>
                    <a:pt x="628" y="1041"/>
                  </a:lnTo>
                  <a:lnTo>
                    <a:pt x="620" y="1036"/>
                  </a:lnTo>
                  <a:lnTo>
                    <a:pt x="613" y="1031"/>
                  </a:lnTo>
                  <a:lnTo>
                    <a:pt x="610" y="1027"/>
                  </a:lnTo>
                  <a:lnTo>
                    <a:pt x="604" y="1025"/>
                  </a:lnTo>
                  <a:lnTo>
                    <a:pt x="601" y="1023"/>
                  </a:lnTo>
                  <a:lnTo>
                    <a:pt x="594" y="1022"/>
                  </a:lnTo>
                  <a:lnTo>
                    <a:pt x="590" y="1021"/>
                  </a:lnTo>
                  <a:lnTo>
                    <a:pt x="585" y="1019"/>
                  </a:lnTo>
                  <a:lnTo>
                    <a:pt x="581" y="1018"/>
                  </a:lnTo>
                  <a:lnTo>
                    <a:pt x="577" y="1018"/>
                  </a:lnTo>
                  <a:lnTo>
                    <a:pt x="573" y="1017"/>
                  </a:lnTo>
                  <a:lnTo>
                    <a:pt x="569" y="1015"/>
                  </a:lnTo>
                  <a:lnTo>
                    <a:pt x="565" y="1015"/>
                  </a:lnTo>
                  <a:lnTo>
                    <a:pt x="562" y="1014"/>
                  </a:lnTo>
                  <a:lnTo>
                    <a:pt x="558" y="1014"/>
                  </a:lnTo>
                  <a:lnTo>
                    <a:pt x="554" y="1014"/>
                  </a:lnTo>
                  <a:lnTo>
                    <a:pt x="550" y="1015"/>
                  </a:lnTo>
                  <a:lnTo>
                    <a:pt x="546" y="1015"/>
                  </a:lnTo>
                  <a:lnTo>
                    <a:pt x="542" y="1017"/>
                  </a:lnTo>
                  <a:lnTo>
                    <a:pt x="538" y="1018"/>
                  </a:lnTo>
                  <a:lnTo>
                    <a:pt x="533" y="1018"/>
                  </a:lnTo>
                  <a:lnTo>
                    <a:pt x="528" y="1018"/>
                  </a:lnTo>
                  <a:lnTo>
                    <a:pt x="523" y="1018"/>
                  </a:lnTo>
                  <a:lnTo>
                    <a:pt x="517" y="1019"/>
                  </a:lnTo>
                  <a:lnTo>
                    <a:pt x="512" y="1022"/>
                  </a:lnTo>
                  <a:lnTo>
                    <a:pt x="508" y="1023"/>
                  </a:lnTo>
                  <a:lnTo>
                    <a:pt x="503" y="1026"/>
                  </a:lnTo>
                  <a:lnTo>
                    <a:pt x="499" y="1027"/>
                  </a:lnTo>
                  <a:lnTo>
                    <a:pt x="495" y="1031"/>
                  </a:lnTo>
                  <a:lnTo>
                    <a:pt x="492" y="1034"/>
                  </a:lnTo>
                  <a:lnTo>
                    <a:pt x="488" y="1036"/>
                  </a:lnTo>
                  <a:lnTo>
                    <a:pt x="484" y="1039"/>
                  </a:lnTo>
                  <a:lnTo>
                    <a:pt x="480" y="1043"/>
                  </a:lnTo>
                  <a:lnTo>
                    <a:pt x="477" y="1047"/>
                  </a:lnTo>
                  <a:lnTo>
                    <a:pt x="475" y="1051"/>
                  </a:lnTo>
                  <a:lnTo>
                    <a:pt x="472" y="1054"/>
                  </a:lnTo>
                  <a:lnTo>
                    <a:pt x="472" y="1053"/>
                  </a:lnTo>
                  <a:lnTo>
                    <a:pt x="471" y="1052"/>
                  </a:lnTo>
                  <a:lnTo>
                    <a:pt x="471" y="1048"/>
                  </a:lnTo>
                  <a:lnTo>
                    <a:pt x="470" y="1044"/>
                  </a:lnTo>
                  <a:lnTo>
                    <a:pt x="468" y="1040"/>
                  </a:lnTo>
                  <a:lnTo>
                    <a:pt x="467" y="1035"/>
                  </a:lnTo>
                  <a:lnTo>
                    <a:pt x="466" y="1032"/>
                  </a:lnTo>
                  <a:lnTo>
                    <a:pt x="464" y="1028"/>
                  </a:lnTo>
                  <a:lnTo>
                    <a:pt x="464" y="1026"/>
                  </a:lnTo>
                  <a:lnTo>
                    <a:pt x="464" y="1025"/>
                  </a:lnTo>
                  <a:lnTo>
                    <a:pt x="467" y="1019"/>
                  </a:lnTo>
                  <a:lnTo>
                    <a:pt x="470" y="1014"/>
                  </a:lnTo>
                  <a:lnTo>
                    <a:pt x="472" y="1008"/>
                  </a:lnTo>
                  <a:lnTo>
                    <a:pt x="472" y="1005"/>
                  </a:lnTo>
                  <a:lnTo>
                    <a:pt x="473" y="1002"/>
                  </a:lnTo>
                  <a:lnTo>
                    <a:pt x="475" y="1000"/>
                  </a:lnTo>
                  <a:lnTo>
                    <a:pt x="475" y="997"/>
                  </a:lnTo>
                  <a:lnTo>
                    <a:pt x="475" y="995"/>
                  </a:lnTo>
                  <a:lnTo>
                    <a:pt x="475" y="991"/>
                  </a:lnTo>
                  <a:lnTo>
                    <a:pt x="475" y="988"/>
                  </a:lnTo>
                  <a:lnTo>
                    <a:pt x="473" y="986"/>
                  </a:lnTo>
                  <a:lnTo>
                    <a:pt x="473" y="986"/>
                  </a:lnTo>
                  <a:lnTo>
                    <a:pt x="473" y="986"/>
                  </a:lnTo>
                  <a:lnTo>
                    <a:pt x="475" y="984"/>
                  </a:lnTo>
                  <a:lnTo>
                    <a:pt x="475" y="983"/>
                  </a:lnTo>
                  <a:lnTo>
                    <a:pt x="475" y="982"/>
                  </a:lnTo>
                  <a:lnTo>
                    <a:pt x="475" y="980"/>
                  </a:lnTo>
                  <a:lnTo>
                    <a:pt x="473" y="980"/>
                  </a:lnTo>
                  <a:lnTo>
                    <a:pt x="473" y="979"/>
                  </a:lnTo>
                  <a:lnTo>
                    <a:pt x="472" y="978"/>
                  </a:lnTo>
                  <a:lnTo>
                    <a:pt x="471" y="978"/>
                  </a:lnTo>
                  <a:lnTo>
                    <a:pt x="470" y="976"/>
                  </a:lnTo>
                  <a:lnTo>
                    <a:pt x="468" y="976"/>
                  </a:lnTo>
                  <a:lnTo>
                    <a:pt x="464" y="975"/>
                  </a:lnTo>
                  <a:lnTo>
                    <a:pt x="462" y="974"/>
                  </a:lnTo>
                  <a:lnTo>
                    <a:pt x="458" y="973"/>
                  </a:lnTo>
                  <a:lnTo>
                    <a:pt x="453" y="971"/>
                  </a:lnTo>
                  <a:lnTo>
                    <a:pt x="449" y="971"/>
                  </a:lnTo>
                  <a:lnTo>
                    <a:pt x="446" y="970"/>
                  </a:lnTo>
                  <a:lnTo>
                    <a:pt x="442" y="969"/>
                  </a:lnTo>
                  <a:lnTo>
                    <a:pt x="438" y="969"/>
                  </a:lnTo>
                  <a:lnTo>
                    <a:pt x="437" y="967"/>
                  </a:lnTo>
                  <a:lnTo>
                    <a:pt x="436" y="967"/>
                  </a:lnTo>
                  <a:lnTo>
                    <a:pt x="434" y="966"/>
                  </a:lnTo>
                  <a:lnTo>
                    <a:pt x="434" y="966"/>
                  </a:lnTo>
                  <a:lnTo>
                    <a:pt x="433" y="966"/>
                  </a:lnTo>
                  <a:lnTo>
                    <a:pt x="432" y="966"/>
                  </a:lnTo>
                  <a:lnTo>
                    <a:pt x="431" y="966"/>
                  </a:lnTo>
                  <a:lnTo>
                    <a:pt x="428" y="967"/>
                  </a:lnTo>
                  <a:lnTo>
                    <a:pt x="427" y="969"/>
                  </a:lnTo>
                  <a:lnTo>
                    <a:pt x="425" y="969"/>
                  </a:lnTo>
                  <a:lnTo>
                    <a:pt x="425" y="969"/>
                  </a:lnTo>
                  <a:lnTo>
                    <a:pt x="424" y="969"/>
                  </a:lnTo>
                  <a:lnTo>
                    <a:pt x="423" y="969"/>
                  </a:lnTo>
                  <a:lnTo>
                    <a:pt x="422" y="967"/>
                  </a:lnTo>
                  <a:lnTo>
                    <a:pt x="420" y="967"/>
                  </a:lnTo>
                  <a:lnTo>
                    <a:pt x="419" y="966"/>
                  </a:lnTo>
                  <a:lnTo>
                    <a:pt x="418" y="962"/>
                  </a:lnTo>
                  <a:lnTo>
                    <a:pt x="414" y="960"/>
                  </a:lnTo>
                  <a:lnTo>
                    <a:pt x="411" y="957"/>
                  </a:lnTo>
                  <a:lnTo>
                    <a:pt x="410" y="954"/>
                  </a:lnTo>
                  <a:lnTo>
                    <a:pt x="407" y="952"/>
                  </a:lnTo>
                  <a:lnTo>
                    <a:pt x="406" y="949"/>
                  </a:lnTo>
                  <a:lnTo>
                    <a:pt x="405" y="945"/>
                  </a:lnTo>
                  <a:lnTo>
                    <a:pt x="405" y="944"/>
                  </a:lnTo>
                  <a:lnTo>
                    <a:pt x="405" y="943"/>
                  </a:lnTo>
                  <a:lnTo>
                    <a:pt x="403" y="943"/>
                  </a:lnTo>
                  <a:lnTo>
                    <a:pt x="403" y="941"/>
                  </a:lnTo>
                  <a:lnTo>
                    <a:pt x="402" y="941"/>
                  </a:lnTo>
                  <a:lnTo>
                    <a:pt x="399" y="941"/>
                  </a:lnTo>
                  <a:lnTo>
                    <a:pt x="397" y="941"/>
                  </a:lnTo>
                  <a:lnTo>
                    <a:pt x="394" y="943"/>
                  </a:lnTo>
                  <a:lnTo>
                    <a:pt x="392" y="943"/>
                  </a:lnTo>
                  <a:lnTo>
                    <a:pt x="389" y="944"/>
                  </a:lnTo>
                  <a:lnTo>
                    <a:pt x="387" y="944"/>
                  </a:lnTo>
                  <a:lnTo>
                    <a:pt x="385" y="944"/>
                  </a:lnTo>
                  <a:lnTo>
                    <a:pt x="383" y="944"/>
                  </a:lnTo>
                  <a:lnTo>
                    <a:pt x="380" y="943"/>
                  </a:lnTo>
                  <a:lnTo>
                    <a:pt x="380" y="943"/>
                  </a:lnTo>
                  <a:lnTo>
                    <a:pt x="379" y="941"/>
                  </a:lnTo>
                  <a:lnTo>
                    <a:pt x="377" y="941"/>
                  </a:lnTo>
                  <a:lnTo>
                    <a:pt x="377" y="940"/>
                  </a:lnTo>
                  <a:lnTo>
                    <a:pt x="376" y="939"/>
                  </a:lnTo>
                  <a:lnTo>
                    <a:pt x="376" y="938"/>
                  </a:lnTo>
                  <a:lnTo>
                    <a:pt x="376" y="935"/>
                  </a:lnTo>
                  <a:lnTo>
                    <a:pt x="375" y="934"/>
                  </a:lnTo>
                  <a:lnTo>
                    <a:pt x="375" y="931"/>
                  </a:lnTo>
                  <a:lnTo>
                    <a:pt x="375" y="928"/>
                  </a:lnTo>
                  <a:lnTo>
                    <a:pt x="375" y="927"/>
                  </a:lnTo>
                  <a:lnTo>
                    <a:pt x="375" y="926"/>
                  </a:lnTo>
                  <a:lnTo>
                    <a:pt x="375" y="925"/>
                  </a:lnTo>
                  <a:lnTo>
                    <a:pt x="375" y="922"/>
                  </a:lnTo>
                  <a:lnTo>
                    <a:pt x="374" y="921"/>
                  </a:lnTo>
                  <a:lnTo>
                    <a:pt x="374" y="919"/>
                  </a:lnTo>
                  <a:lnTo>
                    <a:pt x="372" y="918"/>
                  </a:lnTo>
                  <a:lnTo>
                    <a:pt x="371" y="915"/>
                  </a:lnTo>
                  <a:lnTo>
                    <a:pt x="370" y="914"/>
                  </a:lnTo>
                  <a:lnTo>
                    <a:pt x="368" y="913"/>
                  </a:lnTo>
                  <a:lnTo>
                    <a:pt x="366" y="912"/>
                  </a:lnTo>
                  <a:lnTo>
                    <a:pt x="363" y="910"/>
                  </a:lnTo>
                  <a:lnTo>
                    <a:pt x="361" y="909"/>
                  </a:lnTo>
                  <a:lnTo>
                    <a:pt x="359" y="906"/>
                  </a:lnTo>
                  <a:lnTo>
                    <a:pt x="357" y="905"/>
                  </a:lnTo>
                  <a:lnTo>
                    <a:pt x="355" y="902"/>
                  </a:lnTo>
                  <a:lnTo>
                    <a:pt x="354" y="899"/>
                  </a:lnTo>
                  <a:lnTo>
                    <a:pt x="351" y="895"/>
                  </a:lnTo>
                  <a:lnTo>
                    <a:pt x="350" y="891"/>
                  </a:lnTo>
                  <a:lnTo>
                    <a:pt x="348" y="887"/>
                  </a:lnTo>
                  <a:lnTo>
                    <a:pt x="346" y="886"/>
                  </a:lnTo>
                  <a:lnTo>
                    <a:pt x="345" y="884"/>
                  </a:lnTo>
                  <a:lnTo>
                    <a:pt x="344" y="880"/>
                  </a:lnTo>
                  <a:lnTo>
                    <a:pt x="342" y="879"/>
                  </a:lnTo>
                  <a:lnTo>
                    <a:pt x="339" y="874"/>
                  </a:lnTo>
                  <a:lnTo>
                    <a:pt x="335" y="870"/>
                  </a:lnTo>
                  <a:lnTo>
                    <a:pt x="329" y="866"/>
                  </a:lnTo>
                  <a:lnTo>
                    <a:pt x="324" y="864"/>
                  </a:lnTo>
                  <a:lnTo>
                    <a:pt x="319" y="860"/>
                  </a:lnTo>
                  <a:lnTo>
                    <a:pt x="314" y="857"/>
                  </a:lnTo>
                  <a:lnTo>
                    <a:pt x="309" y="854"/>
                  </a:lnTo>
                  <a:lnTo>
                    <a:pt x="307" y="854"/>
                  </a:lnTo>
                  <a:lnTo>
                    <a:pt x="305" y="853"/>
                  </a:lnTo>
                  <a:lnTo>
                    <a:pt x="303" y="853"/>
                  </a:lnTo>
                  <a:lnTo>
                    <a:pt x="301" y="853"/>
                  </a:lnTo>
                  <a:lnTo>
                    <a:pt x="298" y="852"/>
                  </a:lnTo>
                  <a:lnTo>
                    <a:pt x="296" y="851"/>
                  </a:lnTo>
                  <a:lnTo>
                    <a:pt x="294" y="849"/>
                  </a:lnTo>
                  <a:lnTo>
                    <a:pt x="293" y="848"/>
                  </a:lnTo>
                  <a:lnTo>
                    <a:pt x="291" y="848"/>
                  </a:lnTo>
                  <a:lnTo>
                    <a:pt x="289" y="845"/>
                  </a:lnTo>
                  <a:lnTo>
                    <a:pt x="289" y="844"/>
                  </a:lnTo>
                  <a:lnTo>
                    <a:pt x="288" y="841"/>
                  </a:lnTo>
                  <a:lnTo>
                    <a:pt x="289" y="840"/>
                  </a:lnTo>
                  <a:lnTo>
                    <a:pt x="289" y="839"/>
                  </a:lnTo>
                  <a:lnTo>
                    <a:pt x="289" y="838"/>
                  </a:lnTo>
                  <a:lnTo>
                    <a:pt x="289" y="838"/>
                  </a:lnTo>
                  <a:lnTo>
                    <a:pt x="291" y="836"/>
                  </a:lnTo>
                  <a:lnTo>
                    <a:pt x="292" y="834"/>
                  </a:lnTo>
                  <a:lnTo>
                    <a:pt x="292" y="832"/>
                  </a:lnTo>
                  <a:lnTo>
                    <a:pt x="293" y="832"/>
                  </a:lnTo>
                  <a:lnTo>
                    <a:pt x="294" y="831"/>
                  </a:lnTo>
                  <a:lnTo>
                    <a:pt x="297" y="830"/>
                  </a:lnTo>
                  <a:lnTo>
                    <a:pt x="298" y="830"/>
                  </a:lnTo>
                  <a:lnTo>
                    <a:pt x="300" y="828"/>
                  </a:lnTo>
                  <a:lnTo>
                    <a:pt x="302" y="828"/>
                  </a:lnTo>
                  <a:lnTo>
                    <a:pt x="305" y="828"/>
                  </a:lnTo>
                  <a:lnTo>
                    <a:pt x="309" y="830"/>
                  </a:lnTo>
                  <a:lnTo>
                    <a:pt x="314" y="830"/>
                  </a:lnTo>
                  <a:lnTo>
                    <a:pt x="319" y="831"/>
                  </a:lnTo>
                  <a:lnTo>
                    <a:pt x="324" y="832"/>
                  </a:lnTo>
                  <a:lnTo>
                    <a:pt x="328" y="832"/>
                  </a:lnTo>
                  <a:lnTo>
                    <a:pt x="331" y="832"/>
                  </a:lnTo>
                  <a:lnTo>
                    <a:pt x="332" y="832"/>
                  </a:lnTo>
                  <a:lnTo>
                    <a:pt x="333" y="832"/>
                  </a:lnTo>
                  <a:lnTo>
                    <a:pt x="335" y="832"/>
                  </a:lnTo>
                  <a:lnTo>
                    <a:pt x="337" y="834"/>
                  </a:lnTo>
                  <a:lnTo>
                    <a:pt x="339" y="835"/>
                  </a:lnTo>
                  <a:lnTo>
                    <a:pt x="340" y="836"/>
                  </a:lnTo>
                  <a:lnTo>
                    <a:pt x="341" y="838"/>
                  </a:lnTo>
                  <a:lnTo>
                    <a:pt x="342" y="839"/>
                  </a:lnTo>
                  <a:lnTo>
                    <a:pt x="344" y="839"/>
                  </a:lnTo>
                  <a:lnTo>
                    <a:pt x="345" y="839"/>
                  </a:lnTo>
                  <a:lnTo>
                    <a:pt x="346" y="840"/>
                  </a:lnTo>
                  <a:lnTo>
                    <a:pt x="349" y="841"/>
                  </a:lnTo>
                  <a:lnTo>
                    <a:pt x="350" y="841"/>
                  </a:lnTo>
                  <a:lnTo>
                    <a:pt x="353" y="843"/>
                  </a:lnTo>
                  <a:lnTo>
                    <a:pt x="354" y="843"/>
                  </a:lnTo>
                  <a:lnTo>
                    <a:pt x="355" y="843"/>
                  </a:lnTo>
                  <a:lnTo>
                    <a:pt x="361" y="841"/>
                  </a:lnTo>
                  <a:lnTo>
                    <a:pt x="364" y="841"/>
                  </a:lnTo>
                  <a:lnTo>
                    <a:pt x="368" y="840"/>
                  </a:lnTo>
                  <a:lnTo>
                    <a:pt x="372" y="840"/>
                  </a:lnTo>
                  <a:lnTo>
                    <a:pt x="374" y="839"/>
                  </a:lnTo>
                  <a:lnTo>
                    <a:pt x="375" y="839"/>
                  </a:lnTo>
                  <a:lnTo>
                    <a:pt x="374" y="836"/>
                  </a:lnTo>
                  <a:lnTo>
                    <a:pt x="371" y="834"/>
                  </a:lnTo>
                  <a:lnTo>
                    <a:pt x="370" y="832"/>
                  </a:lnTo>
                  <a:lnTo>
                    <a:pt x="367" y="831"/>
                  </a:lnTo>
                  <a:lnTo>
                    <a:pt x="364" y="830"/>
                  </a:lnTo>
                  <a:lnTo>
                    <a:pt x="362" y="827"/>
                  </a:lnTo>
                  <a:lnTo>
                    <a:pt x="357" y="826"/>
                  </a:lnTo>
                  <a:lnTo>
                    <a:pt x="351" y="823"/>
                  </a:lnTo>
                  <a:lnTo>
                    <a:pt x="349" y="822"/>
                  </a:lnTo>
                  <a:lnTo>
                    <a:pt x="346" y="822"/>
                  </a:lnTo>
                  <a:lnTo>
                    <a:pt x="344" y="821"/>
                  </a:lnTo>
                  <a:lnTo>
                    <a:pt x="341" y="819"/>
                  </a:lnTo>
                  <a:lnTo>
                    <a:pt x="340" y="818"/>
                  </a:lnTo>
                  <a:lnTo>
                    <a:pt x="339" y="817"/>
                  </a:lnTo>
                  <a:lnTo>
                    <a:pt x="337" y="815"/>
                  </a:lnTo>
                  <a:lnTo>
                    <a:pt x="336" y="813"/>
                  </a:lnTo>
                  <a:lnTo>
                    <a:pt x="336" y="810"/>
                  </a:lnTo>
                  <a:lnTo>
                    <a:pt x="336" y="808"/>
                  </a:lnTo>
                  <a:lnTo>
                    <a:pt x="337" y="805"/>
                  </a:lnTo>
                  <a:lnTo>
                    <a:pt x="337" y="801"/>
                  </a:lnTo>
                  <a:lnTo>
                    <a:pt x="339" y="799"/>
                  </a:lnTo>
                  <a:lnTo>
                    <a:pt x="340" y="796"/>
                  </a:lnTo>
                  <a:lnTo>
                    <a:pt x="341" y="792"/>
                  </a:lnTo>
                  <a:lnTo>
                    <a:pt x="342" y="790"/>
                  </a:lnTo>
                  <a:lnTo>
                    <a:pt x="345" y="787"/>
                  </a:lnTo>
                  <a:lnTo>
                    <a:pt x="346" y="784"/>
                  </a:lnTo>
                  <a:lnTo>
                    <a:pt x="348" y="783"/>
                  </a:lnTo>
                  <a:lnTo>
                    <a:pt x="350" y="782"/>
                  </a:lnTo>
                  <a:lnTo>
                    <a:pt x="351" y="780"/>
                  </a:lnTo>
                  <a:lnTo>
                    <a:pt x="353" y="780"/>
                  </a:lnTo>
                  <a:lnTo>
                    <a:pt x="353" y="780"/>
                  </a:lnTo>
                  <a:lnTo>
                    <a:pt x="355" y="777"/>
                  </a:lnTo>
                  <a:lnTo>
                    <a:pt x="358" y="774"/>
                  </a:lnTo>
                  <a:lnTo>
                    <a:pt x="361" y="771"/>
                  </a:lnTo>
                  <a:lnTo>
                    <a:pt x="363" y="770"/>
                  </a:lnTo>
                  <a:lnTo>
                    <a:pt x="364" y="767"/>
                  </a:lnTo>
                  <a:lnTo>
                    <a:pt x="367" y="766"/>
                  </a:lnTo>
                  <a:lnTo>
                    <a:pt x="367" y="765"/>
                  </a:lnTo>
                  <a:lnTo>
                    <a:pt x="368" y="765"/>
                  </a:lnTo>
                  <a:lnTo>
                    <a:pt x="370" y="766"/>
                  </a:lnTo>
                  <a:lnTo>
                    <a:pt x="371" y="767"/>
                  </a:lnTo>
                  <a:lnTo>
                    <a:pt x="372" y="770"/>
                  </a:lnTo>
                  <a:lnTo>
                    <a:pt x="374" y="770"/>
                  </a:lnTo>
                  <a:lnTo>
                    <a:pt x="375" y="771"/>
                  </a:lnTo>
                  <a:lnTo>
                    <a:pt x="376" y="771"/>
                  </a:lnTo>
                  <a:lnTo>
                    <a:pt x="377" y="773"/>
                  </a:lnTo>
                  <a:lnTo>
                    <a:pt x="380" y="773"/>
                  </a:lnTo>
                  <a:lnTo>
                    <a:pt x="381" y="773"/>
                  </a:lnTo>
                  <a:lnTo>
                    <a:pt x="383" y="773"/>
                  </a:lnTo>
                  <a:lnTo>
                    <a:pt x="384" y="773"/>
                  </a:lnTo>
                  <a:lnTo>
                    <a:pt x="384" y="773"/>
                  </a:lnTo>
                  <a:lnTo>
                    <a:pt x="385" y="773"/>
                  </a:lnTo>
                  <a:lnTo>
                    <a:pt x="387" y="773"/>
                  </a:lnTo>
                  <a:lnTo>
                    <a:pt x="387" y="773"/>
                  </a:lnTo>
                  <a:lnTo>
                    <a:pt x="389" y="773"/>
                  </a:lnTo>
                  <a:lnTo>
                    <a:pt x="393" y="773"/>
                  </a:lnTo>
                  <a:lnTo>
                    <a:pt x="394" y="773"/>
                  </a:lnTo>
                  <a:lnTo>
                    <a:pt x="396" y="773"/>
                  </a:lnTo>
                  <a:lnTo>
                    <a:pt x="396" y="773"/>
                  </a:lnTo>
                  <a:lnTo>
                    <a:pt x="397" y="773"/>
                  </a:lnTo>
                  <a:lnTo>
                    <a:pt x="397" y="773"/>
                  </a:lnTo>
                  <a:lnTo>
                    <a:pt x="402" y="773"/>
                  </a:lnTo>
                  <a:lnTo>
                    <a:pt x="406" y="773"/>
                  </a:lnTo>
                  <a:lnTo>
                    <a:pt x="411" y="774"/>
                  </a:lnTo>
                  <a:lnTo>
                    <a:pt x="415" y="774"/>
                  </a:lnTo>
                  <a:lnTo>
                    <a:pt x="424" y="777"/>
                  </a:lnTo>
                  <a:lnTo>
                    <a:pt x="429" y="777"/>
                  </a:lnTo>
                  <a:lnTo>
                    <a:pt x="433" y="778"/>
                  </a:lnTo>
                  <a:lnTo>
                    <a:pt x="438" y="779"/>
                  </a:lnTo>
                  <a:lnTo>
                    <a:pt x="442" y="779"/>
                  </a:lnTo>
                  <a:lnTo>
                    <a:pt x="446" y="779"/>
                  </a:lnTo>
                  <a:lnTo>
                    <a:pt x="450" y="779"/>
                  </a:lnTo>
                  <a:lnTo>
                    <a:pt x="454" y="778"/>
                  </a:lnTo>
                  <a:lnTo>
                    <a:pt x="458" y="777"/>
                  </a:lnTo>
                  <a:lnTo>
                    <a:pt x="459" y="775"/>
                  </a:lnTo>
                  <a:lnTo>
                    <a:pt x="462" y="775"/>
                  </a:lnTo>
                  <a:lnTo>
                    <a:pt x="463" y="774"/>
                  </a:lnTo>
                  <a:lnTo>
                    <a:pt x="464" y="773"/>
                  </a:lnTo>
                  <a:lnTo>
                    <a:pt x="463" y="773"/>
                  </a:lnTo>
                  <a:lnTo>
                    <a:pt x="460" y="771"/>
                  </a:lnTo>
                  <a:lnTo>
                    <a:pt x="459" y="771"/>
                  </a:lnTo>
                  <a:lnTo>
                    <a:pt x="457" y="771"/>
                  </a:lnTo>
                  <a:lnTo>
                    <a:pt x="451" y="770"/>
                  </a:lnTo>
                  <a:lnTo>
                    <a:pt x="446" y="767"/>
                  </a:lnTo>
                  <a:lnTo>
                    <a:pt x="445" y="767"/>
                  </a:lnTo>
                  <a:lnTo>
                    <a:pt x="442" y="766"/>
                  </a:lnTo>
                  <a:lnTo>
                    <a:pt x="440" y="765"/>
                  </a:lnTo>
                  <a:lnTo>
                    <a:pt x="438" y="764"/>
                  </a:lnTo>
                  <a:lnTo>
                    <a:pt x="436" y="762"/>
                  </a:lnTo>
                  <a:lnTo>
                    <a:pt x="436" y="760"/>
                  </a:lnTo>
                  <a:lnTo>
                    <a:pt x="434" y="758"/>
                  </a:lnTo>
                  <a:lnTo>
                    <a:pt x="434" y="757"/>
                  </a:lnTo>
                  <a:lnTo>
                    <a:pt x="433" y="756"/>
                  </a:lnTo>
                  <a:lnTo>
                    <a:pt x="433" y="754"/>
                  </a:lnTo>
                  <a:lnTo>
                    <a:pt x="433" y="752"/>
                  </a:lnTo>
                  <a:lnTo>
                    <a:pt x="433" y="748"/>
                  </a:lnTo>
                  <a:lnTo>
                    <a:pt x="433" y="745"/>
                  </a:lnTo>
                  <a:lnTo>
                    <a:pt x="434" y="741"/>
                  </a:lnTo>
                  <a:lnTo>
                    <a:pt x="436" y="739"/>
                  </a:lnTo>
                  <a:lnTo>
                    <a:pt x="437" y="735"/>
                  </a:lnTo>
                  <a:lnTo>
                    <a:pt x="440" y="731"/>
                  </a:lnTo>
                  <a:lnTo>
                    <a:pt x="442" y="723"/>
                  </a:lnTo>
                  <a:lnTo>
                    <a:pt x="445" y="719"/>
                  </a:lnTo>
                  <a:lnTo>
                    <a:pt x="446" y="714"/>
                  </a:lnTo>
                  <a:lnTo>
                    <a:pt x="447" y="710"/>
                  </a:lnTo>
                  <a:lnTo>
                    <a:pt x="449" y="706"/>
                  </a:lnTo>
                  <a:lnTo>
                    <a:pt x="449" y="703"/>
                  </a:lnTo>
                  <a:lnTo>
                    <a:pt x="449" y="699"/>
                  </a:lnTo>
                  <a:lnTo>
                    <a:pt x="449" y="695"/>
                  </a:lnTo>
                  <a:lnTo>
                    <a:pt x="446" y="692"/>
                  </a:lnTo>
                  <a:lnTo>
                    <a:pt x="442" y="687"/>
                  </a:lnTo>
                  <a:lnTo>
                    <a:pt x="438" y="682"/>
                  </a:lnTo>
                  <a:lnTo>
                    <a:pt x="434" y="677"/>
                  </a:lnTo>
                  <a:lnTo>
                    <a:pt x="431" y="670"/>
                  </a:lnTo>
                  <a:lnTo>
                    <a:pt x="427" y="665"/>
                  </a:lnTo>
                  <a:lnTo>
                    <a:pt x="423" y="660"/>
                  </a:lnTo>
                  <a:lnTo>
                    <a:pt x="422" y="657"/>
                  </a:lnTo>
                  <a:lnTo>
                    <a:pt x="419" y="653"/>
                  </a:lnTo>
                  <a:lnTo>
                    <a:pt x="418" y="652"/>
                  </a:lnTo>
                  <a:lnTo>
                    <a:pt x="416" y="651"/>
                  </a:lnTo>
                  <a:lnTo>
                    <a:pt x="415" y="651"/>
                  </a:lnTo>
                  <a:lnTo>
                    <a:pt x="412" y="649"/>
                  </a:lnTo>
                  <a:lnTo>
                    <a:pt x="411" y="648"/>
                  </a:lnTo>
                  <a:lnTo>
                    <a:pt x="409" y="648"/>
                  </a:lnTo>
                  <a:lnTo>
                    <a:pt x="407" y="648"/>
                  </a:lnTo>
                  <a:lnTo>
                    <a:pt x="405" y="648"/>
                  </a:lnTo>
                  <a:lnTo>
                    <a:pt x="402" y="648"/>
                  </a:lnTo>
                  <a:lnTo>
                    <a:pt x="401" y="648"/>
                  </a:lnTo>
                  <a:lnTo>
                    <a:pt x="398" y="648"/>
                  </a:lnTo>
                  <a:lnTo>
                    <a:pt x="397" y="649"/>
                  </a:lnTo>
                  <a:lnTo>
                    <a:pt x="394" y="651"/>
                  </a:lnTo>
                  <a:lnTo>
                    <a:pt x="393" y="651"/>
                  </a:lnTo>
                  <a:lnTo>
                    <a:pt x="392" y="652"/>
                  </a:lnTo>
                  <a:lnTo>
                    <a:pt x="389" y="653"/>
                  </a:lnTo>
                  <a:lnTo>
                    <a:pt x="387" y="656"/>
                  </a:lnTo>
                  <a:lnTo>
                    <a:pt x="384" y="657"/>
                  </a:lnTo>
                  <a:lnTo>
                    <a:pt x="381" y="658"/>
                  </a:lnTo>
                  <a:lnTo>
                    <a:pt x="377" y="658"/>
                  </a:lnTo>
                  <a:lnTo>
                    <a:pt x="375" y="658"/>
                  </a:lnTo>
                  <a:lnTo>
                    <a:pt x="371" y="658"/>
                  </a:lnTo>
                  <a:lnTo>
                    <a:pt x="368" y="657"/>
                  </a:lnTo>
                  <a:lnTo>
                    <a:pt x="364" y="657"/>
                  </a:lnTo>
                  <a:lnTo>
                    <a:pt x="361" y="656"/>
                  </a:lnTo>
                  <a:lnTo>
                    <a:pt x="357" y="654"/>
                  </a:lnTo>
                  <a:lnTo>
                    <a:pt x="350" y="652"/>
                  </a:lnTo>
                  <a:lnTo>
                    <a:pt x="342" y="648"/>
                  </a:lnTo>
                  <a:lnTo>
                    <a:pt x="336" y="645"/>
                  </a:lnTo>
                  <a:lnTo>
                    <a:pt x="328" y="643"/>
                  </a:lnTo>
                  <a:lnTo>
                    <a:pt x="324" y="641"/>
                  </a:lnTo>
                  <a:lnTo>
                    <a:pt x="322" y="640"/>
                  </a:lnTo>
                  <a:lnTo>
                    <a:pt x="318" y="639"/>
                  </a:lnTo>
                  <a:lnTo>
                    <a:pt x="314" y="639"/>
                  </a:lnTo>
                  <a:lnTo>
                    <a:pt x="310" y="638"/>
                  </a:lnTo>
                  <a:lnTo>
                    <a:pt x="307" y="638"/>
                  </a:lnTo>
                  <a:lnTo>
                    <a:pt x="305" y="639"/>
                  </a:lnTo>
                  <a:lnTo>
                    <a:pt x="301" y="639"/>
                  </a:lnTo>
                  <a:lnTo>
                    <a:pt x="298" y="640"/>
                  </a:lnTo>
                  <a:lnTo>
                    <a:pt x="296" y="641"/>
                  </a:lnTo>
                  <a:lnTo>
                    <a:pt x="293" y="644"/>
                  </a:lnTo>
                  <a:lnTo>
                    <a:pt x="291" y="647"/>
                  </a:lnTo>
                  <a:lnTo>
                    <a:pt x="288" y="649"/>
                  </a:lnTo>
                  <a:lnTo>
                    <a:pt x="287" y="652"/>
                  </a:lnTo>
                  <a:lnTo>
                    <a:pt x="287" y="653"/>
                  </a:lnTo>
                  <a:lnTo>
                    <a:pt x="285" y="653"/>
                  </a:lnTo>
                  <a:lnTo>
                    <a:pt x="285" y="653"/>
                  </a:lnTo>
                  <a:lnTo>
                    <a:pt x="284" y="653"/>
                  </a:lnTo>
                  <a:lnTo>
                    <a:pt x="283" y="653"/>
                  </a:lnTo>
                  <a:lnTo>
                    <a:pt x="283" y="653"/>
                  </a:lnTo>
                  <a:lnTo>
                    <a:pt x="281" y="653"/>
                  </a:lnTo>
                  <a:lnTo>
                    <a:pt x="280" y="653"/>
                  </a:lnTo>
                  <a:lnTo>
                    <a:pt x="278" y="653"/>
                  </a:lnTo>
                  <a:lnTo>
                    <a:pt x="276" y="653"/>
                  </a:lnTo>
                  <a:lnTo>
                    <a:pt x="274" y="653"/>
                  </a:lnTo>
                  <a:lnTo>
                    <a:pt x="271" y="653"/>
                  </a:lnTo>
                  <a:lnTo>
                    <a:pt x="270" y="653"/>
                  </a:lnTo>
                  <a:lnTo>
                    <a:pt x="268" y="654"/>
                  </a:lnTo>
                  <a:lnTo>
                    <a:pt x="267" y="654"/>
                  </a:lnTo>
                  <a:lnTo>
                    <a:pt x="265" y="657"/>
                  </a:lnTo>
                  <a:lnTo>
                    <a:pt x="263" y="658"/>
                  </a:lnTo>
                  <a:lnTo>
                    <a:pt x="262" y="661"/>
                  </a:lnTo>
                  <a:lnTo>
                    <a:pt x="261" y="662"/>
                  </a:lnTo>
                  <a:lnTo>
                    <a:pt x="259" y="666"/>
                  </a:lnTo>
                  <a:lnTo>
                    <a:pt x="258" y="667"/>
                  </a:lnTo>
                  <a:lnTo>
                    <a:pt x="257" y="669"/>
                  </a:lnTo>
                  <a:lnTo>
                    <a:pt x="256" y="669"/>
                  </a:lnTo>
                  <a:lnTo>
                    <a:pt x="253" y="669"/>
                  </a:lnTo>
                  <a:lnTo>
                    <a:pt x="250" y="670"/>
                  </a:lnTo>
                  <a:lnTo>
                    <a:pt x="248" y="671"/>
                  </a:lnTo>
                  <a:lnTo>
                    <a:pt x="245" y="673"/>
                  </a:lnTo>
                  <a:lnTo>
                    <a:pt x="243" y="674"/>
                  </a:lnTo>
                  <a:lnTo>
                    <a:pt x="240" y="675"/>
                  </a:lnTo>
                  <a:lnTo>
                    <a:pt x="237" y="675"/>
                  </a:lnTo>
                  <a:lnTo>
                    <a:pt x="235" y="677"/>
                  </a:lnTo>
                  <a:lnTo>
                    <a:pt x="233" y="677"/>
                  </a:lnTo>
                  <a:lnTo>
                    <a:pt x="233" y="677"/>
                  </a:lnTo>
                  <a:lnTo>
                    <a:pt x="233" y="678"/>
                  </a:lnTo>
                  <a:lnTo>
                    <a:pt x="232" y="680"/>
                  </a:lnTo>
                  <a:lnTo>
                    <a:pt x="231" y="682"/>
                  </a:lnTo>
                  <a:lnTo>
                    <a:pt x="230" y="682"/>
                  </a:lnTo>
                  <a:lnTo>
                    <a:pt x="227" y="683"/>
                  </a:lnTo>
                  <a:lnTo>
                    <a:pt x="224" y="683"/>
                  </a:lnTo>
                  <a:lnTo>
                    <a:pt x="222" y="683"/>
                  </a:lnTo>
                  <a:lnTo>
                    <a:pt x="219" y="683"/>
                  </a:lnTo>
                  <a:lnTo>
                    <a:pt x="218" y="683"/>
                  </a:lnTo>
                  <a:lnTo>
                    <a:pt x="217" y="683"/>
                  </a:lnTo>
                  <a:lnTo>
                    <a:pt x="215" y="682"/>
                  </a:lnTo>
                  <a:lnTo>
                    <a:pt x="214" y="680"/>
                  </a:lnTo>
                  <a:lnTo>
                    <a:pt x="211" y="679"/>
                  </a:lnTo>
                  <a:lnTo>
                    <a:pt x="211" y="678"/>
                  </a:lnTo>
                  <a:lnTo>
                    <a:pt x="210" y="678"/>
                  </a:lnTo>
                  <a:lnTo>
                    <a:pt x="209" y="677"/>
                  </a:lnTo>
                  <a:lnTo>
                    <a:pt x="209" y="677"/>
                  </a:lnTo>
                  <a:lnTo>
                    <a:pt x="209" y="677"/>
                  </a:lnTo>
                  <a:lnTo>
                    <a:pt x="209" y="677"/>
                  </a:lnTo>
                  <a:lnTo>
                    <a:pt x="209" y="678"/>
                  </a:lnTo>
                  <a:lnTo>
                    <a:pt x="210" y="679"/>
                  </a:lnTo>
                  <a:lnTo>
                    <a:pt x="210" y="679"/>
                  </a:lnTo>
                  <a:lnTo>
                    <a:pt x="210" y="680"/>
                  </a:lnTo>
                  <a:lnTo>
                    <a:pt x="211" y="682"/>
                  </a:lnTo>
                  <a:lnTo>
                    <a:pt x="211" y="683"/>
                  </a:lnTo>
                  <a:lnTo>
                    <a:pt x="210" y="683"/>
                  </a:lnTo>
                  <a:lnTo>
                    <a:pt x="209" y="683"/>
                  </a:lnTo>
                  <a:lnTo>
                    <a:pt x="208" y="682"/>
                  </a:lnTo>
                  <a:lnTo>
                    <a:pt x="205" y="682"/>
                  </a:lnTo>
                  <a:lnTo>
                    <a:pt x="202" y="680"/>
                  </a:lnTo>
                  <a:lnTo>
                    <a:pt x="200" y="678"/>
                  </a:lnTo>
                  <a:lnTo>
                    <a:pt x="198" y="677"/>
                  </a:lnTo>
                  <a:lnTo>
                    <a:pt x="198" y="677"/>
                  </a:lnTo>
                  <a:lnTo>
                    <a:pt x="197" y="677"/>
                  </a:lnTo>
                  <a:lnTo>
                    <a:pt x="197" y="677"/>
                  </a:lnTo>
                  <a:lnTo>
                    <a:pt x="198" y="677"/>
                  </a:lnTo>
                  <a:lnTo>
                    <a:pt x="198" y="678"/>
                  </a:lnTo>
                  <a:lnTo>
                    <a:pt x="200" y="679"/>
                  </a:lnTo>
                  <a:lnTo>
                    <a:pt x="201" y="680"/>
                  </a:lnTo>
                  <a:lnTo>
                    <a:pt x="202" y="682"/>
                  </a:lnTo>
                  <a:lnTo>
                    <a:pt x="204" y="683"/>
                  </a:lnTo>
                  <a:lnTo>
                    <a:pt x="204" y="684"/>
                  </a:lnTo>
                  <a:lnTo>
                    <a:pt x="204" y="686"/>
                  </a:lnTo>
                  <a:lnTo>
                    <a:pt x="204" y="687"/>
                  </a:lnTo>
                  <a:lnTo>
                    <a:pt x="204" y="688"/>
                  </a:lnTo>
                  <a:lnTo>
                    <a:pt x="204" y="690"/>
                  </a:lnTo>
                  <a:lnTo>
                    <a:pt x="204" y="691"/>
                  </a:lnTo>
                  <a:lnTo>
                    <a:pt x="202" y="692"/>
                  </a:lnTo>
                  <a:lnTo>
                    <a:pt x="201" y="692"/>
                  </a:lnTo>
                  <a:lnTo>
                    <a:pt x="200" y="692"/>
                  </a:lnTo>
                  <a:lnTo>
                    <a:pt x="200" y="692"/>
                  </a:lnTo>
                  <a:lnTo>
                    <a:pt x="198" y="692"/>
                  </a:lnTo>
                  <a:lnTo>
                    <a:pt x="197" y="692"/>
                  </a:lnTo>
                  <a:lnTo>
                    <a:pt x="196" y="692"/>
                  </a:lnTo>
                  <a:lnTo>
                    <a:pt x="196" y="692"/>
                  </a:lnTo>
                  <a:lnTo>
                    <a:pt x="195" y="692"/>
                  </a:lnTo>
                  <a:lnTo>
                    <a:pt x="195" y="692"/>
                  </a:lnTo>
                  <a:lnTo>
                    <a:pt x="195" y="692"/>
                  </a:lnTo>
                  <a:lnTo>
                    <a:pt x="195" y="693"/>
                  </a:lnTo>
                  <a:lnTo>
                    <a:pt x="196" y="696"/>
                  </a:lnTo>
                  <a:lnTo>
                    <a:pt x="196" y="697"/>
                  </a:lnTo>
                  <a:lnTo>
                    <a:pt x="196" y="696"/>
                  </a:lnTo>
                  <a:lnTo>
                    <a:pt x="193" y="695"/>
                  </a:lnTo>
                  <a:lnTo>
                    <a:pt x="189" y="693"/>
                  </a:lnTo>
                  <a:lnTo>
                    <a:pt x="187" y="692"/>
                  </a:lnTo>
                  <a:lnTo>
                    <a:pt x="183" y="690"/>
                  </a:lnTo>
                  <a:lnTo>
                    <a:pt x="179" y="687"/>
                  </a:lnTo>
                  <a:lnTo>
                    <a:pt x="175" y="686"/>
                  </a:lnTo>
                  <a:lnTo>
                    <a:pt x="171" y="683"/>
                  </a:lnTo>
                  <a:lnTo>
                    <a:pt x="167" y="680"/>
                  </a:lnTo>
                  <a:lnTo>
                    <a:pt x="163" y="679"/>
                  </a:lnTo>
                  <a:lnTo>
                    <a:pt x="158" y="677"/>
                  </a:lnTo>
                  <a:lnTo>
                    <a:pt x="154" y="675"/>
                  </a:lnTo>
                  <a:lnTo>
                    <a:pt x="152" y="674"/>
                  </a:lnTo>
                  <a:lnTo>
                    <a:pt x="149" y="671"/>
                  </a:lnTo>
                  <a:lnTo>
                    <a:pt x="147" y="670"/>
                  </a:lnTo>
                  <a:lnTo>
                    <a:pt x="145" y="669"/>
                  </a:lnTo>
                  <a:lnTo>
                    <a:pt x="145" y="669"/>
                  </a:lnTo>
                  <a:lnTo>
                    <a:pt x="145" y="667"/>
                  </a:lnTo>
                  <a:lnTo>
                    <a:pt x="145" y="666"/>
                  </a:lnTo>
                  <a:lnTo>
                    <a:pt x="147" y="665"/>
                  </a:lnTo>
                  <a:lnTo>
                    <a:pt x="148" y="665"/>
                  </a:lnTo>
                  <a:lnTo>
                    <a:pt x="148" y="664"/>
                  </a:lnTo>
                  <a:lnTo>
                    <a:pt x="149" y="664"/>
                  </a:lnTo>
                  <a:lnTo>
                    <a:pt x="152" y="664"/>
                  </a:lnTo>
                  <a:lnTo>
                    <a:pt x="153" y="664"/>
                  </a:lnTo>
                  <a:lnTo>
                    <a:pt x="156" y="664"/>
                  </a:lnTo>
                  <a:lnTo>
                    <a:pt x="160" y="665"/>
                  </a:lnTo>
                  <a:lnTo>
                    <a:pt x="163" y="665"/>
                  </a:lnTo>
                  <a:lnTo>
                    <a:pt x="167" y="666"/>
                  </a:lnTo>
                  <a:lnTo>
                    <a:pt x="170" y="666"/>
                  </a:lnTo>
                  <a:lnTo>
                    <a:pt x="171" y="666"/>
                  </a:lnTo>
                  <a:lnTo>
                    <a:pt x="172" y="665"/>
                  </a:lnTo>
                  <a:lnTo>
                    <a:pt x="174" y="665"/>
                  </a:lnTo>
                  <a:lnTo>
                    <a:pt x="175" y="665"/>
                  </a:lnTo>
                  <a:lnTo>
                    <a:pt x="176" y="664"/>
                  </a:lnTo>
                  <a:lnTo>
                    <a:pt x="176" y="664"/>
                  </a:lnTo>
                  <a:lnTo>
                    <a:pt x="176" y="662"/>
                  </a:lnTo>
                  <a:lnTo>
                    <a:pt x="176" y="661"/>
                  </a:lnTo>
                  <a:lnTo>
                    <a:pt x="175" y="660"/>
                  </a:lnTo>
                  <a:lnTo>
                    <a:pt x="175" y="657"/>
                  </a:lnTo>
                  <a:lnTo>
                    <a:pt x="174" y="654"/>
                  </a:lnTo>
                  <a:lnTo>
                    <a:pt x="171" y="652"/>
                  </a:lnTo>
                  <a:lnTo>
                    <a:pt x="170" y="649"/>
                  </a:lnTo>
                  <a:lnTo>
                    <a:pt x="167" y="645"/>
                  </a:lnTo>
                  <a:lnTo>
                    <a:pt x="163" y="641"/>
                  </a:lnTo>
                  <a:lnTo>
                    <a:pt x="160" y="638"/>
                  </a:lnTo>
                  <a:lnTo>
                    <a:pt x="152" y="628"/>
                  </a:lnTo>
                  <a:lnTo>
                    <a:pt x="144" y="619"/>
                  </a:lnTo>
                  <a:lnTo>
                    <a:pt x="140" y="614"/>
                  </a:lnTo>
                  <a:lnTo>
                    <a:pt x="137" y="612"/>
                  </a:lnTo>
                  <a:lnTo>
                    <a:pt x="132" y="606"/>
                  </a:lnTo>
                  <a:lnTo>
                    <a:pt x="128" y="603"/>
                  </a:lnTo>
                  <a:lnTo>
                    <a:pt x="125" y="599"/>
                  </a:lnTo>
                  <a:lnTo>
                    <a:pt x="121" y="596"/>
                  </a:lnTo>
                  <a:lnTo>
                    <a:pt x="115" y="593"/>
                  </a:lnTo>
                  <a:lnTo>
                    <a:pt x="110" y="591"/>
                  </a:lnTo>
                  <a:lnTo>
                    <a:pt x="106" y="588"/>
                  </a:lnTo>
                  <a:lnTo>
                    <a:pt x="101" y="587"/>
                  </a:lnTo>
                  <a:lnTo>
                    <a:pt x="99" y="586"/>
                  </a:lnTo>
                  <a:lnTo>
                    <a:pt x="97" y="584"/>
                  </a:lnTo>
                  <a:lnTo>
                    <a:pt x="93" y="583"/>
                  </a:lnTo>
                  <a:lnTo>
                    <a:pt x="89" y="582"/>
                  </a:lnTo>
                  <a:lnTo>
                    <a:pt x="84" y="580"/>
                  </a:lnTo>
                  <a:lnTo>
                    <a:pt x="79" y="580"/>
                  </a:lnTo>
                  <a:lnTo>
                    <a:pt x="75" y="579"/>
                  </a:lnTo>
                  <a:lnTo>
                    <a:pt x="69" y="579"/>
                  </a:lnTo>
                  <a:lnTo>
                    <a:pt x="64" y="579"/>
                  </a:lnTo>
                  <a:lnTo>
                    <a:pt x="64" y="582"/>
                  </a:lnTo>
                  <a:lnTo>
                    <a:pt x="64" y="584"/>
                  </a:lnTo>
                  <a:lnTo>
                    <a:pt x="62" y="587"/>
                  </a:lnTo>
                  <a:lnTo>
                    <a:pt x="62" y="588"/>
                  </a:lnTo>
                  <a:lnTo>
                    <a:pt x="62" y="588"/>
                  </a:lnTo>
                  <a:lnTo>
                    <a:pt x="62" y="590"/>
                  </a:lnTo>
                  <a:lnTo>
                    <a:pt x="61" y="590"/>
                  </a:lnTo>
                  <a:lnTo>
                    <a:pt x="61" y="590"/>
                  </a:lnTo>
                  <a:lnTo>
                    <a:pt x="60" y="590"/>
                  </a:lnTo>
                  <a:lnTo>
                    <a:pt x="60" y="590"/>
                  </a:lnTo>
                  <a:lnTo>
                    <a:pt x="58" y="588"/>
                  </a:lnTo>
                  <a:lnTo>
                    <a:pt x="57" y="588"/>
                  </a:lnTo>
                  <a:lnTo>
                    <a:pt x="56" y="587"/>
                  </a:lnTo>
                  <a:lnTo>
                    <a:pt x="54" y="587"/>
                  </a:lnTo>
                  <a:lnTo>
                    <a:pt x="53" y="586"/>
                  </a:lnTo>
                  <a:lnTo>
                    <a:pt x="52" y="586"/>
                  </a:lnTo>
                  <a:lnTo>
                    <a:pt x="52" y="584"/>
                  </a:lnTo>
                  <a:lnTo>
                    <a:pt x="51" y="583"/>
                  </a:lnTo>
                  <a:lnTo>
                    <a:pt x="49" y="582"/>
                  </a:lnTo>
                  <a:lnTo>
                    <a:pt x="48" y="578"/>
                  </a:lnTo>
                  <a:lnTo>
                    <a:pt x="47" y="575"/>
                  </a:lnTo>
                  <a:lnTo>
                    <a:pt x="45" y="571"/>
                  </a:lnTo>
                  <a:lnTo>
                    <a:pt x="44" y="567"/>
                  </a:lnTo>
                  <a:lnTo>
                    <a:pt x="43" y="566"/>
                  </a:lnTo>
                  <a:lnTo>
                    <a:pt x="42" y="565"/>
                  </a:lnTo>
                  <a:lnTo>
                    <a:pt x="42" y="565"/>
                  </a:lnTo>
                  <a:lnTo>
                    <a:pt x="43" y="565"/>
                  </a:lnTo>
                  <a:lnTo>
                    <a:pt x="43" y="565"/>
                  </a:lnTo>
                  <a:lnTo>
                    <a:pt x="44" y="565"/>
                  </a:lnTo>
                  <a:lnTo>
                    <a:pt x="45" y="565"/>
                  </a:lnTo>
                  <a:lnTo>
                    <a:pt x="47" y="565"/>
                  </a:lnTo>
                  <a:lnTo>
                    <a:pt x="48" y="565"/>
                  </a:lnTo>
                  <a:lnTo>
                    <a:pt x="47" y="562"/>
                  </a:lnTo>
                  <a:lnTo>
                    <a:pt x="44" y="560"/>
                  </a:lnTo>
                  <a:lnTo>
                    <a:pt x="43" y="557"/>
                  </a:lnTo>
                  <a:lnTo>
                    <a:pt x="42" y="554"/>
                  </a:lnTo>
                  <a:lnTo>
                    <a:pt x="40" y="553"/>
                  </a:lnTo>
                  <a:lnTo>
                    <a:pt x="39" y="552"/>
                  </a:lnTo>
                  <a:lnTo>
                    <a:pt x="39" y="551"/>
                  </a:lnTo>
                  <a:lnTo>
                    <a:pt x="38" y="549"/>
                  </a:lnTo>
                  <a:lnTo>
                    <a:pt x="38" y="549"/>
                  </a:lnTo>
                  <a:lnTo>
                    <a:pt x="36" y="548"/>
                  </a:lnTo>
                  <a:lnTo>
                    <a:pt x="35" y="547"/>
                  </a:lnTo>
                  <a:lnTo>
                    <a:pt x="35" y="545"/>
                  </a:lnTo>
                  <a:lnTo>
                    <a:pt x="35" y="545"/>
                  </a:lnTo>
                  <a:lnTo>
                    <a:pt x="34" y="544"/>
                  </a:lnTo>
                  <a:lnTo>
                    <a:pt x="34" y="544"/>
                  </a:lnTo>
                  <a:lnTo>
                    <a:pt x="32" y="544"/>
                  </a:lnTo>
                  <a:lnTo>
                    <a:pt x="31" y="544"/>
                  </a:lnTo>
                  <a:lnTo>
                    <a:pt x="30" y="544"/>
                  </a:lnTo>
                  <a:lnTo>
                    <a:pt x="29" y="543"/>
                  </a:lnTo>
                  <a:lnTo>
                    <a:pt x="27" y="543"/>
                  </a:lnTo>
                  <a:lnTo>
                    <a:pt x="26" y="541"/>
                  </a:lnTo>
                  <a:lnTo>
                    <a:pt x="25" y="541"/>
                  </a:lnTo>
                  <a:lnTo>
                    <a:pt x="23" y="541"/>
                  </a:lnTo>
                  <a:lnTo>
                    <a:pt x="21" y="541"/>
                  </a:lnTo>
                  <a:lnTo>
                    <a:pt x="18" y="540"/>
                  </a:lnTo>
                  <a:lnTo>
                    <a:pt x="14" y="538"/>
                  </a:lnTo>
                  <a:lnTo>
                    <a:pt x="13" y="536"/>
                  </a:lnTo>
                  <a:lnTo>
                    <a:pt x="9" y="536"/>
                  </a:lnTo>
                  <a:lnTo>
                    <a:pt x="6" y="535"/>
                  </a:lnTo>
                  <a:lnTo>
                    <a:pt x="5" y="535"/>
                  </a:lnTo>
                  <a:lnTo>
                    <a:pt x="4" y="535"/>
                  </a:lnTo>
                  <a:lnTo>
                    <a:pt x="4" y="535"/>
                  </a:lnTo>
                  <a:lnTo>
                    <a:pt x="4" y="534"/>
                  </a:lnTo>
                  <a:lnTo>
                    <a:pt x="3" y="534"/>
                  </a:lnTo>
                  <a:lnTo>
                    <a:pt x="3" y="532"/>
                  </a:lnTo>
                  <a:lnTo>
                    <a:pt x="3" y="531"/>
                  </a:lnTo>
                  <a:lnTo>
                    <a:pt x="1" y="530"/>
                  </a:lnTo>
                  <a:lnTo>
                    <a:pt x="1" y="527"/>
                  </a:lnTo>
                  <a:lnTo>
                    <a:pt x="0" y="525"/>
                  </a:lnTo>
                  <a:lnTo>
                    <a:pt x="0" y="523"/>
                  </a:lnTo>
                  <a:lnTo>
                    <a:pt x="0" y="522"/>
                  </a:lnTo>
                  <a:lnTo>
                    <a:pt x="1" y="521"/>
                  </a:lnTo>
                  <a:lnTo>
                    <a:pt x="1" y="521"/>
                  </a:lnTo>
                  <a:lnTo>
                    <a:pt x="3" y="521"/>
                  </a:lnTo>
                  <a:lnTo>
                    <a:pt x="4" y="521"/>
                  </a:lnTo>
                  <a:lnTo>
                    <a:pt x="4" y="519"/>
                  </a:lnTo>
                  <a:lnTo>
                    <a:pt x="4" y="519"/>
                  </a:lnTo>
                  <a:lnTo>
                    <a:pt x="4" y="518"/>
                  </a:lnTo>
                  <a:lnTo>
                    <a:pt x="4" y="517"/>
                  </a:lnTo>
                  <a:lnTo>
                    <a:pt x="4" y="516"/>
                  </a:lnTo>
                  <a:lnTo>
                    <a:pt x="4" y="514"/>
                  </a:lnTo>
                  <a:lnTo>
                    <a:pt x="4" y="513"/>
                  </a:lnTo>
                  <a:lnTo>
                    <a:pt x="4" y="509"/>
                  </a:lnTo>
                  <a:lnTo>
                    <a:pt x="4" y="506"/>
                  </a:lnTo>
                  <a:lnTo>
                    <a:pt x="5" y="504"/>
                  </a:lnTo>
                  <a:lnTo>
                    <a:pt x="5" y="503"/>
                  </a:lnTo>
                  <a:lnTo>
                    <a:pt x="6" y="501"/>
                  </a:lnTo>
                  <a:lnTo>
                    <a:pt x="6" y="500"/>
                  </a:lnTo>
                  <a:lnTo>
                    <a:pt x="8" y="499"/>
                  </a:lnTo>
                  <a:lnTo>
                    <a:pt x="9" y="497"/>
                  </a:lnTo>
                  <a:lnTo>
                    <a:pt x="10" y="496"/>
                  </a:lnTo>
                  <a:lnTo>
                    <a:pt x="12" y="495"/>
                  </a:lnTo>
                  <a:lnTo>
                    <a:pt x="14" y="492"/>
                  </a:lnTo>
                  <a:lnTo>
                    <a:pt x="16" y="491"/>
                  </a:lnTo>
                  <a:lnTo>
                    <a:pt x="18" y="490"/>
                  </a:lnTo>
                  <a:lnTo>
                    <a:pt x="19" y="490"/>
                  </a:lnTo>
                  <a:lnTo>
                    <a:pt x="19" y="488"/>
                  </a:lnTo>
                  <a:lnTo>
                    <a:pt x="19" y="486"/>
                  </a:lnTo>
                  <a:lnTo>
                    <a:pt x="21" y="484"/>
                  </a:lnTo>
                  <a:lnTo>
                    <a:pt x="22" y="483"/>
                  </a:lnTo>
                  <a:lnTo>
                    <a:pt x="22" y="482"/>
                  </a:lnTo>
                  <a:lnTo>
                    <a:pt x="22" y="480"/>
                  </a:lnTo>
                  <a:lnTo>
                    <a:pt x="22" y="479"/>
                  </a:lnTo>
                  <a:lnTo>
                    <a:pt x="22" y="479"/>
                  </a:lnTo>
                  <a:lnTo>
                    <a:pt x="21" y="478"/>
                  </a:lnTo>
                  <a:lnTo>
                    <a:pt x="19" y="477"/>
                  </a:lnTo>
                  <a:lnTo>
                    <a:pt x="18" y="475"/>
                  </a:lnTo>
                  <a:lnTo>
                    <a:pt x="17" y="473"/>
                  </a:lnTo>
                  <a:lnTo>
                    <a:pt x="16" y="470"/>
                  </a:lnTo>
                  <a:lnTo>
                    <a:pt x="14" y="469"/>
                  </a:lnTo>
                  <a:lnTo>
                    <a:pt x="13" y="466"/>
                  </a:lnTo>
                  <a:lnTo>
                    <a:pt x="13" y="465"/>
                  </a:lnTo>
                  <a:lnTo>
                    <a:pt x="12" y="464"/>
                  </a:lnTo>
                  <a:lnTo>
                    <a:pt x="9" y="460"/>
                  </a:lnTo>
                  <a:lnTo>
                    <a:pt x="6" y="458"/>
                  </a:lnTo>
                  <a:lnTo>
                    <a:pt x="6" y="456"/>
                  </a:lnTo>
                  <a:lnTo>
                    <a:pt x="5" y="454"/>
                  </a:lnTo>
                  <a:lnTo>
                    <a:pt x="5" y="453"/>
                  </a:lnTo>
                  <a:lnTo>
                    <a:pt x="4" y="451"/>
                  </a:lnTo>
                  <a:lnTo>
                    <a:pt x="4" y="448"/>
                  </a:lnTo>
                  <a:lnTo>
                    <a:pt x="4" y="445"/>
                  </a:lnTo>
                  <a:lnTo>
                    <a:pt x="3" y="441"/>
                  </a:lnTo>
                  <a:lnTo>
                    <a:pt x="1" y="439"/>
                  </a:lnTo>
                  <a:lnTo>
                    <a:pt x="1" y="435"/>
                  </a:lnTo>
                  <a:lnTo>
                    <a:pt x="1" y="432"/>
                  </a:lnTo>
                  <a:lnTo>
                    <a:pt x="1" y="430"/>
                  </a:lnTo>
                  <a:lnTo>
                    <a:pt x="1" y="429"/>
                  </a:lnTo>
                  <a:lnTo>
                    <a:pt x="3" y="427"/>
                  </a:lnTo>
                  <a:lnTo>
                    <a:pt x="3" y="426"/>
                  </a:lnTo>
                  <a:lnTo>
                    <a:pt x="4" y="425"/>
                  </a:lnTo>
                  <a:lnTo>
                    <a:pt x="5" y="423"/>
                  </a:lnTo>
                  <a:lnTo>
                    <a:pt x="8" y="422"/>
                  </a:lnTo>
                  <a:lnTo>
                    <a:pt x="9" y="421"/>
                  </a:lnTo>
                  <a:lnTo>
                    <a:pt x="12" y="419"/>
                  </a:lnTo>
                  <a:lnTo>
                    <a:pt x="13" y="418"/>
                  </a:lnTo>
                  <a:lnTo>
                    <a:pt x="16" y="417"/>
                  </a:lnTo>
                  <a:lnTo>
                    <a:pt x="18" y="416"/>
                  </a:lnTo>
                  <a:lnTo>
                    <a:pt x="19" y="414"/>
                  </a:lnTo>
                  <a:lnTo>
                    <a:pt x="21" y="413"/>
                  </a:lnTo>
                  <a:lnTo>
                    <a:pt x="22" y="410"/>
                  </a:lnTo>
                  <a:lnTo>
                    <a:pt x="22" y="408"/>
                  </a:lnTo>
                  <a:lnTo>
                    <a:pt x="22" y="405"/>
                  </a:lnTo>
                  <a:lnTo>
                    <a:pt x="22" y="403"/>
                  </a:lnTo>
                  <a:lnTo>
                    <a:pt x="22" y="397"/>
                  </a:lnTo>
                  <a:lnTo>
                    <a:pt x="22" y="392"/>
                  </a:lnTo>
                  <a:lnTo>
                    <a:pt x="23" y="390"/>
                  </a:lnTo>
                  <a:lnTo>
                    <a:pt x="23" y="387"/>
                  </a:lnTo>
                  <a:lnTo>
                    <a:pt x="23" y="384"/>
                  </a:lnTo>
                  <a:lnTo>
                    <a:pt x="25" y="382"/>
                  </a:lnTo>
                  <a:lnTo>
                    <a:pt x="25" y="380"/>
                  </a:lnTo>
                  <a:lnTo>
                    <a:pt x="26" y="379"/>
                  </a:lnTo>
                  <a:lnTo>
                    <a:pt x="29" y="378"/>
                  </a:lnTo>
                  <a:lnTo>
                    <a:pt x="29" y="377"/>
                  </a:lnTo>
                  <a:lnTo>
                    <a:pt x="31" y="377"/>
                  </a:lnTo>
                  <a:lnTo>
                    <a:pt x="32" y="377"/>
                  </a:lnTo>
                  <a:lnTo>
                    <a:pt x="35" y="377"/>
                  </a:lnTo>
                  <a:lnTo>
                    <a:pt x="36" y="378"/>
                  </a:lnTo>
                  <a:lnTo>
                    <a:pt x="39" y="378"/>
                  </a:lnTo>
                  <a:lnTo>
                    <a:pt x="42" y="379"/>
                  </a:lnTo>
                  <a:lnTo>
                    <a:pt x="43" y="382"/>
                  </a:lnTo>
                  <a:lnTo>
                    <a:pt x="45" y="382"/>
                  </a:lnTo>
                  <a:lnTo>
                    <a:pt x="48" y="384"/>
                  </a:lnTo>
                  <a:lnTo>
                    <a:pt x="49" y="386"/>
                  </a:lnTo>
                  <a:lnTo>
                    <a:pt x="54" y="391"/>
                  </a:lnTo>
                  <a:lnTo>
                    <a:pt x="60" y="396"/>
                  </a:lnTo>
                  <a:lnTo>
                    <a:pt x="65" y="400"/>
                  </a:lnTo>
                  <a:lnTo>
                    <a:pt x="69" y="405"/>
                  </a:lnTo>
                  <a:lnTo>
                    <a:pt x="74" y="410"/>
                  </a:lnTo>
                  <a:lnTo>
                    <a:pt x="78" y="414"/>
                  </a:lnTo>
                  <a:lnTo>
                    <a:pt x="80" y="416"/>
                  </a:lnTo>
                  <a:lnTo>
                    <a:pt x="83" y="418"/>
                  </a:lnTo>
                  <a:lnTo>
                    <a:pt x="84" y="419"/>
                  </a:lnTo>
                  <a:lnTo>
                    <a:pt x="87" y="421"/>
                  </a:lnTo>
                  <a:lnTo>
                    <a:pt x="88" y="422"/>
                  </a:lnTo>
                  <a:lnTo>
                    <a:pt x="91" y="423"/>
                  </a:lnTo>
                  <a:lnTo>
                    <a:pt x="91" y="423"/>
                  </a:lnTo>
                  <a:lnTo>
                    <a:pt x="93" y="423"/>
                  </a:lnTo>
                  <a:lnTo>
                    <a:pt x="95" y="423"/>
                  </a:lnTo>
                  <a:lnTo>
                    <a:pt x="96" y="423"/>
                  </a:lnTo>
                  <a:lnTo>
                    <a:pt x="99" y="423"/>
                  </a:lnTo>
                  <a:lnTo>
                    <a:pt x="102" y="422"/>
                  </a:lnTo>
                  <a:lnTo>
                    <a:pt x="105" y="421"/>
                  </a:lnTo>
                  <a:lnTo>
                    <a:pt x="106" y="421"/>
                  </a:lnTo>
                  <a:lnTo>
                    <a:pt x="110" y="419"/>
                  </a:lnTo>
                  <a:lnTo>
                    <a:pt x="113" y="418"/>
                  </a:lnTo>
                  <a:lnTo>
                    <a:pt x="115" y="416"/>
                  </a:lnTo>
                  <a:lnTo>
                    <a:pt x="117" y="414"/>
                  </a:lnTo>
                  <a:lnTo>
                    <a:pt x="118" y="413"/>
                  </a:lnTo>
                  <a:lnTo>
                    <a:pt x="119" y="412"/>
                  </a:lnTo>
                  <a:lnTo>
                    <a:pt x="119" y="412"/>
                  </a:lnTo>
                  <a:lnTo>
                    <a:pt x="119" y="410"/>
                  </a:lnTo>
                  <a:lnTo>
                    <a:pt x="119" y="409"/>
                  </a:lnTo>
                  <a:lnTo>
                    <a:pt x="119" y="408"/>
                  </a:lnTo>
                  <a:lnTo>
                    <a:pt x="119" y="406"/>
                  </a:lnTo>
                  <a:lnTo>
                    <a:pt x="118" y="405"/>
                  </a:lnTo>
                  <a:lnTo>
                    <a:pt x="118" y="404"/>
                  </a:lnTo>
                  <a:lnTo>
                    <a:pt x="117" y="403"/>
                  </a:lnTo>
                  <a:lnTo>
                    <a:pt x="115" y="401"/>
                  </a:lnTo>
                  <a:lnTo>
                    <a:pt x="114" y="399"/>
                  </a:lnTo>
                  <a:lnTo>
                    <a:pt x="113" y="397"/>
                  </a:lnTo>
                  <a:lnTo>
                    <a:pt x="112" y="395"/>
                  </a:lnTo>
                  <a:lnTo>
                    <a:pt x="110" y="392"/>
                  </a:lnTo>
                  <a:lnTo>
                    <a:pt x="110" y="390"/>
                  </a:lnTo>
                  <a:lnTo>
                    <a:pt x="109" y="386"/>
                  </a:lnTo>
                  <a:lnTo>
                    <a:pt x="106" y="380"/>
                  </a:lnTo>
                  <a:lnTo>
                    <a:pt x="106" y="377"/>
                  </a:lnTo>
                  <a:lnTo>
                    <a:pt x="105" y="374"/>
                  </a:lnTo>
                  <a:lnTo>
                    <a:pt x="104" y="371"/>
                  </a:lnTo>
                  <a:lnTo>
                    <a:pt x="102" y="369"/>
                  </a:lnTo>
                  <a:lnTo>
                    <a:pt x="100" y="366"/>
                  </a:lnTo>
                  <a:lnTo>
                    <a:pt x="97" y="365"/>
                  </a:lnTo>
                  <a:lnTo>
                    <a:pt x="96" y="365"/>
                  </a:lnTo>
                  <a:lnTo>
                    <a:pt x="95" y="365"/>
                  </a:lnTo>
                  <a:lnTo>
                    <a:pt x="93" y="364"/>
                  </a:lnTo>
                  <a:lnTo>
                    <a:pt x="96" y="364"/>
                  </a:lnTo>
                  <a:lnTo>
                    <a:pt x="99" y="364"/>
                  </a:lnTo>
                  <a:lnTo>
                    <a:pt x="104" y="364"/>
                  </a:lnTo>
                  <a:lnTo>
                    <a:pt x="108" y="364"/>
                  </a:lnTo>
                  <a:lnTo>
                    <a:pt x="109" y="362"/>
                  </a:lnTo>
                  <a:lnTo>
                    <a:pt x="112" y="362"/>
                  </a:lnTo>
                  <a:lnTo>
                    <a:pt x="114" y="361"/>
                  </a:lnTo>
                  <a:lnTo>
                    <a:pt x="115" y="361"/>
                  </a:lnTo>
                  <a:lnTo>
                    <a:pt x="118" y="360"/>
                  </a:lnTo>
                  <a:lnTo>
                    <a:pt x="121" y="357"/>
                  </a:lnTo>
                  <a:lnTo>
                    <a:pt x="122" y="356"/>
                  </a:lnTo>
                  <a:lnTo>
                    <a:pt x="125" y="353"/>
                  </a:lnTo>
                  <a:lnTo>
                    <a:pt x="127" y="352"/>
                  </a:lnTo>
                  <a:lnTo>
                    <a:pt x="130" y="349"/>
                  </a:lnTo>
                  <a:lnTo>
                    <a:pt x="131" y="349"/>
                  </a:lnTo>
                  <a:lnTo>
                    <a:pt x="132" y="348"/>
                  </a:lnTo>
                  <a:lnTo>
                    <a:pt x="134" y="347"/>
                  </a:lnTo>
                  <a:lnTo>
                    <a:pt x="135" y="347"/>
                  </a:lnTo>
                  <a:lnTo>
                    <a:pt x="135" y="345"/>
                  </a:lnTo>
                  <a:lnTo>
                    <a:pt x="135" y="345"/>
                  </a:lnTo>
                  <a:lnTo>
                    <a:pt x="136" y="344"/>
                  </a:lnTo>
                  <a:lnTo>
                    <a:pt x="136" y="342"/>
                  </a:lnTo>
                  <a:lnTo>
                    <a:pt x="135" y="340"/>
                  </a:lnTo>
                  <a:lnTo>
                    <a:pt x="135" y="339"/>
                  </a:lnTo>
                  <a:lnTo>
                    <a:pt x="134" y="338"/>
                  </a:lnTo>
                  <a:lnTo>
                    <a:pt x="134" y="336"/>
                  </a:lnTo>
                  <a:lnTo>
                    <a:pt x="132" y="335"/>
                  </a:lnTo>
                  <a:lnTo>
                    <a:pt x="132" y="334"/>
                  </a:lnTo>
                  <a:lnTo>
                    <a:pt x="132" y="332"/>
                  </a:lnTo>
                  <a:lnTo>
                    <a:pt x="132" y="331"/>
                  </a:lnTo>
                  <a:lnTo>
                    <a:pt x="134" y="330"/>
                  </a:lnTo>
                  <a:lnTo>
                    <a:pt x="134" y="330"/>
                  </a:lnTo>
                  <a:lnTo>
                    <a:pt x="135" y="329"/>
                  </a:lnTo>
                  <a:lnTo>
                    <a:pt x="135" y="329"/>
                  </a:lnTo>
                  <a:lnTo>
                    <a:pt x="136" y="327"/>
                  </a:lnTo>
                  <a:lnTo>
                    <a:pt x="137" y="327"/>
                  </a:lnTo>
                  <a:lnTo>
                    <a:pt x="140" y="327"/>
                  </a:lnTo>
                  <a:lnTo>
                    <a:pt x="143" y="327"/>
                  </a:lnTo>
                  <a:lnTo>
                    <a:pt x="145" y="327"/>
                  </a:lnTo>
                  <a:lnTo>
                    <a:pt x="147" y="326"/>
                  </a:lnTo>
                  <a:lnTo>
                    <a:pt x="149" y="326"/>
                  </a:lnTo>
                  <a:lnTo>
                    <a:pt x="150" y="326"/>
                  </a:lnTo>
                  <a:lnTo>
                    <a:pt x="152" y="326"/>
                  </a:lnTo>
                  <a:lnTo>
                    <a:pt x="153" y="326"/>
                  </a:lnTo>
                  <a:lnTo>
                    <a:pt x="154" y="325"/>
                  </a:lnTo>
                  <a:lnTo>
                    <a:pt x="157" y="323"/>
                  </a:lnTo>
                  <a:lnTo>
                    <a:pt x="158" y="323"/>
                  </a:lnTo>
                  <a:lnTo>
                    <a:pt x="160" y="322"/>
                  </a:lnTo>
                  <a:lnTo>
                    <a:pt x="161" y="321"/>
                  </a:lnTo>
                  <a:lnTo>
                    <a:pt x="163" y="319"/>
                  </a:lnTo>
                  <a:lnTo>
                    <a:pt x="165" y="319"/>
                  </a:lnTo>
                  <a:lnTo>
                    <a:pt x="167" y="318"/>
                  </a:lnTo>
                  <a:lnTo>
                    <a:pt x="169" y="317"/>
                  </a:lnTo>
                  <a:lnTo>
                    <a:pt x="169" y="317"/>
                  </a:lnTo>
                  <a:lnTo>
                    <a:pt x="171" y="316"/>
                  </a:lnTo>
                  <a:lnTo>
                    <a:pt x="172" y="314"/>
                  </a:lnTo>
                  <a:lnTo>
                    <a:pt x="175" y="314"/>
                  </a:lnTo>
                  <a:lnTo>
                    <a:pt x="178" y="313"/>
                  </a:lnTo>
                  <a:lnTo>
                    <a:pt x="179" y="313"/>
                  </a:lnTo>
                  <a:lnTo>
                    <a:pt x="183" y="312"/>
                  </a:lnTo>
                  <a:lnTo>
                    <a:pt x="184" y="312"/>
                  </a:lnTo>
                  <a:lnTo>
                    <a:pt x="184" y="312"/>
                  </a:lnTo>
                  <a:lnTo>
                    <a:pt x="187" y="310"/>
                  </a:lnTo>
                  <a:lnTo>
                    <a:pt x="188" y="309"/>
                  </a:lnTo>
                  <a:lnTo>
                    <a:pt x="189" y="308"/>
                  </a:lnTo>
                  <a:lnTo>
                    <a:pt x="191" y="305"/>
                  </a:lnTo>
                  <a:lnTo>
                    <a:pt x="192" y="304"/>
                  </a:lnTo>
                  <a:lnTo>
                    <a:pt x="193" y="299"/>
                  </a:lnTo>
                  <a:lnTo>
                    <a:pt x="195" y="296"/>
                  </a:lnTo>
                  <a:lnTo>
                    <a:pt x="195" y="293"/>
                  </a:lnTo>
                  <a:lnTo>
                    <a:pt x="196" y="291"/>
                  </a:lnTo>
                  <a:lnTo>
                    <a:pt x="197" y="290"/>
                  </a:lnTo>
                  <a:lnTo>
                    <a:pt x="198" y="288"/>
                  </a:lnTo>
                  <a:lnTo>
                    <a:pt x="200" y="288"/>
                  </a:lnTo>
                  <a:lnTo>
                    <a:pt x="200" y="288"/>
                  </a:lnTo>
                  <a:lnTo>
                    <a:pt x="201" y="288"/>
                  </a:lnTo>
                  <a:lnTo>
                    <a:pt x="201" y="288"/>
                  </a:lnTo>
                  <a:lnTo>
                    <a:pt x="202" y="288"/>
                  </a:lnTo>
                  <a:lnTo>
                    <a:pt x="204" y="290"/>
                  </a:lnTo>
                  <a:lnTo>
                    <a:pt x="204" y="288"/>
                  </a:lnTo>
                  <a:lnTo>
                    <a:pt x="204" y="287"/>
                  </a:lnTo>
                  <a:lnTo>
                    <a:pt x="204" y="286"/>
                  </a:lnTo>
                  <a:lnTo>
                    <a:pt x="204" y="284"/>
                  </a:lnTo>
                  <a:lnTo>
                    <a:pt x="204" y="282"/>
                  </a:lnTo>
                  <a:lnTo>
                    <a:pt x="204" y="280"/>
                  </a:lnTo>
                  <a:lnTo>
                    <a:pt x="204" y="279"/>
                  </a:lnTo>
                  <a:lnTo>
                    <a:pt x="204" y="277"/>
                  </a:lnTo>
                  <a:lnTo>
                    <a:pt x="204" y="277"/>
                  </a:lnTo>
                  <a:lnTo>
                    <a:pt x="204" y="274"/>
                  </a:lnTo>
                  <a:lnTo>
                    <a:pt x="206" y="275"/>
                  </a:lnTo>
                  <a:lnTo>
                    <a:pt x="208" y="275"/>
                  </a:lnTo>
                  <a:lnTo>
                    <a:pt x="210" y="275"/>
                  </a:lnTo>
                  <a:lnTo>
                    <a:pt x="214" y="275"/>
                  </a:lnTo>
                  <a:lnTo>
                    <a:pt x="217" y="277"/>
                  </a:lnTo>
                  <a:lnTo>
                    <a:pt x="219" y="278"/>
                  </a:lnTo>
                  <a:lnTo>
                    <a:pt x="226" y="279"/>
                  </a:lnTo>
                  <a:lnTo>
                    <a:pt x="230" y="280"/>
                  </a:lnTo>
                  <a:lnTo>
                    <a:pt x="231" y="282"/>
                  </a:lnTo>
                  <a:lnTo>
                    <a:pt x="235" y="283"/>
                  </a:lnTo>
                  <a:lnTo>
                    <a:pt x="236" y="284"/>
                  </a:lnTo>
                  <a:lnTo>
                    <a:pt x="239" y="286"/>
                  </a:lnTo>
                  <a:lnTo>
                    <a:pt x="240" y="287"/>
                  </a:lnTo>
                  <a:lnTo>
                    <a:pt x="241" y="288"/>
                  </a:lnTo>
                  <a:lnTo>
                    <a:pt x="241" y="288"/>
                  </a:lnTo>
                  <a:lnTo>
                    <a:pt x="241" y="290"/>
                  </a:lnTo>
                  <a:lnTo>
                    <a:pt x="243" y="291"/>
                  </a:lnTo>
                  <a:lnTo>
                    <a:pt x="243" y="293"/>
                  </a:lnTo>
                  <a:lnTo>
                    <a:pt x="244" y="295"/>
                  </a:lnTo>
                  <a:lnTo>
                    <a:pt x="244" y="296"/>
                  </a:lnTo>
                  <a:lnTo>
                    <a:pt x="245" y="297"/>
                  </a:lnTo>
                  <a:lnTo>
                    <a:pt x="246" y="297"/>
                  </a:lnTo>
                  <a:lnTo>
                    <a:pt x="246" y="297"/>
                  </a:lnTo>
                  <a:lnTo>
                    <a:pt x="246" y="299"/>
                  </a:lnTo>
                  <a:lnTo>
                    <a:pt x="248" y="299"/>
                  </a:lnTo>
                  <a:lnTo>
                    <a:pt x="248" y="299"/>
                  </a:lnTo>
                  <a:lnTo>
                    <a:pt x="249" y="297"/>
                  </a:lnTo>
                  <a:lnTo>
                    <a:pt x="252" y="297"/>
                  </a:lnTo>
                  <a:lnTo>
                    <a:pt x="253" y="296"/>
                  </a:lnTo>
                  <a:lnTo>
                    <a:pt x="254" y="295"/>
                  </a:lnTo>
                  <a:lnTo>
                    <a:pt x="256" y="293"/>
                  </a:lnTo>
                  <a:lnTo>
                    <a:pt x="257" y="293"/>
                  </a:lnTo>
                  <a:lnTo>
                    <a:pt x="258" y="292"/>
                  </a:lnTo>
                  <a:lnTo>
                    <a:pt x="259" y="292"/>
                  </a:lnTo>
                  <a:lnTo>
                    <a:pt x="261" y="293"/>
                  </a:lnTo>
                  <a:lnTo>
                    <a:pt x="261" y="293"/>
                  </a:lnTo>
                  <a:lnTo>
                    <a:pt x="262" y="293"/>
                  </a:lnTo>
                  <a:lnTo>
                    <a:pt x="262" y="295"/>
                  </a:lnTo>
                  <a:lnTo>
                    <a:pt x="263" y="296"/>
                  </a:lnTo>
                  <a:lnTo>
                    <a:pt x="263" y="297"/>
                  </a:lnTo>
                  <a:lnTo>
                    <a:pt x="265" y="296"/>
                  </a:lnTo>
                  <a:lnTo>
                    <a:pt x="266" y="295"/>
                  </a:lnTo>
                  <a:lnTo>
                    <a:pt x="266" y="293"/>
                  </a:lnTo>
                  <a:lnTo>
                    <a:pt x="267" y="292"/>
                  </a:lnTo>
                  <a:lnTo>
                    <a:pt x="267" y="292"/>
                  </a:lnTo>
                  <a:lnTo>
                    <a:pt x="267" y="291"/>
                  </a:lnTo>
                  <a:lnTo>
                    <a:pt x="267" y="290"/>
                  </a:lnTo>
                  <a:lnTo>
                    <a:pt x="267" y="288"/>
                  </a:lnTo>
                  <a:lnTo>
                    <a:pt x="267" y="288"/>
                  </a:lnTo>
                  <a:lnTo>
                    <a:pt x="268" y="287"/>
                  </a:lnTo>
                  <a:lnTo>
                    <a:pt x="268" y="286"/>
                  </a:lnTo>
                  <a:lnTo>
                    <a:pt x="268" y="284"/>
                  </a:lnTo>
                  <a:lnTo>
                    <a:pt x="270" y="283"/>
                  </a:lnTo>
                  <a:lnTo>
                    <a:pt x="271" y="282"/>
                  </a:lnTo>
                  <a:lnTo>
                    <a:pt x="274" y="282"/>
                  </a:lnTo>
                  <a:lnTo>
                    <a:pt x="276" y="282"/>
                  </a:lnTo>
                  <a:lnTo>
                    <a:pt x="281" y="282"/>
                  </a:lnTo>
                  <a:lnTo>
                    <a:pt x="285" y="280"/>
                  </a:lnTo>
                  <a:lnTo>
                    <a:pt x="289" y="278"/>
                  </a:lnTo>
                  <a:lnTo>
                    <a:pt x="292" y="277"/>
                  </a:lnTo>
                  <a:lnTo>
                    <a:pt x="294" y="275"/>
                  </a:lnTo>
                  <a:lnTo>
                    <a:pt x="298" y="275"/>
                  </a:lnTo>
                  <a:lnTo>
                    <a:pt x="300" y="275"/>
                  </a:lnTo>
                  <a:lnTo>
                    <a:pt x="301" y="274"/>
                  </a:lnTo>
                  <a:lnTo>
                    <a:pt x="302" y="278"/>
                  </a:lnTo>
                  <a:lnTo>
                    <a:pt x="302" y="280"/>
                  </a:lnTo>
                  <a:lnTo>
                    <a:pt x="303" y="283"/>
                  </a:lnTo>
                  <a:lnTo>
                    <a:pt x="305" y="286"/>
                  </a:lnTo>
                  <a:lnTo>
                    <a:pt x="307" y="288"/>
                  </a:lnTo>
                  <a:lnTo>
                    <a:pt x="309" y="290"/>
                  </a:lnTo>
                  <a:lnTo>
                    <a:pt x="310" y="291"/>
                  </a:lnTo>
                  <a:lnTo>
                    <a:pt x="313" y="292"/>
                  </a:lnTo>
                  <a:lnTo>
                    <a:pt x="315" y="292"/>
                  </a:lnTo>
                  <a:lnTo>
                    <a:pt x="316" y="293"/>
                  </a:lnTo>
                  <a:lnTo>
                    <a:pt x="319" y="295"/>
                  </a:lnTo>
                  <a:lnTo>
                    <a:pt x="322" y="295"/>
                  </a:lnTo>
                  <a:lnTo>
                    <a:pt x="327" y="295"/>
                  </a:lnTo>
                  <a:lnTo>
                    <a:pt x="332" y="295"/>
                  </a:lnTo>
                  <a:lnTo>
                    <a:pt x="339" y="295"/>
                  </a:lnTo>
                  <a:lnTo>
                    <a:pt x="344" y="295"/>
                  </a:lnTo>
                  <a:lnTo>
                    <a:pt x="350" y="295"/>
                  </a:lnTo>
                  <a:lnTo>
                    <a:pt x="355" y="296"/>
                  </a:lnTo>
                  <a:lnTo>
                    <a:pt x="358" y="296"/>
                  </a:lnTo>
                  <a:lnTo>
                    <a:pt x="361" y="297"/>
                  </a:lnTo>
                  <a:lnTo>
                    <a:pt x="363" y="297"/>
                  </a:lnTo>
                  <a:lnTo>
                    <a:pt x="366" y="299"/>
                  </a:lnTo>
                  <a:lnTo>
                    <a:pt x="368" y="300"/>
                  </a:lnTo>
                  <a:lnTo>
                    <a:pt x="371" y="301"/>
                  </a:lnTo>
                  <a:lnTo>
                    <a:pt x="372" y="303"/>
                  </a:lnTo>
                  <a:lnTo>
                    <a:pt x="375" y="304"/>
                  </a:lnTo>
                  <a:lnTo>
                    <a:pt x="376" y="305"/>
                  </a:lnTo>
                  <a:lnTo>
                    <a:pt x="377" y="306"/>
                  </a:lnTo>
                  <a:lnTo>
                    <a:pt x="377" y="308"/>
                  </a:lnTo>
                  <a:lnTo>
                    <a:pt x="379" y="309"/>
                  </a:lnTo>
                  <a:lnTo>
                    <a:pt x="380" y="310"/>
                  </a:lnTo>
                  <a:lnTo>
                    <a:pt x="380" y="310"/>
                  </a:lnTo>
                  <a:lnTo>
                    <a:pt x="381" y="312"/>
                  </a:lnTo>
                  <a:lnTo>
                    <a:pt x="383" y="313"/>
                  </a:lnTo>
                  <a:lnTo>
                    <a:pt x="384" y="314"/>
                  </a:lnTo>
                  <a:lnTo>
                    <a:pt x="387" y="316"/>
                  </a:lnTo>
                  <a:lnTo>
                    <a:pt x="388" y="317"/>
                  </a:lnTo>
                  <a:lnTo>
                    <a:pt x="390" y="318"/>
                  </a:lnTo>
                  <a:lnTo>
                    <a:pt x="392" y="318"/>
                  </a:lnTo>
                  <a:lnTo>
                    <a:pt x="393" y="319"/>
                  </a:lnTo>
                  <a:lnTo>
                    <a:pt x="396" y="319"/>
                  </a:lnTo>
                  <a:lnTo>
                    <a:pt x="398" y="321"/>
                  </a:lnTo>
                  <a:lnTo>
                    <a:pt x="401" y="322"/>
                  </a:lnTo>
                  <a:lnTo>
                    <a:pt x="402" y="323"/>
                  </a:lnTo>
                  <a:lnTo>
                    <a:pt x="406" y="325"/>
                  </a:lnTo>
                  <a:lnTo>
                    <a:pt x="409" y="326"/>
                  </a:lnTo>
                  <a:lnTo>
                    <a:pt x="412" y="327"/>
                  </a:lnTo>
                  <a:lnTo>
                    <a:pt x="415" y="329"/>
                  </a:lnTo>
                  <a:lnTo>
                    <a:pt x="418" y="330"/>
                  </a:lnTo>
                  <a:lnTo>
                    <a:pt x="422" y="332"/>
                  </a:lnTo>
                  <a:lnTo>
                    <a:pt x="427" y="335"/>
                  </a:lnTo>
                  <a:lnTo>
                    <a:pt x="431" y="338"/>
                  </a:lnTo>
                  <a:lnTo>
                    <a:pt x="434" y="340"/>
                  </a:lnTo>
                  <a:lnTo>
                    <a:pt x="440" y="344"/>
                  </a:lnTo>
                  <a:lnTo>
                    <a:pt x="444" y="347"/>
                  </a:lnTo>
                  <a:lnTo>
                    <a:pt x="447" y="348"/>
                  </a:lnTo>
                  <a:lnTo>
                    <a:pt x="449" y="349"/>
                  </a:lnTo>
                  <a:lnTo>
                    <a:pt x="449" y="349"/>
                  </a:lnTo>
                  <a:lnTo>
                    <a:pt x="449" y="349"/>
                  </a:lnTo>
                  <a:lnTo>
                    <a:pt x="447" y="351"/>
                  </a:lnTo>
                  <a:lnTo>
                    <a:pt x="447" y="352"/>
                  </a:lnTo>
                  <a:lnTo>
                    <a:pt x="446" y="353"/>
                  </a:lnTo>
                  <a:lnTo>
                    <a:pt x="446" y="356"/>
                  </a:lnTo>
                  <a:lnTo>
                    <a:pt x="446" y="358"/>
                  </a:lnTo>
                  <a:lnTo>
                    <a:pt x="447" y="361"/>
                  </a:lnTo>
                  <a:lnTo>
                    <a:pt x="447" y="364"/>
                  </a:lnTo>
                  <a:lnTo>
                    <a:pt x="449" y="366"/>
                  </a:lnTo>
                  <a:lnTo>
                    <a:pt x="449" y="367"/>
                  </a:lnTo>
                  <a:lnTo>
                    <a:pt x="450" y="369"/>
                  </a:lnTo>
                  <a:lnTo>
                    <a:pt x="451" y="371"/>
                  </a:lnTo>
                  <a:lnTo>
                    <a:pt x="453" y="373"/>
                  </a:lnTo>
                  <a:lnTo>
                    <a:pt x="453" y="373"/>
                  </a:lnTo>
                  <a:lnTo>
                    <a:pt x="454" y="373"/>
                  </a:lnTo>
                  <a:lnTo>
                    <a:pt x="454" y="373"/>
                  </a:lnTo>
                  <a:lnTo>
                    <a:pt x="455" y="373"/>
                  </a:lnTo>
                  <a:lnTo>
                    <a:pt x="457" y="371"/>
                  </a:lnTo>
                  <a:lnTo>
                    <a:pt x="457" y="371"/>
                  </a:lnTo>
                  <a:lnTo>
                    <a:pt x="458" y="370"/>
                  </a:lnTo>
                  <a:lnTo>
                    <a:pt x="459" y="369"/>
                  </a:lnTo>
                  <a:lnTo>
                    <a:pt x="460" y="367"/>
                  </a:lnTo>
                  <a:lnTo>
                    <a:pt x="460" y="366"/>
                  </a:lnTo>
                  <a:lnTo>
                    <a:pt x="462" y="365"/>
                  </a:lnTo>
                  <a:lnTo>
                    <a:pt x="462" y="364"/>
                  </a:lnTo>
                  <a:lnTo>
                    <a:pt x="462" y="361"/>
                  </a:lnTo>
                  <a:lnTo>
                    <a:pt x="462" y="357"/>
                  </a:lnTo>
                  <a:lnTo>
                    <a:pt x="462" y="354"/>
                  </a:lnTo>
                  <a:lnTo>
                    <a:pt x="460" y="352"/>
                  </a:lnTo>
                  <a:lnTo>
                    <a:pt x="459" y="351"/>
                  </a:lnTo>
                  <a:lnTo>
                    <a:pt x="457" y="348"/>
                  </a:lnTo>
                  <a:lnTo>
                    <a:pt x="455" y="345"/>
                  </a:lnTo>
                  <a:lnTo>
                    <a:pt x="454" y="343"/>
                  </a:lnTo>
                  <a:lnTo>
                    <a:pt x="453" y="342"/>
                  </a:lnTo>
                  <a:lnTo>
                    <a:pt x="451" y="339"/>
                  </a:lnTo>
                  <a:lnTo>
                    <a:pt x="450" y="338"/>
                  </a:lnTo>
                  <a:lnTo>
                    <a:pt x="449" y="335"/>
                  </a:lnTo>
                  <a:lnTo>
                    <a:pt x="449" y="335"/>
                  </a:lnTo>
                  <a:lnTo>
                    <a:pt x="450" y="334"/>
                  </a:lnTo>
                  <a:lnTo>
                    <a:pt x="453" y="332"/>
                  </a:lnTo>
                  <a:lnTo>
                    <a:pt x="454" y="332"/>
                  </a:lnTo>
                  <a:lnTo>
                    <a:pt x="457" y="332"/>
                  </a:lnTo>
                  <a:lnTo>
                    <a:pt x="458" y="332"/>
                  </a:lnTo>
                  <a:lnTo>
                    <a:pt x="460" y="334"/>
                  </a:lnTo>
                  <a:lnTo>
                    <a:pt x="462" y="335"/>
                  </a:lnTo>
                  <a:lnTo>
                    <a:pt x="464" y="335"/>
                  </a:lnTo>
                  <a:lnTo>
                    <a:pt x="468" y="338"/>
                  </a:lnTo>
                  <a:lnTo>
                    <a:pt x="472" y="339"/>
                  </a:lnTo>
                  <a:lnTo>
                    <a:pt x="475" y="340"/>
                  </a:lnTo>
                  <a:lnTo>
                    <a:pt x="476" y="342"/>
                  </a:lnTo>
                  <a:lnTo>
                    <a:pt x="477" y="342"/>
                  </a:lnTo>
                  <a:lnTo>
                    <a:pt x="480" y="342"/>
                  </a:lnTo>
                  <a:lnTo>
                    <a:pt x="480" y="344"/>
                  </a:lnTo>
                  <a:lnTo>
                    <a:pt x="482" y="347"/>
                  </a:lnTo>
                  <a:lnTo>
                    <a:pt x="484" y="349"/>
                  </a:lnTo>
                  <a:lnTo>
                    <a:pt x="486" y="351"/>
                  </a:lnTo>
                  <a:lnTo>
                    <a:pt x="489" y="352"/>
                  </a:lnTo>
                  <a:lnTo>
                    <a:pt x="493" y="353"/>
                  </a:lnTo>
                  <a:lnTo>
                    <a:pt x="497" y="356"/>
                  </a:lnTo>
                  <a:lnTo>
                    <a:pt x="503" y="357"/>
                  </a:lnTo>
                  <a:lnTo>
                    <a:pt x="506" y="358"/>
                  </a:lnTo>
                  <a:lnTo>
                    <a:pt x="508" y="360"/>
                  </a:lnTo>
                  <a:lnTo>
                    <a:pt x="511" y="361"/>
                  </a:lnTo>
                  <a:lnTo>
                    <a:pt x="512" y="361"/>
                  </a:lnTo>
                  <a:lnTo>
                    <a:pt x="515" y="362"/>
                  </a:lnTo>
                  <a:lnTo>
                    <a:pt x="516" y="364"/>
                  </a:lnTo>
                  <a:lnTo>
                    <a:pt x="517" y="366"/>
                  </a:lnTo>
                  <a:lnTo>
                    <a:pt x="519" y="366"/>
                  </a:lnTo>
                  <a:lnTo>
                    <a:pt x="520" y="367"/>
                  </a:lnTo>
                  <a:lnTo>
                    <a:pt x="521" y="367"/>
                  </a:lnTo>
                  <a:lnTo>
                    <a:pt x="524" y="369"/>
                  </a:lnTo>
                  <a:lnTo>
                    <a:pt x="525" y="369"/>
                  </a:lnTo>
                  <a:lnTo>
                    <a:pt x="527" y="369"/>
                  </a:lnTo>
                  <a:lnTo>
                    <a:pt x="528" y="369"/>
                  </a:lnTo>
                  <a:lnTo>
                    <a:pt x="529" y="367"/>
                  </a:lnTo>
                  <a:lnTo>
                    <a:pt x="532" y="367"/>
                  </a:lnTo>
                  <a:lnTo>
                    <a:pt x="534" y="366"/>
                  </a:lnTo>
                  <a:lnTo>
                    <a:pt x="536" y="365"/>
                  </a:lnTo>
                  <a:lnTo>
                    <a:pt x="538" y="364"/>
                  </a:lnTo>
                  <a:lnTo>
                    <a:pt x="541" y="361"/>
                  </a:lnTo>
                  <a:lnTo>
                    <a:pt x="543" y="360"/>
                  </a:lnTo>
                  <a:lnTo>
                    <a:pt x="546" y="357"/>
                  </a:lnTo>
                  <a:lnTo>
                    <a:pt x="546" y="356"/>
                  </a:lnTo>
                  <a:lnTo>
                    <a:pt x="546" y="356"/>
                  </a:lnTo>
                  <a:lnTo>
                    <a:pt x="546" y="354"/>
                  </a:lnTo>
                  <a:lnTo>
                    <a:pt x="546" y="353"/>
                  </a:lnTo>
                  <a:lnTo>
                    <a:pt x="546" y="351"/>
                  </a:lnTo>
                  <a:lnTo>
                    <a:pt x="546" y="351"/>
                  </a:lnTo>
                  <a:lnTo>
                    <a:pt x="546" y="349"/>
                  </a:lnTo>
                  <a:lnTo>
                    <a:pt x="547" y="348"/>
                  </a:lnTo>
                  <a:lnTo>
                    <a:pt x="549" y="347"/>
                  </a:lnTo>
                  <a:lnTo>
                    <a:pt x="551" y="345"/>
                  </a:lnTo>
                  <a:lnTo>
                    <a:pt x="554" y="343"/>
                  </a:lnTo>
                  <a:lnTo>
                    <a:pt x="556" y="342"/>
                  </a:lnTo>
                  <a:lnTo>
                    <a:pt x="558" y="340"/>
                  </a:lnTo>
                  <a:lnTo>
                    <a:pt x="559" y="339"/>
                  </a:lnTo>
                  <a:lnTo>
                    <a:pt x="560" y="336"/>
                  </a:lnTo>
                  <a:lnTo>
                    <a:pt x="560" y="335"/>
                  </a:lnTo>
                  <a:lnTo>
                    <a:pt x="560" y="335"/>
                  </a:lnTo>
                  <a:lnTo>
                    <a:pt x="562" y="335"/>
                  </a:lnTo>
                  <a:lnTo>
                    <a:pt x="563" y="335"/>
                  </a:lnTo>
                  <a:lnTo>
                    <a:pt x="565" y="335"/>
                  </a:lnTo>
                  <a:lnTo>
                    <a:pt x="567" y="335"/>
                  </a:lnTo>
                  <a:lnTo>
                    <a:pt x="568" y="335"/>
                  </a:lnTo>
                  <a:lnTo>
                    <a:pt x="569" y="335"/>
                  </a:lnTo>
                  <a:lnTo>
                    <a:pt x="571" y="335"/>
                  </a:lnTo>
                  <a:lnTo>
                    <a:pt x="573" y="335"/>
                  </a:lnTo>
                  <a:lnTo>
                    <a:pt x="573" y="335"/>
                  </a:lnTo>
                  <a:lnTo>
                    <a:pt x="576" y="335"/>
                  </a:lnTo>
                  <a:lnTo>
                    <a:pt x="576" y="334"/>
                  </a:lnTo>
                  <a:lnTo>
                    <a:pt x="576" y="334"/>
                  </a:lnTo>
                  <a:lnTo>
                    <a:pt x="577" y="332"/>
                  </a:lnTo>
                  <a:lnTo>
                    <a:pt x="578" y="331"/>
                  </a:lnTo>
                  <a:lnTo>
                    <a:pt x="580" y="330"/>
                  </a:lnTo>
                  <a:lnTo>
                    <a:pt x="582" y="330"/>
                  </a:lnTo>
                  <a:lnTo>
                    <a:pt x="585" y="329"/>
                  </a:lnTo>
                  <a:lnTo>
                    <a:pt x="588" y="329"/>
                  </a:lnTo>
                  <a:lnTo>
                    <a:pt x="590" y="329"/>
                  </a:lnTo>
                  <a:lnTo>
                    <a:pt x="593" y="329"/>
                  </a:lnTo>
                  <a:lnTo>
                    <a:pt x="595" y="329"/>
                  </a:lnTo>
                  <a:lnTo>
                    <a:pt x="598" y="330"/>
                  </a:lnTo>
                  <a:lnTo>
                    <a:pt x="601" y="330"/>
                  </a:lnTo>
                  <a:lnTo>
                    <a:pt x="603" y="331"/>
                  </a:lnTo>
                  <a:lnTo>
                    <a:pt x="604" y="332"/>
                  </a:lnTo>
                  <a:lnTo>
                    <a:pt x="604" y="334"/>
                  </a:lnTo>
                  <a:lnTo>
                    <a:pt x="604" y="334"/>
                  </a:lnTo>
                  <a:lnTo>
                    <a:pt x="604" y="335"/>
                  </a:lnTo>
                  <a:lnTo>
                    <a:pt x="606" y="335"/>
                  </a:lnTo>
                  <a:lnTo>
                    <a:pt x="608" y="335"/>
                  </a:lnTo>
                  <a:lnTo>
                    <a:pt x="611" y="335"/>
                  </a:lnTo>
                  <a:lnTo>
                    <a:pt x="613" y="336"/>
                  </a:lnTo>
                  <a:lnTo>
                    <a:pt x="616" y="338"/>
                  </a:lnTo>
                  <a:lnTo>
                    <a:pt x="617" y="339"/>
                  </a:lnTo>
                  <a:lnTo>
                    <a:pt x="619" y="340"/>
                  </a:lnTo>
                  <a:lnTo>
                    <a:pt x="620" y="342"/>
                  </a:lnTo>
                  <a:lnTo>
                    <a:pt x="620" y="342"/>
                  </a:lnTo>
                  <a:lnTo>
                    <a:pt x="621" y="343"/>
                  </a:lnTo>
                  <a:lnTo>
                    <a:pt x="623" y="344"/>
                  </a:lnTo>
                  <a:lnTo>
                    <a:pt x="624" y="344"/>
                  </a:lnTo>
                  <a:lnTo>
                    <a:pt x="625" y="345"/>
                  </a:lnTo>
                  <a:lnTo>
                    <a:pt x="626" y="345"/>
                  </a:lnTo>
                  <a:lnTo>
                    <a:pt x="629" y="345"/>
                  </a:lnTo>
                  <a:lnTo>
                    <a:pt x="632" y="344"/>
                  </a:lnTo>
                  <a:lnTo>
                    <a:pt x="634" y="344"/>
                  </a:lnTo>
                  <a:lnTo>
                    <a:pt x="637" y="343"/>
                  </a:lnTo>
                  <a:lnTo>
                    <a:pt x="639" y="342"/>
                  </a:lnTo>
                  <a:lnTo>
                    <a:pt x="641" y="342"/>
                  </a:lnTo>
                  <a:lnTo>
                    <a:pt x="642" y="342"/>
                  </a:lnTo>
                  <a:lnTo>
                    <a:pt x="642" y="339"/>
                  </a:lnTo>
                  <a:lnTo>
                    <a:pt x="642" y="338"/>
                  </a:lnTo>
                  <a:lnTo>
                    <a:pt x="642" y="336"/>
                  </a:lnTo>
                  <a:lnTo>
                    <a:pt x="642" y="335"/>
                  </a:lnTo>
                  <a:lnTo>
                    <a:pt x="642" y="332"/>
                  </a:lnTo>
                  <a:lnTo>
                    <a:pt x="642" y="330"/>
                  </a:lnTo>
                  <a:lnTo>
                    <a:pt x="643" y="329"/>
                  </a:lnTo>
                  <a:lnTo>
                    <a:pt x="643" y="327"/>
                  </a:lnTo>
                  <a:lnTo>
                    <a:pt x="643" y="326"/>
                  </a:lnTo>
                  <a:lnTo>
                    <a:pt x="645" y="326"/>
                  </a:lnTo>
                  <a:lnTo>
                    <a:pt x="645" y="326"/>
                  </a:lnTo>
                  <a:lnTo>
                    <a:pt x="646" y="326"/>
                  </a:lnTo>
                  <a:lnTo>
                    <a:pt x="647" y="326"/>
                  </a:lnTo>
                  <a:lnTo>
                    <a:pt x="648" y="326"/>
                  </a:lnTo>
                  <a:lnTo>
                    <a:pt x="651" y="326"/>
                  </a:lnTo>
                  <a:lnTo>
                    <a:pt x="652" y="326"/>
                  </a:lnTo>
                  <a:lnTo>
                    <a:pt x="655" y="327"/>
                  </a:lnTo>
                  <a:lnTo>
                    <a:pt x="658" y="327"/>
                  </a:lnTo>
                  <a:lnTo>
                    <a:pt x="659" y="329"/>
                  </a:lnTo>
                  <a:lnTo>
                    <a:pt x="660" y="329"/>
                  </a:lnTo>
                  <a:lnTo>
                    <a:pt x="661" y="329"/>
                  </a:lnTo>
                  <a:lnTo>
                    <a:pt x="663" y="329"/>
                  </a:lnTo>
                  <a:lnTo>
                    <a:pt x="664" y="329"/>
                  </a:lnTo>
                  <a:lnTo>
                    <a:pt x="665" y="329"/>
                  </a:lnTo>
                  <a:lnTo>
                    <a:pt x="668" y="327"/>
                  </a:lnTo>
                  <a:lnTo>
                    <a:pt x="671" y="326"/>
                  </a:lnTo>
                  <a:lnTo>
                    <a:pt x="672" y="325"/>
                  </a:lnTo>
                  <a:lnTo>
                    <a:pt x="674" y="325"/>
                  </a:lnTo>
                  <a:lnTo>
                    <a:pt x="676" y="325"/>
                  </a:lnTo>
                  <a:lnTo>
                    <a:pt x="677" y="325"/>
                  </a:lnTo>
                  <a:lnTo>
                    <a:pt x="678" y="326"/>
                  </a:lnTo>
                  <a:lnTo>
                    <a:pt x="680" y="327"/>
                  </a:lnTo>
                  <a:lnTo>
                    <a:pt x="681" y="327"/>
                  </a:lnTo>
                  <a:lnTo>
                    <a:pt x="682" y="327"/>
                  </a:lnTo>
                  <a:lnTo>
                    <a:pt x="684" y="329"/>
                  </a:lnTo>
                  <a:lnTo>
                    <a:pt x="685" y="330"/>
                  </a:lnTo>
                  <a:lnTo>
                    <a:pt x="686" y="331"/>
                  </a:lnTo>
                  <a:lnTo>
                    <a:pt x="687" y="332"/>
                  </a:lnTo>
                  <a:lnTo>
                    <a:pt x="690" y="335"/>
                  </a:lnTo>
                  <a:lnTo>
                    <a:pt x="694" y="339"/>
                  </a:lnTo>
                  <a:lnTo>
                    <a:pt x="696" y="343"/>
                  </a:lnTo>
                  <a:lnTo>
                    <a:pt x="699" y="347"/>
                  </a:lnTo>
                  <a:lnTo>
                    <a:pt x="700" y="348"/>
                  </a:lnTo>
                  <a:lnTo>
                    <a:pt x="702" y="349"/>
                  </a:lnTo>
                  <a:lnTo>
                    <a:pt x="703" y="351"/>
                  </a:lnTo>
                  <a:lnTo>
                    <a:pt x="704" y="352"/>
                  </a:lnTo>
                  <a:lnTo>
                    <a:pt x="707" y="352"/>
                  </a:lnTo>
                  <a:lnTo>
                    <a:pt x="709" y="353"/>
                  </a:lnTo>
                  <a:lnTo>
                    <a:pt x="713" y="356"/>
                  </a:lnTo>
                  <a:lnTo>
                    <a:pt x="719" y="357"/>
                  </a:lnTo>
                  <a:lnTo>
                    <a:pt x="724" y="358"/>
                  </a:lnTo>
                  <a:lnTo>
                    <a:pt x="729" y="358"/>
                  </a:lnTo>
                  <a:lnTo>
                    <a:pt x="734" y="360"/>
                  </a:lnTo>
                  <a:lnTo>
                    <a:pt x="739" y="360"/>
                  </a:lnTo>
                  <a:lnTo>
                    <a:pt x="744" y="361"/>
                  </a:lnTo>
                  <a:lnTo>
                    <a:pt x="750" y="362"/>
                  </a:lnTo>
                  <a:lnTo>
                    <a:pt x="751" y="362"/>
                  </a:lnTo>
                  <a:lnTo>
                    <a:pt x="754" y="362"/>
                  </a:lnTo>
                  <a:lnTo>
                    <a:pt x="756" y="364"/>
                  </a:lnTo>
                  <a:lnTo>
                    <a:pt x="757" y="364"/>
                  </a:lnTo>
                  <a:lnTo>
                    <a:pt x="759" y="365"/>
                  </a:lnTo>
                  <a:lnTo>
                    <a:pt x="760" y="365"/>
                  </a:lnTo>
                  <a:lnTo>
                    <a:pt x="760" y="366"/>
                  </a:lnTo>
                  <a:lnTo>
                    <a:pt x="761" y="366"/>
                  </a:lnTo>
                  <a:lnTo>
                    <a:pt x="761" y="367"/>
                  </a:lnTo>
                  <a:lnTo>
                    <a:pt x="761" y="369"/>
                  </a:lnTo>
                  <a:lnTo>
                    <a:pt x="761" y="370"/>
                  </a:lnTo>
                  <a:lnTo>
                    <a:pt x="761" y="371"/>
                  </a:lnTo>
                  <a:lnTo>
                    <a:pt x="764" y="371"/>
                  </a:lnTo>
                  <a:lnTo>
                    <a:pt x="767" y="371"/>
                  </a:lnTo>
                  <a:lnTo>
                    <a:pt x="769" y="371"/>
                  </a:lnTo>
                  <a:lnTo>
                    <a:pt x="772" y="370"/>
                  </a:lnTo>
                  <a:lnTo>
                    <a:pt x="773" y="369"/>
                  </a:lnTo>
                  <a:lnTo>
                    <a:pt x="774" y="367"/>
                  </a:lnTo>
                  <a:lnTo>
                    <a:pt x="776" y="366"/>
                  </a:lnTo>
                  <a:lnTo>
                    <a:pt x="776" y="366"/>
                  </a:lnTo>
                  <a:lnTo>
                    <a:pt x="776" y="364"/>
                  </a:lnTo>
                  <a:lnTo>
                    <a:pt x="776" y="364"/>
                  </a:lnTo>
                  <a:lnTo>
                    <a:pt x="776" y="362"/>
                  </a:lnTo>
                  <a:lnTo>
                    <a:pt x="776" y="361"/>
                  </a:lnTo>
                  <a:lnTo>
                    <a:pt x="776" y="361"/>
                  </a:lnTo>
                  <a:lnTo>
                    <a:pt x="776" y="358"/>
                  </a:lnTo>
                  <a:lnTo>
                    <a:pt x="777" y="356"/>
                  </a:lnTo>
                  <a:lnTo>
                    <a:pt x="777" y="352"/>
                  </a:lnTo>
                  <a:lnTo>
                    <a:pt x="779" y="348"/>
                  </a:lnTo>
                  <a:lnTo>
                    <a:pt x="781" y="345"/>
                  </a:lnTo>
                  <a:lnTo>
                    <a:pt x="782" y="343"/>
                  </a:lnTo>
                  <a:lnTo>
                    <a:pt x="783" y="342"/>
                  </a:lnTo>
                  <a:lnTo>
                    <a:pt x="785" y="342"/>
                  </a:lnTo>
                  <a:lnTo>
                    <a:pt x="786" y="343"/>
                  </a:lnTo>
                  <a:lnTo>
                    <a:pt x="787" y="343"/>
                  </a:lnTo>
                  <a:lnTo>
                    <a:pt x="789" y="344"/>
                  </a:lnTo>
                  <a:lnTo>
                    <a:pt x="790" y="345"/>
                  </a:lnTo>
                  <a:lnTo>
                    <a:pt x="791" y="347"/>
                  </a:lnTo>
                  <a:lnTo>
                    <a:pt x="794" y="349"/>
                  </a:lnTo>
                  <a:lnTo>
                    <a:pt x="795" y="352"/>
                  </a:lnTo>
                  <a:lnTo>
                    <a:pt x="796" y="353"/>
                  </a:lnTo>
                  <a:lnTo>
                    <a:pt x="796" y="354"/>
                  </a:lnTo>
                  <a:lnTo>
                    <a:pt x="798" y="354"/>
                  </a:lnTo>
                  <a:lnTo>
                    <a:pt x="798" y="356"/>
                  </a:lnTo>
                  <a:lnTo>
                    <a:pt x="798" y="356"/>
                  </a:lnTo>
                  <a:lnTo>
                    <a:pt x="798" y="357"/>
                  </a:lnTo>
                  <a:lnTo>
                    <a:pt x="800" y="358"/>
                  </a:lnTo>
                  <a:lnTo>
                    <a:pt x="802" y="358"/>
                  </a:lnTo>
                  <a:lnTo>
                    <a:pt x="805" y="361"/>
                  </a:lnTo>
                  <a:lnTo>
                    <a:pt x="808" y="362"/>
                  </a:lnTo>
                  <a:lnTo>
                    <a:pt x="813" y="364"/>
                  </a:lnTo>
                  <a:lnTo>
                    <a:pt x="817" y="364"/>
                  </a:lnTo>
                  <a:lnTo>
                    <a:pt x="821" y="364"/>
                  </a:lnTo>
                  <a:lnTo>
                    <a:pt x="825" y="364"/>
                  </a:lnTo>
                  <a:lnTo>
                    <a:pt x="826" y="364"/>
                  </a:lnTo>
                  <a:lnTo>
                    <a:pt x="827" y="364"/>
                  </a:lnTo>
                  <a:lnTo>
                    <a:pt x="830" y="364"/>
                  </a:lnTo>
                  <a:lnTo>
                    <a:pt x="831" y="364"/>
                  </a:lnTo>
                  <a:lnTo>
                    <a:pt x="834" y="364"/>
                  </a:lnTo>
                  <a:lnTo>
                    <a:pt x="837" y="362"/>
                  </a:lnTo>
                  <a:lnTo>
                    <a:pt x="839" y="362"/>
                  </a:lnTo>
                  <a:lnTo>
                    <a:pt x="843" y="361"/>
                  </a:lnTo>
                  <a:lnTo>
                    <a:pt x="846" y="360"/>
                  </a:lnTo>
                  <a:lnTo>
                    <a:pt x="850" y="358"/>
                  </a:lnTo>
                  <a:lnTo>
                    <a:pt x="852" y="357"/>
                  </a:lnTo>
                  <a:lnTo>
                    <a:pt x="855" y="354"/>
                  </a:lnTo>
                  <a:lnTo>
                    <a:pt x="857" y="353"/>
                  </a:lnTo>
                  <a:lnTo>
                    <a:pt x="860" y="351"/>
                  </a:lnTo>
                  <a:lnTo>
                    <a:pt x="862" y="349"/>
                  </a:lnTo>
                  <a:lnTo>
                    <a:pt x="864" y="347"/>
                  </a:lnTo>
                  <a:lnTo>
                    <a:pt x="865" y="344"/>
                  </a:lnTo>
                  <a:lnTo>
                    <a:pt x="865" y="343"/>
                  </a:lnTo>
                  <a:lnTo>
                    <a:pt x="865" y="342"/>
                  </a:lnTo>
                  <a:lnTo>
                    <a:pt x="865" y="340"/>
                  </a:lnTo>
                  <a:lnTo>
                    <a:pt x="865" y="339"/>
                  </a:lnTo>
                  <a:lnTo>
                    <a:pt x="864" y="335"/>
                  </a:lnTo>
                  <a:lnTo>
                    <a:pt x="864" y="331"/>
                  </a:lnTo>
                  <a:lnTo>
                    <a:pt x="864" y="329"/>
                  </a:lnTo>
                  <a:lnTo>
                    <a:pt x="864" y="327"/>
                  </a:lnTo>
                  <a:lnTo>
                    <a:pt x="864" y="325"/>
                  </a:lnTo>
                  <a:lnTo>
                    <a:pt x="864" y="322"/>
                  </a:lnTo>
                  <a:lnTo>
                    <a:pt x="864" y="321"/>
                  </a:lnTo>
                  <a:lnTo>
                    <a:pt x="865" y="319"/>
                  </a:lnTo>
                  <a:lnTo>
                    <a:pt x="866" y="317"/>
                  </a:lnTo>
                  <a:lnTo>
                    <a:pt x="868" y="316"/>
                  </a:lnTo>
                  <a:lnTo>
                    <a:pt x="869" y="313"/>
                  </a:lnTo>
                  <a:lnTo>
                    <a:pt x="873" y="312"/>
                  </a:lnTo>
                  <a:lnTo>
                    <a:pt x="870" y="312"/>
                  </a:lnTo>
                  <a:lnTo>
                    <a:pt x="869" y="312"/>
                  </a:lnTo>
                  <a:lnTo>
                    <a:pt x="866" y="310"/>
                  </a:lnTo>
                  <a:lnTo>
                    <a:pt x="864" y="309"/>
                  </a:lnTo>
                  <a:lnTo>
                    <a:pt x="860" y="308"/>
                  </a:lnTo>
                  <a:lnTo>
                    <a:pt x="856" y="306"/>
                  </a:lnTo>
                  <a:lnTo>
                    <a:pt x="852" y="305"/>
                  </a:lnTo>
                  <a:lnTo>
                    <a:pt x="848" y="305"/>
                  </a:lnTo>
                  <a:lnTo>
                    <a:pt x="846" y="304"/>
                  </a:lnTo>
                  <a:lnTo>
                    <a:pt x="843" y="304"/>
                  </a:lnTo>
                  <a:lnTo>
                    <a:pt x="842" y="304"/>
                  </a:lnTo>
                  <a:lnTo>
                    <a:pt x="840" y="303"/>
                  </a:lnTo>
                  <a:lnTo>
                    <a:pt x="839" y="303"/>
                  </a:lnTo>
                  <a:lnTo>
                    <a:pt x="838" y="301"/>
                  </a:lnTo>
                  <a:lnTo>
                    <a:pt x="838" y="301"/>
                  </a:lnTo>
                  <a:lnTo>
                    <a:pt x="837" y="301"/>
                  </a:lnTo>
                  <a:lnTo>
                    <a:pt x="835" y="301"/>
                  </a:lnTo>
                  <a:lnTo>
                    <a:pt x="834" y="301"/>
                  </a:lnTo>
                  <a:lnTo>
                    <a:pt x="833" y="301"/>
                  </a:lnTo>
                  <a:lnTo>
                    <a:pt x="833" y="300"/>
                  </a:lnTo>
                  <a:lnTo>
                    <a:pt x="831" y="300"/>
                  </a:lnTo>
                  <a:lnTo>
                    <a:pt x="830" y="300"/>
                  </a:lnTo>
                  <a:lnTo>
                    <a:pt x="829" y="299"/>
                  </a:lnTo>
                  <a:lnTo>
                    <a:pt x="827" y="297"/>
                  </a:lnTo>
                  <a:lnTo>
                    <a:pt x="826" y="296"/>
                  </a:lnTo>
                  <a:lnTo>
                    <a:pt x="825" y="295"/>
                  </a:lnTo>
                  <a:lnTo>
                    <a:pt x="822" y="292"/>
                  </a:lnTo>
                  <a:lnTo>
                    <a:pt x="820" y="291"/>
                  </a:lnTo>
                  <a:lnTo>
                    <a:pt x="817" y="291"/>
                  </a:lnTo>
                  <a:lnTo>
                    <a:pt x="815" y="290"/>
                  </a:lnTo>
                  <a:lnTo>
                    <a:pt x="811" y="290"/>
                  </a:lnTo>
                  <a:lnTo>
                    <a:pt x="808" y="290"/>
                  </a:lnTo>
                  <a:lnTo>
                    <a:pt x="805" y="290"/>
                  </a:lnTo>
                  <a:lnTo>
                    <a:pt x="803" y="290"/>
                  </a:lnTo>
                  <a:lnTo>
                    <a:pt x="800" y="290"/>
                  </a:lnTo>
                  <a:lnTo>
                    <a:pt x="799" y="288"/>
                  </a:lnTo>
                  <a:lnTo>
                    <a:pt x="796" y="288"/>
                  </a:lnTo>
                  <a:lnTo>
                    <a:pt x="795" y="288"/>
                  </a:lnTo>
                  <a:lnTo>
                    <a:pt x="794" y="287"/>
                  </a:lnTo>
                  <a:lnTo>
                    <a:pt x="791" y="286"/>
                  </a:lnTo>
                  <a:lnTo>
                    <a:pt x="790" y="283"/>
                  </a:lnTo>
                  <a:lnTo>
                    <a:pt x="789" y="280"/>
                  </a:lnTo>
                  <a:lnTo>
                    <a:pt x="786" y="278"/>
                  </a:lnTo>
                  <a:lnTo>
                    <a:pt x="785" y="277"/>
                  </a:lnTo>
                  <a:lnTo>
                    <a:pt x="783" y="274"/>
                  </a:lnTo>
                  <a:lnTo>
                    <a:pt x="781" y="274"/>
                  </a:lnTo>
                  <a:lnTo>
                    <a:pt x="777" y="274"/>
                  </a:lnTo>
                  <a:lnTo>
                    <a:pt x="776" y="274"/>
                  </a:lnTo>
                  <a:lnTo>
                    <a:pt x="773" y="274"/>
                  </a:lnTo>
                  <a:lnTo>
                    <a:pt x="769" y="273"/>
                  </a:lnTo>
                  <a:lnTo>
                    <a:pt x="767" y="271"/>
                  </a:lnTo>
                  <a:lnTo>
                    <a:pt x="764" y="270"/>
                  </a:lnTo>
                  <a:lnTo>
                    <a:pt x="763" y="269"/>
                  </a:lnTo>
                  <a:lnTo>
                    <a:pt x="761" y="267"/>
                  </a:lnTo>
                  <a:lnTo>
                    <a:pt x="760" y="267"/>
                  </a:lnTo>
                  <a:lnTo>
                    <a:pt x="759" y="267"/>
                  </a:lnTo>
                  <a:lnTo>
                    <a:pt x="757" y="266"/>
                  </a:lnTo>
                  <a:lnTo>
                    <a:pt x="757" y="266"/>
                  </a:lnTo>
                  <a:lnTo>
                    <a:pt x="756" y="266"/>
                  </a:lnTo>
                  <a:lnTo>
                    <a:pt x="756" y="265"/>
                  </a:lnTo>
                  <a:lnTo>
                    <a:pt x="756" y="265"/>
                  </a:lnTo>
                  <a:lnTo>
                    <a:pt x="756" y="264"/>
                  </a:lnTo>
                  <a:lnTo>
                    <a:pt x="756" y="262"/>
                  </a:lnTo>
                  <a:lnTo>
                    <a:pt x="756" y="262"/>
                  </a:lnTo>
                  <a:lnTo>
                    <a:pt x="756" y="261"/>
                  </a:lnTo>
                  <a:lnTo>
                    <a:pt x="757" y="261"/>
                  </a:lnTo>
                  <a:lnTo>
                    <a:pt x="757" y="261"/>
                  </a:lnTo>
                  <a:lnTo>
                    <a:pt x="759" y="260"/>
                  </a:lnTo>
                  <a:lnTo>
                    <a:pt x="760" y="260"/>
                  </a:lnTo>
                  <a:lnTo>
                    <a:pt x="761" y="260"/>
                  </a:lnTo>
                  <a:lnTo>
                    <a:pt x="764" y="257"/>
                  </a:lnTo>
                  <a:lnTo>
                    <a:pt x="768" y="256"/>
                  </a:lnTo>
                  <a:lnTo>
                    <a:pt x="770" y="253"/>
                  </a:lnTo>
                  <a:lnTo>
                    <a:pt x="773" y="252"/>
                  </a:lnTo>
                  <a:lnTo>
                    <a:pt x="774" y="251"/>
                  </a:lnTo>
                  <a:lnTo>
                    <a:pt x="776" y="249"/>
                  </a:lnTo>
                  <a:lnTo>
                    <a:pt x="778" y="248"/>
                  </a:lnTo>
                  <a:lnTo>
                    <a:pt x="779" y="247"/>
                  </a:lnTo>
                  <a:lnTo>
                    <a:pt x="781" y="247"/>
                  </a:lnTo>
                  <a:lnTo>
                    <a:pt x="782" y="245"/>
                  </a:lnTo>
                  <a:lnTo>
                    <a:pt x="783" y="245"/>
                  </a:lnTo>
                  <a:lnTo>
                    <a:pt x="785" y="245"/>
                  </a:lnTo>
                  <a:lnTo>
                    <a:pt x="786" y="245"/>
                  </a:lnTo>
                  <a:lnTo>
                    <a:pt x="787" y="245"/>
                  </a:lnTo>
                  <a:lnTo>
                    <a:pt x="789" y="244"/>
                  </a:lnTo>
                  <a:lnTo>
                    <a:pt x="790" y="244"/>
                  </a:lnTo>
                  <a:lnTo>
                    <a:pt x="791" y="244"/>
                  </a:lnTo>
                  <a:lnTo>
                    <a:pt x="791" y="243"/>
                  </a:lnTo>
                  <a:lnTo>
                    <a:pt x="792" y="243"/>
                  </a:lnTo>
                  <a:lnTo>
                    <a:pt x="794" y="242"/>
                  </a:lnTo>
                  <a:lnTo>
                    <a:pt x="795" y="240"/>
                  </a:lnTo>
                  <a:lnTo>
                    <a:pt x="796" y="239"/>
                  </a:lnTo>
                  <a:lnTo>
                    <a:pt x="799" y="238"/>
                  </a:lnTo>
                  <a:lnTo>
                    <a:pt x="800" y="235"/>
                  </a:lnTo>
                  <a:lnTo>
                    <a:pt x="803" y="232"/>
                  </a:lnTo>
                  <a:lnTo>
                    <a:pt x="805" y="230"/>
                  </a:lnTo>
                  <a:lnTo>
                    <a:pt x="805" y="229"/>
                  </a:lnTo>
                  <a:lnTo>
                    <a:pt x="804" y="229"/>
                  </a:lnTo>
                  <a:lnTo>
                    <a:pt x="803" y="226"/>
                  </a:lnTo>
                  <a:lnTo>
                    <a:pt x="800" y="226"/>
                  </a:lnTo>
                  <a:lnTo>
                    <a:pt x="799" y="223"/>
                  </a:lnTo>
                  <a:lnTo>
                    <a:pt x="794" y="219"/>
                  </a:lnTo>
                  <a:lnTo>
                    <a:pt x="791" y="216"/>
                  </a:lnTo>
                  <a:lnTo>
                    <a:pt x="789" y="213"/>
                  </a:lnTo>
                  <a:lnTo>
                    <a:pt x="787" y="212"/>
                  </a:lnTo>
                  <a:lnTo>
                    <a:pt x="786" y="210"/>
                  </a:lnTo>
                  <a:lnTo>
                    <a:pt x="785" y="209"/>
                  </a:lnTo>
                  <a:lnTo>
                    <a:pt x="783" y="209"/>
                  </a:lnTo>
                  <a:lnTo>
                    <a:pt x="783" y="208"/>
                  </a:lnTo>
                  <a:lnTo>
                    <a:pt x="783" y="206"/>
                  </a:lnTo>
                  <a:lnTo>
                    <a:pt x="783" y="205"/>
                  </a:lnTo>
                  <a:lnTo>
                    <a:pt x="785" y="204"/>
                  </a:lnTo>
                  <a:lnTo>
                    <a:pt x="786" y="203"/>
                  </a:lnTo>
                  <a:lnTo>
                    <a:pt x="787" y="200"/>
                  </a:lnTo>
                  <a:lnTo>
                    <a:pt x="790" y="196"/>
                  </a:lnTo>
                  <a:lnTo>
                    <a:pt x="791" y="195"/>
                  </a:lnTo>
                  <a:lnTo>
                    <a:pt x="791" y="195"/>
                  </a:lnTo>
                  <a:lnTo>
                    <a:pt x="792" y="193"/>
                  </a:lnTo>
                  <a:lnTo>
                    <a:pt x="792" y="191"/>
                  </a:lnTo>
                  <a:lnTo>
                    <a:pt x="792" y="190"/>
                  </a:lnTo>
                  <a:lnTo>
                    <a:pt x="792" y="188"/>
                  </a:lnTo>
                  <a:lnTo>
                    <a:pt x="791" y="187"/>
                  </a:lnTo>
                  <a:lnTo>
                    <a:pt x="791" y="186"/>
                  </a:lnTo>
                  <a:lnTo>
                    <a:pt x="794" y="184"/>
                  </a:lnTo>
                  <a:lnTo>
                    <a:pt x="795" y="184"/>
                  </a:lnTo>
                  <a:lnTo>
                    <a:pt x="798" y="183"/>
                  </a:lnTo>
                  <a:lnTo>
                    <a:pt x="800" y="183"/>
                  </a:lnTo>
                  <a:lnTo>
                    <a:pt x="802" y="183"/>
                  </a:lnTo>
                  <a:lnTo>
                    <a:pt x="804" y="182"/>
                  </a:lnTo>
                  <a:lnTo>
                    <a:pt x="805" y="182"/>
                  </a:lnTo>
                  <a:lnTo>
                    <a:pt x="807" y="182"/>
                  </a:lnTo>
                  <a:lnTo>
                    <a:pt x="808" y="180"/>
                  </a:lnTo>
                  <a:lnTo>
                    <a:pt x="809" y="180"/>
                  </a:lnTo>
                  <a:lnTo>
                    <a:pt x="812" y="180"/>
                  </a:lnTo>
                  <a:lnTo>
                    <a:pt x="813" y="180"/>
                  </a:lnTo>
                  <a:lnTo>
                    <a:pt x="815" y="180"/>
                  </a:lnTo>
                  <a:lnTo>
                    <a:pt x="816" y="180"/>
                  </a:lnTo>
                  <a:lnTo>
                    <a:pt x="818" y="180"/>
                  </a:lnTo>
                  <a:lnTo>
                    <a:pt x="820" y="182"/>
                  </a:lnTo>
                  <a:lnTo>
                    <a:pt x="821" y="182"/>
                  </a:lnTo>
                  <a:lnTo>
                    <a:pt x="822" y="182"/>
                  </a:lnTo>
                  <a:lnTo>
                    <a:pt x="824" y="183"/>
                  </a:lnTo>
                  <a:lnTo>
                    <a:pt x="826" y="183"/>
                  </a:lnTo>
                  <a:lnTo>
                    <a:pt x="827" y="183"/>
                  </a:lnTo>
                  <a:lnTo>
                    <a:pt x="830" y="184"/>
                  </a:lnTo>
                  <a:lnTo>
                    <a:pt x="833" y="184"/>
                  </a:lnTo>
                  <a:lnTo>
                    <a:pt x="835" y="186"/>
                  </a:lnTo>
                  <a:lnTo>
                    <a:pt x="838" y="186"/>
                  </a:lnTo>
                  <a:lnTo>
                    <a:pt x="840" y="186"/>
                  </a:lnTo>
                  <a:lnTo>
                    <a:pt x="843" y="186"/>
                  </a:lnTo>
                  <a:lnTo>
                    <a:pt x="847" y="184"/>
                  </a:lnTo>
                  <a:lnTo>
                    <a:pt x="850" y="184"/>
                  </a:lnTo>
                  <a:lnTo>
                    <a:pt x="852" y="182"/>
                  </a:lnTo>
                  <a:lnTo>
                    <a:pt x="855" y="180"/>
                  </a:lnTo>
                  <a:lnTo>
                    <a:pt x="856" y="179"/>
                  </a:lnTo>
                  <a:lnTo>
                    <a:pt x="857" y="179"/>
                  </a:lnTo>
                  <a:lnTo>
                    <a:pt x="859" y="178"/>
                  </a:lnTo>
                  <a:lnTo>
                    <a:pt x="859" y="178"/>
                  </a:lnTo>
                  <a:lnTo>
                    <a:pt x="859" y="178"/>
                  </a:lnTo>
                  <a:lnTo>
                    <a:pt x="859" y="178"/>
                  </a:lnTo>
                  <a:lnTo>
                    <a:pt x="857" y="177"/>
                  </a:lnTo>
                  <a:lnTo>
                    <a:pt x="856" y="177"/>
                  </a:lnTo>
                  <a:lnTo>
                    <a:pt x="855" y="175"/>
                  </a:lnTo>
                  <a:lnTo>
                    <a:pt x="852" y="175"/>
                  </a:lnTo>
                  <a:lnTo>
                    <a:pt x="850" y="173"/>
                  </a:lnTo>
                  <a:lnTo>
                    <a:pt x="848" y="173"/>
                  </a:lnTo>
                  <a:lnTo>
                    <a:pt x="846" y="173"/>
                  </a:lnTo>
                  <a:lnTo>
                    <a:pt x="844" y="171"/>
                  </a:lnTo>
                  <a:lnTo>
                    <a:pt x="843" y="171"/>
                  </a:lnTo>
                  <a:lnTo>
                    <a:pt x="843" y="171"/>
                  </a:lnTo>
                  <a:lnTo>
                    <a:pt x="839" y="170"/>
                  </a:lnTo>
                  <a:lnTo>
                    <a:pt x="838" y="169"/>
                  </a:lnTo>
                  <a:lnTo>
                    <a:pt x="831" y="166"/>
                  </a:lnTo>
                  <a:lnTo>
                    <a:pt x="826" y="165"/>
                  </a:lnTo>
                  <a:lnTo>
                    <a:pt x="821" y="164"/>
                  </a:lnTo>
                  <a:lnTo>
                    <a:pt x="815" y="162"/>
                  </a:lnTo>
                  <a:lnTo>
                    <a:pt x="809" y="161"/>
                  </a:lnTo>
                  <a:lnTo>
                    <a:pt x="804" y="158"/>
                  </a:lnTo>
                  <a:lnTo>
                    <a:pt x="802" y="157"/>
                  </a:lnTo>
                  <a:lnTo>
                    <a:pt x="798" y="156"/>
                  </a:lnTo>
                  <a:lnTo>
                    <a:pt x="796" y="156"/>
                  </a:lnTo>
                  <a:lnTo>
                    <a:pt x="795" y="156"/>
                  </a:lnTo>
                  <a:lnTo>
                    <a:pt x="794" y="156"/>
                  </a:lnTo>
                  <a:lnTo>
                    <a:pt x="792" y="156"/>
                  </a:lnTo>
                  <a:lnTo>
                    <a:pt x="791" y="155"/>
                  </a:lnTo>
                  <a:lnTo>
                    <a:pt x="791" y="155"/>
                  </a:lnTo>
                  <a:lnTo>
                    <a:pt x="791" y="155"/>
                  </a:lnTo>
                  <a:lnTo>
                    <a:pt x="791" y="153"/>
                  </a:lnTo>
                  <a:lnTo>
                    <a:pt x="791" y="153"/>
                  </a:lnTo>
                  <a:lnTo>
                    <a:pt x="791" y="152"/>
                  </a:lnTo>
                  <a:lnTo>
                    <a:pt x="792" y="152"/>
                  </a:lnTo>
                  <a:lnTo>
                    <a:pt x="792" y="151"/>
                  </a:lnTo>
                  <a:lnTo>
                    <a:pt x="795" y="149"/>
                  </a:lnTo>
                  <a:lnTo>
                    <a:pt x="798" y="148"/>
                  </a:lnTo>
                  <a:lnTo>
                    <a:pt x="800" y="148"/>
                  </a:lnTo>
                  <a:lnTo>
                    <a:pt x="803" y="147"/>
                  </a:lnTo>
                  <a:lnTo>
                    <a:pt x="805" y="145"/>
                  </a:lnTo>
                  <a:lnTo>
                    <a:pt x="807" y="144"/>
                  </a:lnTo>
                  <a:lnTo>
                    <a:pt x="809" y="143"/>
                  </a:lnTo>
                  <a:lnTo>
                    <a:pt x="812" y="142"/>
                  </a:lnTo>
                  <a:lnTo>
                    <a:pt x="812" y="142"/>
                  </a:lnTo>
                  <a:lnTo>
                    <a:pt x="812" y="142"/>
                  </a:lnTo>
                  <a:lnTo>
                    <a:pt x="812" y="142"/>
                  </a:lnTo>
                  <a:lnTo>
                    <a:pt x="811" y="142"/>
                  </a:lnTo>
                  <a:lnTo>
                    <a:pt x="808" y="142"/>
                  </a:lnTo>
                  <a:lnTo>
                    <a:pt x="807" y="142"/>
                  </a:lnTo>
                  <a:lnTo>
                    <a:pt x="805" y="142"/>
                  </a:lnTo>
                  <a:lnTo>
                    <a:pt x="804" y="142"/>
                  </a:lnTo>
                  <a:lnTo>
                    <a:pt x="803" y="142"/>
                  </a:lnTo>
                  <a:lnTo>
                    <a:pt x="800" y="142"/>
                  </a:lnTo>
                  <a:lnTo>
                    <a:pt x="799" y="142"/>
                  </a:lnTo>
                  <a:lnTo>
                    <a:pt x="798" y="142"/>
                  </a:lnTo>
                  <a:lnTo>
                    <a:pt x="796" y="142"/>
                  </a:lnTo>
                  <a:lnTo>
                    <a:pt x="795" y="142"/>
                  </a:lnTo>
                  <a:lnTo>
                    <a:pt x="792" y="140"/>
                  </a:lnTo>
                  <a:lnTo>
                    <a:pt x="790" y="139"/>
                  </a:lnTo>
                  <a:lnTo>
                    <a:pt x="786" y="138"/>
                  </a:lnTo>
                  <a:lnTo>
                    <a:pt x="782" y="136"/>
                  </a:lnTo>
                  <a:lnTo>
                    <a:pt x="778" y="135"/>
                  </a:lnTo>
                  <a:lnTo>
                    <a:pt x="774" y="134"/>
                  </a:lnTo>
                  <a:lnTo>
                    <a:pt x="772" y="134"/>
                  </a:lnTo>
                  <a:lnTo>
                    <a:pt x="773" y="134"/>
                  </a:lnTo>
                  <a:lnTo>
                    <a:pt x="774" y="132"/>
                  </a:lnTo>
                  <a:lnTo>
                    <a:pt x="776" y="132"/>
                  </a:lnTo>
                  <a:lnTo>
                    <a:pt x="776" y="132"/>
                  </a:lnTo>
                  <a:lnTo>
                    <a:pt x="777" y="132"/>
                  </a:lnTo>
                  <a:lnTo>
                    <a:pt x="778" y="132"/>
                  </a:lnTo>
                  <a:lnTo>
                    <a:pt x="778" y="131"/>
                  </a:lnTo>
                  <a:lnTo>
                    <a:pt x="779" y="130"/>
                  </a:lnTo>
                  <a:lnTo>
                    <a:pt x="779" y="129"/>
                  </a:lnTo>
                  <a:lnTo>
                    <a:pt x="779" y="127"/>
                  </a:lnTo>
                  <a:lnTo>
                    <a:pt x="779" y="126"/>
                  </a:lnTo>
                  <a:lnTo>
                    <a:pt x="778" y="123"/>
                  </a:lnTo>
                  <a:lnTo>
                    <a:pt x="777" y="122"/>
                  </a:lnTo>
                  <a:lnTo>
                    <a:pt x="776" y="119"/>
                  </a:lnTo>
                  <a:lnTo>
                    <a:pt x="776" y="118"/>
                  </a:lnTo>
                  <a:lnTo>
                    <a:pt x="772" y="114"/>
                  </a:lnTo>
                  <a:lnTo>
                    <a:pt x="770" y="113"/>
                  </a:lnTo>
                  <a:lnTo>
                    <a:pt x="769" y="112"/>
                  </a:lnTo>
                  <a:lnTo>
                    <a:pt x="770" y="112"/>
                  </a:lnTo>
                  <a:lnTo>
                    <a:pt x="772" y="112"/>
                  </a:lnTo>
                  <a:lnTo>
                    <a:pt x="773" y="112"/>
                  </a:lnTo>
                  <a:lnTo>
                    <a:pt x="774" y="112"/>
                  </a:lnTo>
                  <a:lnTo>
                    <a:pt x="776" y="112"/>
                  </a:lnTo>
                  <a:lnTo>
                    <a:pt x="777" y="112"/>
                  </a:lnTo>
                  <a:lnTo>
                    <a:pt x="778" y="112"/>
                  </a:lnTo>
                  <a:lnTo>
                    <a:pt x="781" y="112"/>
                  </a:lnTo>
                  <a:lnTo>
                    <a:pt x="782" y="112"/>
                  </a:lnTo>
                  <a:lnTo>
                    <a:pt x="783" y="112"/>
                  </a:lnTo>
                  <a:lnTo>
                    <a:pt x="782" y="110"/>
                  </a:lnTo>
                  <a:lnTo>
                    <a:pt x="782" y="109"/>
                  </a:lnTo>
                  <a:lnTo>
                    <a:pt x="782" y="108"/>
                  </a:lnTo>
                  <a:lnTo>
                    <a:pt x="782" y="106"/>
                  </a:lnTo>
                  <a:lnTo>
                    <a:pt x="783" y="106"/>
                  </a:lnTo>
                  <a:lnTo>
                    <a:pt x="783" y="105"/>
                  </a:lnTo>
                  <a:lnTo>
                    <a:pt x="785" y="104"/>
                  </a:lnTo>
                  <a:lnTo>
                    <a:pt x="785" y="104"/>
                  </a:lnTo>
                  <a:lnTo>
                    <a:pt x="787" y="103"/>
                  </a:lnTo>
                  <a:lnTo>
                    <a:pt x="790" y="103"/>
                  </a:lnTo>
                  <a:lnTo>
                    <a:pt x="792" y="103"/>
                  </a:lnTo>
                  <a:lnTo>
                    <a:pt x="796" y="103"/>
                  </a:lnTo>
                  <a:lnTo>
                    <a:pt x="800" y="104"/>
                  </a:lnTo>
                  <a:lnTo>
                    <a:pt x="804" y="104"/>
                  </a:lnTo>
                  <a:lnTo>
                    <a:pt x="807" y="105"/>
                  </a:lnTo>
                  <a:lnTo>
                    <a:pt x="811" y="106"/>
                  </a:lnTo>
                  <a:lnTo>
                    <a:pt x="813" y="108"/>
                  </a:lnTo>
                  <a:lnTo>
                    <a:pt x="817" y="109"/>
                  </a:lnTo>
                  <a:lnTo>
                    <a:pt x="818" y="110"/>
                  </a:lnTo>
                  <a:lnTo>
                    <a:pt x="820" y="110"/>
                  </a:lnTo>
                  <a:lnTo>
                    <a:pt x="821" y="112"/>
                  </a:lnTo>
                  <a:lnTo>
                    <a:pt x="822" y="112"/>
                  </a:lnTo>
                  <a:lnTo>
                    <a:pt x="822" y="112"/>
                  </a:lnTo>
                  <a:lnTo>
                    <a:pt x="825" y="110"/>
                  </a:lnTo>
                  <a:lnTo>
                    <a:pt x="826" y="109"/>
                  </a:lnTo>
                  <a:lnTo>
                    <a:pt x="829" y="108"/>
                  </a:lnTo>
                  <a:lnTo>
                    <a:pt x="831" y="106"/>
                  </a:lnTo>
                  <a:lnTo>
                    <a:pt x="833" y="105"/>
                  </a:lnTo>
                  <a:lnTo>
                    <a:pt x="834" y="105"/>
                  </a:lnTo>
                  <a:lnTo>
                    <a:pt x="837" y="104"/>
                  </a:lnTo>
                  <a:lnTo>
                    <a:pt x="838" y="104"/>
                  </a:lnTo>
                  <a:lnTo>
                    <a:pt x="840" y="104"/>
                  </a:lnTo>
                  <a:lnTo>
                    <a:pt x="843" y="104"/>
                  </a:lnTo>
                  <a:lnTo>
                    <a:pt x="844" y="104"/>
                  </a:lnTo>
                  <a:lnTo>
                    <a:pt x="846" y="104"/>
                  </a:lnTo>
                  <a:lnTo>
                    <a:pt x="847" y="105"/>
                  </a:lnTo>
                  <a:lnTo>
                    <a:pt x="850" y="106"/>
                  </a:lnTo>
                  <a:lnTo>
                    <a:pt x="851" y="108"/>
                  </a:lnTo>
                  <a:lnTo>
                    <a:pt x="853" y="109"/>
                  </a:lnTo>
                  <a:lnTo>
                    <a:pt x="855" y="110"/>
                  </a:lnTo>
                  <a:lnTo>
                    <a:pt x="856" y="110"/>
                  </a:lnTo>
                  <a:lnTo>
                    <a:pt x="857" y="110"/>
                  </a:lnTo>
                  <a:lnTo>
                    <a:pt x="860" y="112"/>
                  </a:lnTo>
                  <a:lnTo>
                    <a:pt x="862" y="112"/>
                  </a:lnTo>
                  <a:lnTo>
                    <a:pt x="865" y="112"/>
                  </a:lnTo>
                  <a:lnTo>
                    <a:pt x="865" y="110"/>
                  </a:lnTo>
                  <a:lnTo>
                    <a:pt x="864" y="109"/>
                  </a:lnTo>
                  <a:lnTo>
                    <a:pt x="864" y="108"/>
                  </a:lnTo>
                  <a:lnTo>
                    <a:pt x="864" y="106"/>
                  </a:lnTo>
                  <a:lnTo>
                    <a:pt x="864" y="104"/>
                  </a:lnTo>
                  <a:lnTo>
                    <a:pt x="864" y="103"/>
                  </a:lnTo>
                  <a:lnTo>
                    <a:pt x="865" y="101"/>
                  </a:lnTo>
                  <a:lnTo>
                    <a:pt x="866" y="100"/>
                  </a:lnTo>
                  <a:lnTo>
                    <a:pt x="868" y="100"/>
                  </a:lnTo>
                  <a:lnTo>
                    <a:pt x="870" y="99"/>
                  </a:lnTo>
                  <a:lnTo>
                    <a:pt x="873" y="99"/>
                  </a:lnTo>
                  <a:lnTo>
                    <a:pt x="875" y="97"/>
                  </a:lnTo>
                  <a:lnTo>
                    <a:pt x="879" y="97"/>
                  </a:lnTo>
                  <a:lnTo>
                    <a:pt x="882" y="97"/>
                  </a:lnTo>
                  <a:lnTo>
                    <a:pt x="883" y="97"/>
                  </a:lnTo>
                  <a:lnTo>
                    <a:pt x="886" y="97"/>
                  </a:lnTo>
                  <a:lnTo>
                    <a:pt x="887" y="97"/>
                  </a:lnTo>
                  <a:lnTo>
                    <a:pt x="887" y="96"/>
                  </a:lnTo>
                  <a:lnTo>
                    <a:pt x="887" y="96"/>
                  </a:lnTo>
                  <a:lnTo>
                    <a:pt x="888" y="96"/>
                  </a:lnTo>
                  <a:lnTo>
                    <a:pt x="888" y="95"/>
                  </a:lnTo>
                  <a:lnTo>
                    <a:pt x="890" y="93"/>
                  </a:lnTo>
                  <a:lnTo>
                    <a:pt x="892" y="91"/>
                  </a:lnTo>
                  <a:lnTo>
                    <a:pt x="894" y="91"/>
                  </a:lnTo>
                  <a:lnTo>
                    <a:pt x="895" y="90"/>
                  </a:lnTo>
                  <a:lnTo>
                    <a:pt x="939" y="90"/>
                  </a:lnTo>
                  <a:lnTo>
                    <a:pt x="939" y="88"/>
                  </a:lnTo>
                  <a:lnTo>
                    <a:pt x="939" y="88"/>
                  </a:lnTo>
                  <a:lnTo>
                    <a:pt x="939" y="87"/>
                  </a:lnTo>
                  <a:lnTo>
                    <a:pt x="940" y="86"/>
                  </a:lnTo>
                  <a:lnTo>
                    <a:pt x="942" y="84"/>
                  </a:lnTo>
                  <a:lnTo>
                    <a:pt x="943" y="83"/>
                  </a:lnTo>
                  <a:lnTo>
                    <a:pt x="944" y="82"/>
                  </a:lnTo>
                  <a:lnTo>
                    <a:pt x="946" y="82"/>
                  </a:lnTo>
                  <a:lnTo>
                    <a:pt x="947" y="82"/>
                  </a:lnTo>
                  <a:lnTo>
                    <a:pt x="948" y="82"/>
                  </a:lnTo>
                  <a:lnTo>
                    <a:pt x="949" y="82"/>
                  </a:lnTo>
                  <a:lnTo>
                    <a:pt x="953" y="81"/>
                  </a:lnTo>
                  <a:lnTo>
                    <a:pt x="957" y="81"/>
                  </a:lnTo>
                  <a:lnTo>
                    <a:pt x="961" y="79"/>
                  </a:lnTo>
                  <a:lnTo>
                    <a:pt x="965" y="78"/>
                  </a:lnTo>
                  <a:lnTo>
                    <a:pt x="968" y="78"/>
                  </a:lnTo>
                  <a:lnTo>
                    <a:pt x="970" y="79"/>
                  </a:lnTo>
                  <a:lnTo>
                    <a:pt x="971" y="79"/>
                  </a:lnTo>
                  <a:lnTo>
                    <a:pt x="973" y="79"/>
                  </a:lnTo>
                  <a:lnTo>
                    <a:pt x="975" y="81"/>
                  </a:lnTo>
                  <a:lnTo>
                    <a:pt x="977" y="82"/>
                  </a:lnTo>
                  <a:lnTo>
                    <a:pt x="978" y="82"/>
                  </a:lnTo>
                  <a:lnTo>
                    <a:pt x="979" y="82"/>
                  </a:lnTo>
                  <a:lnTo>
                    <a:pt x="982" y="81"/>
                  </a:lnTo>
                  <a:lnTo>
                    <a:pt x="984" y="81"/>
                  </a:lnTo>
                  <a:lnTo>
                    <a:pt x="987" y="79"/>
                  </a:lnTo>
                  <a:lnTo>
                    <a:pt x="991" y="78"/>
                  </a:lnTo>
                  <a:lnTo>
                    <a:pt x="992" y="78"/>
                  </a:lnTo>
                  <a:lnTo>
                    <a:pt x="992" y="79"/>
                  </a:lnTo>
                  <a:lnTo>
                    <a:pt x="993" y="79"/>
                  </a:lnTo>
                  <a:lnTo>
                    <a:pt x="996" y="79"/>
                  </a:lnTo>
                  <a:lnTo>
                    <a:pt x="997" y="81"/>
                  </a:lnTo>
                  <a:lnTo>
                    <a:pt x="999" y="82"/>
                  </a:lnTo>
                  <a:lnTo>
                    <a:pt x="1000" y="82"/>
                  </a:lnTo>
                  <a:lnTo>
                    <a:pt x="1001" y="82"/>
                  </a:lnTo>
                  <a:lnTo>
                    <a:pt x="1003" y="82"/>
                  </a:lnTo>
                  <a:lnTo>
                    <a:pt x="1004" y="82"/>
                  </a:lnTo>
                  <a:lnTo>
                    <a:pt x="1005" y="81"/>
                  </a:lnTo>
                  <a:lnTo>
                    <a:pt x="1006" y="81"/>
                  </a:lnTo>
                  <a:lnTo>
                    <a:pt x="1006" y="79"/>
                  </a:lnTo>
                  <a:lnTo>
                    <a:pt x="1006" y="77"/>
                  </a:lnTo>
                  <a:lnTo>
                    <a:pt x="1006" y="75"/>
                  </a:lnTo>
                  <a:lnTo>
                    <a:pt x="1006" y="74"/>
                  </a:lnTo>
                  <a:lnTo>
                    <a:pt x="1006" y="73"/>
                  </a:lnTo>
                  <a:lnTo>
                    <a:pt x="1006" y="70"/>
                  </a:lnTo>
                  <a:lnTo>
                    <a:pt x="1008" y="69"/>
                  </a:lnTo>
                  <a:lnTo>
                    <a:pt x="1008" y="68"/>
                  </a:lnTo>
                  <a:lnTo>
                    <a:pt x="1009" y="66"/>
                  </a:lnTo>
                  <a:lnTo>
                    <a:pt x="1012" y="65"/>
                  </a:lnTo>
                  <a:lnTo>
                    <a:pt x="1013" y="64"/>
                  </a:lnTo>
                  <a:lnTo>
                    <a:pt x="1016" y="62"/>
                  </a:lnTo>
                  <a:lnTo>
                    <a:pt x="1018" y="61"/>
                  </a:lnTo>
                  <a:lnTo>
                    <a:pt x="1021" y="61"/>
                  </a:lnTo>
                  <a:lnTo>
                    <a:pt x="1025" y="60"/>
                  </a:lnTo>
                  <a:lnTo>
                    <a:pt x="1031" y="58"/>
                  </a:lnTo>
                  <a:lnTo>
                    <a:pt x="1036" y="57"/>
                  </a:lnTo>
                  <a:lnTo>
                    <a:pt x="1043" y="57"/>
                  </a:lnTo>
                  <a:lnTo>
                    <a:pt x="1048" y="56"/>
                  </a:lnTo>
                  <a:lnTo>
                    <a:pt x="1054" y="56"/>
                  </a:lnTo>
                  <a:lnTo>
                    <a:pt x="1060" y="56"/>
                  </a:lnTo>
                  <a:lnTo>
                    <a:pt x="1061" y="55"/>
                  </a:lnTo>
                  <a:lnTo>
                    <a:pt x="1064" y="55"/>
                  </a:lnTo>
                  <a:lnTo>
                    <a:pt x="1066" y="55"/>
                  </a:lnTo>
                  <a:lnTo>
                    <a:pt x="1067" y="55"/>
                  </a:lnTo>
                  <a:lnTo>
                    <a:pt x="1070" y="55"/>
                  </a:lnTo>
                  <a:lnTo>
                    <a:pt x="1070" y="53"/>
                  </a:lnTo>
                  <a:lnTo>
                    <a:pt x="1071" y="53"/>
                  </a:lnTo>
                  <a:lnTo>
                    <a:pt x="1073" y="52"/>
                  </a:lnTo>
                  <a:lnTo>
                    <a:pt x="1079" y="51"/>
                  </a:lnTo>
                  <a:lnTo>
                    <a:pt x="1086" y="49"/>
                  </a:lnTo>
                  <a:lnTo>
                    <a:pt x="1092" y="48"/>
                  </a:lnTo>
                  <a:lnTo>
                    <a:pt x="1099" y="48"/>
                  </a:lnTo>
                  <a:lnTo>
                    <a:pt x="1104" y="47"/>
                  </a:lnTo>
                  <a:lnTo>
                    <a:pt x="1110" y="45"/>
                  </a:lnTo>
                  <a:lnTo>
                    <a:pt x="1115" y="44"/>
                  </a:lnTo>
                  <a:lnTo>
                    <a:pt x="1121" y="43"/>
                  </a:lnTo>
                  <a:lnTo>
                    <a:pt x="1127" y="42"/>
                  </a:lnTo>
                  <a:lnTo>
                    <a:pt x="1132" y="39"/>
                  </a:lnTo>
                  <a:lnTo>
                    <a:pt x="1137" y="38"/>
                  </a:lnTo>
                  <a:lnTo>
                    <a:pt x="1144" y="35"/>
                  </a:lnTo>
                  <a:lnTo>
                    <a:pt x="1149" y="32"/>
                  </a:lnTo>
                  <a:lnTo>
                    <a:pt x="1156" y="30"/>
                  </a:lnTo>
                  <a:lnTo>
                    <a:pt x="1162" y="26"/>
                  </a:lnTo>
                  <a:lnTo>
                    <a:pt x="1169" y="22"/>
                  </a:lnTo>
                  <a:lnTo>
                    <a:pt x="1167" y="22"/>
                  </a:lnTo>
                  <a:lnTo>
                    <a:pt x="1166" y="22"/>
                  </a:lnTo>
                  <a:lnTo>
                    <a:pt x="1165" y="22"/>
                  </a:lnTo>
                  <a:lnTo>
                    <a:pt x="1163" y="22"/>
                  </a:lnTo>
                  <a:lnTo>
                    <a:pt x="1163" y="22"/>
                  </a:lnTo>
                  <a:lnTo>
                    <a:pt x="1162" y="22"/>
                  </a:lnTo>
                  <a:lnTo>
                    <a:pt x="1165" y="19"/>
                  </a:lnTo>
                  <a:lnTo>
                    <a:pt x="1167" y="18"/>
                  </a:lnTo>
                  <a:lnTo>
                    <a:pt x="1170" y="16"/>
                  </a:lnTo>
                  <a:lnTo>
                    <a:pt x="1171" y="14"/>
                  </a:lnTo>
                  <a:lnTo>
                    <a:pt x="1174" y="13"/>
                  </a:lnTo>
                  <a:lnTo>
                    <a:pt x="1175" y="13"/>
                  </a:lnTo>
                  <a:lnTo>
                    <a:pt x="1178" y="12"/>
                  </a:lnTo>
                  <a:lnTo>
                    <a:pt x="1179" y="10"/>
                  </a:lnTo>
                  <a:lnTo>
                    <a:pt x="1179" y="10"/>
                  </a:lnTo>
                  <a:lnTo>
                    <a:pt x="1180" y="9"/>
                  </a:lnTo>
                  <a:lnTo>
                    <a:pt x="1182" y="9"/>
                  </a:lnTo>
                  <a:lnTo>
                    <a:pt x="1183" y="8"/>
                  </a:lnTo>
                  <a:lnTo>
                    <a:pt x="1183" y="6"/>
                  </a:lnTo>
                  <a:lnTo>
                    <a:pt x="1184" y="5"/>
                  </a:lnTo>
                  <a:lnTo>
                    <a:pt x="1184" y="3"/>
                  </a:lnTo>
                  <a:lnTo>
                    <a:pt x="1184" y="0"/>
                  </a:lnTo>
                  <a:lnTo>
                    <a:pt x="1185" y="1"/>
                  </a:lnTo>
                  <a:lnTo>
                    <a:pt x="1187" y="3"/>
                  </a:lnTo>
                  <a:lnTo>
                    <a:pt x="1189" y="4"/>
                  </a:lnTo>
                  <a:lnTo>
                    <a:pt x="1192" y="6"/>
                  </a:lnTo>
                  <a:lnTo>
                    <a:pt x="1195" y="6"/>
                  </a:lnTo>
                  <a:lnTo>
                    <a:pt x="1196" y="8"/>
                  </a:lnTo>
                  <a:lnTo>
                    <a:pt x="1197" y="8"/>
                  </a:lnTo>
                  <a:lnTo>
                    <a:pt x="1198" y="8"/>
                  </a:lnTo>
                  <a:lnTo>
                    <a:pt x="1198" y="8"/>
                  </a:lnTo>
                  <a:lnTo>
                    <a:pt x="1198" y="8"/>
                  </a:lnTo>
                  <a:lnTo>
                    <a:pt x="1198" y="6"/>
                  </a:lnTo>
                  <a:lnTo>
                    <a:pt x="1198" y="6"/>
                  </a:lnTo>
                  <a:lnTo>
                    <a:pt x="1198" y="4"/>
                  </a:lnTo>
                  <a:lnTo>
                    <a:pt x="1198" y="3"/>
                  </a:lnTo>
                  <a:lnTo>
                    <a:pt x="1198" y="1"/>
                  </a:lnTo>
                  <a:lnTo>
                    <a:pt x="1198" y="0"/>
                  </a:lnTo>
                  <a:lnTo>
                    <a:pt x="1200" y="0"/>
                  </a:lnTo>
                  <a:lnTo>
                    <a:pt x="1200" y="1"/>
                  </a:lnTo>
                  <a:lnTo>
                    <a:pt x="1201" y="1"/>
                  </a:lnTo>
                  <a:lnTo>
                    <a:pt x="1202" y="1"/>
                  </a:lnTo>
                  <a:lnTo>
                    <a:pt x="1204" y="3"/>
                  </a:lnTo>
                  <a:lnTo>
                    <a:pt x="1207" y="3"/>
                  </a:lnTo>
                  <a:lnTo>
                    <a:pt x="1210" y="4"/>
                  </a:lnTo>
                  <a:lnTo>
                    <a:pt x="1213" y="4"/>
                  </a:lnTo>
                  <a:lnTo>
                    <a:pt x="1214" y="4"/>
                  </a:lnTo>
                  <a:lnTo>
                    <a:pt x="1217" y="3"/>
                  </a:lnTo>
                  <a:lnTo>
                    <a:pt x="1218" y="3"/>
                  </a:lnTo>
                  <a:lnTo>
                    <a:pt x="1220" y="1"/>
                  </a:lnTo>
                  <a:lnTo>
                    <a:pt x="1222" y="0"/>
                  </a:lnTo>
                  <a:lnTo>
                    <a:pt x="1224" y="0"/>
                  </a:lnTo>
                  <a:lnTo>
                    <a:pt x="1227" y="0"/>
                  </a:lnTo>
                  <a:lnTo>
                    <a:pt x="1230" y="0"/>
                  </a:lnTo>
                  <a:lnTo>
                    <a:pt x="1232" y="1"/>
                  </a:lnTo>
                  <a:lnTo>
                    <a:pt x="1235" y="1"/>
                  </a:lnTo>
                  <a:lnTo>
                    <a:pt x="1239" y="4"/>
                  </a:lnTo>
                  <a:lnTo>
                    <a:pt x="1241" y="5"/>
                  </a:lnTo>
                  <a:lnTo>
                    <a:pt x="1241" y="6"/>
                  </a:lnTo>
                  <a:lnTo>
                    <a:pt x="1244" y="8"/>
                  </a:lnTo>
                  <a:lnTo>
                    <a:pt x="1244" y="8"/>
                  </a:lnTo>
                  <a:lnTo>
                    <a:pt x="1245" y="8"/>
                  </a:lnTo>
                  <a:lnTo>
                    <a:pt x="1246" y="9"/>
                  </a:lnTo>
                  <a:lnTo>
                    <a:pt x="1246" y="9"/>
                  </a:lnTo>
                  <a:lnTo>
                    <a:pt x="1249" y="10"/>
                  </a:lnTo>
                  <a:lnTo>
                    <a:pt x="1253" y="12"/>
                  </a:lnTo>
                  <a:lnTo>
                    <a:pt x="1255" y="14"/>
                  </a:lnTo>
                  <a:lnTo>
                    <a:pt x="1259" y="16"/>
                  </a:lnTo>
                  <a:lnTo>
                    <a:pt x="1263" y="17"/>
                  </a:lnTo>
                  <a:lnTo>
                    <a:pt x="1267" y="18"/>
                  </a:lnTo>
                  <a:lnTo>
                    <a:pt x="1271" y="19"/>
                  </a:lnTo>
                  <a:lnTo>
                    <a:pt x="1274" y="19"/>
                  </a:lnTo>
                  <a:lnTo>
                    <a:pt x="1278" y="21"/>
                  </a:lnTo>
                  <a:lnTo>
                    <a:pt x="1281" y="19"/>
                  </a:lnTo>
                  <a:lnTo>
                    <a:pt x="1283" y="19"/>
                  </a:lnTo>
                  <a:lnTo>
                    <a:pt x="1284" y="19"/>
                  </a:lnTo>
                  <a:lnTo>
                    <a:pt x="1285" y="18"/>
                  </a:lnTo>
                  <a:lnTo>
                    <a:pt x="1287" y="17"/>
                  </a:lnTo>
                  <a:lnTo>
                    <a:pt x="1288" y="16"/>
                  </a:lnTo>
                  <a:lnTo>
                    <a:pt x="1288" y="14"/>
                  </a:lnTo>
                  <a:lnTo>
                    <a:pt x="1288" y="13"/>
                  </a:lnTo>
                  <a:lnTo>
                    <a:pt x="1289" y="12"/>
                  </a:lnTo>
                  <a:lnTo>
                    <a:pt x="1291" y="12"/>
                  </a:lnTo>
                  <a:lnTo>
                    <a:pt x="1292" y="10"/>
                  </a:lnTo>
                  <a:lnTo>
                    <a:pt x="1293" y="9"/>
                  </a:lnTo>
                  <a:lnTo>
                    <a:pt x="1296" y="9"/>
                  </a:lnTo>
                  <a:lnTo>
                    <a:pt x="1298" y="8"/>
                  </a:lnTo>
                  <a:lnTo>
                    <a:pt x="1301" y="9"/>
                  </a:lnTo>
                  <a:lnTo>
                    <a:pt x="1303" y="9"/>
                  </a:lnTo>
                  <a:lnTo>
                    <a:pt x="1306" y="10"/>
                  </a:lnTo>
                  <a:lnTo>
                    <a:pt x="1309" y="12"/>
                  </a:lnTo>
                  <a:lnTo>
                    <a:pt x="1313" y="13"/>
                  </a:lnTo>
                  <a:lnTo>
                    <a:pt x="1315" y="14"/>
                  </a:lnTo>
                  <a:lnTo>
                    <a:pt x="1318" y="16"/>
                  </a:lnTo>
                  <a:lnTo>
                    <a:pt x="1319" y="18"/>
                  </a:lnTo>
                  <a:lnTo>
                    <a:pt x="1322" y="19"/>
                  </a:lnTo>
                  <a:lnTo>
                    <a:pt x="1323" y="21"/>
                  </a:lnTo>
                  <a:lnTo>
                    <a:pt x="1326" y="22"/>
                  </a:lnTo>
                  <a:lnTo>
                    <a:pt x="1326" y="23"/>
                  </a:lnTo>
                  <a:lnTo>
                    <a:pt x="1326" y="25"/>
                  </a:lnTo>
                  <a:lnTo>
                    <a:pt x="1327" y="26"/>
                  </a:lnTo>
                  <a:lnTo>
                    <a:pt x="1328" y="29"/>
                  </a:lnTo>
                  <a:lnTo>
                    <a:pt x="1329" y="30"/>
                  </a:lnTo>
                  <a:lnTo>
                    <a:pt x="1331" y="31"/>
                  </a:lnTo>
                  <a:lnTo>
                    <a:pt x="1332" y="32"/>
                  </a:lnTo>
                  <a:lnTo>
                    <a:pt x="1332" y="35"/>
                  </a:lnTo>
                  <a:lnTo>
                    <a:pt x="1333" y="36"/>
                  </a:lnTo>
                  <a:lnTo>
                    <a:pt x="1333" y="38"/>
                  </a:lnTo>
                  <a:lnTo>
                    <a:pt x="1333" y="39"/>
                  </a:lnTo>
                  <a:lnTo>
                    <a:pt x="1333" y="40"/>
                  </a:lnTo>
                  <a:lnTo>
                    <a:pt x="1335" y="42"/>
                  </a:lnTo>
                  <a:lnTo>
                    <a:pt x="1335" y="43"/>
                  </a:lnTo>
                  <a:lnTo>
                    <a:pt x="1336" y="44"/>
                  </a:lnTo>
                  <a:lnTo>
                    <a:pt x="1337" y="45"/>
                  </a:lnTo>
                  <a:lnTo>
                    <a:pt x="1341" y="48"/>
                  </a:lnTo>
                  <a:lnTo>
                    <a:pt x="1345" y="49"/>
                  </a:lnTo>
                  <a:lnTo>
                    <a:pt x="1349" y="51"/>
                  </a:lnTo>
                  <a:lnTo>
                    <a:pt x="1351" y="52"/>
                  </a:lnTo>
                  <a:lnTo>
                    <a:pt x="1353" y="52"/>
                  </a:lnTo>
                  <a:lnTo>
                    <a:pt x="1355" y="52"/>
                  </a:lnTo>
                  <a:lnTo>
                    <a:pt x="1354" y="53"/>
                  </a:lnTo>
                  <a:lnTo>
                    <a:pt x="1354" y="55"/>
                  </a:lnTo>
                  <a:lnTo>
                    <a:pt x="1353" y="57"/>
                  </a:lnTo>
                  <a:lnTo>
                    <a:pt x="1353" y="60"/>
                  </a:lnTo>
                  <a:lnTo>
                    <a:pt x="1354" y="62"/>
                  </a:lnTo>
                  <a:lnTo>
                    <a:pt x="1354" y="66"/>
                  </a:lnTo>
                  <a:lnTo>
                    <a:pt x="1355" y="69"/>
                  </a:lnTo>
                  <a:lnTo>
                    <a:pt x="1355" y="70"/>
                  </a:lnTo>
                  <a:lnTo>
                    <a:pt x="1357" y="73"/>
                  </a:lnTo>
                  <a:lnTo>
                    <a:pt x="1357" y="74"/>
                  </a:lnTo>
                  <a:lnTo>
                    <a:pt x="1358" y="77"/>
                  </a:lnTo>
                  <a:lnTo>
                    <a:pt x="1358" y="78"/>
                  </a:lnTo>
                  <a:lnTo>
                    <a:pt x="1357" y="79"/>
                  </a:lnTo>
                  <a:lnTo>
                    <a:pt x="1357" y="79"/>
                  </a:lnTo>
                  <a:lnTo>
                    <a:pt x="1355" y="81"/>
                  </a:lnTo>
                  <a:lnTo>
                    <a:pt x="1354" y="81"/>
                  </a:lnTo>
                  <a:lnTo>
                    <a:pt x="1354" y="82"/>
                  </a:lnTo>
                  <a:lnTo>
                    <a:pt x="1353" y="82"/>
                  </a:lnTo>
                  <a:lnTo>
                    <a:pt x="1350" y="82"/>
                  </a:lnTo>
                  <a:lnTo>
                    <a:pt x="1350" y="82"/>
                  </a:lnTo>
                  <a:lnTo>
                    <a:pt x="1348" y="82"/>
                  </a:lnTo>
                  <a:lnTo>
                    <a:pt x="1349" y="84"/>
                  </a:lnTo>
                  <a:lnTo>
                    <a:pt x="1350" y="86"/>
                  </a:lnTo>
                  <a:lnTo>
                    <a:pt x="1351" y="87"/>
                  </a:lnTo>
                  <a:lnTo>
                    <a:pt x="1353" y="88"/>
                  </a:lnTo>
                  <a:lnTo>
                    <a:pt x="1354" y="90"/>
                  </a:lnTo>
                  <a:lnTo>
                    <a:pt x="1355" y="91"/>
                  </a:lnTo>
                  <a:lnTo>
                    <a:pt x="1358" y="92"/>
                  </a:lnTo>
                  <a:lnTo>
                    <a:pt x="1359" y="93"/>
                  </a:lnTo>
                  <a:lnTo>
                    <a:pt x="1362" y="95"/>
                  </a:lnTo>
                  <a:lnTo>
                    <a:pt x="1364" y="95"/>
                  </a:lnTo>
                  <a:lnTo>
                    <a:pt x="1366" y="95"/>
                  </a:lnTo>
                  <a:lnTo>
                    <a:pt x="1368" y="95"/>
                  </a:lnTo>
                  <a:lnTo>
                    <a:pt x="1370" y="95"/>
                  </a:lnTo>
                  <a:lnTo>
                    <a:pt x="1372" y="95"/>
                  </a:lnTo>
                  <a:lnTo>
                    <a:pt x="1375" y="95"/>
                  </a:lnTo>
                  <a:lnTo>
                    <a:pt x="1377" y="95"/>
                  </a:lnTo>
                  <a:lnTo>
                    <a:pt x="1380" y="95"/>
                  </a:lnTo>
                  <a:lnTo>
                    <a:pt x="1381" y="96"/>
                  </a:lnTo>
                  <a:lnTo>
                    <a:pt x="1384" y="97"/>
                  </a:lnTo>
                  <a:lnTo>
                    <a:pt x="1385" y="97"/>
                  </a:lnTo>
                  <a:lnTo>
                    <a:pt x="1386" y="96"/>
                  </a:lnTo>
                  <a:lnTo>
                    <a:pt x="1389" y="96"/>
                  </a:lnTo>
                  <a:lnTo>
                    <a:pt x="1390" y="96"/>
                  </a:lnTo>
                  <a:lnTo>
                    <a:pt x="1392" y="96"/>
                  </a:lnTo>
                  <a:lnTo>
                    <a:pt x="1393" y="95"/>
                  </a:lnTo>
                  <a:lnTo>
                    <a:pt x="1396" y="93"/>
                  </a:lnTo>
                  <a:lnTo>
                    <a:pt x="1397" y="91"/>
                  </a:lnTo>
                  <a:lnTo>
                    <a:pt x="1398" y="91"/>
                  </a:lnTo>
                  <a:lnTo>
                    <a:pt x="1399" y="90"/>
                  </a:lnTo>
                  <a:lnTo>
                    <a:pt x="1401" y="88"/>
                  </a:lnTo>
                  <a:lnTo>
                    <a:pt x="1402" y="87"/>
                  </a:lnTo>
                  <a:lnTo>
                    <a:pt x="1403" y="86"/>
                  </a:lnTo>
                  <a:lnTo>
                    <a:pt x="1405" y="86"/>
                  </a:lnTo>
                  <a:lnTo>
                    <a:pt x="1406" y="86"/>
                  </a:lnTo>
                  <a:lnTo>
                    <a:pt x="1407" y="86"/>
                  </a:lnTo>
                  <a:lnTo>
                    <a:pt x="1411" y="86"/>
                  </a:lnTo>
                  <a:lnTo>
                    <a:pt x="1412" y="87"/>
                  </a:lnTo>
                  <a:lnTo>
                    <a:pt x="1416" y="88"/>
                  </a:lnTo>
                  <a:lnTo>
                    <a:pt x="1419" y="88"/>
                  </a:lnTo>
                  <a:lnTo>
                    <a:pt x="1419" y="88"/>
                  </a:lnTo>
                  <a:lnTo>
                    <a:pt x="1418" y="87"/>
                  </a:lnTo>
                  <a:lnTo>
                    <a:pt x="1416" y="86"/>
                  </a:lnTo>
                  <a:lnTo>
                    <a:pt x="1415" y="84"/>
                  </a:lnTo>
                  <a:lnTo>
                    <a:pt x="1415" y="83"/>
                  </a:lnTo>
                  <a:lnTo>
                    <a:pt x="1414" y="79"/>
                  </a:lnTo>
                  <a:lnTo>
                    <a:pt x="1414" y="77"/>
                  </a:lnTo>
                  <a:lnTo>
                    <a:pt x="1414" y="74"/>
                  </a:lnTo>
                  <a:lnTo>
                    <a:pt x="1415" y="75"/>
                  </a:lnTo>
                  <a:lnTo>
                    <a:pt x="1418" y="78"/>
                  </a:lnTo>
                  <a:lnTo>
                    <a:pt x="1421" y="81"/>
                  </a:lnTo>
                  <a:lnTo>
                    <a:pt x="1425" y="84"/>
                  </a:lnTo>
                  <a:lnTo>
                    <a:pt x="1429" y="88"/>
                  </a:lnTo>
                  <a:lnTo>
                    <a:pt x="1433" y="91"/>
                  </a:lnTo>
                  <a:lnTo>
                    <a:pt x="1436" y="93"/>
                  </a:lnTo>
                  <a:lnTo>
                    <a:pt x="1437" y="95"/>
                  </a:lnTo>
                  <a:lnTo>
                    <a:pt x="1440" y="95"/>
                  </a:lnTo>
                  <a:lnTo>
                    <a:pt x="1441" y="96"/>
                  </a:lnTo>
                  <a:lnTo>
                    <a:pt x="1442" y="96"/>
                  </a:lnTo>
                  <a:lnTo>
                    <a:pt x="1444" y="97"/>
                  </a:lnTo>
                  <a:lnTo>
                    <a:pt x="1444" y="99"/>
                  </a:lnTo>
                  <a:lnTo>
                    <a:pt x="1442" y="99"/>
                  </a:lnTo>
                  <a:lnTo>
                    <a:pt x="1441" y="100"/>
                  </a:lnTo>
                  <a:lnTo>
                    <a:pt x="1441" y="101"/>
                  </a:lnTo>
                  <a:lnTo>
                    <a:pt x="1441" y="101"/>
                  </a:lnTo>
                  <a:lnTo>
                    <a:pt x="1441" y="103"/>
                  </a:lnTo>
                  <a:lnTo>
                    <a:pt x="1441" y="104"/>
                  </a:lnTo>
                  <a:lnTo>
                    <a:pt x="1442" y="105"/>
                  </a:lnTo>
                  <a:lnTo>
                    <a:pt x="1444" y="106"/>
                  </a:lnTo>
                  <a:lnTo>
                    <a:pt x="1444" y="109"/>
                  </a:lnTo>
                  <a:lnTo>
                    <a:pt x="1444" y="110"/>
                  </a:lnTo>
                  <a:lnTo>
                    <a:pt x="1444" y="112"/>
                  </a:lnTo>
                  <a:lnTo>
                    <a:pt x="1445" y="112"/>
                  </a:lnTo>
                  <a:lnTo>
                    <a:pt x="1446" y="112"/>
                  </a:lnTo>
                  <a:lnTo>
                    <a:pt x="1449" y="110"/>
                  </a:lnTo>
                  <a:lnTo>
                    <a:pt x="1451" y="109"/>
                  </a:lnTo>
                  <a:lnTo>
                    <a:pt x="1454" y="108"/>
                  </a:lnTo>
                  <a:lnTo>
                    <a:pt x="1457" y="106"/>
                  </a:lnTo>
                  <a:lnTo>
                    <a:pt x="1458" y="105"/>
                  </a:lnTo>
                  <a:lnTo>
                    <a:pt x="1459" y="104"/>
                  </a:lnTo>
                  <a:lnTo>
                    <a:pt x="1459" y="104"/>
                  </a:lnTo>
                  <a:lnTo>
                    <a:pt x="1458" y="104"/>
                  </a:lnTo>
                  <a:lnTo>
                    <a:pt x="1457" y="104"/>
                  </a:lnTo>
                  <a:lnTo>
                    <a:pt x="1455" y="104"/>
                  </a:lnTo>
                  <a:lnTo>
                    <a:pt x="1454" y="104"/>
                  </a:lnTo>
                  <a:lnTo>
                    <a:pt x="1453" y="104"/>
                  </a:lnTo>
                  <a:lnTo>
                    <a:pt x="1451" y="104"/>
                  </a:lnTo>
                  <a:lnTo>
                    <a:pt x="1451" y="104"/>
                  </a:lnTo>
                  <a:lnTo>
                    <a:pt x="1453" y="101"/>
                  </a:lnTo>
                  <a:lnTo>
                    <a:pt x="1453" y="100"/>
                  </a:lnTo>
                  <a:lnTo>
                    <a:pt x="1454" y="99"/>
                  </a:lnTo>
                  <a:lnTo>
                    <a:pt x="1455" y="97"/>
                  </a:lnTo>
                  <a:lnTo>
                    <a:pt x="1458" y="96"/>
                  </a:lnTo>
                  <a:lnTo>
                    <a:pt x="1459" y="96"/>
                  </a:lnTo>
                  <a:lnTo>
                    <a:pt x="1460" y="96"/>
                  </a:lnTo>
                  <a:lnTo>
                    <a:pt x="1463" y="96"/>
                  </a:lnTo>
                  <a:lnTo>
                    <a:pt x="1464" y="96"/>
                  </a:lnTo>
                  <a:lnTo>
                    <a:pt x="1467" y="97"/>
                  </a:lnTo>
                  <a:lnTo>
                    <a:pt x="1469" y="97"/>
                  </a:lnTo>
                  <a:lnTo>
                    <a:pt x="1472" y="99"/>
                  </a:lnTo>
                  <a:lnTo>
                    <a:pt x="1476" y="101"/>
                  </a:lnTo>
                  <a:lnTo>
                    <a:pt x="1482" y="103"/>
                  </a:lnTo>
                  <a:lnTo>
                    <a:pt x="1488" y="105"/>
                  </a:lnTo>
                  <a:lnTo>
                    <a:pt x="1490" y="106"/>
                  </a:lnTo>
                  <a:lnTo>
                    <a:pt x="1492" y="108"/>
                  </a:lnTo>
                  <a:lnTo>
                    <a:pt x="1495" y="108"/>
                  </a:lnTo>
                  <a:lnTo>
                    <a:pt x="1498" y="109"/>
                  </a:lnTo>
                  <a:lnTo>
                    <a:pt x="1501" y="109"/>
                  </a:lnTo>
                  <a:lnTo>
                    <a:pt x="1503" y="109"/>
                  </a:lnTo>
                  <a:lnTo>
                    <a:pt x="1505" y="109"/>
                  </a:lnTo>
                  <a:lnTo>
                    <a:pt x="1507" y="109"/>
                  </a:lnTo>
                  <a:lnTo>
                    <a:pt x="1508" y="108"/>
                  </a:lnTo>
                  <a:lnTo>
                    <a:pt x="1511" y="106"/>
                  </a:lnTo>
                  <a:lnTo>
                    <a:pt x="1514" y="104"/>
                  </a:lnTo>
                  <a:lnTo>
                    <a:pt x="1515" y="103"/>
                  </a:lnTo>
                  <a:lnTo>
                    <a:pt x="1516" y="100"/>
                  </a:lnTo>
                  <a:lnTo>
                    <a:pt x="1519" y="97"/>
                  </a:lnTo>
                  <a:lnTo>
                    <a:pt x="1519" y="99"/>
                  </a:lnTo>
                  <a:lnTo>
                    <a:pt x="1519" y="100"/>
                  </a:lnTo>
                  <a:lnTo>
                    <a:pt x="1520" y="101"/>
                  </a:lnTo>
                  <a:lnTo>
                    <a:pt x="1521" y="105"/>
                  </a:lnTo>
                  <a:lnTo>
                    <a:pt x="1521" y="108"/>
                  </a:lnTo>
                  <a:lnTo>
                    <a:pt x="1523" y="110"/>
                  </a:lnTo>
                  <a:lnTo>
                    <a:pt x="1524" y="113"/>
                  </a:lnTo>
                  <a:lnTo>
                    <a:pt x="1525" y="117"/>
                  </a:lnTo>
                  <a:lnTo>
                    <a:pt x="1525" y="117"/>
                  </a:lnTo>
                  <a:lnTo>
                    <a:pt x="1525" y="118"/>
                  </a:lnTo>
                  <a:lnTo>
                    <a:pt x="1523" y="117"/>
                  </a:lnTo>
                  <a:lnTo>
                    <a:pt x="1520" y="117"/>
                  </a:lnTo>
                  <a:lnTo>
                    <a:pt x="1519" y="117"/>
                  </a:lnTo>
                  <a:lnTo>
                    <a:pt x="1516" y="117"/>
                  </a:lnTo>
                  <a:lnTo>
                    <a:pt x="1514" y="117"/>
                  </a:lnTo>
                  <a:lnTo>
                    <a:pt x="1512" y="118"/>
                  </a:lnTo>
                  <a:lnTo>
                    <a:pt x="1510" y="119"/>
                  </a:lnTo>
                  <a:lnTo>
                    <a:pt x="1508" y="121"/>
                  </a:lnTo>
                  <a:lnTo>
                    <a:pt x="1507" y="122"/>
                  </a:lnTo>
                  <a:lnTo>
                    <a:pt x="1506" y="123"/>
                  </a:lnTo>
                  <a:lnTo>
                    <a:pt x="1506" y="126"/>
                  </a:lnTo>
                  <a:lnTo>
                    <a:pt x="1505" y="127"/>
                  </a:lnTo>
                  <a:lnTo>
                    <a:pt x="1505" y="129"/>
                  </a:lnTo>
                  <a:lnTo>
                    <a:pt x="1503" y="131"/>
                  </a:lnTo>
                  <a:lnTo>
                    <a:pt x="1503" y="132"/>
                  </a:lnTo>
                  <a:lnTo>
                    <a:pt x="1503" y="134"/>
                  </a:lnTo>
                  <a:lnTo>
                    <a:pt x="1503" y="135"/>
                  </a:lnTo>
                  <a:lnTo>
                    <a:pt x="1505" y="136"/>
                  </a:lnTo>
                  <a:lnTo>
                    <a:pt x="1505" y="138"/>
                  </a:lnTo>
                  <a:lnTo>
                    <a:pt x="1506" y="138"/>
                  </a:lnTo>
                  <a:lnTo>
                    <a:pt x="1506" y="139"/>
                  </a:lnTo>
                  <a:lnTo>
                    <a:pt x="1507" y="140"/>
                  </a:lnTo>
                  <a:lnTo>
                    <a:pt x="1511" y="142"/>
                  </a:lnTo>
                  <a:lnTo>
                    <a:pt x="1514" y="143"/>
                  </a:lnTo>
                  <a:lnTo>
                    <a:pt x="1515" y="144"/>
                  </a:lnTo>
                  <a:lnTo>
                    <a:pt x="1516" y="144"/>
                  </a:lnTo>
                  <a:lnTo>
                    <a:pt x="1517" y="145"/>
                  </a:lnTo>
                  <a:lnTo>
                    <a:pt x="1517" y="147"/>
                  </a:lnTo>
                  <a:lnTo>
                    <a:pt x="1519" y="148"/>
                  </a:lnTo>
                  <a:lnTo>
                    <a:pt x="1519" y="148"/>
                  </a:lnTo>
                  <a:lnTo>
                    <a:pt x="1521" y="148"/>
                  </a:lnTo>
                  <a:lnTo>
                    <a:pt x="1523" y="145"/>
                  </a:lnTo>
                  <a:lnTo>
                    <a:pt x="1525" y="144"/>
                  </a:lnTo>
                  <a:lnTo>
                    <a:pt x="1527" y="143"/>
                  </a:lnTo>
                  <a:lnTo>
                    <a:pt x="1529" y="142"/>
                  </a:lnTo>
                  <a:lnTo>
                    <a:pt x="1530" y="140"/>
                  </a:lnTo>
                  <a:lnTo>
                    <a:pt x="1533" y="139"/>
                  </a:lnTo>
                  <a:lnTo>
                    <a:pt x="1536" y="136"/>
                  </a:lnTo>
                  <a:lnTo>
                    <a:pt x="1537" y="135"/>
                  </a:lnTo>
                  <a:lnTo>
                    <a:pt x="1538" y="135"/>
                  </a:lnTo>
                  <a:lnTo>
                    <a:pt x="1541" y="134"/>
                  </a:lnTo>
                  <a:lnTo>
                    <a:pt x="1543" y="134"/>
                  </a:lnTo>
                  <a:lnTo>
                    <a:pt x="1545" y="134"/>
                  </a:lnTo>
                  <a:lnTo>
                    <a:pt x="1547" y="134"/>
                  </a:lnTo>
                  <a:lnTo>
                    <a:pt x="1550" y="135"/>
                  </a:lnTo>
                  <a:lnTo>
                    <a:pt x="1550" y="135"/>
                  </a:lnTo>
                  <a:lnTo>
                    <a:pt x="1551" y="136"/>
                  </a:lnTo>
                  <a:lnTo>
                    <a:pt x="1552" y="136"/>
                  </a:lnTo>
                  <a:lnTo>
                    <a:pt x="1552" y="136"/>
                  </a:lnTo>
                  <a:lnTo>
                    <a:pt x="1554" y="136"/>
                  </a:lnTo>
                  <a:lnTo>
                    <a:pt x="1555" y="136"/>
                  </a:lnTo>
                  <a:lnTo>
                    <a:pt x="1556" y="135"/>
                  </a:lnTo>
                  <a:lnTo>
                    <a:pt x="1558" y="135"/>
                  </a:lnTo>
                  <a:lnTo>
                    <a:pt x="1560" y="134"/>
                  </a:lnTo>
                  <a:lnTo>
                    <a:pt x="1562" y="134"/>
                  </a:lnTo>
                  <a:lnTo>
                    <a:pt x="1563" y="134"/>
                  </a:lnTo>
                  <a:lnTo>
                    <a:pt x="1564" y="135"/>
                  </a:lnTo>
                  <a:lnTo>
                    <a:pt x="1565" y="136"/>
                  </a:lnTo>
                  <a:lnTo>
                    <a:pt x="1567" y="139"/>
                  </a:lnTo>
                  <a:lnTo>
                    <a:pt x="1568" y="142"/>
                  </a:lnTo>
                  <a:lnTo>
                    <a:pt x="1569" y="144"/>
                  </a:lnTo>
                  <a:lnTo>
                    <a:pt x="1572" y="147"/>
                  </a:lnTo>
                  <a:lnTo>
                    <a:pt x="1573" y="148"/>
                  </a:lnTo>
                  <a:lnTo>
                    <a:pt x="1575" y="148"/>
                  </a:lnTo>
                  <a:lnTo>
                    <a:pt x="1576" y="148"/>
                  </a:lnTo>
                  <a:lnTo>
                    <a:pt x="1577" y="148"/>
                  </a:lnTo>
                  <a:lnTo>
                    <a:pt x="1577" y="145"/>
                  </a:lnTo>
                  <a:lnTo>
                    <a:pt x="1578" y="142"/>
                  </a:lnTo>
                  <a:lnTo>
                    <a:pt x="1578" y="138"/>
                  </a:lnTo>
                  <a:lnTo>
                    <a:pt x="1578" y="135"/>
                  </a:lnTo>
                  <a:lnTo>
                    <a:pt x="1580" y="132"/>
                  </a:lnTo>
                  <a:lnTo>
                    <a:pt x="1581" y="131"/>
                  </a:lnTo>
                  <a:lnTo>
                    <a:pt x="1582" y="130"/>
                  </a:lnTo>
                  <a:lnTo>
                    <a:pt x="1584" y="129"/>
                  </a:lnTo>
                  <a:lnTo>
                    <a:pt x="1584" y="127"/>
                  </a:lnTo>
                  <a:lnTo>
                    <a:pt x="1586" y="126"/>
                  </a:lnTo>
                  <a:lnTo>
                    <a:pt x="1588" y="125"/>
                  </a:lnTo>
                  <a:lnTo>
                    <a:pt x="1590" y="123"/>
                  </a:lnTo>
                  <a:lnTo>
                    <a:pt x="1593" y="122"/>
                  </a:lnTo>
                  <a:lnTo>
                    <a:pt x="1595" y="121"/>
                  </a:lnTo>
                  <a:lnTo>
                    <a:pt x="1598" y="119"/>
                  </a:lnTo>
                  <a:lnTo>
                    <a:pt x="1599" y="118"/>
                  </a:lnTo>
                  <a:lnTo>
                    <a:pt x="1600" y="118"/>
                  </a:lnTo>
                  <a:lnTo>
                    <a:pt x="1603" y="118"/>
                  </a:lnTo>
                  <a:lnTo>
                    <a:pt x="1606" y="118"/>
                  </a:lnTo>
                  <a:lnTo>
                    <a:pt x="1607" y="117"/>
                  </a:lnTo>
                  <a:lnTo>
                    <a:pt x="1610" y="117"/>
                  </a:lnTo>
                  <a:lnTo>
                    <a:pt x="1612" y="116"/>
                  </a:lnTo>
                  <a:lnTo>
                    <a:pt x="1615" y="114"/>
                  </a:lnTo>
                  <a:lnTo>
                    <a:pt x="1616" y="113"/>
                  </a:lnTo>
                  <a:lnTo>
                    <a:pt x="1619" y="112"/>
                  </a:lnTo>
                  <a:lnTo>
                    <a:pt x="1620" y="110"/>
                  </a:lnTo>
                  <a:lnTo>
                    <a:pt x="1621" y="108"/>
                  </a:lnTo>
                  <a:lnTo>
                    <a:pt x="1623" y="106"/>
                  </a:lnTo>
                  <a:lnTo>
                    <a:pt x="1624" y="104"/>
                  </a:lnTo>
                  <a:lnTo>
                    <a:pt x="1624" y="101"/>
                  </a:lnTo>
                  <a:lnTo>
                    <a:pt x="1624" y="101"/>
                  </a:lnTo>
                  <a:lnTo>
                    <a:pt x="1623" y="100"/>
                  </a:lnTo>
                  <a:lnTo>
                    <a:pt x="1623" y="99"/>
                  </a:lnTo>
                  <a:lnTo>
                    <a:pt x="1623" y="97"/>
                  </a:lnTo>
                  <a:lnTo>
                    <a:pt x="1645" y="97"/>
                  </a:lnTo>
                  <a:lnTo>
                    <a:pt x="1647" y="93"/>
                  </a:lnTo>
                  <a:lnTo>
                    <a:pt x="1650" y="91"/>
                  </a:lnTo>
                  <a:lnTo>
                    <a:pt x="1652" y="88"/>
                  </a:lnTo>
                  <a:lnTo>
                    <a:pt x="1655" y="86"/>
                  </a:lnTo>
                  <a:lnTo>
                    <a:pt x="1656" y="84"/>
                  </a:lnTo>
                  <a:lnTo>
                    <a:pt x="1658" y="83"/>
                  </a:lnTo>
                  <a:lnTo>
                    <a:pt x="1659" y="82"/>
                  </a:lnTo>
                  <a:lnTo>
                    <a:pt x="1661" y="82"/>
                  </a:lnTo>
                  <a:lnTo>
                    <a:pt x="1664" y="82"/>
                  </a:lnTo>
                  <a:lnTo>
                    <a:pt x="1667" y="82"/>
                  </a:lnTo>
                  <a:lnTo>
                    <a:pt x="1669" y="82"/>
                  </a:lnTo>
                  <a:lnTo>
                    <a:pt x="1672" y="82"/>
                  </a:lnTo>
                  <a:lnTo>
                    <a:pt x="1673" y="82"/>
                  </a:lnTo>
                  <a:lnTo>
                    <a:pt x="1674" y="82"/>
                  </a:lnTo>
                  <a:lnTo>
                    <a:pt x="1676" y="81"/>
                  </a:lnTo>
                  <a:lnTo>
                    <a:pt x="1677" y="79"/>
                  </a:lnTo>
                  <a:lnTo>
                    <a:pt x="1680" y="78"/>
                  </a:lnTo>
                  <a:lnTo>
                    <a:pt x="1682" y="77"/>
                  </a:lnTo>
                  <a:lnTo>
                    <a:pt x="1685" y="75"/>
                  </a:lnTo>
                  <a:lnTo>
                    <a:pt x="1687" y="74"/>
                  </a:lnTo>
                  <a:lnTo>
                    <a:pt x="1691" y="74"/>
                  </a:lnTo>
                  <a:lnTo>
                    <a:pt x="1693" y="74"/>
                  </a:lnTo>
                  <a:lnTo>
                    <a:pt x="1695" y="74"/>
                  </a:lnTo>
                  <a:lnTo>
                    <a:pt x="1695" y="75"/>
                  </a:lnTo>
                  <a:lnTo>
                    <a:pt x="1694" y="77"/>
                  </a:lnTo>
                  <a:lnTo>
                    <a:pt x="1693" y="78"/>
                  </a:lnTo>
                  <a:lnTo>
                    <a:pt x="1691" y="79"/>
                  </a:lnTo>
                  <a:lnTo>
                    <a:pt x="1690" y="81"/>
                  </a:lnTo>
                  <a:lnTo>
                    <a:pt x="1689" y="82"/>
                  </a:lnTo>
                  <a:lnTo>
                    <a:pt x="1690" y="82"/>
                  </a:lnTo>
                  <a:lnTo>
                    <a:pt x="1691" y="82"/>
                  </a:lnTo>
                  <a:lnTo>
                    <a:pt x="1693" y="83"/>
                  </a:lnTo>
                  <a:lnTo>
                    <a:pt x="1694" y="84"/>
                  </a:lnTo>
                  <a:lnTo>
                    <a:pt x="1695" y="86"/>
                  </a:lnTo>
                  <a:lnTo>
                    <a:pt x="1695" y="87"/>
                  </a:lnTo>
                  <a:lnTo>
                    <a:pt x="1696" y="88"/>
                  </a:lnTo>
                  <a:lnTo>
                    <a:pt x="1696" y="88"/>
                  </a:lnTo>
                  <a:lnTo>
                    <a:pt x="1696" y="90"/>
                  </a:lnTo>
                  <a:lnTo>
                    <a:pt x="1695" y="92"/>
                  </a:lnTo>
                  <a:lnTo>
                    <a:pt x="1693" y="93"/>
                  </a:lnTo>
                  <a:lnTo>
                    <a:pt x="1693" y="95"/>
                  </a:lnTo>
                  <a:lnTo>
                    <a:pt x="1691" y="96"/>
                  </a:lnTo>
                  <a:lnTo>
                    <a:pt x="1690" y="97"/>
                  </a:lnTo>
                  <a:lnTo>
                    <a:pt x="1687" y="99"/>
                  </a:lnTo>
                  <a:lnTo>
                    <a:pt x="1686" y="99"/>
                  </a:lnTo>
                  <a:lnTo>
                    <a:pt x="1685" y="99"/>
                  </a:lnTo>
                  <a:lnTo>
                    <a:pt x="1683" y="99"/>
                  </a:lnTo>
                  <a:lnTo>
                    <a:pt x="1682" y="99"/>
                  </a:lnTo>
                  <a:lnTo>
                    <a:pt x="1680" y="97"/>
                  </a:lnTo>
                  <a:lnTo>
                    <a:pt x="1677" y="97"/>
                  </a:lnTo>
                  <a:lnTo>
                    <a:pt x="1676" y="97"/>
                  </a:lnTo>
                  <a:lnTo>
                    <a:pt x="1674" y="97"/>
                  </a:lnTo>
                  <a:lnTo>
                    <a:pt x="1680" y="101"/>
                  </a:lnTo>
                  <a:lnTo>
                    <a:pt x="1686" y="104"/>
                  </a:lnTo>
                  <a:lnTo>
                    <a:pt x="1698" y="112"/>
                  </a:lnTo>
                  <a:lnTo>
                    <a:pt x="1709" y="118"/>
                  </a:lnTo>
                  <a:lnTo>
                    <a:pt x="1722" y="126"/>
                  </a:lnTo>
                  <a:lnTo>
                    <a:pt x="1735" y="131"/>
                  </a:lnTo>
                  <a:lnTo>
                    <a:pt x="1747" y="138"/>
                  </a:lnTo>
                  <a:lnTo>
                    <a:pt x="1759" y="143"/>
                  </a:lnTo>
                  <a:lnTo>
                    <a:pt x="1765" y="145"/>
                  </a:lnTo>
                  <a:lnTo>
                    <a:pt x="1770" y="148"/>
                  </a:lnTo>
                  <a:lnTo>
                    <a:pt x="1776" y="152"/>
                  </a:lnTo>
                  <a:lnTo>
                    <a:pt x="1782" y="155"/>
                  </a:lnTo>
                  <a:lnTo>
                    <a:pt x="1791" y="161"/>
                  </a:lnTo>
                  <a:lnTo>
                    <a:pt x="1802" y="168"/>
                  </a:lnTo>
                  <a:lnTo>
                    <a:pt x="1812" y="175"/>
                  </a:lnTo>
                  <a:lnTo>
                    <a:pt x="1821" y="183"/>
                  </a:lnTo>
                  <a:lnTo>
                    <a:pt x="1831" y="192"/>
                  </a:lnTo>
                  <a:lnTo>
                    <a:pt x="1842" y="200"/>
                  </a:lnTo>
                  <a:lnTo>
                    <a:pt x="1847" y="204"/>
                  </a:lnTo>
                  <a:lnTo>
                    <a:pt x="1852" y="208"/>
                  </a:lnTo>
                  <a:lnTo>
                    <a:pt x="1864" y="219"/>
                  </a:lnTo>
                  <a:lnTo>
                    <a:pt x="1874" y="230"/>
                  </a:lnTo>
                  <a:lnTo>
                    <a:pt x="1885" y="242"/>
                  </a:lnTo>
                  <a:lnTo>
                    <a:pt x="1895" y="252"/>
                  </a:lnTo>
                  <a:lnTo>
                    <a:pt x="1907" y="262"/>
                  </a:lnTo>
                  <a:lnTo>
                    <a:pt x="1916" y="271"/>
                  </a:lnTo>
                  <a:lnTo>
                    <a:pt x="1925" y="280"/>
                  </a:lnTo>
                  <a:lnTo>
                    <a:pt x="1930" y="286"/>
                  </a:lnTo>
                  <a:lnTo>
                    <a:pt x="1934" y="290"/>
                  </a:lnTo>
                  <a:lnTo>
                    <a:pt x="1938" y="293"/>
                  </a:lnTo>
                  <a:lnTo>
                    <a:pt x="1942" y="299"/>
                  </a:lnTo>
                  <a:lnTo>
                    <a:pt x="1947" y="304"/>
                  </a:lnTo>
                  <a:lnTo>
                    <a:pt x="1951" y="308"/>
                  </a:lnTo>
                  <a:lnTo>
                    <a:pt x="1958" y="318"/>
                  </a:lnTo>
                  <a:lnTo>
                    <a:pt x="1962" y="323"/>
                  </a:lnTo>
                  <a:lnTo>
                    <a:pt x="1968" y="327"/>
                  </a:lnTo>
                  <a:lnTo>
                    <a:pt x="1971" y="332"/>
                  </a:lnTo>
                  <a:lnTo>
                    <a:pt x="1975" y="336"/>
                  </a:lnTo>
                  <a:lnTo>
                    <a:pt x="1979" y="340"/>
                  </a:lnTo>
                  <a:lnTo>
                    <a:pt x="1984" y="343"/>
                  </a:lnTo>
                  <a:lnTo>
                    <a:pt x="1986" y="344"/>
                  </a:lnTo>
                  <a:lnTo>
                    <a:pt x="1988" y="345"/>
                  </a:lnTo>
                  <a:lnTo>
                    <a:pt x="1990" y="347"/>
                  </a:lnTo>
                  <a:lnTo>
                    <a:pt x="1992" y="348"/>
                  </a:lnTo>
                  <a:lnTo>
                    <a:pt x="1995" y="348"/>
                  </a:lnTo>
                  <a:lnTo>
                    <a:pt x="1996" y="349"/>
                  </a:lnTo>
                  <a:lnTo>
                    <a:pt x="1999" y="349"/>
                  </a:lnTo>
                  <a:lnTo>
                    <a:pt x="2001" y="349"/>
                  </a:lnTo>
                  <a:lnTo>
                    <a:pt x="2000" y="349"/>
                  </a:lnTo>
                  <a:lnTo>
                    <a:pt x="2000" y="348"/>
                  </a:lnTo>
                  <a:lnTo>
                    <a:pt x="2000" y="348"/>
                  </a:lnTo>
                  <a:lnTo>
                    <a:pt x="2000" y="347"/>
                  </a:lnTo>
                  <a:lnTo>
                    <a:pt x="2000" y="347"/>
                  </a:lnTo>
                  <a:lnTo>
                    <a:pt x="2001" y="345"/>
                  </a:lnTo>
                  <a:lnTo>
                    <a:pt x="2003" y="345"/>
                  </a:lnTo>
                  <a:lnTo>
                    <a:pt x="2004" y="344"/>
                  </a:lnTo>
                  <a:lnTo>
                    <a:pt x="2005" y="344"/>
                  </a:lnTo>
                  <a:lnTo>
                    <a:pt x="2008" y="344"/>
                  </a:lnTo>
                  <a:lnTo>
                    <a:pt x="2010" y="343"/>
                  </a:lnTo>
                  <a:lnTo>
                    <a:pt x="2012" y="342"/>
                  </a:lnTo>
                  <a:lnTo>
                    <a:pt x="2014" y="340"/>
                  </a:lnTo>
                  <a:lnTo>
                    <a:pt x="2016" y="339"/>
                  </a:lnTo>
                  <a:lnTo>
                    <a:pt x="2017" y="336"/>
                  </a:lnTo>
                  <a:lnTo>
                    <a:pt x="2017" y="335"/>
                  </a:lnTo>
                  <a:lnTo>
                    <a:pt x="2017" y="334"/>
                  </a:lnTo>
                  <a:lnTo>
                    <a:pt x="2017" y="332"/>
                  </a:lnTo>
                  <a:lnTo>
                    <a:pt x="2017" y="331"/>
                  </a:lnTo>
                  <a:lnTo>
                    <a:pt x="2017" y="329"/>
                  </a:lnTo>
                  <a:lnTo>
                    <a:pt x="2016" y="327"/>
                  </a:lnTo>
                  <a:lnTo>
                    <a:pt x="2014" y="325"/>
                  </a:lnTo>
                  <a:lnTo>
                    <a:pt x="2013" y="322"/>
                  </a:lnTo>
                  <a:lnTo>
                    <a:pt x="2013" y="321"/>
                  </a:lnTo>
                  <a:lnTo>
                    <a:pt x="2013" y="319"/>
                  </a:lnTo>
                  <a:lnTo>
                    <a:pt x="2013" y="318"/>
                  </a:lnTo>
                  <a:lnTo>
                    <a:pt x="2013" y="318"/>
                  </a:lnTo>
                  <a:lnTo>
                    <a:pt x="2013" y="317"/>
                  </a:lnTo>
                  <a:lnTo>
                    <a:pt x="2014" y="317"/>
                  </a:lnTo>
                  <a:lnTo>
                    <a:pt x="2014" y="317"/>
                  </a:lnTo>
                  <a:lnTo>
                    <a:pt x="2016" y="316"/>
                  </a:lnTo>
                  <a:lnTo>
                    <a:pt x="2018" y="316"/>
                  </a:lnTo>
                  <a:lnTo>
                    <a:pt x="2019" y="316"/>
                  </a:lnTo>
                  <a:lnTo>
                    <a:pt x="2019" y="314"/>
                  </a:lnTo>
                  <a:lnTo>
                    <a:pt x="2021" y="313"/>
                  </a:lnTo>
                  <a:lnTo>
                    <a:pt x="2023" y="312"/>
                  </a:lnTo>
                  <a:lnTo>
                    <a:pt x="2026" y="312"/>
                  </a:lnTo>
                  <a:lnTo>
                    <a:pt x="2027" y="313"/>
                  </a:lnTo>
                  <a:lnTo>
                    <a:pt x="2030" y="313"/>
                  </a:lnTo>
                  <a:lnTo>
                    <a:pt x="2032" y="313"/>
                  </a:lnTo>
                  <a:lnTo>
                    <a:pt x="2034" y="314"/>
                  </a:lnTo>
                  <a:lnTo>
                    <a:pt x="2035" y="314"/>
                  </a:lnTo>
                  <a:lnTo>
                    <a:pt x="2036" y="316"/>
                  </a:lnTo>
                  <a:lnTo>
                    <a:pt x="2039" y="317"/>
                  </a:lnTo>
                  <a:lnTo>
                    <a:pt x="2040" y="318"/>
                  </a:lnTo>
                  <a:lnTo>
                    <a:pt x="2043" y="319"/>
                  </a:lnTo>
                  <a:lnTo>
                    <a:pt x="2044" y="319"/>
                  </a:lnTo>
                  <a:lnTo>
                    <a:pt x="2045" y="319"/>
                  </a:lnTo>
                  <a:lnTo>
                    <a:pt x="2047" y="319"/>
                  </a:lnTo>
                  <a:lnTo>
                    <a:pt x="2048" y="319"/>
                  </a:lnTo>
                  <a:lnTo>
                    <a:pt x="2049" y="319"/>
                  </a:lnTo>
                  <a:lnTo>
                    <a:pt x="2051" y="319"/>
                  </a:lnTo>
                  <a:lnTo>
                    <a:pt x="2052" y="319"/>
                  </a:lnTo>
                  <a:lnTo>
                    <a:pt x="2052" y="319"/>
                  </a:lnTo>
                  <a:lnTo>
                    <a:pt x="2053" y="321"/>
                  </a:lnTo>
                  <a:lnTo>
                    <a:pt x="2054" y="322"/>
                  </a:lnTo>
                  <a:lnTo>
                    <a:pt x="2054" y="325"/>
                  </a:lnTo>
                  <a:lnTo>
                    <a:pt x="2054" y="326"/>
                  </a:lnTo>
                  <a:lnTo>
                    <a:pt x="2054" y="327"/>
                  </a:lnTo>
                  <a:lnTo>
                    <a:pt x="2054" y="330"/>
                  </a:lnTo>
                  <a:lnTo>
                    <a:pt x="2054" y="331"/>
                  </a:lnTo>
                  <a:lnTo>
                    <a:pt x="2054" y="332"/>
                  </a:lnTo>
                  <a:lnTo>
                    <a:pt x="2054" y="334"/>
                  </a:lnTo>
                  <a:lnTo>
                    <a:pt x="2054" y="335"/>
                  </a:lnTo>
                  <a:lnTo>
                    <a:pt x="2056" y="335"/>
                  </a:lnTo>
                  <a:lnTo>
                    <a:pt x="2057" y="336"/>
                  </a:lnTo>
                  <a:lnTo>
                    <a:pt x="2058" y="336"/>
                  </a:lnTo>
                  <a:lnTo>
                    <a:pt x="2060" y="336"/>
                  </a:lnTo>
                  <a:lnTo>
                    <a:pt x="2061" y="336"/>
                  </a:lnTo>
                  <a:lnTo>
                    <a:pt x="2062" y="335"/>
                  </a:lnTo>
                  <a:lnTo>
                    <a:pt x="2064" y="335"/>
                  </a:lnTo>
                  <a:lnTo>
                    <a:pt x="2066" y="335"/>
                  </a:lnTo>
                  <a:lnTo>
                    <a:pt x="2067" y="335"/>
                  </a:lnTo>
                  <a:lnTo>
                    <a:pt x="2070" y="335"/>
                  </a:lnTo>
                  <a:lnTo>
                    <a:pt x="2073" y="335"/>
                  </a:lnTo>
                  <a:lnTo>
                    <a:pt x="2074" y="336"/>
                  </a:lnTo>
                  <a:lnTo>
                    <a:pt x="2076" y="338"/>
                  </a:lnTo>
                  <a:lnTo>
                    <a:pt x="2078" y="339"/>
                  </a:lnTo>
                  <a:lnTo>
                    <a:pt x="2079" y="342"/>
                  </a:lnTo>
                  <a:lnTo>
                    <a:pt x="2082" y="345"/>
                  </a:lnTo>
                  <a:lnTo>
                    <a:pt x="2084" y="349"/>
                  </a:lnTo>
                  <a:lnTo>
                    <a:pt x="2087" y="351"/>
                  </a:lnTo>
                  <a:lnTo>
                    <a:pt x="2088" y="353"/>
                  </a:lnTo>
                  <a:lnTo>
                    <a:pt x="2091" y="354"/>
                  </a:lnTo>
                  <a:lnTo>
                    <a:pt x="2092" y="356"/>
                  </a:lnTo>
                  <a:lnTo>
                    <a:pt x="2095" y="356"/>
                  </a:lnTo>
                  <a:lnTo>
                    <a:pt x="2097" y="357"/>
                  </a:lnTo>
                  <a:lnTo>
                    <a:pt x="2097" y="356"/>
                  </a:lnTo>
                  <a:lnTo>
                    <a:pt x="2099" y="356"/>
                  </a:lnTo>
                  <a:lnTo>
                    <a:pt x="2100" y="356"/>
                  </a:lnTo>
                  <a:lnTo>
                    <a:pt x="2101" y="356"/>
                  </a:lnTo>
                  <a:lnTo>
                    <a:pt x="2104" y="354"/>
                  </a:lnTo>
                  <a:lnTo>
                    <a:pt x="2106" y="353"/>
                  </a:lnTo>
                  <a:lnTo>
                    <a:pt x="2109" y="352"/>
                  </a:lnTo>
                  <a:lnTo>
                    <a:pt x="2110" y="351"/>
                  </a:lnTo>
                  <a:lnTo>
                    <a:pt x="2113" y="349"/>
                  </a:lnTo>
                  <a:lnTo>
                    <a:pt x="2113" y="349"/>
                  </a:lnTo>
                  <a:lnTo>
                    <a:pt x="2114" y="349"/>
                  </a:lnTo>
                  <a:lnTo>
                    <a:pt x="2118" y="351"/>
                  </a:lnTo>
                  <a:lnTo>
                    <a:pt x="2121" y="351"/>
                  </a:lnTo>
                  <a:lnTo>
                    <a:pt x="2123" y="353"/>
                  </a:lnTo>
                  <a:lnTo>
                    <a:pt x="2126" y="354"/>
                  </a:lnTo>
                  <a:lnTo>
                    <a:pt x="2128" y="356"/>
                  </a:lnTo>
                  <a:lnTo>
                    <a:pt x="2131" y="356"/>
                  </a:lnTo>
                  <a:lnTo>
                    <a:pt x="2132" y="356"/>
                  </a:lnTo>
                  <a:lnTo>
                    <a:pt x="2134" y="357"/>
                  </a:lnTo>
                  <a:lnTo>
                    <a:pt x="2135" y="356"/>
                  </a:lnTo>
                  <a:lnTo>
                    <a:pt x="2136" y="354"/>
                  </a:lnTo>
                  <a:lnTo>
                    <a:pt x="2137" y="353"/>
                  </a:lnTo>
                  <a:lnTo>
                    <a:pt x="2139" y="353"/>
                  </a:lnTo>
                  <a:lnTo>
                    <a:pt x="2141" y="352"/>
                  </a:lnTo>
                  <a:lnTo>
                    <a:pt x="2143" y="352"/>
                  </a:lnTo>
                  <a:lnTo>
                    <a:pt x="2144" y="352"/>
                  </a:lnTo>
                  <a:lnTo>
                    <a:pt x="2145" y="351"/>
                  </a:lnTo>
                  <a:lnTo>
                    <a:pt x="2147" y="351"/>
                  </a:lnTo>
                  <a:lnTo>
                    <a:pt x="2149" y="351"/>
                  </a:lnTo>
                  <a:lnTo>
                    <a:pt x="2150" y="349"/>
                  </a:lnTo>
                  <a:lnTo>
                    <a:pt x="2153" y="348"/>
                  </a:lnTo>
                  <a:lnTo>
                    <a:pt x="2157" y="347"/>
                  </a:lnTo>
                  <a:lnTo>
                    <a:pt x="2159" y="344"/>
                  </a:lnTo>
                  <a:lnTo>
                    <a:pt x="2163" y="342"/>
                  </a:lnTo>
                  <a:lnTo>
                    <a:pt x="2165" y="342"/>
                  </a:lnTo>
                  <a:lnTo>
                    <a:pt x="2165" y="342"/>
                  </a:lnTo>
                  <a:lnTo>
                    <a:pt x="2166" y="342"/>
                  </a:lnTo>
                  <a:lnTo>
                    <a:pt x="2167" y="342"/>
                  </a:lnTo>
                  <a:lnTo>
                    <a:pt x="2169" y="342"/>
                  </a:lnTo>
                  <a:lnTo>
                    <a:pt x="2170" y="342"/>
                  </a:lnTo>
                  <a:lnTo>
                    <a:pt x="2171" y="342"/>
                  </a:lnTo>
                  <a:lnTo>
                    <a:pt x="2172" y="342"/>
                  </a:lnTo>
                  <a:lnTo>
                    <a:pt x="2174" y="342"/>
                  </a:lnTo>
                  <a:lnTo>
                    <a:pt x="2175" y="340"/>
                  </a:lnTo>
                  <a:lnTo>
                    <a:pt x="2176" y="339"/>
                  </a:lnTo>
                  <a:lnTo>
                    <a:pt x="2178" y="338"/>
                  </a:lnTo>
                  <a:lnTo>
                    <a:pt x="2178" y="336"/>
                  </a:lnTo>
                  <a:lnTo>
                    <a:pt x="2179" y="335"/>
                  </a:lnTo>
                  <a:lnTo>
                    <a:pt x="2179" y="335"/>
                  </a:lnTo>
                  <a:lnTo>
                    <a:pt x="2182" y="334"/>
                  </a:lnTo>
                  <a:lnTo>
                    <a:pt x="2185" y="334"/>
                  </a:lnTo>
                  <a:lnTo>
                    <a:pt x="2189" y="334"/>
                  </a:lnTo>
                  <a:lnTo>
                    <a:pt x="2192" y="334"/>
                  </a:lnTo>
                  <a:lnTo>
                    <a:pt x="2196" y="334"/>
                  </a:lnTo>
                  <a:lnTo>
                    <a:pt x="2200" y="335"/>
                  </a:lnTo>
                  <a:lnTo>
                    <a:pt x="2204" y="335"/>
                  </a:lnTo>
                  <a:lnTo>
                    <a:pt x="2206" y="336"/>
                  </a:lnTo>
                  <a:lnTo>
                    <a:pt x="2209" y="338"/>
                  </a:lnTo>
                  <a:lnTo>
                    <a:pt x="2213" y="339"/>
                  </a:lnTo>
                  <a:lnTo>
                    <a:pt x="2219" y="342"/>
                  </a:lnTo>
                  <a:lnTo>
                    <a:pt x="2226" y="345"/>
                  </a:lnTo>
                  <a:lnTo>
                    <a:pt x="2232" y="349"/>
                  </a:lnTo>
                  <a:lnTo>
                    <a:pt x="2237" y="353"/>
                  </a:lnTo>
                  <a:lnTo>
                    <a:pt x="2242" y="358"/>
                  </a:lnTo>
                  <a:lnTo>
                    <a:pt x="2248" y="364"/>
                  </a:lnTo>
                  <a:lnTo>
                    <a:pt x="2253" y="367"/>
                  </a:lnTo>
                  <a:lnTo>
                    <a:pt x="2257" y="373"/>
                  </a:lnTo>
                  <a:lnTo>
                    <a:pt x="2261" y="378"/>
                  </a:lnTo>
                  <a:lnTo>
                    <a:pt x="2265" y="382"/>
                  </a:lnTo>
                  <a:lnTo>
                    <a:pt x="2268" y="386"/>
                  </a:lnTo>
                  <a:lnTo>
                    <a:pt x="2270" y="387"/>
                  </a:lnTo>
                  <a:lnTo>
                    <a:pt x="2271" y="388"/>
                  </a:lnTo>
                  <a:lnTo>
                    <a:pt x="2274" y="390"/>
                  </a:lnTo>
                  <a:lnTo>
                    <a:pt x="2276" y="391"/>
                  </a:lnTo>
                  <a:lnTo>
                    <a:pt x="2279" y="392"/>
                  </a:lnTo>
                  <a:lnTo>
                    <a:pt x="2281" y="392"/>
                  </a:lnTo>
                  <a:lnTo>
                    <a:pt x="2287" y="393"/>
                  </a:lnTo>
                  <a:lnTo>
                    <a:pt x="2294" y="395"/>
                  </a:lnTo>
                  <a:lnTo>
                    <a:pt x="2300" y="397"/>
                  </a:lnTo>
                  <a:lnTo>
                    <a:pt x="2306" y="399"/>
                  </a:lnTo>
                  <a:lnTo>
                    <a:pt x="2310" y="400"/>
                  </a:lnTo>
                  <a:lnTo>
                    <a:pt x="2313" y="401"/>
                  </a:lnTo>
                  <a:lnTo>
                    <a:pt x="2315" y="401"/>
                  </a:lnTo>
                  <a:lnTo>
                    <a:pt x="2316" y="401"/>
                  </a:lnTo>
                  <a:lnTo>
                    <a:pt x="2319" y="403"/>
                  </a:lnTo>
                  <a:lnTo>
                    <a:pt x="2322" y="404"/>
                  </a:lnTo>
                  <a:lnTo>
                    <a:pt x="2323" y="405"/>
                  </a:lnTo>
                  <a:lnTo>
                    <a:pt x="2324" y="406"/>
                  </a:lnTo>
                  <a:lnTo>
                    <a:pt x="2327" y="409"/>
                  </a:lnTo>
                  <a:lnTo>
                    <a:pt x="2328" y="413"/>
                  </a:lnTo>
                  <a:lnTo>
                    <a:pt x="2331" y="417"/>
                  </a:lnTo>
                  <a:lnTo>
                    <a:pt x="2332" y="421"/>
                  </a:lnTo>
                  <a:lnTo>
                    <a:pt x="2333" y="422"/>
                  </a:lnTo>
                  <a:lnTo>
                    <a:pt x="2335" y="423"/>
                  </a:lnTo>
                  <a:lnTo>
                    <a:pt x="2336" y="425"/>
                  </a:lnTo>
                  <a:lnTo>
                    <a:pt x="2337" y="426"/>
                  </a:lnTo>
                  <a:lnTo>
                    <a:pt x="2340" y="429"/>
                  </a:lnTo>
                  <a:lnTo>
                    <a:pt x="2342" y="429"/>
                  </a:lnTo>
                  <a:lnTo>
                    <a:pt x="2345" y="431"/>
                  </a:lnTo>
                  <a:lnTo>
                    <a:pt x="2346" y="432"/>
                  </a:lnTo>
                  <a:lnTo>
                    <a:pt x="2348" y="434"/>
                  </a:lnTo>
                  <a:lnTo>
                    <a:pt x="2349" y="436"/>
                  </a:lnTo>
                  <a:lnTo>
                    <a:pt x="2349" y="438"/>
                  </a:lnTo>
                  <a:lnTo>
                    <a:pt x="2349" y="439"/>
                  </a:lnTo>
                  <a:lnTo>
                    <a:pt x="2353" y="440"/>
                  </a:lnTo>
                  <a:lnTo>
                    <a:pt x="2355" y="440"/>
                  </a:lnTo>
                  <a:lnTo>
                    <a:pt x="2359" y="441"/>
                  </a:lnTo>
                  <a:lnTo>
                    <a:pt x="2363" y="441"/>
                  </a:lnTo>
                  <a:lnTo>
                    <a:pt x="2367" y="441"/>
                  </a:lnTo>
                  <a:lnTo>
                    <a:pt x="2371" y="441"/>
                  </a:lnTo>
                  <a:lnTo>
                    <a:pt x="2377" y="443"/>
                  </a:lnTo>
                  <a:lnTo>
                    <a:pt x="2381" y="443"/>
                  </a:lnTo>
                  <a:lnTo>
                    <a:pt x="2385" y="443"/>
                  </a:lnTo>
                  <a:lnTo>
                    <a:pt x="2389" y="443"/>
                  </a:lnTo>
                  <a:lnTo>
                    <a:pt x="2393" y="443"/>
                  </a:lnTo>
                  <a:lnTo>
                    <a:pt x="2394" y="443"/>
                  </a:lnTo>
                  <a:lnTo>
                    <a:pt x="2398" y="443"/>
                  </a:lnTo>
                  <a:lnTo>
                    <a:pt x="2399" y="444"/>
                  </a:lnTo>
                  <a:lnTo>
                    <a:pt x="2402" y="445"/>
                  </a:lnTo>
                  <a:lnTo>
                    <a:pt x="2405" y="447"/>
                  </a:lnTo>
                  <a:lnTo>
                    <a:pt x="2406" y="447"/>
                  </a:lnTo>
                  <a:lnTo>
                    <a:pt x="2409" y="448"/>
                  </a:lnTo>
                  <a:lnTo>
                    <a:pt x="2410" y="448"/>
                  </a:lnTo>
                  <a:lnTo>
                    <a:pt x="2411" y="447"/>
                  </a:lnTo>
                  <a:lnTo>
                    <a:pt x="2412" y="447"/>
                  </a:lnTo>
                  <a:lnTo>
                    <a:pt x="2414" y="445"/>
                  </a:lnTo>
                  <a:lnTo>
                    <a:pt x="2415" y="444"/>
                  </a:lnTo>
                  <a:lnTo>
                    <a:pt x="2418" y="443"/>
                  </a:lnTo>
                  <a:lnTo>
                    <a:pt x="2419" y="440"/>
                  </a:lnTo>
                  <a:lnTo>
                    <a:pt x="2420" y="440"/>
                  </a:lnTo>
                  <a:lnTo>
                    <a:pt x="2421" y="439"/>
                  </a:lnTo>
                  <a:lnTo>
                    <a:pt x="2423" y="439"/>
                  </a:lnTo>
                  <a:lnTo>
                    <a:pt x="2424" y="439"/>
                  </a:lnTo>
                  <a:lnTo>
                    <a:pt x="2424" y="436"/>
                  </a:lnTo>
                  <a:lnTo>
                    <a:pt x="2424" y="435"/>
                  </a:lnTo>
                  <a:lnTo>
                    <a:pt x="2425" y="434"/>
                  </a:lnTo>
                  <a:lnTo>
                    <a:pt x="2425" y="432"/>
                  </a:lnTo>
                  <a:lnTo>
                    <a:pt x="2427" y="431"/>
                  </a:lnTo>
                  <a:lnTo>
                    <a:pt x="2428" y="430"/>
                  </a:lnTo>
                  <a:lnTo>
                    <a:pt x="2429" y="430"/>
                  </a:lnTo>
                  <a:lnTo>
                    <a:pt x="2431" y="429"/>
                  </a:lnTo>
                  <a:lnTo>
                    <a:pt x="2432" y="429"/>
                  </a:lnTo>
                  <a:lnTo>
                    <a:pt x="2434" y="429"/>
                  </a:lnTo>
                  <a:lnTo>
                    <a:pt x="2436" y="429"/>
                  </a:lnTo>
                  <a:lnTo>
                    <a:pt x="2436" y="429"/>
                  </a:lnTo>
                  <a:lnTo>
                    <a:pt x="2437" y="429"/>
                  </a:lnTo>
                  <a:lnTo>
                    <a:pt x="2438" y="429"/>
                  </a:lnTo>
                  <a:lnTo>
                    <a:pt x="2438" y="430"/>
                  </a:lnTo>
                  <a:lnTo>
                    <a:pt x="2438" y="431"/>
                  </a:lnTo>
                  <a:lnTo>
                    <a:pt x="2438" y="434"/>
                  </a:lnTo>
                  <a:lnTo>
                    <a:pt x="2438" y="436"/>
                  </a:lnTo>
                  <a:lnTo>
                    <a:pt x="2440" y="439"/>
                  </a:lnTo>
                  <a:lnTo>
                    <a:pt x="2440" y="441"/>
                  </a:lnTo>
                  <a:lnTo>
                    <a:pt x="2440" y="443"/>
                  </a:lnTo>
                  <a:lnTo>
                    <a:pt x="2441" y="444"/>
                  </a:lnTo>
                  <a:lnTo>
                    <a:pt x="2444" y="445"/>
                  </a:lnTo>
                  <a:lnTo>
                    <a:pt x="2445" y="445"/>
                  </a:lnTo>
                  <a:lnTo>
                    <a:pt x="2446" y="445"/>
                  </a:lnTo>
                  <a:lnTo>
                    <a:pt x="2447" y="445"/>
                  </a:lnTo>
                  <a:lnTo>
                    <a:pt x="2449" y="445"/>
                  </a:lnTo>
                  <a:lnTo>
                    <a:pt x="2451" y="447"/>
                  </a:lnTo>
                  <a:lnTo>
                    <a:pt x="2455" y="448"/>
                  </a:lnTo>
                  <a:lnTo>
                    <a:pt x="2456" y="451"/>
                  </a:lnTo>
                  <a:lnTo>
                    <a:pt x="2459" y="453"/>
                  </a:lnTo>
                  <a:lnTo>
                    <a:pt x="2463" y="456"/>
                  </a:lnTo>
                  <a:lnTo>
                    <a:pt x="2466" y="458"/>
                  </a:lnTo>
                  <a:lnTo>
                    <a:pt x="2468" y="460"/>
                  </a:lnTo>
                  <a:lnTo>
                    <a:pt x="2468" y="461"/>
                  </a:lnTo>
                  <a:lnTo>
                    <a:pt x="2468" y="462"/>
                  </a:lnTo>
                  <a:lnTo>
                    <a:pt x="2469" y="465"/>
                  </a:lnTo>
                  <a:lnTo>
                    <a:pt x="2471" y="466"/>
                  </a:lnTo>
                  <a:lnTo>
                    <a:pt x="2472" y="467"/>
                  </a:lnTo>
                  <a:lnTo>
                    <a:pt x="2475" y="467"/>
                  </a:lnTo>
                  <a:lnTo>
                    <a:pt x="2477" y="467"/>
                  </a:lnTo>
                  <a:lnTo>
                    <a:pt x="2480" y="467"/>
                  </a:lnTo>
                  <a:lnTo>
                    <a:pt x="2484" y="467"/>
                  </a:lnTo>
                  <a:lnTo>
                    <a:pt x="2485" y="469"/>
                  </a:lnTo>
                  <a:lnTo>
                    <a:pt x="2486" y="470"/>
                  </a:lnTo>
                  <a:lnTo>
                    <a:pt x="2488" y="473"/>
                  </a:lnTo>
                  <a:lnTo>
                    <a:pt x="2489" y="474"/>
                  </a:lnTo>
                  <a:lnTo>
                    <a:pt x="2490" y="475"/>
                  </a:lnTo>
                  <a:lnTo>
                    <a:pt x="2492" y="477"/>
                  </a:lnTo>
                  <a:lnTo>
                    <a:pt x="2493" y="478"/>
                  </a:lnTo>
                  <a:lnTo>
                    <a:pt x="2495" y="480"/>
                  </a:lnTo>
                  <a:lnTo>
                    <a:pt x="2497" y="482"/>
                  </a:lnTo>
                  <a:lnTo>
                    <a:pt x="2498" y="483"/>
                  </a:lnTo>
                  <a:close/>
                  <a:moveTo>
                    <a:pt x="859" y="790"/>
                  </a:moveTo>
                  <a:lnTo>
                    <a:pt x="857" y="788"/>
                  </a:lnTo>
                  <a:lnTo>
                    <a:pt x="857" y="786"/>
                  </a:lnTo>
                  <a:lnTo>
                    <a:pt x="856" y="786"/>
                  </a:lnTo>
                  <a:lnTo>
                    <a:pt x="856" y="784"/>
                  </a:lnTo>
                  <a:lnTo>
                    <a:pt x="855" y="784"/>
                  </a:lnTo>
                  <a:lnTo>
                    <a:pt x="855" y="784"/>
                  </a:lnTo>
                  <a:lnTo>
                    <a:pt x="853" y="784"/>
                  </a:lnTo>
                  <a:lnTo>
                    <a:pt x="852" y="783"/>
                  </a:lnTo>
                  <a:lnTo>
                    <a:pt x="851" y="782"/>
                  </a:lnTo>
                  <a:lnTo>
                    <a:pt x="848" y="780"/>
                  </a:lnTo>
                  <a:lnTo>
                    <a:pt x="847" y="780"/>
                  </a:lnTo>
                  <a:lnTo>
                    <a:pt x="846" y="779"/>
                  </a:lnTo>
                  <a:lnTo>
                    <a:pt x="843" y="778"/>
                  </a:lnTo>
                  <a:lnTo>
                    <a:pt x="842" y="778"/>
                  </a:lnTo>
                  <a:lnTo>
                    <a:pt x="839" y="777"/>
                  </a:lnTo>
                  <a:lnTo>
                    <a:pt x="838" y="775"/>
                  </a:lnTo>
                  <a:lnTo>
                    <a:pt x="835" y="774"/>
                  </a:lnTo>
                  <a:lnTo>
                    <a:pt x="833" y="773"/>
                  </a:lnTo>
                  <a:lnTo>
                    <a:pt x="829" y="771"/>
                  </a:lnTo>
                  <a:lnTo>
                    <a:pt x="826" y="770"/>
                  </a:lnTo>
                  <a:lnTo>
                    <a:pt x="822" y="769"/>
                  </a:lnTo>
                  <a:lnTo>
                    <a:pt x="820" y="766"/>
                  </a:lnTo>
                  <a:lnTo>
                    <a:pt x="816" y="765"/>
                  </a:lnTo>
                  <a:lnTo>
                    <a:pt x="812" y="762"/>
                  </a:lnTo>
                  <a:lnTo>
                    <a:pt x="811" y="764"/>
                  </a:lnTo>
                  <a:lnTo>
                    <a:pt x="809" y="765"/>
                  </a:lnTo>
                  <a:lnTo>
                    <a:pt x="809" y="766"/>
                  </a:lnTo>
                  <a:lnTo>
                    <a:pt x="808" y="769"/>
                  </a:lnTo>
                  <a:lnTo>
                    <a:pt x="808" y="770"/>
                  </a:lnTo>
                  <a:lnTo>
                    <a:pt x="809" y="770"/>
                  </a:lnTo>
                  <a:lnTo>
                    <a:pt x="809" y="771"/>
                  </a:lnTo>
                  <a:lnTo>
                    <a:pt x="809" y="774"/>
                  </a:lnTo>
                  <a:lnTo>
                    <a:pt x="811" y="775"/>
                  </a:lnTo>
                  <a:lnTo>
                    <a:pt x="812" y="777"/>
                  </a:lnTo>
                  <a:lnTo>
                    <a:pt x="815" y="779"/>
                  </a:lnTo>
                  <a:lnTo>
                    <a:pt x="817" y="782"/>
                  </a:lnTo>
                  <a:lnTo>
                    <a:pt x="820" y="786"/>
                  </a:lnTo>
                  <a:lnTo>
                    <a:pt x="820" y="786"/>
                  </a:lnTo>
                  <a:lnTo>
                    <a:pt x="820" y="787"/>
                  </a:lnTo>
                  <a:lnTo>
                    <a:pt x="818" y="790"/>
                  </a:lnTo>
                  <a:lnTo>
                    <a:pt x="817" y="791"/>
                  </a:lnTo>
                  <a:lnTo>
                    <a:pt x="816" y="792"/>
                  </a:lnTo>
                  <a:lnTo>
                    <a:pt x="815" y="793"/>
                  </a:lnTo>
                  <a:lnTo>
                    <a:pt x="813" y="795"/>
                  </a:lnTo>
                  <a:lnTo>
                    <a:pt x="812" y="797"/>
                  </a:lnTo>
                  <a:lnTo>
                    <a:pt x="812" y="799"/>
                  </a:lnTo>
                  <a:lnTo>
                    <a:pt x="812" y="800"/>
                  </a:lnTo>
                  <a:lnTo>
                    <a:pt x="812" y="800"/>
                  </a:lnTo>
                  <a:lnTo>
                    <a:pt x="813" y="799"/>
                  </a:lnTo>
                  <a:lnTo>
                    <a:pt x="815" y="799"/>
                  </a:lnTo>
                  <a:lnTo>
                    <a:pt x="816" y="799"/>
                  </a:lnTo>
                  <a:lnTo>
                    <a:pt x="817" y="797"/>
                  </a:lnTo>
                  <a:lnTo>
                    <a:pt x="820" y="796"/>
                  </a:lnTo>
                  <a:lnTo>
                    <a:pt x="824" y="795"/>
                  </a:lnTo>
                  <a:lnTo>
                    <a:pt x="827" y="793"/>
                  </a:lnTo>
                  <a:lnTo>
                    <a:pt x="831" y="792"/>
                  </a:lnTo>
                  <a:lnTo>
                    <a:pt x="833" y="792"/>
                  </a:lnTo>
                  <a:lnTo>
                    <a:pt x="834" y="792"/>
                  </a:lnTo>
                  <a:lnTo>
                    <a:pt x="831" y="793"/>
                  </a:lnTo>
                  <a:lnTo>
                    <a:pt x="829" y="795"/>
                  </a:lnTo>
                  <a:lnTo>
                    <a:pt x="827" y="796"/>
                  </a:lnTo>
                  <a:lnTo>
                    <a:pt x="825" y="799"/>
                  </a:lnTo>
                  <a:lnTo>
                    <a:pt x="824" y="800"/>
                  </a:lnTo>
                  <a:lnTo>
                    <a:pt x="822" y="801"/>
                  </a:lnTo>
                  <a:lnTo>
                    <a:pt x="822" y="801"/>
                  </a:lnTo>
                  <a:lnTo>
                    <a:pt x="822" y="804"/>
                  </a:lnTo>
                  <a:lnTo>
                    <a:pt x="822" y="805"/>
                  </a:lnTo>
                  <a:lnTo>
                    <a:pt x="822" y="806"/>
                  </a:lnTo>
                  <a:lnTo>
                    <a:pt x="822" y="808"/>
                  </a:lnTo>
                  <a:lnTo>
                    <a:pt x="822" y="809"/>
                  </a:lnTo>
                  <a:lnTo>
                    <a:pt x="822" y="810"/>
                  </a:lnTo>
                  <a:lnTo>
                    <a:pt x="824" y="812"/>
                  </a:lnTo>
                  <a:lnTo>
                    <a:pt x="825" y="813"/>
                  </a:lnTo>
                  <a:lnTo>
                    <a:pt x="826" y="815"/>
                  </a:lnTo>
                  <a:lnTo>
                    <a:pt x="826" y="813"/>
                  </a:lnTo>
                  <a:lnTo>
                    <a:pt x="826" y="813"/>
                  </a:lnTo>
                  <a:lnTo>
                    <a:pt x="826" y="812"/>
                  </a:lnTo>
                  <a:lnTo>
                    <a:pt x="827" y="812"/>
                  </a:lnTo>
                  <a:lnTo>
                    <a:pt x="827" y="810"/>
                  </a:lnTo>
                  <a:lnTo>
                    <a:pt x="827" y="810"/>
                  </a:lnTo>
                  <a:lnTo>
                    <a:pt x="829" y="810"/>
                  </a:lnTo>
                  <a:lnTo>
                    <a:pt x="830" y="812"/>
                  </a:lnTo>
                  <a:lnTo>
                    <a:pt x="831" y="813"/>
                  </a:lnTo>
                  <a:lnTo>
                    <a:pt x="831" y="814"/>
                  </a:lnTo>
                  <a:lnTo>
                    <a:pt x="833" y="817"/>
                  </a:lnTo>
                  <a:lnTo>
                    <a:pt x="834" y="818"/>
                  </a:lnTo>
                  <a:lnTo>
                    <a:pt x="835" y="821"/>
                  </a:lnTo>
                  <a:lnTo>
                    <a:pt x="835" y="823"/>
                  </a:lnTo>
                  <a:lnTo>
                    <a:pt x="837" y="825"/>
                  </a:lnTo>
                  <a:lnTo>
                    <a:pt x="837" y="827"/>
                  </a:lnTo>
                  <a:lnTo>
                    <a:pt x="835" y="828"/>
                  </a:lnTo>
                  <a:lnTo>
                    <a:pt x="835" y="830"/>
                  </a:lnTo>
                  <a:lnTo>
                    <a:pt x="834" y="830"/>
                  </a:lnTo>
                  <a:lnTo>
                    <a:pt x="833" y="830"/>
                  </a:lnTo>
                  <a:lnTo>
                    <a:pt x="831" y="830"/>
                  </a:lnTo>
                  <a:lnTo>
                    <a:pt x="829" y="828"/>
                  </a:lnTo>
                  <a:lnTo>
                    <a:pt x="827" y="827"/>
                  </a:lnTo>
                  <a:lnTo>
                    <a:pt x="824" y="826"/>
                  </a:lnTo>
                  <a:lnTo>
                    <a:pt x="820" y="823"/>
                  </a:lnTo>
                  <a:lnTo>
                    <a:pt x="818" y="822"/>
                  </a:lnTo>
                  <a:lnTo>
                    <a:pt x="817" y="821"/>
                  </a:lnTo>
                  <a:lnTo>
                    <a:pt x="816" y="821"/>
                  </a:lnTo>
                  <a:lnTo>
                    <a:pt x="815" y="819"/>
                  </a:lnTo>
                  <a:lnTo>
                    <a:pt x="813" y="819"/>
                  </a:lnTo>
                  <a:lnTo>
                    <a:pt x="812" y="821"/>
                  </a:lnTo>
                  <a:lnTo>
                    <a:pt x="812" y="821"/>
                  </a:lnTo>
                  <a:lnTo>
                    <a:pt x="812" y="822"/>
                  </a:lnTo>
                  <a:lnTo>
                    <a:pt x="812" y="822"/>
                  </a:lnTo>
                  <a:lnTo>
                    <a:pt x="812" y="823"/>
                  </a:lnTo>
                  <a:lnTo>
                    <a:pt x="813" y="823"/>
                  </a:lnTo>
                  <a:lnTo>
                    <a:pt x="813" y="825"/>
                  </a:lnTo>
                  <a:lnTo>
                    <a:pt x="815" y="825"/>
                  </a:lnTo>
                  <a:lnTo>
                    <a:pt x="816" y="826"/>
                  </a:lnTo>
                  <a:lnTo>
                    <a:pt x="817" y="827"/>
                  </a:lnTo>
                  <a:lnTo>
                    <a:pt x="820" y="830"/>
                  </a:lnTo>
                  <a:lnTo>
                    <a:pt x="821" y="832"/>
                  </a:lnTo>
                  <a:lnTo>
                    <a:pt x="824" y="834"/>
                  </a:lnTo>
                  <a:lnTo>
                    <a:pt x="826" y="838"/>
                  </a:lnTo>
                  <a:lnTo>
                    <a:pt x="830" y="840"/>
                  </a:lnTo>
                  <a:lnTo>
                    <a:pt x="834" y="845"/>
                  </a:lnTo>
                  <a:lnTo>
                    <a:pt x="837" y="845"/>
                  </a:lnTo>
                  <a:lnTo>
                    <a:pt x="838" y="847"/>
                  </a:lnTo>
                  <a:lnTo>
                    <a:pt x="839" y="847"/>
                  </a:lnTo>
                  <a:lnTo>
                    <a:pt x="840" y="847"/>
                  </a:lnTo>
                  <a:lnTo>
                    <a:pt x="842" y="847"/>
                  </a:lnTo>
                  <a:lnTo>
                    <a:pt x="843" y="845"/>
                  </a:lnTo>
                  <a:lnTo>
                    <a:pt x="843" y="844"/>
                  </a:lnTo>
                  <a:lnTo>
                    <a:pt x="843" y="843"/>
                  </a:lnTo>
                  <a:lnTo>
                    <a:pt x="843" y="841"/>
                  </a:lnTo>
                  <a:lnTo>
                    <a:pt x="843" y="840"/>
                  </a:lnTo>
                  <a:lnTo>
                    <a:pt x="842" y="836"/>
                  </a:lnTo>
                  <a:lnTo>
                    <a:pt x="842" y="832"/>
                  </a:lnTo>
                  <a:lnTo>
                    <a:pt x="840" y="831"/>
                  </a:lnTo>
                  <a:lnTo>
                    <a:pt x="840" y="830"/>
                  </a:lnTo>
                  <a:lnTo>
                    <a:pt x="843" y="831"/>
                  </a:lnTo>
                  <a:lnTo>
                    <a:pt x="846" y="832"/>
                  </a:lnTo>
                  <a:lnTo>
                    <a:pt x="847" y="832"/>
                  </a:lnTo>
                  <a:lnTo>
                    <a:pt x="848" y="832"/>
                  </a:lnTo>
                  <a:lnTo>
                    <a:pt x="850" y="832"/>
                  </a:lnTo>
                  <a:lnTo>
                    <a:pt x="851" y="832"/>
                  </a:lnTo>
                  <a:lnTo>
                    <a:pt x="851" y="834"/>
                  </a:lnTo>
                  <a:lnTo>
                    <a:pt x="852" y="834"/>
                  </a:lnTo>
                  <a:lnTo>
                    <a:pt x="852" y="834"/>
                  </a:lnTo>
                  <a:lnTo>
                    <a:pt x="852" y="834"/>
                  </a:lnTo>
                  <a:lnTo>
                    <a:pt x="853" y="835"/>
                  </a:lnTo>
                  <a:lnTo>
                    <a:pt x="855" y="836"/>
                  </a:lnTo>
                  <a:lnTo>
                    <a:pt x="856" y="838"/>
                  </a:lnTo>
                  <a:lnTo>
                    <a:pt x="856" y="835"/>
                  </a:lnTo>
                  <a:lnTo>
                    <a:pt x="855" y="834"/>
                  </a:lnTo>
                  <a:lnTo>
                    <a:pt x="855" y="832"/>
                  </a:lnTo>
                  <a:lnTo>
                    <a:pt x="853" y="828"/>
                  </a:lnTo>
                  <a:lnTo>
                    <a:pt x="852" y="826"/>
                  </a:lnTo>
                  <a:lnTo>
                    <a:pt x="851" y="823"/>
                  </a:lnTo>
                  <a:lnTo>
                    <a:pt x="850" y="821"/>
                  </a:lnTo>
                  <a:lnTo>
                    <a:pt x="851" y="818"/>
                  </a:lnTo>
                  <a:lnTo>
                    <a:pt x="852" y="817"/>
                  </a:lnTo>
                  <a:lnTo>
                    <a:pt x="853" y="814"/>
                  </a:lnTo>
                  <a:lnTo>
                    <a:pt x="855" y="812"/>
                  </a:lnTo>
                  <a:lnTo>
                    <a:pt x="856" y="809"/>
                  </a:lnTo>
                  <a:lnTo>
                    <a:pt x="856" y="806"/>
                  </a:lnTo>
                  <a:lnTo>
                    <a:pt x="857" y="804"/>
                  </a:lnTo>
                  <a:lnTo>
                    <a:pt x="859" y="801"/>
                  </a:lnTo>
                  <a:lnTo>
                    <a:pt x="859" y="799"/>
                  </a:lnTo>
                  <a:lnTo>
                    <a:pt x="859" y="795"/>
                  </a:lnTo>
                  <a:lnTo>
                    <a:pt x="859" y="792"/>
                  </a:lnTo>
                  <a:lnTo>
                    <a:pt x="859" y="790"/>
                  </a:lnTo>
                  <a:close/>
                  <a:moveTo>
                    <a:pt x="879" y="743"/>
                  </a:moveTo>
                  <a:lnTo>
                    <a:pt x="879" y="743"/>
                  </a:lnTo>
                  <a:lnTo>
                    <a:pt x="879" y="743"/>
                  </a:lnTo>
                  <a:lnTo>
                    <a:pt x="879" y="743"/>
                  </a:lnTo>
                  <a:lnTo>
                    <a:pt x="879" y="743"/>
                  </a:lnTo>
                  <a:close/>
                  <a:moveTo>
                    <a:pt x="2022" y="697"/>
                  </a:moveTo>
                  <a:lnTo>
                    <a:pt x="2022" y="697"/>
                  </a:lnTo>
                  <a:lnTo>
                    <a:pt x="2023" y="699"/>
                  </a:lnTo>
                  <a:lnTo>
                    <a:pt x="2022" y="697"/>
                  </a:lnTo>
                  <a:lnTo>
                    <a:pt x="2022" y="696"/>
                  </a:lnTo>
                  <a:lnTo>
                    <a:pt x="2022" y="696"/>
                  </a:lnTo>
                  <a:lnTo>
                    <a:pt x="2022" y="697"/>
                  </a:lnTo>
                  <a:close/>
                  <a:moveTo>
                    <a:pt x="2066" y="670"/>
                  </a:moveTo>
                  <a:lnTo>
                    <a:pt x="2066" y="669"/>
                  </a:lnTo>
                  <a:lnTo>
                    <a:pt x="2066" y="666"/>
                  </a:lnTo>
                  <a:lnTo>
                    <a:pt x="2064" y="664"/>
                  </a:lnTo>
                  <a:lnTo>
                    <a:pt x="2062" y="662"/>
                  </a:lnTo>
                  <a:lnTo>
                    <a:pt x="2060" y="661"/>
                  </a:lnTo>
                  <a:lnTo>
                    <a:pt x="2057" y="661"/>
                  </a:lnTo>
                  <a:lnTo>
                    <a:pt x="2056" y="661"/>
                  </a:lnTo>
                  <a:lnTo>
                    <a:pt x="2053" y="660"/>
                  </a:lnTo>
                  <a:lnTo>
                    <a:pt x="2051" y="660"/>
                  </a:lnTo>
                  <a:lnTo>
                    <a:pt x="2045" y="661"/>
                  </a:lnTo>
                  <a:lnTo>
                    <a:pt x="2043" y="661"/>
                  </a:lnTo>
                  <a:lnTo>
                    <a:pt x="2041" y="661"/>
                  </a:lnTo>
                  <a:lnTo>
                    <a:pt x="2039" y="661"/>
                  </a:lnTo>
                  <a:lnTo>
                    <a:pt x="2038" y="661"/>
                  </a:lnTo>
                  <a:lnTo>
                    <a:pt x="2038" y="662"/>
                  </a:lnTo>
                  <a:lnTo>
                    <a:pt x="2038" y="664"/>
                  </a:lnTo>
                  <a:lnTo>
                    <a:pt x="2039" y="665"/>
                  </a:lnTo>
                  <a:lnTo>
                    <a:pt x="2040" y="666"/>
                  </a:lnTo>
                  <a:lnTo>
                    <a:pt x="2041" y="667"/>
                  </a:lnTo>
                  <a:lnTo>
                    <a:pt x="2043" y="667"/>
                  </a:lnTo>
                  <a:lnTo>
                    <a:pt x="2044" y="669"/>
                  </a:lnTo>
                  <a:lnTo>
                    <a:pt x="2043" y="669"/>
                  </a:lnTo>
                  <a:lnTo>
                    <a:pt x="2039" y="667"/>
                  </a:lnTo>
                  <a:lnTo>
                    <a:pt x="2036" y="666"/>
                  </a:lnTo>
                  <a:lnTo>
                    <a:pt x="2034" y="666"/>
                  </a:lnTo>
                  <a:lnTo>
                    <a:pt x="2031" y="665"/>
                  </a:lnTo>
                  <a:lnTo>
                    <a:pt x="2030" y="665"/>
                  </a:lnTo>
                  <a:lnTo>
                    <a:pt x="2028" y="665"/>
                  </a:lnTo>
                  <a:lnTo>
                    <a:pt x="2027" y="666"/>
                  </a:lnTo>
                  <a:lnTo>
                    <a:pt x="2026" y="666"/>
                  </a:lnTo>
                  <a:lnTo>
                    <a:pt x="2025" y="667"/>
                  </a:lnTo>
                  <a:lnTo>
                    <a:pt x="2023" y="669"/>
                  </a:lnTo>
                  <a:lnTo>
                    <a:pt x="2022" y="669"/>
                  </a:lnTo>
                  <a:lnTo>
                    <a:pt x="2022" y="670"/>
                  </a:lnTo>
                  <a:lnTo>
                    <a:pt x="2022" y="670"/>
                  </a:lnTo>
                  <a:lnTo>
                    <a:pt x="2022" y="671"/>
                  </a:lnTo>
                  <a:lnTo>
                    <a:pt x="2021" y="671"/>
                  </a:lnTo>
                  <a:lnTo>
                    <a:pt x="2021" y="671"/>
                  </a:lnTo>
                  <a:lnTo>
                    <a:pt x="2019" y="671"/>
                  </a:lnTo>
                  <a:lnTo>
                    <a:pt x="2019" y="671"/>
                  </a:lnTo>
                  <a:lnTo>
                    <a:pt x="2018" y="670"/>
                  </a:lnTo>
                  <a:lnTo>
                    <a:pt x="2017" y="670"/>
                  </a:lnTo>
                  <a:lnTo>
                    <a:pt x="2016" y="669"/>
                  </a:lnTo>
                  <a:lnTo>
                    <a:pt x="2016" y="671"/>
                  </a:lnTo>
                  <a:lnTo>
                    <a:pt x="2016" y="674"/>
                  </a:lnTo>
                  <a:lnTo>
                    <a:pt x="2016" y="677"/>
                  </a:lnTo>
                  <a:lnTo>
                    <a:pt x="2016" y="678"/>
                  </a:lnTo>
                  <a:lnTo>
                    <a:pt x="2016" y="680"/>
                  </a:lnTo>
                  <a:lnTo>
                    <a:pt x="2016" y="682"/>
                  </a:lnTo>
                  <a:lnTo>
                    <a:pt x="2016" y="683"/>
                  </a:lnTo>
                  <a:lnTo>
                    <a:pt x="2016" y="683"/>
                  </a:lnTo>
                  <a:lnTo>
                    <a:pt x="2014" y="683"/>
                  </a:lnTo>
                  <a:lnTo>
                    <a:pt x="2013" y="683"/>
                  </a:lnTo>
                  <a:lnTo>
                    <a:pt x="2009" y="682"/>
                  </a:lnTo>
                  <a:lnTo>
                    <a:pt x="2004" y="680"/>
                  </a:lnTo>
                  <a:lnTo>
                    <a:pt x="2001" y="679"/>
                  </a:lnTo>
                  <a:lnTo>
                    <a:pt x="1996" y="678"/>
                  </a:lnTo>
                  <a:lnTo>
                    <a:pt x="1992" y="677"/>
                  </a:lnTo>
                  <a:lnTo>
                    <a:pt x="1988" y="677"/>
                  </a:lnTo>
                  <a:lnTo>
                    <a:pt x="1987" y="677"/>
                  </a:lnTo>
                  <a:lnTo>
                    <a:pt x="1986" y="677"/>
                  </a:lnTo>
                  <a:lnTo>
                    <a:pt x="1983" y="675"/>
                  </a:lnTo>
                  <a:lnTo>
                    <a:pt x="1981" y="674"/>
                  </a:lnTo>
                  <a:lnTo>
                    <a:pt x="1978" y="673"/>
                  </a:lnTo>
                  <a:lnTo>
                    <a:pt x="1975" y="671"/>
                  </a:lnTo>
                  <a:lnTo>
                    <a:pt x="1974" y="671"/>
                  </a:lnTo>
                  <a:lnTo>
                    <a:pt x="1971" y="671"/>
                  </a:lnTo>
                  <a:lnTo>
                    <a:pt x="1970" y="670"/>
                  </a:lnTo>
                  <a:lnTo>
                    <a:pt x="1969" y="670"/>
                  </a:lnTo>
                  <a:lnTo>
                    <a:pt x="1966" y="670"/>
                  </a:lnTo>
                  <a:lnTo>
                    <a:pt x="1965" y="671"/>
                  </a:lnTo>
                  <a:lnTo>
                    <a:pt x="1964" y="671"/>
                  </a:lnTo>
                  <a:lnTo>
                    <a:pt x="1961" y="671"/>
                  </a:lnTo>
                  <a:lnTo>
                    <a:pt x="1960" y="673"/>
                  </a:lnTo>
                  <a:lnTo>
                    <a:pt x="1958" y="674"/>
                  </a:lnTo>
                  <a:lnTo>
                    <a:pt x="1957" y="675"/>
                  </a:lnTo>
                  <a:lnTo>
                    <a:pt x="1956" y="677"/>
                  </a:lnTo>
                  <a:lnTo>
                    <a:pt x="1955" y="677"/>
                  </a:lnTo>
                  <a:lnTo>
                    <a:pt x="1953" y="677"/>
                  </a:lnTo>
                  <a:lnTo>
                    <a:pt x="1951" y="677"/>
                  </a:lnTo>
                  <a:lnTo>
                    <a:pt x="1948" y="678"/>
                  </a:lnTo>
                  <a:lnTo>
                    <a:pt x="1944" y="678"/>
                  </a:lnTo>
                  <a:lnTo>
                    <a:pt x="1942" y="679"/>
                  </a:lnTo>
                  <a:lnTo>
                    <a:pt x="1942" y="679"/>
                  </a:lnTo>
                  <a:lnTo>
                    <a:pt x="1939" y="679"/>
                  </a:lnTo>
                  <a:lnTo>
                    <a:pt x="1938" y="678"/>
                  </a:lnTo>
                  <a:lnTo>
                    <a:pt x="1936" y="678"/>
                  </a:lnTo>
                  <a:lnTo>
                    <a:pt x="1935" y="677"/>
                  </a:lnTo>
                  <a:lnTo>
                    <a:pt x="1934" y="677"/>
                  </a:lnTo>
                  <a:lnTo>
                    <a:pt x="1934" y="675"/>
                  </a:lnTo>
                  <a:lnTo>
                    <a:pt x="1934" y="674"/>
                  </a:lnTo>
                  <a:lnTo>
                    <a:pt x="1933" y="673"/>
                  </a:lnTo>
                  <a:lnTo>
                    <a:pt x="1933" y="673"/>
                  </a:lnTo>
                  <a:lnTo>
                    <a:pt x="1931" y="673"/>
                  </a:lnTo>
                  <a:lnTo>
                    <a:pt x="1931" y="673"/>
                  </a:lnTo>
                  <a:lnTo>
                    <a:pt x="1929" y="673"/>
                  </a:lnTo>
                  <a:lnTo>
                    <a:pt x="1926" y="673"/>
                  </a:lnTo>
                  <a:lnTo>
                    <a:pt x="1926" y="673"/>
                  </a:lnTo>
                  <a:lnTo>
                    <a:pt x="1925" y="671"/>
                  </a:lnTo>
                  <a:lnTo>
                    <a:pt x="1923" y="671"/>
                  </a:lnTo>
                  <a:lnTo>
                    <a:pt x="1922" y="670"/>
                  </a:lnTo>
                  <a:lnTo>
                    <a:pt x="1921" y="670"/>
                  </a:lnTo>
                  <a:lnTo>
                    <a:pt x="1921" y="671"/>
                  </a:lnTo>
                  <a:lnTo>
                    <a:pt x="1922" y="673"/>
                  </a:lnTo>
                  <a:lnTo>
                    <a:pt x="1923" y="673"/>
                  </a:lnTo>
                  <a:lnTo>
                    <a:pt x="1923" y="674"/>
                  </a:lnTo>
                  <a:lnTo>
                    <a:pt x="1923" y="674"/>
                  </a:lnTo>
                  <a:lnTo>
                    <a:pt x="1925" y="675"/>
                  </a:lnTo>
                  <a:lnTo>
                    <a:pt x="1923" y="675"/>
                  </a:lnTo>
                  <a:lnTo>
                    <a:pt x="1923" y="675"/>
                  </a:lnTo>
                  <a:lnTo>
                    <a:pt x="1922" y="675"/>
                  </a:lnTo>
                  <a:lnTo>
                    <a:pt x="1920" y="674"/>
                  </a:lnTo>
                  <a:lnTo>
                    <a:pt x="1918" y="674"/>
                  </a:lnTo>
                  <a:lnTo>
                    <a:pt x="1916" y="673"/>
                  </a:lnTo>
                  <a:lnTo>
                    <a:pt x="1912" y="670"/>
                  </a:lnTo>
                  <a:lnTo>
                    <a:pt x="1909" y="670"/>
                  </a:lnTo>
                  <a:lnTo>
                    <a:pt x="1908" y="669"/>
                  </a:lnTo>
                  <a:lnTo>
                    <a:pt x="1905" y="669"/>
                  </a:lnTo>
                  <a:lnTo>
                    <a:pt x="1904" y="669"/>
                  </a:lnTo>
                  <a:lnTo>
                    <a:pt x="1903" y="669"/>
                  </a:lnTo>
                  <a:lnTo>
                    <a:pt x="1901" y="669"/>
                  </a:lnTo>
                  <a:lnTo>
                    <a:pt x="1900" y="670"/>
                  </a:lnTo>
                  <a:lnTo>
                    <a:pt x="1897" y="670"/>
                  </a:lnTo>
                  <a:lnTo>
                    <a:pt x="1896" y="671"/>
                  </a:lnTo>
                  <a:lnTo>
                    <a:pt x="1895" y="671"/>
                  </a:lnTo>
                  <a:lnTo>
                    <a:pt x="1895" y="671"/>
                  </a:lnTo>
                  <a:lnTo>
                    <a:pt x="1894" y="671"/>
                  </a:lnTo>
                  <a:lnTo>
                    <a:pt x="1892" y="671"/>
                  </a:lnTo>
                  <a:lnTo>
                    <a:pt x="1892" y="670"/>
                  </a:lnTo>
                  <a:lnTo>
                    <a:pt x="1891" y="670"/>
                  </a:lnTo>
                  <a:lnTo>
                    <a:pt x="1890" y="669"/>
                  </a:lnTo>
                  <a:lnTo>
                    <a:pt x="1888" y="669"/>
                  </a:lnTo>
                  <a:lnTo>
                    <a:pt x="1887" y="669"/>
                  </a:lnTo>
                  <a:lnTo>
                    <a:pt x="1885" y="667"/>
                  </a:lnTo>
                  <a:lnTo>
                    <a:pt x="1883" y="666"/>
                  </a:lnTo>
                  <a:lnTo>
                    <a:pt x="1882" y="665"/>
                  </a:lnTo>
                  <a:lnTo>
                    <a:pt x="1881" y="664"/>
                  </a:lnTo>
                  <a:lnTo>
                    <a:pt x="1879" y="662"/>
                  </a:lnTo>
                  <a:lnTo>
                    <a:pt x="1877" y="661"/>
                  </a:lnTo>
                  <a:lnTo>
                    <a:pt x="1875" y="661"/>
                  </a:lnTo>
                  <a:lnTo>
                    <a:pt x="1874" y="661"/>
                  </a:lnTo>
                  <a:lnTo>
                    <a:pt x="1873" y="661"/>
                  </a:lnTo>
                  <a:lnTo>
                    <a:pt x="1872" y="661"/>
                  </a:lnTo>
                  <a:lnTo>
                    <a:pt x="1870" y="661"/>
                  </a:lnTo>
                  <a:lnTo>
                    <a:pt x="1868" y="661"/>
                  </a:lnTo>
                  <a:lnTo>
                    <a:pt x="1866" y="661"/>
                  </a:lnTo>
                  <a:lnTo>
                    <a:pt x="1865" y="661"/>
                  </a:lnTo>
                  <a:lnTo>
                    <a:pt x="1864" y="661"/>
                  </a:lnTo>
                  <a:lnTo>
                    <a:pt x="1862" y="661"/>
                  </a:lnTo>
                  <a:lnTo>
                    <a:pt x="1861" y="661"/>
                  </a:lnTo>
                  <a:lnTo>
                    <a:pt x="1860" y="661"/>
                  </a:lnTo>
                  <a:lnTo>
                    <a:pt x="1859" y="660"/>
                  </a:lnTo>
                  <a:lnTo>
                    <a:pt x="1856" y="660"/>
                  </a:lnTo>
                  <a:lnTo>
                    <a:pt x="1855" y="660"/>
                  </a:lnTo>
                  <a:lnTo>
                    <a:pt x="1852" y="660"/>
                  </a:lnTo>
                  <a:lnTo>
                    <a:pt x="1851" y="660"/>
                  </a:lnTo>
                  <a:lnTo>
                    <a:pt x="1848" y="661"/>
                  </a:lnTo>
                  <a:lnTo>
                    <a:pt x="1847" y="661"/>
                  </a:lnTo>
                  <a:lnTo>
                    <a:pt x="1844" y="662"/>
                  </a:lnTo>
                  <a:lnTo>
                    <a:pt x="1840" y="664"/>
                  </a:lnTo>
                  <a:lnTo>
                    <a:pt x="1837" y="666"/>
                  </a:lnTo>
                  <a:lnTo>
                    <a:pt x="1834" y="667"/>
                  </a:lnTo>
                  <a:lnTo>
                    <a:pt x="1833" y="667"/>
                  </a:lnTo>
                  <a:lnTo>
                    <a:pt x="1831" y="669"/>
                  </a:lnTo>
                  <a:lnTo>
                    <a:pt x="1830" y="669"/>
                  </a:lnTo>
                  <a:lnTo>
                    <a:pt x="1829" y="669"/>
                  </a:lnTo>
                  <a:lnTo>
                    <a:pt x="1826" y="669"/>
                  </a:lnTo>
                  <a:lnTo>
                    <a:pt x="1825" y="667"/>
                  </a:lnTo>
                  <a:lnTo>
                    <a:pt x="1822" y="667"/>
                  </a:lnTo>
                  <a:lnTo>
                    <a:pt x="1817" y="666"/>
                  </a:lnTo>
                  <a:lnTo>
                    <a:pt x="1812" y="665"/>
                  </a:lnTo>
                  <a:lnTo>
                    <a:pt x="1809" y="664"/>
                  </a:lnTo>
                  <a:lnTo>
                    <a:pt x="1808" y="664"/>
                  </a:lnTo>
                  <a:lnTo>
                    <a:pt x="1805" y="662"/>
                  </a:lnTo>
                  <a:lnTo>
                    <a:pt x="1804" y="662"/>
                  </a:lnTo>
                  <a:lnTo>
                    <a:pt x="1802" y="661"/>
                  </a:lnTo>
                  <a:lnTo>
                    <a:pt x="1802" y="661"/>
                  </a:lnTo>
                  <a:lnTo>
                    <a:pt x="1800" y="661"/>
                  </a:lnTo>
                  <a:lnTo>
                    <a:pt x="1799" y="662"/>
                  </a:lnTo>
                  <a:lnTo>
                    <a:pt x="1798" y="662"/>
                  </a:lnTo>
                  <a:lnTo>
                    <a:pt x="1796" y="664"/>
                  </a:lnTo>
                  <a:lnTo>
                    <a:pt x="1795" y="664"/>
                  </a:lnTo>
                  <a:lnTo>
                    <a:pt x="1794" y="664"/>
                  </a:lnTo>
                  <a:lnTo>
                    <a:pt x="1791" y="664"/>
                  </a:lnTo>
                  <a:lnTo>
                    <a:pt x="1789" y="664"/>
                  </a:lnTo>
                  <a:lnTo>
                    <a:pt x="1786" y="662"/>
                  </a:lnTo>
                  <a:lnTo>
                    <a:pt x="1783" y="662"/>
                  </a:lnTo>
                  <a:lnTo>
                    <a:pt x="1781" y="661"/>
                  </a:lnTo>
                  <a:lnTo>
                    <a:pt x="1779" y="661"/>
                  </a:lnTo>
                  <a:lnTo>
                    <a:pt x="1778" y="661"/>
                  </a:lnTo>
                  <a:lnTo>
                    <a:pt x="1777" y="662"/>
                  </a:lnTo>
                  <a:lnTo>
                    <a:pt x="1776" y="664"/>
                  </a:lnTo>
                  <a:lnTo>
                    <a:pt x="1776" y="665"/>
                  </a:lnTo>
                  <a:lnTo>
                    <a:pt x="1774" y="666"/>
                  </a:lnTo>
                  <a:lnTo>
                    <a:pt x="1774" y="667"/>
                  </a:lnTo>
                  <a:lnTo>
                    <a:pt x="1774" y="669"/>
                  </a:lnTo>
                  <a:lnTo>
                    <a:pt x="1774" y="671"/>
                  </a:lnTo>
                  <a:lnTo>
                    <a:pt x="1774" y="674"/>
                  </a:lnTo>
                  <a:lnTo>
                    <a:pt x="1774" y="674"/>
                  </a:lnTo>
                  <a:lnTo>
                    <a:pt x="1773" y="675"/>
                  </a:lnTo>
                  <a:lnTo>
                    <a:pt x="1773" y="675"/>
                  </a:lnTo>
                  <a:lnTo>
                    <a:pt x="1773" y="675"/>
                  </a:lnTo>
                  <a:lnTo>
                    <a:pt x="1772" y="677"/>
                  </a:lnTo>
                  <a:lnTo>
                    <a:pt x="1770" y="677"/>
                  </a:lnTo>
                  <a:lnTo>
                    <a:pt x="1769" y="677"/>
                  </a:lnTo>
                  <a:lnTo>
                    <a:pt x="1766" y="679"/>
                  </a:lnTo>
                  <a:lnTo>
                    <a:pt x="1764" y="680"/>
                  </a:lnTo>
                  <a:lnTo>
                    <a:pt x="1761" y="683"/>
                  </a:lnTo>
                  <a:lnTo>
                    <a:pt x="1756" y="687"/>
                  </a:lnTo>
                  <a:lnTo>
                    <a:pt x="1755" y="688"/>
                  </a:lnTo>
                  <a:lnTo>
                    <a:pt x="1752" y="691"/>
                  </a:lnTo>
                  <a:lnTo>
                    <a:pt x="1750" y="692"/>
                  </a:lnTo>
                  <a:lnTo>
                    <a:pt x="1748" y="695"/>
                  </a:lnTo>
                  <a:lnTo>
                    <a:pt x="1748" y="696"/>
                  </a:lnTo>
                  <a:lnTo>
                    <a:pt x="1748" y="697"/>
                  </a:lnTo>
                  <a:lnTo>
                    <a:pt x="1747" y="697"/>
                  </a:lnTo>
                  <a:lnTo>
                    <a:pt x="1747" y="699"/>
                  </a:lnTo>
                  <a:lnTo>
                    <a:pt x="1748" y="700"/>
                  </a:lnTo>
                  <a:lnTo>
                    <a:pt x="1748" y="701"/>
                  </a:lnTo>
                  <a:lnTo>
                    <a:pt x="1748" y="701"/>
                  </a:lnTo>
                  <a:lnTo>
                    <a:pt x="1750" y="703"/>
                  </a:lnTo>
                  <a:lnTo>
                    <a:pt x="1751" y="704"/>
                  </a:lnTo>
                  <a:lnTo>
                    <a:pt x="1752" y="704"/>
                  </a:lnTo>
                  <a:lnTo>
                    <a:pt x="1754" y="705"/>
                  </a:lnTo>
                  <a:lnTo>
                    <a:pt x="1755" y="706"/>
                  </a:lnTo>
                  <a:lnTo>
                    <a:pt x="1755" y="706"/>
                  </a:lnTo>
                  <a:lnTo>
                    <a:pt x="1752" y="706"/>
                  </a:lnTo>
                  <a:lnTo>
                    <a:pt x="1751" y="706"/>
                  </a:lnTo>
                  <a:lnTo>
                    <a:pt x="1748" y="706"/>
                  </a:lnTo>
                  <a:lnTo>
                    <a:pt x="1743" y="706"/>
                  </a:lnTo>
                  <a:lnTo>
                    <a:pt x="1741" y="708"/>
                  </a:lnTo>
                  <a:lnTo>
                    <a:pt x="1739" y="708"/>
                  </a:lnTo>
                  <a:lnTo>
                    <a:pt x="1737" y="708"/>
                  </a:lnTo>
                  <a:lnTo>
                    <a:pt x="1735" y="709"/>
                  </a:lnTo>
                  <a:lnTo>
                    <a:pt x="1734" y="710"/>
                  </a:lnTo>
                  <a:lnTo>
                    <a:pt x="1733" y="712"/>
                  </a:lnTo>
                  <a:lnTo>
                    <a:pt x="1731" y="713"/>
                  </a:lnTo>
                  <a:lnTo>
                    <a:pt x="1731" y="715"/>
                  </a:lnTo>
                  <a:lnTo>
                    <a:pt x="1731" y="717"/>
                  </a:lnTo>
                  <a:lnTo>
                    <a:pt x="1733" y="718"/>
                  </a:lnTo>
                  <a:lnTo>
                    <a:pt x="1733" y="719"/>
                  </a:lnTo>
                  <a:lnTo>
                    <a:pt x="1734" y="721"/>
                  </a:lnTo>
                  <a:lnTo>
                    <a:pt x="1735" y="721"/>
                  </a:lnTo>
                  <a:lnTo>
                    <a:pt x="1735" y="722"/>
                  </a:lnTo>
                  <a:lnTo>
                    <a:pt x="1737" y="723"/>
                  </a:lnTo>
                  <a:lnTo>
                    <a:pt x="1738" y="723"/>
                  </a:lnTo>
                  <a:lnTo>
                    <a:pt x="1738" y="725"/>
                  </a:lnTo>
                  <a:lnTo>
                    <a:pt x="1738" y="727"/>
                  </a:lnTo>
                  <a:lnTo>
                    <a:pt x="1738" y="728"/>
                  </a:lnTo>
                  <a:lnTo>
                    <a:pt x="1738" y="731"/>
                  </a:lnTo>
                  <a:lnTo>
                    <a:pt x="1738" y="732"/>
                  </a:lnTo>
                  <a:lnTo>
                    <a:pt x="1737" y="734"/>
                  </a:lnTo>
                  <a:lnTo>
                    <a:pt x="1735" y="735"/>
                  </a:lnTo>
                  <a:lnTo>
                    <a:pt x="1734" y="736"/>
                  </a:lnTo>
                  <a:lnTo>
                    <a:pt x="1733" y="736"/>
                  </a:lnTo>
                  <a:lnTo>
                    <a:pt x="1730" y="738"/>
                  </a:lnTo>
                  <a:lnTo>
                    <a:pt x="1729" y="736"/>
                  </a:lnTo>
                  <a:lnTo>
                    <a:pt x="1728" y="736"/>
                  </a:lnTo>
                  <a:lnTo>
                    <a:pt x="1726" y="735"/>
                  </a:lnTo>
                  <a:lnTo>
                    <a:pt x="1728" y="736"/>
                  </a:lnTo>
                  <a:lnTo>
                    <a:pt x="1728" y="739"/>
                  </a:lnTo>
                  <a:lnTo>
                    <a:pt x="1729" y="739"/>
                  </a:lnTo>
                  <a:lnTo>
                    <a:pt x="1729" y="740"/>
                  </a:lnTo>
                  <a:lnTo>
                    <a:pt x="1729" y="741"/>
                  </a:lnTo>
                  <a:lnTo>
                    <a:pt x="1729" y="744"/>
                  </a:lnTo>
                  <a:lnTo>
                    <a:pt x="1730" y="747"/>
                  </a:lnTo>
                  <a:lnTo>
                    <a:pt x="1730" y="749"/>
                  </a:lnTo>
                  <a:lnTo>
                    <a:pt x="1730" y="751"/>
                  </a:lnTo>
                  <a:lnTo>
                    <a:pt x="1730" y="752"/>
                  </a:lnTo>
                  <a:lnTo>
                    <a:pt x="1730" y="753"/>
                  </a:lnTo>
                  <a:lnTo>
                    <a:pt x="1731" y="754"/>
                  </a:lnTo>
                  <a:lnTo>
                    <a:pt x="1733" y="756"/>
                  </a:lnTo>
                  <a:lnTo>
                    <a:pt x="1734" y="757"/>
                  </a:lnTo>
                  <a:lnTo>
                    <a:pt x="1734" y="758"/>
                  </a:lnTo>
                  <a:lnTo>
                    <a:pt x="1735" y="758"/>
                  </a:lnTo>
                  <a:lnTo>
                    <a:pt x="1735" y="760"/>
                  </a:lnTo>
                  <a:lnTo>
                    <a:pt x="1737" y="761"/>
                  </a:lnTo>
                  <a:lnTo>
                    <a:pt x="1739" y="762"/>
                  </a:lnTo>
                  <a:lnTo>
                    <a:pt x="1742" y="765"/>
                  </a:lnTo>
                  <a:lnTo>
                    <a:pt x="1746" y="767"/>
                  </a:lnTo>
                  <a:lnTo>
                    <a:pt x="1747" y="769"/>
                  </a:lnTo>
                  <a:lnTo>
                    <a:pt x="1750" y="770"/>
                  </a:lnTo>
                  <a:lnTo>
                    <a:pt x="1751" y="771"/>
                  </a:lnTo>
                  <a:lnTo>
                    <a:pt x="1752" y="771"/>
                  </a:lnTo>
                  <a:lnTo>
                    <a:pt x="1755" y="773"/>
                  </a:lnTo>
                  <a:lnTo>
                    <a:pt x="1755" y="773"/>
                  </a:lnTo>
                  <a:lnTo>
                    <a:pt x="1757" y="774"/>
                  </a:lnTo>
                  <a:lnTo>
                    <a:pt x="1759" y="775"/>
                  </a:lnTo>
                  <a:lnTo>
                    <a:pt x="1763" y="777"/>
                  </a:lnTo>
                  <a:lnTo>
                    <a:pt x="1766" y="779"/>
                  </a:lnTo>
                  <a:lnTo>
                    <a:pt x="1770" y="780"/>
                  </a:lnTo>
                  <a:lnTo>
                    <a:pt x="1773" y="783"/>
                  </a:lnTo>
                  <a:lnTo>
                    <a:pt x="1774" y="784"/>
                  </a:lnTo>
                  <a:lnTo>
                    <a:pt x="1776" y="786"/>
                  </a:lnTo>
                  <a:lnTo>
                    <a:pt x="1777" y="787"/>
                  </a:lnTo>
                  <a:lnTo>
                    <a:pt x="1777" y="790"/>
                  </a:lnTo>
                  <a:lnTo>
                    <a:pt x="1778" y="792"/>
                  </a:lnTo>
                  <a:lnTo>
                    <a:pt x="1778" y="795"/>
                  </a:lnTo>
                  <a:lnTo>
                    <a:pt x="1778" y="796"/>
                  </a:lnTo>
                  <a:lnTo>
                    <a:pt x="1778" y="797"/>
                  </a:lnTo>
                  <a:lnTo>
                    <a:pt x="1779" y="799"/>
                  </a:lnTo>
                  <a:lnTo>
                    <a:pt x="1779" y="800"/>
                  </a:lnTo>
                  <a:lnTo>
                    <a:pt x="1781" y="801"/>
                  </a:lnTo>
                  <a:lnTo>
                    <a:pt x="1783" y="801"/>
                  </a:lnTo>
                  <a:lnTo>
                    <a:pt x="1785" y="801"/>
                  </a:lnTo>
                  <a:lnTo>
                    <a:pt x="1786" y="802"/>
                  </a:lnTo>
                  <a:lnTo>
                    <a:pt x="1786" y="801"/>
                  </a:lnTo>
                  <a:lnTo>
                    <a:pt x="1786" y="800"/>
                  </a:lnTo>
                  <a:lnTo>
                    <a:pt x="1786" y="797"/>
                  </a:lnTo>
                  <a:lnTo>
                    <a:pt x="1786" y="793"/>
                  </a:lnTo>
                  <a:lnTo>
                    <a:pt x="1786" y="791"/>
                  </a:lnTo>
                  <a:lnTo>
                    <a:pt x="1786" y="788"/>
                  </a:lnTo>
                  <a:lnTo>
                    <a:pt x="1785" y="786"/>
                  </a:lnTo>
                  <a:lnTo>
                    <a:pt x="1782" y="783"/>
                  </a:lnTo>
                  <a:lnTo>
                    <a:pt x="1781" y="780"/>
                  </a:lnTo>
                  <a:lnTo>
                    <a:pt x="1777" y="774"/>
                  </a:lnTo>
                  <a:lnTo>
                    <a:pt x="1776" y="771"/>
                  </a:lnTo>
                  <a:lnTo>
                    <a:pt x="1774" y="769"/>
                  </a:lnTo>
                  <a:lnTo>
                    <a:pt x="1772" y="766"/>
                  </a:lnTo>
                  <a:lnTo>
                    <a:pt x="1772" y="764"/>
                  </a:lnTo>
                  <a:lnTo>
                    <a:pt x="1770" y="760"/>
                  </a:lnTo>
                  <a:lnTo>
                    <a:pt x="1770" y="757"/>
                  </a:lnTo>
                  <a:lnTo>
                    <a:pt x="1770" y="757"/>
                  </a:lnTo>
                  <a:lnTo>
                    <a:pt x="1772" y="757"/>
                  </a:lnTo>
                  <a:lnTo>
                    <a:pt x="1772" y="757"/>
                  </a:lnTo>
                  <a:lnTo>
                    <a:pt x="1773" y="757"/>
                  </a:lnTo>
                  <a:lnTo>
                    <a:pt x="1776" y="757"/>
                  </a:lnTo>
                  <a:lnTo>
                    <a:pt x="1777" y="757"/>
                  </a:lnTo>
                  <a:lnTo>
                    <a:pt x="1778" y="757"/>
                  </a:lnTo>
                  <a:lnTo>
                    <a:pt x="1778" y="754"/>
                  </a:lnTo>
                  <a:lnTo>
                    <a:pt x="1778" y="752"/>
                  </a:lnTo>
                  <a:lnTo>
                    <a:pt x="1778" y="749"/>
                  </a:lnTo>
                  <a:lnTo>
                    <a:pt x="1778" y="748"/>
                  </a:lnTo>
                  <a:lnTo>
                    <a:pt x="1778" y="745"/>
                  </a:lnTo>
                  <a:lnTo>
                    <a:pt x="1778" y="744"/>
                  </a:lnTo>
                  <a:lnTo>
                    <a:pt x="1778" y="743"/>
                  </a:lnTo>
                  <a:lnTo>
                    <a:pt x="1778" y="743"/>
                  </a:lnTo>
                  <a:lnTo>
                    <a:pt x="1778" y="741"/>
                  </a:lnTo>
                  <a:lnTo>
                    <a:pt x="1778" y="740"/>
                  </a:lnTo>
                  <a:lnTo>
                    <a:pt x="1778" y="739"/>
                  </a:lnTo>
                  <a:lnTo>
                    <a:pt x="1778" y="738"/>
                  </a:lnTo>
                  <a:lnTo>
                    <a:pt x="1778" y="735"/>
                  </a:lnTo>
                  <a:lnTo>
                    <a:pt x="1778" y="734"/>
                  </a:lnTo>
                  <a:lnTo>
                    <a:pt x="1778" y="732"/>
                  </a:lnTo>
                  <a:lnTo>
                    <a:pt x="1778" y="730"/>
                  </a:lnTo>
                  <a:lnTo>
                    <a:pt x="1778" y="728"/>
                  </a:lnTo>
                  <a:lnTo>
                    <a:pt x="1778" y="727"/>
                  </a:lnTo>
                  <a:lnTo>
                    <a:pt x="1777" y="726"/>
                  </a:lnTo>
                  <a:lnTo>
                    <a:pt x="1777" y="725"/>
                  </a:lnTo>
                  <a:lnTo>
                    <a:pt x="1777" y="725"/>
                  </a:lnTo>
                  <a:lnTo>
                    <a:pt x="1777" y="723"/>
                  </a:lnTo>
                  <a:lnTo>
                    <a:pt x="1777" y="723"/>
                  </a:lnTo>
                  <a:lnTo>
                    <a:pt x="1777" y="722"/>
                  </a:lnTo>
                  <a:lnTo>
                    <a:pt x="1778" y="722"/>
                  </a:lnTo>
                  <a:lnTo>
                    <a:pt x="1779" y="721"/>
                  </a:lnTo>
                  <a:lnTo>
                    <a:pt x="1782" y="721"/>
                  </a:lnTo>
                  <a:lnTo>
                    <a:pt x="1785" y="721"/>
                  </a:lnTo>
                  <a:lnTo>
                    <a:pt x="1786" y="721"/>
                  </a:lnTo>
                  <a:lnTo>
                    <a:pt x="1789" y="721"/>
                  </a:lnTo>
                  <a:lnTo>
                    <a:pt x="1791" y="721"/>
                  </a:lnTo>
                  <a:lnTo>
                    <a:pt x="1794" y="721"/>
                  </a:lnTo>
                  <a:lnTo>
                    <a:pt x="1796" y="719"/>
                  </a:lnTo>
                  <a:lnTo>
                    <a:pt x="1798" y="718"/>
                  </a:lnTo>
                  <a:lnTo>
                    <a:pt x="1799" y="717"/>
                  </a:lnTo>
                  <a:lnTo>
                    <a:pt x="1800" y="715"/>
                  </a:lnTo>
                  <a:lnTo>
                    <a:pt x="1800" y="714"/>
                  </a:lnTo>
                  <a:lnTo>
                    <a:pt x="1800" y="713"/>
                  </a:lnTo>
                  <a:lnTo>
                    <a:pt x="1800" y="713"/>
                  </a:lnTo>
                  <a:lnTo>
                    <a:pt x="1800" y="712"/>
                  </a:lnTo>
                  <a:lnTo>
                    <a:pt x="1800" y="712"/>
                  </a:lnTo>
                  <a:lnTo>
                    <a:pt x="1800" y="710"/>
                  </a:lnTo>
                  <a:lnTo>
                    <a:pt x="1800" y="709"/>
                  </a:lnTo>
                  <a:lnTo>
                    <a:pt x="1800" y="708"/>
                  </a:lnTo>
                  <a:lnTo>
                    <a:pt x="1802" y="706"/>
                  </a:lnTo>
                  <a:lnTo>
                    <a:pt x="1802" y="703"/>
                  </a:lnTo>
                  <a:lnTo>
                    <a:pt x="1803" y="701"/>
                  </a:lnTo>
                  <a:lnTo>
                    <a:pt x="1803" y="700"/>
                  </a:lnTo>
                  <a:lnTo>
                    <a:pt x="1804" y="700"/>
                  </a:lnTo>
                  <a:lnTo>
                    <a:pt x="1805" y="699"/>
                  </a:lnTo>
                  <a:lnTo>
                    <a:pt x="1807" y="699"/>
                  </a:lnTo>
                  <a:lnTo>
                    <a:pt x="1808" y="699"/>
                  </a:lnTo>
                  <a:lnTo>
                    <a:pt x="1808" y="697"/>
                  </a:lnTo>
                  <a:lnTo>
                    <a:pt x="1808" y="696"/>
                  </a:lnTo>
                  <a:lnTo>
                    <a:pt x="1808" y="693"/>
                  </a:lnTo>
                  <a:lnTo>
                    <a:pt x="1808" y="692"/>
                  </a:lnTo>
                  <a:lnTo>
                    <a:pt x="1808" y="691"/>
                  </a:lnTo>
                  <a:lnTo>
                    <a:pt x="1809" y="690"/>
                  </a:lnTo>
                  <a:lnTo>
                    <a:pt x="1811" y="688"/>
                  </a:lnTo>
                  <a:lnTo>
                    <a:pt x="1813" y="686"/>
                  </a:lnTo>
                  <a:lnTo>
                    <a:pt x="1814" y="684"/>
                  </a:lnTo>
                  <a:lnTo>
                    <a:pt x="1816" y="683"/>
                  </a:lnTo>
                  <a:lnTo>
                    <a:pt x="1816" y="684"/>
                  </a:lnTo>
                  <a:lnTo>
                    <a:pt x="1816" y="686"/>
                  </a:lnTo>
                  <a:lnTo>
                    <a:pt x="1816" y="686"/>
                  </a:lnTo>
                  <a:lnTo>
                    <a:pt x="1817" y="687"/>
                  </a:lnTo>
                  <a:lnTo>
                    <a:pt x="1817" y="687"/>
                  </a:lnTo>
                  <a:lnTo>
                    <a:pt x="1817" y="687"/>
                  </a:lnTo>
                  <a:lnTo>
                    <a:pt x="1820" y="686"/>
                  </a:lnTo>
                  <a:lnTo>
                    <a:pt x="1822" y="686"/>
                  </a:lnTo>
                  <a:lnTo>
                    <a:pt x="1825" y="684"/>
                  </a:lnTo>
                  <a:lnTo>
                    <a:pt x="1827" y="683"/>
                  </a:lnTo>
                  <a:lnTo>
                    <a:pt x="1829" y="683"/>
                  </a:lnTo>
                  <a:lnTo>
                    <a:pt x="1830" y="683"/>
                  </a:lnTo>
                  <a:lnTo>
                    <a:pt x="1831" y="683"/>
                  </a:lnTo>
                  <a:lnTo>
                    <a:pt x="1831" y="683"/>
                  </a:lnTo>
                  <a:lnTo>
                    <a:pt x="1833" y="682"/>
                  </a:lnTo>
                  <a:lnTo>
                    <a:pt x="1833" y="680"/>
                  </a:lnTo>
                  <a:lnTo>
                    <a:pt x="1833" y="679"/>
                  </a:lnTo>
                  <a:lnTo>
                    <a:pt x="1831" y="678"/>
                  </a:lnTo>
                  <a:lnTo>
                    <a:pt x="1831" y="677"/>
                  </a:lnTo>
                  <a:lnTo>
                    <a:pt x="1831" y="675"/>
                  </a:lnTo>
                  <a:lnTo>
                    <a:pt x="1830" y="674"/>
                  </a:lnTo>
                  <a:lnTo>
                    <a:pt x="1831" y="673"/>
                  </a:lnTo>
                  <a:lnTo>
                    <a:pt x="1831" y="671"/>
                  </a:lnTo>
                  <a:lnTo>
                    <a:pt x="1831" y="670"/>
                  </a:lnTo>
                  <a:lnTo>
                    <a:pt x="1833" y="669"/>
                  </a:lnTo>
                  <a:lnTo>
                    <a:pt x="1834" y="669"/>
                  </a:lnTo>
                  <a:lnTo>
                    <a:pt x="1835" y="669"/>
                  </a:lnTo>
                  <a:lnTo>
                    <a:pt x="1837" y="669"/>
                  </a:lnTo>
                  <a:lnTo>
                    <a:pt x="1837" y="670"/>
                  </a:lnTo>
                  <a:lnTo>
                    <a:pt x="1837" y="673"/>
                  </a:lnTo>
                  <a:lnTo>
                    <a:pt x="1837" y="674"/>
                  </a:lnTo>
                  <a:lnTo>
                    <a:pt x="1838" y="675"/>
                  </a:lnTo>
                  <a:lnTo>
                    <a:pt x="1839" y="677"/>
                  </a:lnTo>
                  <a:lnTo>
                    <a:pt x="1840" y="678"/>
                  </a:lnTo>
                  <a:lnTo>
                    <a:pt x="1843" y="679"/>
                  </a:lnTo>
                  <a:lnTo>
                    <a:pt x="1844" y="680"/>
                  </a:lnTo>
                  <a:lnTo>
                    <a:pt x="1847" y="680"/>
                  </a:lnTo>
                  <a:lnTo>
                    <a:pt x="1850" y="682"/>
                  </a:lnTo>
                  <a:lnTo>
                    <a:pt x="1852" y="682"/>
                  </a:lnTo>
                  <a:lnTo>
                    <a:pt x="1856" y="683"/>
                  </a:lnTo>
                  <a:lnTo>
                    <a:pt x="1862" y="684"/>
                  </a:lnTo>
                  <a:lnTo>
                    <a:pt x="1869" y="684"/>
                  </a:lnTo>
                  <a:lnTo>
                    <a:pt x="1875" y="684"/>
                  </a:lnTo>
                  <a:lnTo>
                    <a:pt x="1883" y="684"/>
                  </a:lnTo>
                  <a:lnTo>
                    <a:pt x="1890" y="684"/>
                  </a:lnTo>
                  <a:lnTo>
                    <a:pt x="1892" y="684"/>
                  </a:lnTo>
                  <a:lnTo>
                    <a:pt x="1895" y="684"/>
                  </a:lnTo>
                  <a:lnTo>
                    <a:pt x="1899" y="684"/>
                  </a:lnTo>
                  <a:lnTo>
                    <a:pt x="1901" y="684"/>
                  </a:lnTo>
                  <a:lnTo>
                    <a:pt x="1904" y="683"/>
                  </a:lnTo>
                  <a:lnTo>
                    <a:pt x="1907" y="683"/>
                  </a:lnTo>
                  <a:lnTo>
                    <a:pt x="1908" y="683"/>
                  </a:lnTo>
                  <a:lnTo>
                    <a:pt x="1909" y="683"/>
                  </a:lnTo>
                  <a:lnTo>
                    <a:pt x="1910" y="683"/>
                  </a:lnTo>
                  <a:lnTo>
                    <a:pt x="1912" y="683"/>
                  </a:lnTo>
                  <a:lnTo>
                    <a:pt x="1914" y="683"/>
                  </a:lnTo>
                  <a:lnTo>
                    <a:pt x="1917" y="683"/>
                  </a:lnTo>
                  <a:lnTo>
                    <a:pt x="1922" y="683"/>
                  </a:lnTo>
                  <a:lnTo>
                    <a:pt x="1926" y="683"/>
                  </a:lnTo>
                  <a:lnTo>
                    <a:pt x="1930" y="683"/>
                  </a:lnTo>
                  <a:lnTo>
                    <a:pt x="1934" y="683"/>
                  </a:lnTo>
                  <a:lnTo>
                    <a:pt x="1939" y="683"/>
                  </a:lnTo>
                  <a:lnTo>
                    <a:pt x="1943" y="683"/>
                  </a:lnTo>
                  <a:lnTo>
                    <a:pt x="1945" y="683"/>
                  </a:lnTo>
                  <a:lnTo>
                    <a:pt x="1948" y="683"/>
                  </a:lnTo>
                  <a:lnTo>
                    <a:pt x="1952" y="683"/>
                  </a:lnTo>
                  <a:lnTo>
                    <a:pt x="1955" y="683"/>
                  </a:lnTo>
                  <a:lnTo>
                    <a:pt x="1958" y="684"/>
                  </a:lnTo>
                  <a:lnTo>
                    <a:pt x="1962" y="686"/>
                  </a:lnTo>
                  <a:lnTo>
                    <a:pt x="1966" y="687"/>
                  </a:lnTo>
                  <a:lnTo>
                    <a:pt x="1970" y="688"/>
                  </a:lnTo>
                  <a:lnTo>
                    <a:pt x="1973" y="690"/>
                  </a:lnTo>
                  <a:lnTo>
                    <a:pt x="1975" y="691"/>
                  </a:lnTo>
                  <a:lnTo>
                    <a:pt x="1977" y="691"/>
                  </a:lnTo>
                  <a:lnTo>
                    <a:pt x="1978" y="691"/>
                  </a:lnTo>
                  <a:lnTo>
                    <a:pt x="1979" y="691"/>
                  </a:lnTo>
                  <a:lnTo>
                    <a:pt x="1981" y="691"/>
                  </a:lnTo>
                  <a:lnTo>
                    <a:pt x="1984" y="692"/>
                  </a:lnTo>
                  <a:lnTo>
                    <a:pt x="1987" y="693"/>
                  </a:lnTo>
                  <a:lnTo>
                    <a:pt x="1990" y="695"/>
                  </a:lnTo>
                  <a:lnTo>
                    <a:pt x="1992" y="696"/>
                  </a:lnTo>
                  <a:lnTo>
                    <a:pt x="1995" y="697"/>
                  </a:lnTo>
                  <a:lnTo>
                    <a:pt x="1997" y="697"/>
                  </a:lnTo>
                  <a:lnTo>
                    <a:pt x="2000" y="699"/>
                  </a:lnTo>
                  <a:lnTo>
                    <a:pt x="2001" y="699"/>
                  </a:lnTo>
                  <a:lnTo>
                    <a:pt x="2003" y="699"/>
                  </a:lnTo>
                  <a:lnTo>
                    <a:pt x="2004" y="697"/>
                  </a:lnTo>
                  <a:lnTo>
                    <a:pt x="2006" y="697"/>
                  </a:lnTo>
                  <a:lnTo>
                    <a:pt x="2010" y="696"/>
                  </a:lnTo>
                  <a:lnTo>
                    <a:pt x="2014" y="695"/>
                  </a:lnTo>
                  <a:lnTo>
                    <a:pt x="2018" y="695"/>
                  </a:lnTo>
                  <a:lnTo>
                    <a:pt x="2019" y="695"/>
                  </a:lnTo>
                  <a:lnTo>
                    <a:pt x="2021" y="695"/>
                  </a:lnTo>
                  <a:lnTo>
                    <a:pt x="2021" y="695"/>
                  </a:lnTo>
                  <a:lnTo>
                    <a:pt x="2022" y="696"/>
                  </a:lnTo>
                  <a:lnTo>
                    <a:pt x="2022" y="696"/>
                  </a:lnTo>
                  <a:lnTo>
                    <a:pt x="2022" y="696"/>
                  </a:lnTo>
                  <a:lnTo>
                    <a:pt x="2023" y="695"/>
                  </a:lnTo>
                  <a:lnTo>
                    <a:pt x="2025" y="695"/>
                  </a:lnTo>
                  <a:lnTo>
                    <a:pt x="2026" y="695"/>
                  </a:lnTo>
                  <a:lnTo>
                    <a:pt x="2027" y="695"/>
                  </a:lnTo>
                  <a:lnTo>
                    <a:pt x="2028" y="695"/>
                  </a:lnTo>
                  <a:lnTo>
                    <a:pt x="2031" y="695"/>
                  </a:lnTo>
                  <a:lnTo>
                    <a:pt x="2035" y="695"/>
                  </a:lnTo>
                  <a:lnTo>
                    <a:pt x="2039" y="695"/>
                  </a:lnTo>
                  <a:lnTo>
                    <a:pt x="2043" y="695"/>
                  </a:lnTo>
                  <a:lnTo>
                    <a:pt x="2047" y="695"/>
                  </a:lnTo>
                  <a:lnTo>
                    <a:pt x="2051" y="693"/>
                  </a:lnTo>
                  <a:lnTo>
                    <a:pt x="2053" y="693"/>
                  </a:lnTo>
                  <a:lnTo>
                    <a:pt x="2056" y="693"/>
                  </a:lnTo>
                  <a:lnTo>
                    <a:pt x="2057" y="693"/>
                  </a:lnTo>
                  <a:lnTo>
                    <a:pt x="2058" y="692"/>
                  </a:lnTo>
                  <a:lnTo>
                    <a:pt x="2058" y="692"/>
                  </a:lnTo>
                  <a:lnTo>
                    <a:pt x="2060" y="692"/>
                  </a:lnTo>
                  <a:lnTo>
                    <a:pt x="2060" y="692"/>
                  </a:lnTo>
                  <a:lnTo>
                    <a:pt x="2060" y="691"/>
                  </a:lnTo>
                  <a:lnTo>
                    <a:pt x="2060" y="688"/>
                  </a:lnTo>
                  <a:lnTo>
                    <a:pt x="2060" y="686"/>
                  </a:lnTo>
                  <a:lnTo>
                    <a:pt x="2060" y="683"/>
                  </a:lnTo>
                  <a:lnTo>
                    <a:pt x="2060" y="680"/>
                  </a:lnTo>
                  <a:lnTo>
                    <a:pt x="2060" y="678"/>
                  </a:lnTo>
                  <a:lnTo>
                    <a:pt x="2060" y="677"/>
                  </a:lnTo>
                  <a:lnTo>
                    <a:pt x="2060" y="677"/>
                  </a:lnTo>
                  <a:lnTo>
                    <a:pt x="2061" y="677"/>
                  </a:lnTo>
                  <a:lnTo>
                    <a:pt x="2061" y="677"/>
                  </a:lnTo>
                  <a:lnTo>
                    <a:pt x="2062" y="677"/>
                  </a:lnTo>
                  <a:lnTo>
                    <a:pt x="2064" y="677"/>
                  </a:lnTo>
                  <a:lnTo>
                    <a:pt x="2065" y="677"/>
                  </a:lnTo>
                  <a:lnTo>
                    <a:pt x="2066" y="677"/>
                  </a:lnTo>
                  <a:lnTo>
                    <a:pt x="2067" y="677"/>
                  </a:lnTo>
                  <a:lnTo>
                    <a:pt x="2067" y="674"/>
                  </a:lnTo>
                  <a:lnTo>
                    <a:pt x="2067" y="673"/>
                  </a:lnTo>
                  <a:lnTo>
                    <a:pt x="2066" y="670"/>
                  </a:lnTo>
                  <a:close/>
                  <a:moveTo>
                    <a:pt x="951" y="687"/>
                  </a:moveTo>
                  <a:lnTo>
                    <a:pt x="951" y="686"/>
                  </a:lnTo>
                  <a:lnTo>
                    <a:pt x="949" y="684"/>
                  </a:lnTo>
                  <a:lnTo>
                    <a:pt x="949" y="684"/>
                  </a:lnTo>
                  <a:lnTo>
                    <a:pt x="948" y="683"/>
                  </a:lnTo>
                  <a:lnTo>
                    <a:pt x="947" y="683"/>
                  </a:lnTo>
                  <a:lnTo>
                    <a:pt x="946" y="684"/>
                  </a:lnTo>
                  <a:lnTo>
                    <a:pt x="944" y="686"/>
                  </a:lnTo>
                  <a:lnTo>
                    <a:pt x="942" y="686"/>
                  </a:lnTo>
                  <a:lnTo>
                    <a:pt x="940" y="687"/>
                  </a:lnTo>
                  <a:lnTo>
                    <a:pt x="938" y="687"/>
                  </a:lnTo>
                  <a:lnTo>
                    <a:pt x="935" y="686"/>
                  </a:lnTo>
                  <a:lnTo>
                    <a:pt x="934" y="686"/>
                  </a:lnTo>
                  <a:lnTo>
                    <a:pt x="931" y="686"/>
                  </a:lnTo>
                  <a:lnTo>
                    <a:pt x="930" y="684"/>
                  </a:lnTo>
                  <a:lnTo>
                    <a:pt x="927" y="683"/>
                  </a:lnTo>
                  <a:lnTo>
                    <a:pt x="923" y="680"/>
                  </a:lnTo>
                  <a:lnTo>
                    <a:pt x="920" y="678"/>
                  </a:lnTo>
                  <a:lnTo>
                    <a:pt x="918" y="677"/>
                  </a:lnTo>
                  <a:lnTo>
                    <a:pt x="917" y="677"/>
                  </a:lnTo>
                  <a:lnTo>
                    <a:pt x="917" y="675"/>
                  </a:lnTo>
                  <a:lnTo>
                    <a:pt x="917" y="675"/>
                  </a:lnTo>
                  <a:lnTo>
                    <a:pt x="917" y="674"/>
                  </a:lnTo>
                  <a:lnTo>
                    <a:pt x="917" y="673"/>
                  </a:lnTo>
                  <a:lnTo>
                    <a:pt x="917" y="671"/>
                  </a:lnTo>
                  <a:lnTo>
                    <a:pt x="917" y="670"/>
                  </a:lnTo>
                  <a:lnTo>
                    <a:pt x="917" y="669"/>
                  </a:lnTo>
                  <a:lnTo>
                    <a:pt x="916" y="670"/>
                  </a:lnTo>
                  <a:lnTo>
                    <a:pt x="914" y="671"/>
                  </a:lnTo>
                  <a:lnTo>
                    <a:pt x="912" y="673"/>
                  </a:lnTo>
                  <a:lnTo>
                    <a:pt x="909" y="674"/>
                  </a:lnTo>
                  <a:lnTo>
                    <a:pt x="905" y="675"/>
                  </a:lnTo>
                  <a:lnTo>
                    <a:pt x="903" y="675"/>
                  </a:lnTo>
                  <a:lnTo>
                    <a:pt x="900" y="677"/>
                  </a:lnTo>
                  <a:lnTo>
                    <a:pt x="898" y="677"/>
                  </a:lnTo>
                  <a:lnTo>
                    <a:pt x="895" y="677"/>
                  </a:lnTo>
                  <a:lnTo>
                    <a:pt x="895" y="677"/>
                  </a:lnTo>
                  <a:lnTo>
                    <a:pt x="895" y="678"/>
                  </a:lnTo>
                  <a:lnTo>
                    <a:pt x="895" y="679"/>
                  </a:lnTo>
                  <a:lnTo>
                    <a:pt x="895" y="680"/>
                  </a:lnTo>
                  <a:lnTo>
                    <a:pt x="895" y="682"/>
                  </a:lnTo>
                  <a:lnTo>
                    <a:pt x="895" y="683"/>
                  </a:lnTo>
                  <a:lnTo>
                    <a:pt x="895" y="683"/>
                  </a:lnTo>
                  <a:lnTo>
                    <a:pt x="894" y="682"/>
                  </a:lnTo>
                  <a:lnTo>
                    <a:pt x="892" y="680"/>
                  </a:lnTo>
                  <a:lnTo>
                    <a:pt x="890" y="677"/>
                  </a:lnTo>
                  <a:lnTo>
                    <a:pt x="888" y="674"/>
                  </a:lnTo>
                  <a:lnTo>
                    <a:pt x="887" y="673"/>
                  </a:lnTo>
                  <a:lnTo>
                    <a:pt x="886" y="671"/>
                  </a:lnTo>
                  <a:lnTo>
                    <a:pt x="885" y="670"/>
                  </a:lnTo>
                  <a:lnTo>
                    <a:pt x="883" y="670"/>
                  </a:lnTo>
                  <a:lnTo>
                    <a:pt x="883" y="670"/>
                  </a:lnTo>
                  <a:lnTo>
                    <a:pt x="881" y="670"/>
                  </a:lnTo>
                  <a:lnTo>
                    <a:pt x="879" y="670"/>
                  </a:lnTo>
                  <a:lnTo>
                    <a:pt x="877" y="671"/>
                  </a:lnTo>
                  <a:lnTo>
                    <a:pt x="877" y="673"/>
                  </a:lnTo>
                  <a:lnTo>
                    <a:pt x="875" y="674"/>
                  </a:lnTo>
                  <a:lnTo>
                    <a:pt x="874" y="675"/>
                  </a:lnTo>
                  <a:lnTo>
                    <a:pt x="873" y="677"/>
                  </a:lnTo>
                  <a:lnTo>
                    <a:pt x="872" y="677"/>
                  </a:lnTo>
                  <a:lnTo>
                    <a:pt x="870" y="677"/>
                  </a:lnTo>
                  <a:lnTo>
                    <a:pt x="869" y="677"/>
                  </a:lnTo>
                  <a:lnTo>
                    <a:pt x="869" y="678"/>
                  </a:lnTo>
                  <a:lnTo>
                    <a:pt x="869" y="679"/>
                  </a:lnTo>
                  <a:lnTo>
                    <a:pt x="869" y="680"/>
                  </a:lnTo>
                  <a:lnTo>
                    <a:pt x="870" y="682"/>
                  </a:lnTo>
                  <a:lnTo>
                    <a:pt x="870" y="683"/>
                  </a:lnTo>
                  <a:lnTo>
                    <a:pt x="872" y="684"/>
                  </a:lnTo>
                  <a:lnTo>
                    <a:pt x="872" y="686"/>
                  </a:lnTo>
                  <a:lnTo>
                    <a:pt x="873" y="687"/>
                  </a:lnTo>
                  <a:lnTo>
                    <a:pt x="874" y="688"/>
                  </a:lnTo>
                  <a:lnTo>
                    <a:pt x="875" y="690"/>
                  </a:lnTo>
                  <a:lnTo>
                    <a:pt x="877" y="691"/>
                  </a:lnTo>
                  <a:lnTo>
                    <a:pt x="878" y="691"/>
                  </a:lnTo>
                  <a:lnTo>
                    <a:pt x="879" y="691"/>
                  </a:lnTo>
                  <a:lnTo>
                    <a:pt x="881" y="691"/>
                  </a:lnTo>
                  <a:lnTo>
                    <a:pt x="882" y="691"/>
                  </a:lnTo>
                  <a:lnTo>
                    <a:pt x="883" y="691"/>
                  </a:lnTo>
                  <a:lnTo>
                    <a:pt x="886" y="691"/>
                  </a:lnTo>
                  <a:lnTo>
                    <a:pt x="887" y="691"/>
                  </a:lnTo>
                  <a:lnTo>
                    <a:pt x="888" y="691"/>
                  </a:lnTo>
                  <a:lnTo>
                    <a:pt x="890" y="691"/>
                  </a:lnTo>
                  <a:lnTo>
                    <a:pt x="892" y="691"/>
                  </a:lnTo>
                  <a:lnTo>
                    <a:pt x="894" y="691"/>
                  </a:lnTo>
                  <a:lnTo>
                    <a:pt x="895" y="691"/>
                  </a:lnTo>
                  <a:lnTo>
                    <a:pt x="896" y="691"/>
                  </a:lnTo>
                  <a:lnTo>
                    <a:pt x="898" y="691"/>
                  </a:lnTo>
                  <a:lnTo>
                    <a:pt x="900" y="692"/>
                  </a:lnTo>
                  <a:lnTo>
                    <a:pt x="903" y="693"/>
                  </a:lnTo>
                  <a:lnTo>
                    <a:pt x="905" y="695"/>
                  </a:lnTo>
                  <a:lnTo>
                    <a:pt x="909" y="696"/>
                  </a:lnTo>
                  <a:lnTo>
                    <a:pt x="912" y="697"/>
                  </a:lnTo>
                  <a:lnTo>
                    <a:pt x="914" y="697"/>
                  </a:lnTo>
                  <a:lnTo>
                    <a:pt x="916" y="699"/>
                  </a:lnTo>
                  <a:lnTo>
                    <a:pt x="917" y="699"/>
                  </a:lnTo>
                  <a:lnTo>
                    <a:pt x="918" y="697"/>
                  </a:lnTo>
                  <a:lnTo>
                    <a:pt x="918" y="696"/>
                  </a:lnTo>
                  <a:lnTo>
                    <a:pt x="920" y="695"/>
                  </a:lnTo>
                  <a:lnTo>
                    <a:pt x="920" y="693"/>
                  </a:lnTo>
                  <a:lnTo>
                    <a:pt x="921" y="693"/>
                  </a:lnTo>
                  <a:lnTo>
                    <a:pt x="921" y="693"/>
                  </a:lnTo>
                  <a:lnTo>
                    <a:pt x="921" y="695"/>
                  </a:lnTo>
                  <a:lnTo>
                    <a:pt x="921" y="696"/>
                  </a:lnTo>
                  <a:lnTo>
                    <a:pt x="921" y="697"/>
                  </a:lnTo>
                  <a:lnTo>
                    <a:pt x="921" y="699"/>
                  </a:lnTo>
                  <a:lnTo>
                    <a:pt x="922" y="701"/>
                  </a:lnTo>
                  <a:lnTo>
                    <a:pt x="923" y="703"/>
                  </a:lnTo>
                  <a:lnTo>
                    <a:pt x="925" y="706"/>
                  </a:lnTo>
                  <a:lnTo>
                    <a:pt x="926" y="706"/>
                  </a:lnTo>
                  <a:lnTo>
                    <a:pt x="927" y="706"/>
                  </a:lnTo>
                  <a:lnTo>
                    <a:pt x="927" y="706"/>
                  </a:lnTo>
                  <a:lnTo>
                    <a:pt x="929" y="706"/>
                  </a:lnTo>
                  <a:lnTo>
                    <a:pt x="930" y="706"/>
                  </a:lnTo>
                  <a:lnTo>
                    <a:pt x="930" y="706"/>
                  </a:lnTo>
                  <a:lnTo>
                    <a:pt x="930" y="708"/>
                  </a:lnTo>
                  <a:lnTo>
                    <a:pt x="930" y="708"/>
                  </a:lnTo>
                  <a:lnTo>
                    <a:pt x="930" y="708"/>
                  </a:lnTo>
                  <a:lnTo>
                    <a:pt x="929" y="709"/>
                  </a:lnTo>
                  <a:lnTo>
                    <a:pt x="927" y="709"/>
                  </a:lnTo>
                  <a:lnTo>
                    <a:pt x="927" y="710"/>
                  </a:lnTo>
                  <a:lnTo>
                    <a:pt x="926" y="712"/>
                  </a:lnTo>
                  <a:lnTo>
                    <a:pt x="925" y="713"/>
                  </a:lnTo>
                  <a:lnTo>
                    <a:pt x="926" y="713"/>
                  </a:lnTo>
                  <a:lnTo>
                    <a:pt x="927" y="713"/>
                  </a:lnTo>
                  <a:lnTo>
                    <a:pt x="931" y="712"/>
                  </a:lnTo>
                  <a:lnTo>
                    <a:pt x="934" y="710"/>
                  </a:lnTo>
                  <a:lnTo>
                    <a:pt x="938" y="709"/>
                  </a:lnTo>
                  <a:lnTo>
                    <a:pt x="942" y="708"/>
                  </a:lnTo>
                  <a:lnTo>
                    <a:pt x="943" y="708"/>
                  </a:lnTo>
                  <a:lnTo>
                    <a:pt x="944" y="706"/>
                  </a:lnTo>
                  <a:lnTo>
                    <a:pt x="946" y="706"/>
                  </a:lnTo>
                  <a:lnTo>
                    <a:pt x="946" y="706"/>
                  </a:lnTo>
                  <a:lnTo>
                    <a:pt x="947" y="706"/>
                  </a:lnTo>
                  <a:lnTo>
                    <a:pt x="948" y="704"/>
                  </a:lnTo>
                  <a:lnTo>
                    <a:pt x="949" y="703"/>
                  </a:lnTo>
                  <a:lnTo>
                    <a:pt x="949" y="701"/>
                  </a:lnTo>
                  <a:lnTo>
                    <a:pt x="951" y="699"/>
                  </a:lnTo>
                  <a:lnTo>
                    <a:pt x="951" y="697"/>
                  </a:lnTo>
                  <a:lnTo>
                    <a:pt x="952" y="695"/>
                  </a:lnTo>
                  <a:lnTo>
                    <a:pt x="952" y="693"/>
                  </a:lnTo>
                  <a:lnTo>
                    <a:pt x="952" y="692"/>
                  </a:lnTo>
                  <a:lnTo>
                    <a:pt x="952" y="690"/>
                  </a:lnTo>
                  <a:lnTo>
                    <a:pt x="952" y="688"/>
                  </a:lnTo>
                  <a:lnTo>
                    <a:pt x="951" y="687"/>
                  </a:lnTo>
                  <a:close/>
                  <a:moveTo>
                    <a:pt x="916" y="666"/>
                  </a:moveTo>
                  <a:lnTo>
                    <a:pt x="916" y="665"/>
                  </a:lnTo>
                  <a:lnTo>
                    <a:pt x="914" y="665"/>
                  </a:lnTo>
                  <a:lnTo>
                    <a:pt x="914" y="664"/>
                  </a:lnTo>
                  <a:lnTo>
                    <a:pt x="913" y="664"/>
                  </a:lnTo>
                  <a:lnTo>
                    <a:pt x="912" y="662"/>
                  </a:lnTo>
                  <a:lnTo>
                    <a:pt x="910" y="662"/>
                  </a:lnTo>
                  <a:lnTo>
                    <a:pt x="909" y="661"/>
                  </a:lnTo>
                  <a:lnTo>
                    <a:pt x="907" y="661"/>
                  </a:lnTo>
                  <a:lnTo>
                    <a:pt x="904" y="661"/>
                  </a:lnTo>
                  <a:lnTo>
                    <a:pt x="901" y="661"/>
                  </a:lnTo>
                  <a:lnTo>
                    <a:pt x="901" y="662"/>
                  </a:lnTo>
                  <a:lnTo>
                    <a:pt x="903" y="664"/>
                  </a:lnTo>
                  <a:lnTo>
                    <a:pt x="903" y="665"/>
                  </a:lnTo>
                  <a:lnTo>
                    <a:pt x="905" y="666"/>
                  </a:lnTo>
                  <a:lnTo>
                    <a:pt x="907" y="667"/>
                  </a:lnTo>
                  <a:lnTo>
                    <a:pt x="909" y="667"/>
                  </a:lnTo>
                  <a:lnTo>
                    <a:pt x="912" y="669"/>
                  </a:lnTo>
                  <a:lnTo>
                    <a:pt x="914" y="669"/>
                  </a:lnTo>
                  <a:lnTo>
                    <a:pt x="917" y="669"/>
                  </a:lnTo>
                  <a:lnTo>
                    <a:pt x="917" y="667"/>
                  </a:lnTo>
                  <a:lnTo>
                    <a:pt x="916" y="666"/>
                  </a:lnTo>
                  <a:close/>
                </a:path>
              </a:pathLst>
            </a:custGeom>
            <a:solidFill>
              <a:schemeClr val="accent2">
                <a:lumMod val="60000"/>
                <a:lumOff val="40000"/>
              </a:schemeClr>
            </a:solidFill>
            <a:ln w="3175">
              <a:solidFill>
                <a:schemeClr val="accent2">
                  <a:lumMod val="60000"/>
                  <a:lumOff val="40000"/>
                </a:schemeClr>
              </a:solidFill>
              <a:round/>
              <a:headEnd/>
              <a:tailEnd/>
            </a:ln>
          </p:spPr>
          <p:txBody>
            <a:bodyPr vert="horz" wrap="square" lIns="91273" tIns="45637" rIns="91273" bIns="4563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97" b="0" i="0" u="none" strike="noStrike" kern="1200" cap="none" spc="0" normalizeH="0" baseline="0" noProof="0" dirty="0">
                <a:ln>
                  <a:noFill/>
                </a:ln>
                <a:solidFill>
                  <a:srgbClr val="000000"/>
                </a:solidFill>
                <a:effectLst/>
                <a:uLnTx/>
                <a:uFillTx/>
                <a:latin typeface="Calibri"/>
                <a:ea typeface="+mn-ea"/>
                <a:cs typeface="+mn-cs"/>
              </a:endParaRPr>
            </a:p>
          </p:txBody>
        </p:sp>
        <p:sp>
          <p:nvSpPr>
            <p:cNvPr id="43" name="Finland">
              <a:extLst>
                <a:ext uri="{FF2B5EF4-FFF2-40B4-BE49-F238E27FC236}">
                  <a16:creationId xmlns:a16="http://schemas.microsoft.com/office/drawing/2014/main" id="{3B6726A0-79E2-8A50-1F33-AC624AD00AB3}"/>
                </a:ext>
              </a:extLst>
            </p:cNvPr>
            <p:cNvSpPr>
              <a:spLocks/>
            </p:cNvSpPr>
            <p:nvPr/>
          </p:nvSpPr>
          <p:spPr bwMode="auto">
            <a:xfrm>
              <a:off x="2763515" y="1065782"/>
              <a:ext cx="126600" cy="142573"/>
            </a:xfrm>
            <a:custGeom>
              <a:avLst/>
              <a:gdLst>
                <a:gd name="connsiteX0" fmla="*/ 61678 w 195185"/>
                <a:gd name="connsiteY0" fmla="*/ 217530 h 219813"/>
                <a:gd name="connsiteX1" fmla="*/ 61678 w 195185"/>
                <a:gd name="connsiteY1" fmla="*/ 217530 h 219813"/>
                <a:gd name="connsiteX2" fmla="*/ 57109 w 195185"/>
                <a:gd name="connsiteY2" fmla="*/ 219813 h 219813"/>
                <a:gd name="connsiteX3" fmla="*/ 54769 w 195185"/>
                <a:gd name="connsiteY3" fmla="*/ 215051 h 219813"/>
                <a:gd name="connsiteX4" fmla="*/ 59532 w 195185"/>
                <a:gd name="connsiteY4" fmla="*/ 215051 h 219813"/>
                <a:gd name="connsiteX5" fmla="*/ 54769 w 195185"/>
                <a:gd name="connsiteY5" fmla="*/ 215051 h 219813"/>
                <a:gd name="connsiteX6" fmla="*/ 41672 w 195185"/>
                <a:gd name="connsiteY6" fmla="*/ 207907 h 219813"/>
                <a:gd name="connsiteX7" fmla="*/ 41673 w 195185"/>
                <a:gd name="connsiteY7" fmla="*/ 207907 h 219813"/>
                <a:gd name="connsiteX8" fmla="*/ 46435 w 195185"/>
                <a:gd name="connsiteY8" fmla="*/ 207907 h 219813"/>
                <a:gd name="connsiteX9" fmla="*/ 44054 w 195185"/>
                <a:gd name="connsiteY9" fmla="*/ 210288 h 219813"/>
                <a:gd name="connsiteX10" fmla="*/ 41672 w 195185"/>
                <a:gd name="connsiteY10" fmla="*/ 207907 h 219813"/>
                <a:gd name="connsiteX11" fmla="*/ 36910 w 195185"/>
                <a:gd name="connsiteY11" fmla="*/ 205526 h 219813"/>
                <a:gd name="connsiteX12" fmla="*/ 39292 w 195185"/>
                <a:gd name="connsiteY12" fmla="*/ 205526 h 219813"/>
                <a:gd name="connsiteX13" fmla="*/ 41673 w 195185"/>
                <a:gd name="connsiteY13" fmla="*/ 207907 h 219813"/>
                <a:gd name="connsiteX14" fmla="*/ 36910 w 195185"/>
                <a:gd name="connsiteY14" fmla="*/ 205526 h 219813"/>
                <a:gd name="connsiteX15" fmla="*/ 23440 w 195185"/>
                <a:gd name="connsiteY15" fmla="*/ 144208 h 219813"/>
                <a:gd name="connsiteX16" fmla="*/ 21431 w 195185"/>
                <a:gd name="connsiteY16" fmla="*/ 147184 h 219813"/>
                <a:gd name="connsiteX17" fmla="*/ 21431 w 195185"/>
                <a:gd name="connsiteY17" fmla="*/ 144803 h 219813"/>
                <a:gd name="connsiteX18" fmla="*/ 23440 w 195185"/>
                <a:gd name="connsiteY18" fmla="*/ 144208 h 219813"/>
                <a:gd name="connsiteX19" fmla="*/ 46435 w 195185"/>
                <a:gd name="connsiteY19" fmla="*/ 130516 h 219813"/>
                <a:gd name="connsiteX20" fmla="*/ 48816 w 195185"/>
                <a:gd name="connsiteY20" fmla="*/ 130516 h 219813"/>
                <a:gd name="connsiteX21" fmla="*/ 48816 w 195185"/>
                <a:gd name="connsiteY21" fmla="*/ 132897 h 219813"/>
                <a:gd name="connsiteX22" fmla="*/ 46435 w 195185"/>
                <a:gd name="connsiteY22" fmla="*/ 130516 h 219813"/>
                <a:gd name="connsiteX23" fmla="*/ 105080 w 195185"/>
                <a:gd name="connsiteY23" fmla="*/ 640 h 219813"/>
                <a:gd name="connsiteX24" fmla="*/ 118786 w 195185"/>
                <a:gd name="connsiteY24" fmla="*/ 2923 h 219813"/>
                <a:gd name="connsiteX25" fmla="*/ 130208 w 195185"/>
                <a:gd name="connsiteY25" fmla="*/ 7489 h 219813"/>
                <a:gd name="connsiteX26" fmla="*/ 132492 w 195185"/>
                <a:gd name="connsiteY26" fmla="*/ 21188 h 219813"/>
                <a:gd name="connsiteX27" fmla="*/ 123355 w 195185"/>
                <a:gd name="connsiteY27" fmla="*/ 23471 h 219813"/>
                <a:gd name="connsiteX28" fmla="*/ 127924 w 195185"/>
                <a:gd name="connsiteY28" fmla="*/ 28037 h 219813"/>
                <a:gd name="connsiteX29" fmla="*/ 127924 w 195185"/>
                <a:gd name="connsiteY29" fmla="*/ 34886 h 219813"/>
                <a:gd name="connsiteX30" fmla="*/ 139345 w 195185"/>
                <a:gd name="connsiteY30" fmla="*/ 41735 h 219813"/>
                <a:gd name="connsiteX31" fmla="*/ 150767 w 195185"/>
                <a:gd name="connsiteY31" fmla="*/ 48584 h 219813"/>
                <a:gd name="connsiteX32" fmla="*/ 141630 w 195185"/>
                <a:gd name="connsiteY32" fmla="*/ 66849 h 219813"/>
                <a:gd name="connsiteX33" fmla="*/ 162189 w 195185"/>
                <a:gd name="connsiteY33" fmla="*/ 91962 h 219813"/>
                <a:gd name="connsiteX34" fmla="*/ 155336 w 195185"/>
                <a:gd name="connsiteY34" fmla="*/ 91962 h 219813"/>
                <a:gd name="connsiteX35" fmla="*/ 155336 w 195185"/>
                <a:gd name="connsiteY35" fmla="*/ 98811 h 219813"/>
                <a:gd name="connsiteX36" fmla="*/ 159905 w 195185"/>
                <a:gd name="connsiteY36" fmla="*/ 103377 h 219813"/>
                <a:gd name="connsiteX37" fmla="*/ 157620 w 195185"/>
                <a:gd name="connsiteY37" fmla="*/ 110227 h 219813"/>
                <a:gd name="connsiteX38" fmla="*/ 166758 w 195185"/>
                <a:gd name="connsiteY38" fmla="*/ 112510 h 219813"/>
                <a:gd name="connsiteX39" fmla="*/ 173611 w 195185"/>
                <a:gd name="connsiteY39" fmla="*/ 121642 h 219813"/>
                <a:gd name="connsiteX40" fmla="*/ 166758 w 195185"/>
                <a:gd name="connsiteY40" fmla="*/ 133057 h 219813"/>
                <a:gd name="connsiteX41" fmla="*/ 194170 w 195185"/>
                <a:gd name="connsiteY41" fmla="*/ 149038 h 219813"/>
                <a:gd name="connsiteX42" fmla="*/ 194170 w 195185"/>
                <a:gd name="connsiteY42" fmla="*/ 155888 h 219813"/>
                <a:gd name="connsiteX43" fmla="*/ 182748 w 195185"/>
                <a:gd name="connsiteY43" fmla="*/ 167303 h 219813"/>
                <a:gd name="connsiteX44" fmla="*/ 150767 w 195185"/>
                <a:gd name="connsiteY44" fmla="*/ 194700 h 219813"/>
                <a:gd name="connsiteX45" fmla="*/ 141630 w 195185"/>
                <a:gd name="connsiteY45" fmla="*/ 201549 h 219813"/>
                <a:gd name="connsiteX46" fmla="*/ 139345 w 195185"/>
                <a:gd name="connsiteY46" fmla="*/ 203832 h 219813"/>
                <a:gd name="connsiteX47" fmla="*/ 132492 w 195185"/>
                <a:gd name="connsiteY47" fmla="*/ 203832 h 219813"/>
                <a:gd name="connsiteX48" fmla="*/ 125639 w 195185"/>
                <a:gd name="connsiteY48" fmla="*/ 203832 h 219813"/>
                <a:gd name="connsiteX49" fmla="*/ 118786 w 195185"/>
                <a:gd name="connsiteY49" fmla="*/ 206115 h 219813"/>
                <a:gd name="connsiteX50" fmla="*/ 116502 w 195185"/>
                <a:gd name="connsiteY50" fmla="*/ 206115 h 219813"/>
                <a:gd name="connsiteX51" fmla="*/ 114218 w 195185"/>
                <a:gd name="connsiteY51" fmla="*/ 206115 h 219813"/>
                <a:gd name="connsiteX52" fmla="*/ 107365 w 195185"/>
                <a:gd name="connsiteY52" fmla="*/ 206115 h 219813"/>
                <a:gd name="connsiteX53" fmla="*/ 107365 w 195185"/>
                <a:gd name="connsiteY53" fmla="*/ 208398 h 219813"/>
                <a:gd name="connsiteX54" fmla="*/ 107365 w 195185"/>
                <a:gd name="connsiteY54" fmla="*/ 210681 h 219813"/>
                <a:gd name="connsiteX55" fmla="*/ 102796 w 195185"/>
                <a:gd name="connsiteY55" fmla="*/ 208398 h 219813"/>
                <a:gd name="connsiteX56" fmla="*/ 91374 w 195185"/>
                <a:gd name="connsiteY56" fmla="*/ 210681 h 219813"/>
                <a:gd name="connsiteX57" fmla="*/ 86805 w 195185"/>
                <a:gd name="connsiteY57" fmla="*/ 212964 h 219813"/>
                <a:gd name="connsiteX58" fmla="*/ 82237 w 195185"/>
                <a:gd name="connsiteY58" fmla="*/ 215247 h 219813"/>
                <a:gd name="connsiteX59" fmla="*/ 77668 w 195185"/>
                <a:gd name="connsiteY59" fmla="*/ 215247 h 219813"/>
                <a:gd name="connsiteX60" fmla="*/ 63962 w 195185"/>
                <a:gd name="connsiteY60" fmla="*/ 217530 h 219813"/>
                <a:gd name="connsiteX61" fmla="*/ 66246 w 195185"/>
                <a:gd name="connsiteY61" fmla="*/ 215247 h 219813"/>
                <a:gd name="connsiteX62" fmla="*/ 61678 w 195185"/>
                <a:gd name="connsiteY62" fmla="*/ 217530 h 219813"/>
                <a:gd name="connsiteX63" fmla="*/ 59964 w 195185"/>
                <a:gd name="connsiteY63" fmla="*/ 215532 h 219813"/>
                <a:gd name="connsiteX64" fmla="*/ 61678 w 195185"/>
                <a:gd name="connsiteY64" fmla="*/ 215247 h 219813"/>
                <a:gd name="connsiteX65" fmla="*/ 57109 w 195185"/>
                <a:gd name="connsiteY65" fmla="*/ 212964 h 219813"/>
                <a:gd name="connsiteX66" fmla="*/ 59393 w 195185"/>
                <a:gd name="connsiteY66" fmla="*/ 208398 h 219813"/>
                <a:gd name="connsiteX67" fmla="*/ 56511 w 195185"/>
                <a:gd name="connsiteY67" fmla="*/ 208974 h 219813"/>
                <a:gd name="connsiteX68" fmla="*/ 52865 w 195185"/>
                <a:gd name="connsiteY68" fmla="*/ 215051 h 219813"/>
                <a:gd name="connsiteX69" fmla="*/ 48578 w 195185"/>
                <a:gd name="connsiteY69" fmla="*/ 215051 h 219813"/>
                <a:gd name="connsiteX70" fmla="*/ 48578 w 195185"/>
                <a:gd name="connsiteY70" fmla="*/ 210288 h 219813"/>
                <a:gd name="connsiteX71" fmla="*/ 51993 w 195185"/>
                <a:gd name="connsiteY71" fmla="*/ 209340 h 219813"/>
                <a:gd name="connsiteX72" fmla="*/ 50256 w 195185"/>
                <a:gd name="connsiteY72" fmla="*/ 206115 h 219813"/>
                <a:gd name="connsiteX73" fmla="*/ 48565 w 195185"/>
                <a:gd name="connsiteY73" fmla="*/ 205777 h 219813"/>
                <a:gd name="connsiteX74" fmla="*/ 48565 w 195185"/>
                <a:gd name="connsiteY74" fmla="*/ 205777 h 219813"/>
                <a:gd name="connsiteX75" fmla="*/ 38834 w 195185"/>
                <a:gd name="connsiteY75" fmla="*/ 203832 h 219813"/>
                <a:gd name="connsiteX76" fmla="*/ 34265 w 195185"/>
                <a:gd name="connsiteY76" fmla="*/ 203832 h 219813"/>
                <a:gd name="connsiteX77" fmla="*/ 29697 w 195185"/>
                <a:gd name="connsiteY77" fmla="*/ 201549 h 219813"/>
                <a:gd name="connsiteX78" fmla="*/ 27412 w 195185"/>
                <a:gd name="connsiteY78" fmla="*/ 192416 h 219813"/>
                <a:gd name="connsiteX79" fmla="*/ 31981 w 195185"/>
                <a:gd name="connsiteY79" fmla="*/ 181001 h 219813"/>
                <a:gd name="connsiteX80" fmla="*/ 25128 w 195185"/>
                <a:gd name="connsiteY80" fmla="*/ 171869 h 219813"/>
                <a:gd name="connsiteX81" fmla="*/ 25128 w 195185"/>
                <a:gd name="connsiteY81" fmla="*/ 162737 h 219813"/>
                <a:gd name="connsiteX82" fmla="*/ 20559 w 195185"/>
                <a:gd name="connsiteY82" fmla="*/ 158171 h 219813"/>
                <a:gd name="connsiteX83" fmla="*/ 29697 w 195185"/>
                <a:gd name="connsiteY83" fmla="*/ 149038 h 219813"/>
                <a:gd name="connsiteX84" fmla="*/ 27412 w 195185"/>
                <a:gd name="connsiteY84" fmla="*/ 142189 h 219813"/>
                <a:gd name="connsiteX85" fmla="*/ 41118 w 195185"/>
                <a:gd name="connsiteY85" fmla="*/ 142189 h 219813"/>
                <a:gd name="connsiteX86" fmla="*/ 41118 w 195185"/>
                <a:gd name="connsiteY86" fmla="*/ 139906 h 219813"/>
                <a:gd name="connsiteX87" fmla="*/ 38834 w 195185"/>
                <a:gd name="connsiteY87" fmla="*/ 137623 h 219813"/>
                <a:gd name="connsiteX88" fmla="*/ 47971 w 195185"/>
                <a:gd name="connsiteY88" fmla="*/ 135340 h 219813"/>
                <a:gd name="connsiteX89" fmla="*/ 57109 w 195185"/>
                <a:gd name="connsiteY89" fmla="*/ 128491 h 219813"/>
                <a:gd name="connsiteX90" fmla="*/ 54824 w 195185"/>
                <a:gd name="connsiteY90" fmla="*/ 126208 h 219813"/>
                <a:gd name="connsiteX91" fmla="*/ 61678 w 195185"/>
                <a:gd name="connsiteY91" fmla="*/ 123925 h 219813"/>
                <a:gd name="connsiteX92" fmla="*/ 70815 w 195185"/>
                <a:gd name="connsiteY92" fmla="*/ 114793 h 219813"/>
                <a:gd name="connsiteX93" fmla="*/ 75384 w 195185"/>
                <a:gd name="connsiteY93" fmla="*/ 110227 h 219813"/>
                <a:gd name="connsiteX94" fmla="*/ 86805 w 195185"/>
                <a:gd name="connsiteY94" fmla="*/ 110227 h 219813"/>
                <a:gd name="connsiteX95" fmla="*/ 84521 w 195185"/>
                <a:gd name="connsiteY95" fmla="*/ 107944 h 219813"/>
                <a:gd name="connsiteX96" fmla="*/ 86805 w 195185"/>
                <a:gd name="connsiteY96" fmla="*/ 105660 h 219813"/>
                <a:gd name="connsiteX97" fmla="*/ 82237 w 195185"/>
                <a:gd name="connsiteY97" fmla="*/ 101094 h 219813"/>
                <a:gd name="connsiteX98" fmla="*/ 82237 w 195185"/>
                <a:gd name="connsiteY98" fmla="*/ 96528 h 219813"/>
                <a:gd name="connsiteX99" fmla="*/ 70815 w 195185"/>
                <a:gd name="connsiteY99" fmla="*/ 89679 h 219813"/>
                <a:gd name="connsiteX100" fmla="*/ 61678 w 195185"/>
                <a:gd name="connsiteY100" fmla="*/ 87396 h 219813"/>
                <a:gd name="connsiteX101" fmla="*/ 54824 w 195185"/>
                <a:gd name="connsiteY101" fmla="*/ 78264 h 219813"/>
                <a:gd name="connsiteX102" fmla="*/ 54824 w 195185"/>
                <a:gd name="connsiteY102" fmla="*/ 64566 h 219813"/>
                <a:gd name="connsiteX103" fmla="*/ 52540 w 195185"/>
                <a:gd name="connsiteY103" fmla="*/ 57716 h 219813"/>
                <a:gd name="connsiteX104" fmla="*/ 52540 w 195185"/>
                <a:gd name="connsiteY104" fmla="*/ 53150 h 219813"/>
                <a:gd name="connsiteX105" fmla="*/ 47971 w 195185"/>
                <a:gd name="connsiteY105" fmla="*/ 50867 h 219813"/>
                <a:gd name="connsiteX106" fmla="*/ 47971 w 195185"/>
                <a:gd name="connsiteY106" fmla="*/ 46301 h 219813"/>
                <a:gd name="connsiteX107" fmla="*/ 50256 w 195185"/>
                <a:gd name="connsiteY107" fmla="*/ 44018 h 219813"/>
                <a:gd name="connsiteX108" fmla="*/ 43403 w 195185"/>
                <a:gd name="connsiteY108" fmla="*/ 39452 h 219813"/>
                <a:gd name="connsiteX109" fmla="*/ 38834 w 195185"/>
                <a:gd name="connsiteY109" fmla="*/ 34886 h 219813"/>
                <a:gd name="connsiteX110" fmla="*/ 31981 w 195185"/>
                <a:gd name="connsiteY110" fmla="*/ 32603 h 219813"/>
                <a:gd name="connsiteX111" fmla="*/ 18275 w 195185"/>
                <a:gd name="connsiteY111" fmla="*/ 28037 h 219813"/>
                <a:gd name="connsiteX112" fmla="*/ 0 w 195185"/>
                <a:gd name="connsiteY112" fmla="*/ 21188 h 219813"/>
                <a:gd name="connsiteX113" fmla="*/ 9138 w 195185"/>
                <a:gd name="connsiteY113" fmla="*/ 18905 h 219813"/>
                <a:gd name="connsiteX114" fmla="*/ 6853 w 195185"/>
                <a:gd name="connsiteY114" fmla="*/ 16621 h 219813"/>
                <a:gd name="connsiteX115" fmla="*/ 27412 w 195185"/>
                <a:gd name="connsiteY115" fmla="*/ 23471 h 219813"/>
                <a:gd name="connsiteX116" fmla="*/ 43403 w 195185"/>
                <a:gd name="connsiteY116" fmla="*/ 28037 h 219813"/>
                <a:gd name="connsiteX117" fmla="*/ 50256 w 195185"/>
                <a:gd name="connsiteY117" fmla="*/ 25754 h 219813"/>
                <a:gd name="connsiteX118" fmla="*/ 61678 w 195185"/>
                <a:gd name="connsiteY118" fmla="*/ 28037 h 219813"/>
                <a:gd name="connsiteX119" fmla="*/ 68531 w 195185"/>
                <a:gd name="connsiteY119" fmla="*/ 30320 h 219813"/>
                <a:gd name="connsiteX120" fmla="*/ 77668 w 195185"/>
                <a:gd name="connsiteY120" fmla="*/ 23471 h 219813"/>
                <a:gd name="connsiteX121" fmla="*/ 79952 w 195185"/>
                <a:gd name="connsiteY121" fmla="*/ 21188 h 219813"/>
                <a:gd name="connsiteX122" fmla="*/ 82237 w 195185"/>
                <a:gd name="connsiteY122" fmla="*/ 7489 h 219813"/>
                <a:gd name="connsiteX123" fmla="*/ 93658 w 195185"/>
                <a:gd name="connsiteY123" fmla="*/ 2923 h 219813"/>
                <a:gd name="connsiteX124" fmla="*/ 105080 w 195185"/>
                <a:gd name="connsiteY124" fmla="*/ 640 h 219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195185" h="219813">
                  <a:moveTo>
                    <a:pt x="61678" y="217530"/>
                  </a:moveTo>
                  <a:lnTo>
                    <a:pt x="61678" y="217530"/>
                  </a:lnTo>
                  <a:cubicBezTo>
                    <a:pt x="59393" y="217530"/>
                    <a:pt x="57109" y="219813"/>
                    <a:pt x="57109" y="219813"/>
                  </a:cubicBezTo>
                  <a:close/>
                  <a:moveTo>
                    <a:pt x="54769" y="215051"/>
                  </a:moveTo>
                  <a:cubicBezTo>
                    <a:pt x="57151" y="215051"/>
                    <a:pt x="57151" y="215051"/>
                    <a:pt x="59532" y="215051"/>
                  </a:cubicBezTo>
                  <a:cubicBezTo>
                    <a:pt x="59532" y="219813"/>
                    <a:pt x="54769" y="217432"/>
                    <a:pt x="54769" y="215051"/>
                  </a:cubicBezTo>
                  <a:close/>
                  <a:moveTo>
                    <a:pt x="41672" y="207907"/>
                  </a:moveTo>
                  <a:lnTo>
                    <a:pt x="41673" y="207907"/>
                  </a:lnTo>
                  <a:lnTo>
                    <a:pt x="46435" y="207907"/>
                  </a:lnTo>
                  <a:cubicBezTo>
                    <a:pt x="44054" y="210288"/>
                    <a:pt x="44054" y="210288"/>
                    <a:pt x="44054" y="210288"/>
                  </a:cubicBezTo>
                  <a:cubicBezTo>
                    <a:pt x="44054" y="207907"/>
                    <a:pt x="44054" y="207907"/>
                    <a:pt x="41672" y="207907"/>
                  </a:cubicBezTo>
                  <a:close/>
                  <a:moveTo>
                    <a:pt x="36910" y="205526"/>
                  </a:moveTo>
                  <a:cubicBezTo>
                    <a:pt x="36910" y="205526"/>
                    <a:pt x="36910" y="205526"/>
                    <a:pt x="39292" y="205526"/>
                  </a:cubicBezTo>
                  <a:cubicBezTo>
                    <a:pt x="39292" y="205526"/>
                    <a:pt x="39292" y="205526"/>
                    <a:pt x="41673" y="207907"/>
                  </a:cubicBezTo>
                  <a:cubicBezTo>
                    <a:pt x="39292" y="207907"/>
                    <a:pt x="36910" y="207907"/>
                    <a:pt x="36910" y="205526"/>
                  </a:cubicBezTo>
                  <a:close/>
                  <a:moveTo>
                    <a:pt x="23440" y="144208"/>
                  </a:moveTo>
                  <a:cubicBezTo>
                    <a:pt x="23664" y="144803"/>
                    <a:pt x="23217" y="145994"/>
                    <a:pt x="21431" y="147184"/>
                  </a:cubicBezTo>
                  <a:cubicBezTo>
                    <a:pt x="21431" y="147184"/>
                    <a:pt x="21431" y="147184"/>
                    <a:pt x="21431" y="144803"/>
                  </a:cubicBezTo>
                  <a:cubicBezTo>
                    <a:pt x="22324" y="143613"/>
                    <a:pt x="23217" y="143613"/>
                    <a:pt x="23440" y="144208"/>
                  </a:cubicBezTo>
                  <a:close/>
                  <a:moveTo>
                    <a:pt x="46435" y="130516"/>
                  </a:moveTo>
                  <a:cubicBezTo>
                    <a:pt x="46435" y="130516"/>
                    <a:pt x="46435" y="130516"/>
                    <a:pt x="48816" y="130516"/>
                  </a:cubicBezTo>
                  <a:cubicBezTo>
                    <a:pt x="48816" y="130516"/>
                    <a:pt x="48816" y="130516"/>
                    <a:pt x="48816" y="132897"/>
                  </a:cubicBezTo>
                  <a:cubicBezTo>
                    <a:pt x="48816" y="132897"/>
                    <a:pt x="48816" y="132897"/>
                    <a:pt x="46435" y="130516"/>
                  </a:cubicBezTo>
                  <a:close/>
                  <a:moveTo>
                    <a:pt x="105080" y="640"/>
                  </a:moveTo>
                  <a:cubicBezTo>
                    <a:pt x="109649" y="-1643"/>
                    <a:pt x="114218" y="2923"/>
                    <a:pt x="118786" y="2923"/>
                  </a:cubicBezTo>
                  <a:cubicBezTo>
                    <a:pt x="121071" y="5206"/>
                    <a:pt x="125639" y="5206"/>
                    <a:pt x="130208" y="7489"/>
                  </a:cubicBezTo>
                  <a:cubicBezTo>
                    <a:pt x="143914" y="9772"/>
                    <a:pt x="125639" y="16621"/>
                    <a:pt x="132492" y="21188"/>
                  </a:cubicBezTo>
                  <a:cubicBezTo>
                    <a:pt x="130208" y="23471"/>
                    <a:pt x="125639" y="23471"/>
                    <a:pt x="123355" y="23471"/>
                  </a:cubicBezTo>
                  <a:cubicBezTo>
                    <a:pt x="125639" y="23471"/>
                    <a:pt x="132492" y="23471"/>
                    <a:pt x="127924" y="28037"/>
                  </a:cubicBezTo>
                  <a:cubicBezTo>
                    <a:pt x="125639" y="30320"/>
                    <a:pt x="123355" y="32603"/>
                    <a:pt x="127924" y="34886"/>
                  </a:cubicBezTo>
                  <a:cubicBezTo>
                    <a:pt x="132492" y="39452"/>
                    <a:pt x="137061" y="39452"/>
                    <a:pt x="139345" y="41735"/>
                  </a:cubicBezTo>
                  <a:cubicBezTo>
                    <a:pt x="143914" y="44018"/>
                    <a:pt x="148483" y="46301"/>
                    <a:pt x="150767" y="48584"/>
                  </a:cubicBezTo>
                  <a:cubicBezTo>
                    <a:pt x="159905" y="53150"/>
                    <a:pt x="137061" y="59999"/>
                    <a:pt x="141630" y="66849"/>
                  </a:cubicBezTo>
                  <a:cubicBezTo>
                    <a:pt x="148483" y="75981"/>
                    <a:pt x="157620" y="80547"/>
                    <a:pt x="162189" y="91962"/>
                  </a:cubicBezTo>
                  <a:cubicBezTo>
                    <a:pt x="159905" y="91962"/>
                    <a:pt x="157620" y="91962"/>
                    <a:pt x="155336" y="91962"/>
                  </a:cubicBezTo>
                  <a:cubicBezTo>
                    <a:pt x="157620" y="91962"/>
                    <a:pt x="157620" y="96528"/>
                    <a:pt x="155336" y="98811"/>
                  </a:cubicBezTo>
                  <a:cubicBezTo>
                    <a:pt x="153052" y="101094"/>
                    <a:pt x="157620" y="101094"/>
                    <a:pt x="159905" y="103377"/>
                  </a:cubicBezTo>
                  <a:cubicBezTo>
                    <a:pt x="155336" y="103377"/>
                    <a:pt x="155336" y="107944"/>
                    <a:pt x="157620" y="110227"/>
                  </a:cubicBezTo>
                  <a:cubicBezTo>
                    <a:pt x="159905" y="112510"/>
                    <a:pt x="164473" y="107944"/>
                    <a:pt x="166758" y="112510"/>
                  </a:cubicBezTo>
                  <a:cubicBezTo>
                    <a:pt x="157620" y="117076"/>
                    <a:pt x="169042" y="119359"/>
                    <a:pt x="173611" y="121642"/>
                  </a:cubicBezTo>
                  <a:cubicBezTo>
                    <a:pt x="180464" y="123925"/>
                    <a:pt x="169042" y="130774"/>
                    <a:pt x="166758" y="133057"/>
                  </a:cubicBezTo>
                  <a:cubicBezTo>
                    <a:pt x="175895" y="137623"/>
                    <a:pt x="185032" y="142189"/>
                    <a:pt x="194170" y="149038"/>
                  </a:cubicBezTo>
                  <a:cubicBezTo>
                    <a:pt x="196454" y="151322"/>
                    <a:pt x="194170" y="151322"/>
                    <a:pt x="194170" y="155888"/>
                  </a:cubicBezTo>
                  <a:cubicBezTo>
                    <a:pt x="191885" y="160454"/>
                    <a:pt x="187317" y="162737"/>
                    <a:pt x="182748" y="167303"/>
                  </a:cubicBezTo>
                  <a:cubicBezTo>
                    <a:pt x="173611" y="178718"/>
                    <a:pt x="164473" y="187850"/>
                    <a:pt x="150767" y="194700"/>
                  </a:cubicBezTo>
                  <a:cubicBezTo>
                    <a:pt x="146198" y="196983"/>
                    <a:pt x="143914" y="199266"/>
                    <a:pt x="141630" y="201549"/>
                  </a:cubicBezTo>
                  <a:cubicBezTo>
                    <a:pt x="141630" y="201549"/>
                    <a:pt x="139345" y="203832"/>
                    <a:pt x="139345" y="203832"/>
                  </a:cubicBezTo>
                  <a:cubicBezTo>
                    <a:pt x="137061" y="206115"/>
                    <a:pt x="134777" y="203832"/>
                    <a:pt x="132492" y="203832"/>
                  </a:cubicBezTo>
                  <a:cubicBezTo>
                    <a:pt x="130208" y="206115"/>
                    <a:pt x="130208" y="201549"/>
                    <a:pt x="125639" y="203832"/>
                  </a:cubicBezTo>
                  <a:cubicBezTo>
                    <a:pt x="123355" y="206115"/>
                    <a:pt x="121071" y="206115"/>
                    <a:pt x="118786" y="206115"/>
                  </a:cubicBezTo>
                  <a:cubicBezTo>
                    <a:pt x="118786" y="206115"/>
                    <a:pt x="116502" y="206115"/>
                    <a:pt x="116502" y="206115"/>
                  </a:cubicBezTo>
                  <a:cubicBezTo>
                    <a:pt x="116502" y="206115"/>
                    <a:pt x="116502" y="206115"/>
                    <a:pt x="114218" y="206115"/>
                  </a:cubicBezTo>
                  <a:cubicBezTo>
                    <a:pt x="111933" y="208398"/>
                    <a:pt x="109649" y="206115"/>
                    <a:pt x="107365" y="206115"/>
                  </a:cubicBezTo>
                  <a:cubicBezTo>
                    <a:pt x="109649" y="208398"/>
                    <a:pt x="109649" y="208398"/>
                    <a:pt x="107365" y="208398"/>
                  </a:cubicBezTo>
                  <a:cubicBezTo>
                    <a:pt x="107365" y="210681"/>
                    <a:pt x="107365" y="210681"/>
                    <a:pt x="107365" y="210681"/>
                  </a:cubicBezTo>
                  <a:cubicBezTo>
                    <a:pt x="105080" y="210681"/>
                    <a:pt x="102796" y="210681"/>
                    <a:pt x="102796" y="208398"/>
                  </a:cubicBezTo>
                  <a:cubicBezTo>
                    <a:pt x="100511" y="210681"/>
                    <a:pt x="95943" y="210681"/>
                    <a:pt x="91374" y="210681"/>
                  </a:cubicBezTo>
                  <a:cubicBezTo>
                    <a:pt x="89090" y="212964"/>
                    <a:pt x="86805" y="212964"/>
                    <a:pt x="86805" y="212964"/>
                  </a:cubicBezTo>
                  <a:cubicBezTo>
                    <a:pt x="84521" y="212964"/>
                    <a:pt x="84521" y="215247"/>
                    <a:pt x="82237" y="215247"/>
                  </a:cubicBezTo>
                  <a:cubicBezTo>
                    <a:pt x="79952" y="217530"/>
                    <a:pt x="79952" y="215247"/>
                    <a:pt x="77668" y="215247"/>
                  </a:cubicBezTo>
                  <a:cubicBezTo>
                    <a:pt x="73099" y="215247"/>
                    <a:pt x="68531" y="217530"/>
                    <a:pt x="63962" y="217530"/>
                  </a:cubicBezTo>
                  <a:cubicBezTo>
                    <a:pt x="63962" y="217530"/>
                    <a:pt x="66246" y="217530"/>
                    <a:pt x="66246" y="215247"/>
                  </a:cubicBezTo>
                  <a:lnTo>
                    <a:pt x="61678" y="217530"/>
                  </a:lnTo>
                  <a:lnTo>
                    <a:pt x="59964" y="215532"/>
                  </a:lnTo>
                  <a:cubicBezTo>
                    <a:pt x="59393" y="215818"/>
                    <a:pt x="59393" y="216388"/>
                    <a:pt x="61678" y="215247"/>
                  </a:cubicBezTo>
                  <a:cubicBezTo>
                    <a:pt x="59393" y="215247"/>
                    <a:pt x="59393" y="215247"/>
                    <a:pt x="57109" y="212964"/>
                  </a:cubicBezTo>
                  <a:cubicBezTo>
                    <a:pt x="54824" y="210681"/>
                    <a:pt x="57109" y="210681"/>
                    <a:pt x="59393" y="208398"/>
                  </a:cubicBezTo>
                  <a:lnTo>
                    <a:pt x="56511" y="208974"/>
                  </a:lnTo>
                  <a:lnTo>
                    <a:pt x="52865" y="215051"/>
                  </a:lnTo>
                  <a:cubicBezTo>
                    <a:pt x="50722" y="215051"/>
                    <a:pt x="48578" y="215051"/>
                    <a:pt x="48578" y="215051"/>
                  </a:cubicBezTo>
                  <a:cubicBezTo>
                    <a:pt x="46435" y="212670"/>
                    <a:pt x="52865" y="212670"/>
                    <a:pt x="48578" y="210288"/>
                  </a:cubicBezTo>
                  <a:lnTo>
                    <a:pt x="51993" y="209340"/>
                  </a:lnTo>
                  <a:lnTo>
                    <a:pt x="50256" y="206115"/>
                  </a:lnTo>
                  <a:lnTo>
                    <a:pt x="48565" y="205777"/>
                  </a:lnTo>
                  <a:lnTo>
                    <a:pt x="48565" y="205777"/>
                  </a:lnTo>
                  <a:lnTo>
                    <a:pt x="38834" y="203832"/>
                  </a:lnTo>
                  <a:cubicBezTo>
                    <a:pt x="36550" y="203832"/>
                    <a:pt x="31981" y="199266"/>
                    <a:pt x="34265" y="203832"/>
                  </a:cubicBezTo>
                  <a:cubicBezTo>
                    <a:pt x="31981" y="203832"/>
                    <a:pt x="29697" y="201549"/>
                    <a:pt x="29697" y="201549"/>
                  </a:cubicBezTo>
                  <a:cubicBezTo>
                    <a:pt x="29697" y="199266"/>
                    <a:pt x="27412" y="194700"/>
                    <a:pt x="27412" y="192416"/>
                  </a:cubicBezTo>
                  <a:cubicBezTo>
                    <a:pt x="34265" y="192416"/>
                    <a:pt x="25128" y="178718"/>
                    <a:pt x="31981" y="181001"/>
                  </a:cubicBezTo>
                  <a:cubicBezTo>
                    <a:pt x="29697" y="178718"/>
                    <a:pt x="25128" y="174152"/>
                    <a:pt x="25128" y="171869"/>
                  </a:cubicBezTo>
                  <a:cubicBezTo>
                    <a:pt x="25128" y="167303"/>
                    <a:pt x="25128" y="167303"/>
                    <a:pt x="25128" y="162737"/>
                  </a:cubicBezTo>
                  <a:cubicBezTo>
                    <a:pt x="22844" y="160454"/>
                    <a:pt x="20559" y="158171"/>
                    <a:pt x="20559" y="158171"/>
                  </a:cubicBezTo>
                  <a:cubicBezTo>
                    <a:pt x="20559" y="155888"/>
                    <a:pt x="25128" y="146755"/>
                    <a:pt x="29697" y="149038"/>
                  </a:cubicBezTo>
                  <a:cubicBezTo>
                    <a:pt x="27412" y="146755"/>
                    <a:pt x="25128" y="144472"/>
                    <a:pt x="27412" y="142189"/>
                  </a:cubicBezTo>
                  <a:cubicBezTo>
                    <a:pt x="29697" y="146755"/>
                    <a:pt x="36550" y="144472"/>
                    <a:pt x="41118" y="142189"/>
                  </a:cubicBezTo>
                  <a:cubicBezTo>
                    <a:pt x="38834" y="142189"/>
                    <a:pt x="36550" y="137623"/>
                    <a:pt x="41118" y="139906"/>
                  </a:cubicBezTo>
                  <a:cubicBezTo>
                    <a:pt x="38834" y="137623"/>
                    <a:pt x="38834" y="137623"/>
                    <a:pt x="38834" y="137623"/>
                  </a:cubicBezTo>
                  <a:cubicBezTo>
                    <a:pt x="41118" y="139906"/>
                    <a:pt x="43403" y="133057"/>
                    <a:pt x="47971" y="135340"/>
                  </a:cubicBezTo>
                  <a:cubicBezTo>
                    <a:pt x="45687" y="130774"/>
                    <a:pt x="52540" y="130774"/>
                    <a:pt x="57109" y="128491"/>
                  </a:cubicBezTo>
                  <a:cubicBezTo>
                    <a:pt x="54824" y="126208"/>
                    <a:pt x="54824" y="126208"/>
                    <a:pt x="54824" y="126208"/>
                  </a:cubicBezTo>
                  <a:cubicBezTo>
                    <a:pt x="59393" y="126208"/>
                    <a:pt x="59393" y="126208"/>
                    <a:pt x="61678" y="123925"/>
                  </a:cubicBezTo>
                  <a:cubicBezTo>
                    <a:pt x="63962" y="119359"/>
                    <a:pt x="68531" y="119359"/>
                    <a:pt x="70815" y="114793"/>
                  </a:cubicBezTo>
                  <a:cubicBezTo>
                    <a:pt x="73099" y="114793"/>
                    <a:pt x="73099" y="112510"/>
                    <a:pt x="75384" y="110227"/>
                  </a:cubicBezTo>
                  <a:cubicBezTo>
                    <a:pt x="77668" y="107944"/>
                    <a:pt x="82237" y="107944"/>
                    <a:pt x="86805" y="110227"/>
                  </a:cubicBezTo>
                  <a:cubicBezTo>
                    <a:pt x="84521" y="107944"/>
                    <a:pt x="84521" y="107944"/>
                    <a:pt x="84521" y="107944"/>
                  </a:cubicBezTo>
                  <a:cubicBezTo>
                    <a:pt x="84521" y="107944"/>
                    <a:pt x="86805" y="105660"/>
                    <a:pt x="86805" y="105660"/>
                  </a:cubicBezTo>
                  <a:cubicBezTo>
                    <a:pt x="86805" y="103377"/>
                    <a:pt x="82237" y="103377"/>
                    <a:pt x="82237" y="101094"/>
                  </a:cubicBezTo>
                  <a:cubicBezTo>
                    <a:pt x="84521" y="98811"/>
                    <a:pt x="84521" y="96528"/>
                    <a:pt x="82237" y="96528"/>
                  </a:cubicBezTo>
                  <a:cubicBezTo>
                    <a:pt x="79952" y="91962"/>
                    <a:pt x="70815" y="94245"/>
                    <a:pt x="70815" y="89679"/>
                  </a:cubicBezTo>
                  <a:cubicBezTo>
                    <a:pt x="68531" y="89679"/>
                    <a:pt x="63962" y="89679"/>
                    <a:pt x="61678" y="87396"/>
                  </a:cubicBezTo>
                  <a:cubicBezTo>
                    <a:pt x="59393" y="82830"/>
                    <a:pt x="57109" y="82830"/>
                    <a:pt x="54824" y="78264"/>
                  </a:cubicBezTo>
                  <a:cubicBezTo>
                    <a:pt x="50256" y="75981"/>
                    <a:pt x="61678" y="69132"/>
                    <a:pt x="54824" y="64566"/>
                  </a:cubicBezTo>
                  <a:cubicBezTo>
                    <a:pt x="54824" y="62283"/>
                    <a:pt x="50256" y="59999"/>
                    <a:pt x="52540" y="57716"/>
                  </a:cubicBezTo>
                  <a:cubicBezTo>
                    <a:pt x="52540" y="57716"/>
                    <a:pt x="54824" y="55433"/>
                    <a:pt x="52540" y="53150"/>
                  </a:cubicBezTo>
                  <a:cubicBezTo>
                    <a:pt x="50256" y="53150"/>
                    <a:pt x="47971" y="53150"/>
                    <a:pt x="47971" y="50867"/>
                  </a:cubicBezTo>
                  <a:cubicBezTo>
                    <a:pt x="47971" y="48584"/>
                    <a:pt x="47971" y="46301"/>
                    <a:pt x="47971" y="46301"/>
                  </a:cubicBezTo>
                  <a:cubicBezTo>
                    <a:pt x="47971" y="44018"/>
                    <a:pt x="50256" y="44018"/>
                    <a:pt x="50256" y="44018"/>
                  </a:cubicBezTo>
                  <a:cubicBezTo>
                    <a:pt x="50256" y="41735"/>
                    <a:pt x="43403" y="39452"/>
                    <a:pt x="43403" y="39452"/>
                  </a:cubicBezTo>
                  <a:cubicBezTo>
                    <a:pt x="41118" y="37169"/>
                    <a:pt x="41118" y="34886"/>
                    <a:pt x="38834" y="34886"/>
                  </a:cubicBezTo>
                  <a:cubicBezTo>
                    <a:pt x="36550" y="34886"/>
                    <a:pt x="34265" y="34886"/>
                    <a:pt x="31981" y="32603"/>
                  </a:cubicBezTo>
                  <a:cubicBezTo>
                    <a:pt x="27412" y="32603"/>
                    <a:pt x="22844" y="30320"/>
                    <a:pt x="18275" y="28037"/>
                  </a:cubicBezTo>
                  <a:cubicBezTo>
                    <a:pt x="13706" y="25754"/>
                    <a:pt x="6853" y="21188"/>
                    <a:pt x="0" y="21188"/>
                  </a:cubicBezTo>
                  <a:cubicBezTo>
                    <a:pt x="2284" y="18905"/>
                    <a:pt x="4569" y="21188"/>
                    <a:pt x="9138" y="18905"/>
                  </a:cubicBezTo>
                  <a:cubicBezTo>
                    <a:pt x="6853" y="16621"/>
                    <a:pt x="6853" y="16621"/>
                    <a:pt x="6853" y="16621"/>
                  </a:cubicBezTo>
                  <a:cubicBezTo>
                    <a:pt x="13706" y="12055"/>
                    <a:pt x="20559" y="18905"/>
                    <a:pt x="27412" y="23471"/>
                  </a:cubicBezTo>
                  <a:cubicBezTo>
                    <a:pt x="29697" y="28037"/>
                    <a:pt x="38834" y="30320"/>
                    <a:pt x="43403" y="28037"/>
                  </a:cubicBezTo>
                  <a:cubicBezTo>
                    <a:pt x="45687" y="28037"/>
                    <a:pt x="47971" y="28037"/>
                    <a:pt x="50256" y="25754"/>
                  </a:cubicBezTo>
                  <a:cubicBezTo>
                    <a:pt x="52540" y="23471"/>
                    <a:pt x="59393" y="25754"/>
                    <a:pt x="61678" y="28037"/>
                  </a:cubicBezTo>
                  <a:cubicBezTo>
                    <a:pt x="66246" y="28037"/>
                    <a:pt x="66246" y="30320"/>
                    <a:pt x="68531" y="30320"/>
                  </a:cubicBezTo>
                  <a:cubicBezTo>
                    <a:pt x="73099" y="28037"/>
                    <a:pt x="73099" y="23471"/>
                    <a:pt x="77668" y="23471"/>
                  </a:cubicBezTo>
                  <a:cubicBezTo>
                    <a:pt x="79952" y="23471"/>
                    <a:pt x="79952" y="23471"/>
                    <a:pt x="79952" y="21188"/>
                  </a:cubicBezTo>
                  <a:cubicBezTo>
                    <a:pt x="79952" y="16621"/>
                    <a:pt x="82237" y="12055"/>
                    <a:pt x="82237" y="7489"/>
                  </a:cubicBezTo>
                  <a:cubicBezTo>
                    <a:pt x="84521" y="5206"/>
                    <a:pt x="89090" y="640"/>
                    <a:pt x="93658" y="2923"/>
                  </a:cubicBezTo>
                  <a:cubicBezTo>
                    <a:pt x="98227" y="2923"/>
                    <a:pt x="102796" y="640"/>
                    <a:pt x="105080" y="640"/>
                  </a:cubicBezTo>
                  <a:close/>
                </a:path>
              </a:pathLst>
            </a:custGeom>
            <a:solidFill>
              <a:schemeClr val="accent2">
                <a:lumMod val="60000"/>
                <a:lumOff val="40000"/>
              </a:schemeClr>
            </a:solidFill>
            <a:ln w="3175">
              <a:solidFill>
                <a:schemeClr val="accent2">
                  <a:lumMod val="60000"/>
                  <a:lumOff val="40000"/>
                </a:schemeClr>
              </a:solidFill>
              <a:round/>
              <a:headEnd/>
              <a:tailEnd/>
            </a:ln>
          </p:spPr>
          <p:txBody>
            <a:bodyPr vert="horz" wrap="square" lIns="68455" tIns="34227" rIns="68455" bIns="3422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44" name="Uzbekistan">
              <a:extLst>
                <a:ext uri="{FF2B5EF4-FFF2-40B4-BE49-F238E27FC236}">
                  <a16:creationId xmlns:a16="http://schemas.microsoft.com/office/drawing/2014/main" id="{3FF15B9C-A7E9-88CF-692B-69BCC4157F56}"/>
                </a:ext>
              </a:extLst>
            </p:cNvPr>
            <p:cNvSpPr>
              <a:spLocks/>
            </p:cNvSpPr>
            <p:nvPr/>
          </p:nvSpPr>
          <p:spPr bwMode="auto">
            <a:xfrm>
              <a:off x="3255457" y="1370527"/>
              <a:ext cx="250065" cy="146843"/>
            </a:xfrm>
            <a:custGeom>
              <a:avLst/>
              <a:gdLst/>
              <a:ahLst/>
              <a:cxnLst>
                <a:cxn ang="0">
                  <a:pos x="21" y="1"/>
                </a:cxn>
                <a:cxn ang="0">
                  <a:pos x="22" y="13"/>
                </a:cxn>
                <a:cxn ang="0">
                  <a:pos x="28" y="14"/>
                </a:cxn>
                <a:cxn ang="0">
                  <a:pos x="30" y="18"/>
                </a:cxn>
                <a:cxn ang="0">
                  <a:pos x="38" y="17"/>
                </a:cxn>
                <a:cxn ang="0">
                  <a:pos x="52" y="20"/>
                </a:cxn>
                <a:cxn ang="0">
                  <a:pos x="62" y="22"/>
                </a:cxn>
                <a:cxn ang="0">
                  <a:pos x="80" y="21"/>
                </a:cxn>
                <a:cxn ang="0">
                  <a:pos x="89" y="28"/>
                </a:cxn>
                <a:cxn ang="0">
                  <a:pos x="95" y="38"/>
                </a:cxn>
                <a:cxn ang="0">
                  <a:pos x="101" y="46"/>
                </a:cxn>
                <a:cxn ang="0">
                  <a:pos x="115" y="51"/>
                </a:cxn>
                <a:cxn ang="0">
                  <a:pos x="120" y="50"/>
                </a:cxn>
                <a:cxn ang="0">
                  <a:pos x="122" y="45"/>
                </a:cxn>
                <a:cxn ang="0">
                  <a:pos x="130" y="40"/>
                </a:cxn>
                <a:cxn ang="0">
                  <a:pos x="135" y="37"/>
                </a:cxn>
                <a:cxn ang="0">
                  <a:pos x="131" y="44"/>
                </a:cxn>
                <a:cxn ang="0">
                  <a:pos x="137" y="45"/>
                </a:cxn>
                <a:cxn ang="0">
                  <a:pos x="143" y="46"/>
                </a:cxn>
                <a:cxn ang="0">
                  <a:pos x="144" y="43"/>
                </a:cxn>
                <a:cxn ang="0">
                  <a:pos x="150" y="49"/>
                </a:cxn>
                <a:cxn ang="0">
                  <a:pos x="159" y="51"/>
                </a:cxn>
                <a:cxn ang="0">
                  <a:pos x="153" y="54"/>
                </a:cxn>
                <a:cxn ang="0">
                  <a:pos x="151" y="57"/>
                </a:cxn>
                <a:cxn ang="0">
                  <a:pos x="147" y="58"/>
                </a:cxn>
                <a:cxn ang="0">
                  <a:pos x="142" y="57"/>
                </a:cxn>
                <a:cxn ang="0">
                  <a:pos x="136" y="55"/>
                </a:cxn>
                <a:cxn ang="0">
                  <a:pos x="138" y="52"/>
                </a:cxn>
                <a:cxn ang="0">
                  <a:pos x="129" y="53"/>
                </a:cxn>
                <a:cxn ang="0">
                  <a:pos x="127" y="55"/>
                </a:cxn>
                <a:cxn ang="0">
                  <a:pos x="121" y="58"/>
                </a:cxn>
                <a:cxn ang="0">
                  <a:pos x="123" y="59"/>
                </a:cxn>
                <a:cxn ang="0">
                  <a:pos x="124" y="61"/>
                </a:cxn>
                <a:cxn ang="0">
                  <a:pos x="121" y="65"/>
                </a:cxn>
                <a:cxn ang="0">
                  <a:pos x="113" y="65"/>
                </a:cxn>
                <a:cxn ang="0">
                  <a:pos x="115" y="69"/>
                </a:cxn>
                <a:cxn ang="0">
                  <a:pos x="120" y="71"/>
                </a:cxn>
                <a:cxn ang="0">
                  <a:pos x="124" y="79"/>
                </a:cxn>
                <a:cxn ang="0">
                  <a:pos x="122" y="91"/>
                </a:cxn>
                <a:cxn ang="0">
                  <a:pos x="116" y="89"/>
                </a:cxn>
                <a:cxn ang="0">
                  <a:pos x="110" y="88"/>
                </a:cxn>
                <a:cxn ang="0">
                  <a:pos x="109" y="81"/>
                </a:cxn>
                <a:cxn ang="0">
                  <a:pos x="100" y="79"/>
                </a:cxn>
                <a:cxn ang="0">
                  <a:pos x="89" y="72"/>
                </a:cxn>
                <a:cxn ang="0">
                  <a:pos x="78" y="66"/>
                </a:cxn>
                <a:cxn ang="0">
                  <a:pos x="62" y="50"/>
                </a:cxn>
                <a:cxn ang="0">
                  <a:pos x="56" y="46"/>
                </a:cxn>
                <a:cxn ang="0">
                  <a:pos x="49" y="47"/>
                </a:cxn>
                <a:cxn ang="0">
                  <a:pos x="44" y="45"/>
                </a:cxn>
                <a:cxn ang="0">
                  <a:pos x="43" y="41"/>
                </a:cxn>
                <a:cxn ang="0">
                  <a:pos x="42" y="38"/>
                </a:cxn>
                <a:cxn ang="0">
                  <a:pos x="35" y="35"/>
                </a:cxn>
                <a:cxn ang="0">
                  <a:pos x="28" y="31"/>
                </a:cxn>
                <a:cxn ang="0">
                  <a:pos x="28" y="36"/>
                </a:cxn>
                <a:cxn ang="0">
                  <a:pos x="23" y="34"/>
                </a:cxn>
                <a:cxn ang="0">
                  <a:pos x="17" y="43"/>
                </a:cxn>
                <a:cxn ang="0">
                  <a:pos x="15" y="46"/>
                </a:cxn>
                <a:cxn ang="0">
                  <a:pos x="0" y="7"/>
                </a:cxn>
              </a:cxnLst>
              <a:rect l="0" t="0" r="r" b="b"/>
              <a:pathLst>
                <a:path w="159" h="91">
                  <a:moveTo>
                    <a:pt x="0" y="7"/>
                  </a:moveTo>
                  <a:cubicBezTo>
                    <a:pt x="21" y="1"/>
                    <a:pt x="21" y="1"/>
                    <a:pt x="21" y="1"/>
                  </a:cubicBezTo>
                  <a:cubicBezTo>
                    <a:pt x="23" y="0"/>
                    <a:pt x="18" y="7"/>
                    <a:pt x="21" y="10"/>
                  </a:cubicBezTo>
                  <a:cubicBezTo>
                    <a:pt x="21" y="10"/>
                    <a:pt x="21" y="12"/>
                    <a:pt x="22" y="13"/>
                  </a:cubicBezTo>
                  <a:cubicBezTo>
                    <a:pt x="22" y="14"/>
                    <a:pt x="23" y="14"/>
                    <a:pt x="23" y="14"/>
                  </a:cubicBezTo>
                  <a:cubicBezTo>
                    <a:pt x="28" y="14"/>
                    <a:pt x="28" y="14"/>
                    <a:pt x="28" y="14"/>
                  </a:cubicBezTo>
                  <a:cubicBezTo>
                    <a:pt x="28" y="14"/>
                    <a:pt x="28" y="15"/>
                    <a:pt x="29" y="15"/>
                  </a:cubicBezTo>
                  <a:cubicBezTo>
                    <a:pt x="29" y="16"/>
                    <a:pt x="30" y="16"/>
                    <a:pt x="30" y="18"/>
                  </a:cubicBezTo>
                  <a:cubicBezTo>
                    <a:pt x="30" y="18"/>
                    <a:pt x="31" y="17"/>
                    <a:pt x="31" y="17"/>
                  </a:cubicBezTo>
                  <a:cubicBezTo>
                    <a:pt x="31" y="16"/>
                    <a:pt x="38" y="17"/>
                    <a:pt x="38" y="17"/>
                  </a:cubicBezTo>
                  <a:cubicBezTo>
                    <a:pt x="39" y="15"/>
                    <a:pt x="41" y="13"/>
                    <a:pt x="41" y="11"/>
                  </a:cubicBezTo>
                  <a:cubicBezTo>
                    <a:pt x="43" y="11"/>
                    <a:pt x="47" y="15"/>
                    <a:pt x="52" y="20"/>
                  </a:cubicBezTo>
                  <a:cubicBezTo>
                    <a:pt x="53" y="21"/>
                    <a:pt x="54" y="22"/>
                    <a:pt x="56" y="23"/>
                  </a:cubicBezTo>
                  <a:cubicBezTo>
                    <a:pt x="57" y="23"/>
                    <a:pt x="60" y="22"/>
                    <a:pt x="62" y="22"/>
                  </a:cubicBezTo>
                  <a:cubicBezTo>
                    <a:pt x="67" y="21"/>
                    <a:pt x="72" y="23"/>
                    <a:pt x="77" y="22"/>
                  </a:cubicBezTo>
                  <a:cubicBezTo>
                    <a:pt x="78" y="22"/>
                    <a:pt x="79" y="20"/>
                    <a:pt x="80" y="21"/>
                  </a:cubicBezTo>
                  <a:cubicBezTo>
                    <a:pt x="82" y="21"/>
                    <a:pt x="83" y="23"/>
                    <a:pt x="85" y="24"/>
                  </a:cubicBezTo>
                  <a:cubicBezTo>
                    <a:pt x="87" y="25"/>
                    <a:pt x="87" y="26"/>
                    <a:pt x="89" y="28"/>
                  </a:cubicBezTo>
                  <a:cubicBezTo>
                    <a:pt x="90" y="29"/>
                    <a:pt x="91" y="29"/>
                    <a:pt x="92" y="28"/>
                  </a:cubicBezTo>
                  <a:cubicBezTo>
                    <a:pt x="93" y="31"/>
                    <a:pt x="92" y="37"/>
                    <a:pt x="95" y="38"/>
                  </a:cubicBezTo>
                  <a:cubicBezTo>
                    <a:pt x="96" y="39"/>
                    <a:pt x="98" y="38"/>
                    <a:pt x="99" y="40"/>
                  </a:cubicBezTo>
                  <a:cubicBezTo>
                    <a:pt x="100" y="42"/>
                    <a:pt x="100" y="44"/>
                    <a:pt x="101" y="46"/>
                  </a:cubicBezTo>
                  <a:cubicBezTo>
                    <a:pt x="103" y="50"/>
                    <a:pt x="109" y="47"/>
                    <a:pt x="112" y="47"/>
                  </a:cubicBezTo>
                  <a:cubicBezTo>
                    <a:pt x="114" y="47"/>
                    <a:pt x="115" y="49"/>
                    <a:pt x="115" y="51"/>
                  </a:cubicBezTo>
                  <a:cubicBezTo>
                    <a:pt x="115" y="53"/>
                    <a:pt x="119" y="53"/>
                    <a:pt x="120" y="53"/>
                  </a:cubicBezTo>
                  <a:cubicBezTo>
                    <a:pt x="120" y="52"/>
                    <a:pt x="119" y="51"/>
                    <a:pt x="120" y="50"/>
                  </a:cubicBezTo>
                  <a:cubicBezTo>
                    <a:pt x="120" y="49"/>
                    <a:pt x="120" y="48"/>
                    <a:pt x="122" y="47"/>
                  </a:cubicBezTo>
                  <a:cubicBezTo>
                    <a:pt x="123" y="47"/>
                    <a:pt x="122" y="46"/>
                    <a:pt x="122" y="45"/>
                  </a:cubicBezTo>
                  <a:cubicBezTo>
                    <a:pt x="123" y="44"/>
                    <a:pt x="125" y="43"/>
                    <a:pt x="126" y="42"/>
                  </a:cubicBezTo>
                  <a:cubicBezTo>
                    <a:pt x="128" y="41"/>
                    <a:pt x="129" y="41"/>
                    <a:pt x="130" y="40"/>
                  </a:cubicBezTo>
                  <a:cubicBezTo>
                    <a:pt x="131" y="39"/>
                    <a:pt x="131" y="38"/>
                    <a:pt x="132" y="38"/>
                  </a:cubicBezTo>
                  <a:cubicBezTo>
                    <a:pt x="133" y="37"/>
                    <a:pt x="133" y="38"/>
                    <a:pt x="135" y="37"/>
                  </a:cubicBezTo>
                  <a:cubicBezTo>
                    <a:pt x="136" y="36"/>
                    <a:pt x="137" y="36"/>
                    <a:pt x="139" y="36"/>
                  </a:cubicBezTo>
                  <a:cubicBezTo>
                    <a:pt x="137" y="38"/>
                    <a:pt x="132" y="41"/>
                    <a:pt x="131" y="44"/>
                  </a:cubicBezTo>
                  <a:cubicBezTo>
                    <a:pt x="132" y="44"/>
                    <a:pt x="133" y="45"/>
                    <a:pt x="134" y="45"/>
                  </a:cubicBezTo>
                  <a:cubicBezTo>
                    <a:pt x="135" y="45"/>
                    <a:pt x="136" y="44"/>
                    <a:pt x="137" y="45"/>
                  </a:cubicBezTo>
                  <a:cubicBezTo>
                    <a:pt x="138" y="48"/>
                    <a:pt x="141" y="46"/>
                    <a:pt x="143" y="48"/>
                  </a:cubicBezTo>
                  <a:cubicBezTo>
                    <a:pt x="143" y="47"/>
                    <a:pt x="143" y="47"/>
                    <a:pt x="143" y="46"/>
                  </a:cubicBezTo>
                  <a:cubicBezTo>
                    <a:pt x="143" y="46"/>
                    <a:pt x="144" y="46"/>
                    <a:pt x="144" y="46"/>
                  </a:cubicBezTo>
                  <a:cubicBezTo>
                    <a:pt x="144" y="45"/>
                    <a:pt x="144" y="44"/>
                    <a:pt x="144" y="43"/>
                  </a:cubicBezTo>
                  <a:cubicBezTo>
                    <a:pt x="145" y="45"/>
                    <a:pt x="146" y="45"/>
                    <a:pt x="147" y="46"/>
                  </a:cubicBezTo>
                  <a:cubicBezTo>
                    <a:pt x="148" y="48"/>
                    <a:pt x="150" y="47"/>
                    <a:pt x="150" y="49"/>
                  </a:cubicBezTo>
                  <a:cubicBezTo>
                    <a:pt x="152" y="48"/>
                    <a:pt x="153" y="50"/>
                    <a:pt x="155" y="51"/>
                  </a:cubicBezTo>
                  <a:cubicBezTo>
                    <a:pt x="157" y="50"/>
                    <a:pt x="158" y="50"/>
                    <a:pt x="159" y="51"/>
                  </a:cubicBezTo>
                  <a:cubicBezTo>
                    <a:pt x="159" y="52"/>
                    <a:pt x="157" y="52"/>
                    <a:pt x="157" y="53"/>
                  </a:cubicBezTo>
                  <a:cubicBezTo>
                    <a:pt x="156" y="54"/>
                    <a:pt x="156" y="55"/>
                    <a:pt x="153" y="54"/>
                  </a:cubicBezTo>
                  <a:cubicBezTo>
                    <a:pt x="153" y="54"/>
                    <a:pt x="154" y="55"/>
                    <a:pt x="154" y="56"/>
                  </a:cubicBezTo>
                  <a:cubicBezTo>
                    <a:pt x="154" y="56"/>
                    <a:pt x="148" y="56"/>
                    <a:pt x="151" y="57"/>
                  </a:cubicBezTo>
                  <a:cubicBezTo>
                    <a:pt x="150" y="57"/>
                    <a:pt x="149" y="58"/>
                    <a:pt x="149" y="58"/>
                  </a:cubicBezTo>
                  <a:cubicBezTo>
                    <a:pt x="148" y="58"/>
                    <a:pt x="148" y="57"/>
                    <a:pt x="147" y="58"/>
                  </a:cubicBezTo>
                  <a:cubicBezTo>
                    <a:pt x="147" y="58"/>
                    <a:pt x="146" y="57"/>
                    <a:pt x="145" y="57"/>
                  </a:cubicBezTo>
                  <a:cubicBezTo>
                    <a:pt x="144" y="56"/>
                    <a:pt x="143" y="57"/>
                    <a:pt x="142" y="57"/>
                  </a:cubicBezTo>
                  <a:cubicBezTo>
                    <a:pt x="141" y="58"/>
                    <a:pt x="141" y="58"/>
                    <a:pt x="140" y="58"/>
                  </a:cubicBezTo>
                  <a:cubicBezTo>
                    <a:pt x="138" y="58"/>
                    <a:pt x="138" y="56"/>
                    <a:pt x="136" y="55"/>
                  </a:cubicBezTo>
                  <a:cubicBezTo>
                    <a:pt x="135" y="55"/>
                    <a:pt x="138" y="54"/>
                    <a:pt x="138" y="53"/>
                  </a:cubicBezTo>
                  <a:cubicBezTo>
                    <a:pt x="138" y="53"/>
                    <a:pt x="138" y="52"/>
                    <a:pt x="138" y="52"/>
                  </a:cubicBezTo>
                  <a:cubicBezTo>
                    <a:pt x="137" y="51"/>
                    <a:pt x="136" y="50"/>
                    <a:pt x="135" y="49"/>
                  </a:cubicBezTo>
                  <a:cubicBezTo>
                    <a:pt x="135" y="50"/>
                    <a:pt x="131" y="54"/>
                    <a:pt x="129" y="53"/>
                  </a:cubicBezTo>
                  <a:cubicBezTo>
                    <a:pt x="128" y="52"/>
                    <a:pt x="126" y="51"/>
                    <a:pt x="126" y="53"/>
                  </a:cubicBezTo>
                  <a:cubicBezTo>
                    <a:pt x="126" y="53"/>
                    <a:pt x="126" y="55"/>
                    <a:pt x="127" y="55"/>
                  </a:cubicBezTo>
                  <a:cubicBezTo>
                    <a:pt x="127" y="56"/>
                    <a:pt x="127" y="57"/>
                    <a:pt x="127" y="58"/>
                  </a:cubicBezTo>
                  <a:cubicBezTo>
                    <a:pt x="126" y="59"/>
                    <a:pt x="123" y="57"/>
                    <a:pt x="121" y="58"/>
                  </a:cubicBezTo>
                  <a:cubicBezTo>
                    <a:pt x="122" y="59"/>
                    <a:pt x="124" y="58"/>
                    <a:pt x="124" y="59"/>
                  </a:cubicBezTo>
                  <a:cubicBezTo>
                    <a:pt x="124" y="59"/>
                    <a:pt x="124" y="59"/>
                    <a:pt x="123" y="59"/>
                  </a:cubicBezTo>
                  <a:cubicBezTo>
                    <a:pt x="124" y="60"/>
                    <a:pt x="124" y="60"/>
                    <a:pt x="124" y="60"/>
                  </a:cubicBezTo>
                  <a:cubicBezTo>
                    <a:pt x="124" y="61"/>
                    <a:pt x="124" y="61"/>
                    <a:pt x="124" y="61"/>
                  </a:cubicBezTo>
                  <a:cubicBezTo>
                    <a:pt x="123" y="61"/>
                    <a:pt x="122" y="61"/>
                    <a:pt x="123" y="62"/>
                  </a:cubicBezTo>
                  <a:cubicBezTo>
                    <a:pt x="123" y="63"/>
                    <a:pt x="123" y="64"/>
                    <a:pt x="121" y="65"/>
                  </a:cubicBezTo>
                  <a:cubicBezTo>
                    <a:pt x="120" y="65"/>
                    <a:pt x="116" y="64"/>
                    <a:pt x="115" y="64"/>
                  </a:cubicBezTo>
                  <a:cubicBezTo>
                    <a:pt x="114" y="64"/>
                    <a:pt x="114" y="64"/>
                    <a:pt x="113" y="65"/>
                  </a:cubicBezTo>
                  <a:cubicBezTo>
                    <a:pt x="113" y="67"/>
                    <a:pt x="113" y="67"/>
                    <a:pt x="113" y="68"/>
                  </a:cubicBezTo>
                  <a:cubicBezTo>
                    <a:pt x="113" y="69"/>
                    <a:pt x="114" y="69"/>
                    <a:pt x="115" y="69"/>
                  </a:cubicBezTo>
                  <a:cubicBezTo>
                    <a:pt x="116" y="70"/>
                    <a:pt x="115" y="70"/>
                    <a:pt x="117" y="71"/>
                  </a:cubicBezTo>
                  <a:cubicBezTo>
                    <a:pt x="118" y="71"/>
                    <a:pt x="119" y="70"/>
                    <a:pt x="120" y="71"/>
                  </a:cubicBezTo>
                  <a:cubicBezTo>
                    <a:pt x="121" y="71"/>
                    <a:pt x="121" y="75"/>
                    <a:pt x="121" y="76"/>
                  </a:cubicBezTo>
                  <a:cubicBezTo>
                    <a:pt x="122" y="78"/>
                    <a:pt x="123" y="78"/>
                    <a:pt x="124" y="79"/>
                  </a:cubicBezTo>
                  <a:cubicBezTo>
                    <a:pt x="125" y="81"/>
                    <a:pt x="123" y="83"/>
                    <a:pt x="123" y="84"/>
                  </a:cubicBezTo>
                  <a:cubicBezTo>
                    <a:pt x="121" y="85"/>
                    <a:pt x="120" y="88"/>
                    <a:pt x="122" y="91"/>
                  </a:cubicBezTo>
                  <a:cubicBezTo>
                    <a:pt x="120" y="89"/>
                    <a:pt x="120" y="90"/>
                    <a:pt x="119" y="90"/>
                  </a:cubicBezTo>
                  <a:cubicBezTo>
                    <a:pt x="117" y="90"/>
                    <a:pt x="117" y="90"/>
                    <a:pt x="116" y="89"/>
                  </a:cubicBezTo>
                  <a:cubicBezTo>
                    <a:pt x="115" y="89"/>
                    <a:pt x="114" y="88"/>
                    <a:pt x="114" y="88"/>
                  </a:cubicBezTo>
                  <a:cubicBezTo>
                    <a:pt x="113" y="88"/>
                    <a:pt x="111" y="88"/>
                    <a:pt x="110" y="88"/>
                  </a:cubicBezTo>
                  <a:cubicBezTo>
                    <a:pt x="109" y="87"/>
                    <a:pt x="110" y="86"/>
                    <a:pt x="109" y="85"/>
                  </a:cubicBezTo>
                  <a:cubicBezTo>
                    <a:pt x="109" y="84"/>
                    <a:pt x="111" y="82"/>
                    <a:pt x="109" y="81"/>
                  </a:cubicBezTo>
                  <a:cubicBezTo>
                    <a:pt x="107" y="81"/>
                    <a:pt x="106" y="80"/>
                    <a:pt x="105" y="80"/>
                  </a:cubicBezTo>
                  <a:cubicBezTo>
                    <a:pt x="103" y="79"/>
                    <a:pt x="102" y="79"/>
                    <a:pt x="100" y="79"/>
                  </a:cubicBezTo>
                  <a:cubicBezTo>
                    <a:pt x="98" y="78"/>
                    <a:pt x="96" y="76"/>
                    <a:pt x="94" y="75"/>
                  </a:cubicBezTo>
                  <a:cubicBezTo>
                    <a:pt x="92" y="74"/>
                    <a:pt x="91" y="74"/>
                    <a:pt x="89" y="72"/>
                  </a:cubicBezTo>
                  <a:cubicBezTo>
                    <a:pt x="87" y="71"/>
                    <a:pt x="86" y="71"/>
                    <a:pt x="84" y="70"/>
                  </a:cubicBezTo>
                  <a:cubicBezTo>
                    <a:pt x="82" y="69"/>
                    <a:pt x="80" y="68"/>
                    <a:pt x="78" y="66"/>
                  </a:cubicBezTo>
                  <a:cubicBezTo>
                    <a:pt x="75" y="64"/>
                    <a:pt x="69" y="62"/>
                    <a:pt x="67" y="59"/>
                  </a:cubicBezTo>
                  <a:cubicBezTo>
                    <a:pt x="66" y="55"/>
                    <a:pt x="64" y="54"/>
                    <a:pt x="62" y="50"/>
                  </a:cubicBezTo>
                  <a:cubicBezTo>
                    <a:pt x="61" y="49"/>
                    <a:pt x="60" y="47"/>
                    <a:pt x="58" y="47"/>
                  </a:cubicBezTo>
                  <a:cubicBezTo>
                    <a:pt x="58" y="46"/>
                    <a:pt x="57" y="46"/>
                    <a:pt x="56" y="46"/>
                  </a:cubicBezTo>
                  <a:cubicBezTo>
                    <a:pt x="55" y="46"/>
                    <a:pt x="56" y="47"/>
                    <a:pt x="55" y="47"/>
                  </a:cubicBezTo>
                  <a:cubicBezTo>
                    <a:pt x="53" y="48"/>
                    <a:pt x="52" y="46"/>
                    <a:pt x="49" y="47"/>
                  </a:cubicBezTo>
                  <a:cubicBezTo>
                    <a:pt x="48" y="47"/>
                    <a:pt x="46" y="46"/>
                    <a:pt x="45" y="46"/>
                  </a:cubicBezTo>
                  <a:cubicBezTo>
                    <a:pt x="45" y="45"/>
                    <a:pt x="44" y="45"/>
                    <a:pt x="44" y="45"/>
                  </a:cubicBezTo>
                  <a:cubicBezTo>
                    <a:pt x="44" y="44"/>
                    <a:pt x="44" y="43"/>
                    <a:pt x="44" y="43"/>
                  </a:cubicBezTo>
                  <a:cubicBezTo>
                    <a:pt x="44" y="42"/>
                    <a:pt x="43" y="41"/>
                    <a:pt x="43" y="41"/>
                  </a:cubicBezTo>
                  <a:cubicBezTo>
                    <a:pt x="43" y="41"/>
                    <a:pt x="44" y="41"/>
                    <a:pt x="44" y="41"/>
                  </a:cubicBezTo>
                  <a:cubicBezTo>
                    <a:pt x="44" y="39"/>
                    <a:pt x="42" y="40"/>
                    <a:pt x="42" y="38"/>
                  </a:cubicBezTo>
                  <a:cubicBezTo>
                    <a:pt x="42" y="36"/>
                    <a:pt x="40" y="35"/>
                    <a:pt x="39" y="35"/>
                  </a:cubicBezTo>
                  <a:cubicBezTo>
                    <a:pt x="38" y="35"/>
                    <a:pt x="35" y="36"/>
                    <a:pt x="35" y="35"/>
                  </a:cubicBezTo>
                  <a:cubicBezTo>
                    <a:pt x="34" y="33"/>
                    <a:pt x="32" y="33"/>
                    <a:pt x="31" y="33"/>
                  </a:cubicBezTo>
                  <a:cubicBezTo>
                    <a:pt x="30" y="32"/>
                    <a:pt x="29" y="30"/>
                    <a:pt x="28" y="31"/>
                  </a:cubicBezTo>
                  <a:cubicBezTo>
                    <a:pt x="27" y="32"/>
                    <a:pt x="27" y="32"/>
                    <a:pt x="25" y="32"/>
                  </a:cubicBezTo>
                  <a:cubicBezTo>
                    <a:pt x="23" y="32"/>
                    <a:pt x="28" y="35"/>
                    <a:pt x="28" y="36"/>
                  </a:cubicBezTo>
                  <a:cubicBezTo>
                    <a:pt x="27" y="35"/>
                    <a:pt x="27" y="35"/>
                    <a:pt x="26" y="34"/>
                  </a:cubicBezTo>
                  <a:cubicBezTo>
                    <a:pt x="25" y="34"/>
                    <a:pt x="24" y="33"/>
                    <a:pt x="23" y="34"/>
                  </a:cubicBezTo>
                  <a:cubicBezTo>
                    <a:pt x="23" y="38"/>
                    <a:pt x="20" y="36"/>
                    <a:pt x="18" y="38"/>
                  </a:cubicBezTo>
                  <a:cubicBezTo>
                    <a:pt x="16" y="40"/>
                    <a:pt x="16" y="40"/>
                    <a:pt x="17" y="43"/>
                  </a:cubicBezTo>
                  <a:cubicBezTo>
                    <a:pt x="18" y="44"/>
                    <a:pt x="19" y="45"/>
                    <a:pt x="18" y="46"/>
                  </a:cubicBezTo>
                  <a:cubicBezTo>
                    <a:pt x="18" y="47"/>
                    <a:pt x="15" y="46"/>
                    <a:pt x="15" y="46"/>
                  </a:cubicBezTo>
                  <a:cubicBezTo>
                    <a:pt x="12" y="46"/>
                    <a:pt x="10" y="46"/>
                    <a:pt x="9" y="46"/>
                  </a:cubicBezTo>
                  <a:cubicBezTo>
                    <a:pt x="0" y="7"/>
                    <a:pt x="0" y="7"/>
                    <a:pt x="0" y="7"/>
                  </a:cubicBezTo>
                </a:path>
              </a:pathLst>
            </a:custGeom>
            <a:solidFill>
              <a:schemeClr val="accent2">
                <a:lumMod val="60000"/>
                <a:lumOff val="40000"/>
              </a:schemeClr>
            </a:solidFill>
            <a:ln w="3175">
              <a:solidFill>
                <a:schemeClr val="accent2">
                  <a:lumMod val="60000"/>
                  <a:lumOff val="4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45" name="Azerbaijan">
              <a:extLst>
                <a:ext uri="{FF2B5EF4-FFF2-40B4-BE49-F238E27FC236}">
                  <a16:creationId xmlns:a16="http://schemas.microsoft.com/office/drawing/2014/main" id="{8597372B-0717-F888-58DC-DA061D7D6DF7}"/>
                </a:ext>
              </a:extLst>
            </p:cNvPr>
            <p:cNvSpPr>
              <a:spLocks/>
            </p:cNvSpPr>
            <p:nvPr/>
          </p:nvSpPr>
          <p:spPr bwMode="auto">
            <a:xfrm>
              <a:off x="3104850" y="1479416"/>
              <a:ext cx="70275" cy="56375"/>
            </a:xfrm>
            <a:custGeom>
              <a:avLst/>
              <a:gdLst>
                <a:gd name="connsiteX0" fmla="*/ 5438 w 108347"/>
                <a:gd name="connsiteY0" fmla="*/ 54085 h 86916"/>
                <a:gd name="connsiteX1" fmla="*/ 9159 w 108347"/>
                <a:gd name="connsiteY1" fmla="*/ 56912 h 86916"/>
                <a:gd name="connsiteX2" fmla="*/ 16028 w 108347"/>
                <a:gd name="connsiteY2" fmla="*/ 59175 h 86916"/>
                <a:gd name="connsiteX3" fmla="*/ 20607 w 108347"/>
                <a:gd name="connsiteY3" fmla="*/ 59175 h 86916"/>
                <a:gd name="connsiteX4" fmla="*/ 25187 w 108347"/>
                <a:gd name="connsiteY4" fmla="*/ 65961 h 86916"/>
                <a:gd name="connsiteX5" fmla="*/ 29766 w 108347"/>
                <a:gd name="connsiteY5" fmla="*/ 75010 h 86916"/>
                <a:gd name="connsiteX6" fmla="*/ 13738 w 108347"/>
                <a:gd name="connsiteY6" fmla="*/ 68223 h 86916"/>
                <a:gd name="connsiteX7" fmla="*/ 0 w 108347"/>
                <a:gd name="connsiteY7" fmla="*/ 54650 h 86916"/>
                <a:gd name="connsiteX8" fmla="*/ 5438 w 108347"/>
                <a:gd name="connsiteY8" fmla="*/ 54085 h 86916"/>
                <a:gd name="connsiteX9" fmla="*/ 22572 w 108347"/>
                <a:gd name="connsiteY9" fmla="*/ 0 h 86916"/>
                <a:gd name="connsiteX10" fmla="*/ 36116 w 108347"/>
                <a:gd name="connsiteY10" fmla="*/ 6862 h 86916"/>
                <a:gd name="connsiteX11" fmla="*/ 40630 w 108347"/>
                <a:gd name="connsiteY11" fmla="*/ 11436 h 86916"/>
                <a:gd name="connsiteX12" fmla="*/ 45145 w 108347"/>
                <a:gd name="connsiteY12" fmla="*/ 16011 h 86916"/>
                <a:gd name="connsiteX13" fmla="*/ 54174 w 108347"/>
                <a:gd name="connsiteY13" fmla="*/ 18298 h 86916"/>
                <a:gd name="connsiteX14" fmla="*/ 58688 w 108347"/>
                <a:gd name="connsiteY14" fmla="*/ 13724 h 86916"/>
                <a:gd name="connsiteX15" fmla="*/ 65460 w 108347"/>
                <a:gd name="connsiteY15" fmla="*/ 2287 h 86916"/>
                <a:gd name="connsiteX16" fmla="*/ 76746 w 108347"/>
                <a:gd name="connsiteY16" fmla="*/ 13724 h 86916"/>
                <a:gd name="connsiteX17" fmla="*/ 88032 w 108347"/>
                <a:gd name="connsiteY17" fmla="*/ 27447 h 86916"/>
                <a:gd name="connsiteX18" fmla="*/ 90289 w 108347"/>
                <a:gd name="connsiteY18" fmla="*/ 27447 h 86916"/>
                <a:gd name="connsiteX19" fmla="*/ 90289 w 108347"/>
                <a:gd name="connsiteY19" fmla="*/ 29734 h 86916"/>
                <a:gd name="connsiteX20" fmla="*/ 97061 w 108347"/>
                <a:gd name="connsiteY20" fmla="*/ 34309 h 86916"/>
                <a:gd name="connsiteX21" fmla="*/ 108347 w 108347"/>
                <a:gd name="connsiteY21" fmla="*/ 43458 h 86916"/>
                <a:gd name="connsiteX22" fmla="*/ 97061 w 108347"/>
                <a:gd name="connsiteY22" fmla="*/ 38884 h 86916"/>
                <a:gd name="connsiteX23" fmla="*/ 90289 w 108347"/>
                <a:gd name="connsiteY23" fmla="*/ 50320 h 86916"/>
                <a:gd name="connsiteX24" fmla="*/ 92547 w 108347"/>
                <a:gd name="connsiteY24" fmla="*/ 61756 h 86916"/>
                <a:gd name="connsiteX25" fmla="*/ 90289 w 108347"/>
                <a:gd name="connsiteY25" fmla="*/ 68618 h 86916"/>
                <a:gd name="connsiteX26" fmla="*/ 88032 w 108347"/>
                <a:gd name="connsiteY26" fmla="*/ 70905 h 86916"/>
                <a:gd name="connsiteX27" fmla="*/ 83518 w 108347"/>
                <a:gd name="connsiteY27" fmla="*/ 70905 h 86916"/>
                <a:gd name="connsiteX28" fmla="*/ 85775 w 108347"/>
                <a:gd name="connsiteY28" fmla="*/ 86916 h 86916"/>
                <a:gd name="connsiteX29" fmla="*/ 79003 w 108347"/>
                <a:gd name="connsiteY29" fmla="*/ 86916 h 86916"/>
                <a:gd name="connsiteX30" fmla="*/ 67717 w 108347"/>
                <a:gd name="connsiteY30" fmla="*/ 75480 h 86916"/>
                <a:gd name="connsiteX31" fmla="*/ 72231 w 108347"/>
                <a:gd name="connsiteY31" fmla="*/ 73192 h 86916"/>
                <a:gd name="connsiteX32" fmla="*/ 72231 w 108347"/>
                <a:gd name="connsiteY32" fmla="*/ 61756 h 86916"/>
                <a:gd name="connsiteX33" fmla="*/ 56431 w 108347"/>
                <a:gd name="connsiteY33" fmla="*/ 57182 h 86916"/>
                <a:gd name="connsiteX34" fmla="*/ 47402 w 108347"/>
                <a:gd name="connsiteY34" fmla="*/ 66331 h 86916"/>
                <a:gd name="connsiteX35" fmla="*/ 38373 w 108347"/>
                <a:gd name="connsiteY35" fmla="*/ 75480 h 86916"/>
                <a:gd name="connsiteX36" fmla="*/ 38373 w 108347"/>
                <a:gd name="connsiteY36" fmla="*/ 66331 h 86916"/>
                <a:gd name="connsiteX37" fmla="*/ 33859 w 108347"/>
                <a:gd name="connsiteY37" fmla="*/ 61756 h 86916"/>
                <a:gd name="connsiteX38" fmla="*/ 33859 w 108347"/>
                <a:gd name="connsiteY38" fmla="*/ 59469 h 86916"/>
                <a:gd name="connsiteX39" fmla="*/ 29344 w 108347"/>
                <a:gd name="connsiteY39" fmla="*/ 57182 h 86916"/>
                <a:gd name="connsiteX40" fmla="*/ 15801 w 108347"/>
                <a:gd name="connsiteY40" fmla="*/ 48033 h 86916"/>
                <a:gd name="connsiteX41" fmla="*/ 22572 w 108347"/>
                <a:gd name="connsiteY41" fmla="*/ 45745 h 86916"/>
                <a:gd name="connsiteX42" fmla="*/ 18058 w 108347"/>
                <a:gd name="connsiteY42" fmla="*/ 38884 h 86916"/>
                <a:gd name="connsiteX43" fmla="*/ 11286 w 108347"/>
                <a:gd name="connsiteY43" fmla="*/ 27447 h 86916"/>
                <a:gd name="connsiteX44" fmla="*/ 0 w 108347"/>
                <a:gd name="connsiteY44" fmla="*/ 20585 h 86916"/>
                <a:gd name="connsiteX45" fmla="*/ 0 w 108347"/>
                <a:gd name="connsiteY45" fmla="*/ 16011 h 86916"/>
                <a:gd name="connsiteX46" fmla="*/ 13544 w 108347"/>
                <a:gd name="connsiteY46" fmla="*/ 16011 h 86916"/>
                <a:gd name="connsiteX47" fmla="*/ 22572 w 108347"/>
                <a:gd name="connsiteY47" fmla="*/ 18298 h 86916"/>
                <a:gd name="connsiteX48" fmla="*/ 29344 w 108347"/>
                <a:gd name="connsiteY48" fmla="*/ 20585 h 86916"/>
                <a:gd name="connsiteX49" fmla="*/ 24830 w 108347"/>
                <a:gd name="connsiteY49" fmla="*/ 11436 h 86916"/>
                <a:gd name="connsiteX50" fmla="*/ 20315 w 108347"/>
                <a:gd name="connsiteY50" fmla="*/ 6862 h 86916"/>
                <a:gd name="connsiteX51" fmla="*/ 22572 w 108347"/>
                <a:gd name="connsiteY51" fmla="*/ 0 h 86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08347" h="86916">
                  <a:moveTo>
                    <a:pt x="5438" y="54085"/>
                  </a:moveTo>
                  <a:cubicBezTo>
                    <a:pt x="7442" y="54085"/>
                    <a:pt x="9159" y="54650"/>
                    <a:pt x="9159" y="56912"/>
                  </a:cubicBezTo>
                  <a:cubicBezTo>
                    <a:pt x="11449" y="56912"/>
                    <a:pt x="11449" y="59175"/>
                    <a:pt x="16028" y="59175"/>
                  </a:cubicBezTo>
                  <a:cubicBezTo>
                    <a:pt x="16028" y="59175"/>
                    <a:pt x="20607" y="56912"/>
                    <a:pt x="20607" y="59175"/>
                  </a:cubicBezTo>
                  <a:cubicBezTo>
                    <a:pt x="22897" y="61437"/>
                    <a:pt x="20607" y="63699"/>
                    <a:pt x="25187" y="65961"/>
                  </a:cubicBezTo>
                  <a:cubicBezTo>
                    <a:pt x="27476" y="65961"/>
                    <a:pt x="29766" y="72748"/>
                    <a:pt x="29766" y="75010"/>
                  </a:cubicBezTo>
                  <a:cubicBezTo>
                    <a:pt x="18318" y="75010"/>
                    <a:pt x="18318" y="72748"/>
                    <a:pt x="13738" y="68223"/>
                  </a:cubicBezTo>
                  <a:cubicBezTo>
                    <a:pt x="6869" y="63699"/>
                    <a:pt x="2290" y="61437"/>
                    <a:pt x="0" y="54650"/>
                  </a:cubicBezTo>
                  <a:cubicBezTo>
                    <a:pt x="1145" y="54650"/>
                    <a:pt x="3435" y="54085"/>
                    <a:pt x="5438" y="54085"/>
                  </a:cubicBezTo>
                  <a:close/>
                  <a:moveTo>
                    <a:pt x="22572" y="0"/>
                  </a:moveTo>
                  <a:cubicBezTo>
                    <a:pt x="24830" y="0"/>
                    <a:pt x="33859" y="4575"/>
                    <a:pt x="36116" y="6862"/>
                  </a:cubicBezTo>
                  <a:cubicBezTo>
                    <a:pt x="38373" y="9149"/>
                    <a:pt x="40630" y="9149"/>
                    <a:pt x="40630" y="11436"/>
                  </a:cubicBezTo>
                  <a:cubicBezTo>
                    <a:pt x="42887" y="13724"/>
                    <a:pt x="42887" y="16011"/>
                    <a:pt x="45145" y="16011"/>
                  </a:cubicBezTo>
                  <a:cubicBezTo>
                    <a:pt x="47402" y="18298"/>
                    <a:pt x="51916" y="18298"/>
                    <a:pt x="54174" y="18298"/>
                  </a:cubicBezTo>
                  <a:cubicBezTo>
                    <a:pt x="56431" y="18298"/>
                    <a:pt x="56431" y="16011"/>
                    <a:pt x="58688" y="13724"/>
                  </a:cubicBezTo>
                  <a:cubicBezTo>
                    <a:pt x="58688" y="11436"/>
                    <a:pt x="67717" y="4575"/>
                    <a:pt x="65460" y="2287"/>
                  </a:cubicBezTo>
                  <a:cubicBezTo>
                    <a:pt x="69974" y="4575"/>
                    <a:pt x="74489" y="9149"/>
                    <a:pt x="76746" y="13724"/>
                  </a:cubicBezTo>
                  <a:cubicBezTo>
                    <a:pt x="81260" y="18298"/>
                    <a:pt x="83518" y="22873"/>
                    <a:pt x="88032" y="27447"/>
                  </a:cubicBezTo>
                  <a:cubicBezTo>
                    <a:pt x="90289" y="27447"/>
                    <a:pt x="90289" y="27447"/>
                    <a:pt x="90289" y="27447"/>
                  </a:cubicBezTo>
                  <a:cubicBezTo>
                    <a:pt x="90289" y="29734"/>
                    <a:pt x="90289" y="29734"/>
                    <a:pt x="90289" y="29734"/>
                  </a:cubicBezTo>
                  <a:cubicBezTo>
                    <a:pt x="92547" y="32022"/>
                    <a:pt x="92547" y="34309"/>
                    <a:pt x="97061" y="34309"/>
                  </a:cubicBezTo>
                  <a:cubicBezTo>
                    <a:pt x="103833" y="34309"/>
                    <a:pt x="106090" y="36596"/>
                    <a:pt x="108347" y="43458"/>
                  </a:cubicBezTo>
                  <a:cubicBezTo>
                    <a:pt x="106090" y="38884"/>
                    <a:pt x="99318" y="38884"/>
                    <a:pt x="97061" y="38884"/>
                  </a:cubicBezTo>
                  <a:cubicBezTo>
                    <a:pt x="92547" y="43458"/>
                    <a:pt x="92547" y="45745"/>
                    <a:pt x="90289" y="50320"/>
                  </a:cubicBezTo>
                  <a:cubicBezTo>
                    <a:pt x="90289" y="54894"/>
                    <a:pt x="90289" y="59469"/>
                    <a:pt x="92547" y="61756"/>
                  </a:cubicBezTo>
                  <a:cubicBezTo>
                    <a:pt x="92547" y="64043"/>
                    <a:pt x="90289" y="66331"/>
                    <a:pt x="90289" y="68618"/>
                  </a:cubicBezTo>
                  <a:cubicBezTo>
                    <a:pt x="90289" y="70905"/>
                    <a:pt x="90289" y="73192"/>
                    <a:pt x="88032" y="70905"/>
                  </a:cubicBezTo>
                  <a:cubicBezTo>
                    <a:pt x="90289" y="68618"/>
                    <a:pt x="83518" y="66331"/>
                    <a:pt x="83518" y="70905"/>
                  </a:cubicBezTo>
                  <a:cubicBezTo>
                    <a:pt x="85775" y="75480"/>
                    <a:pt x="83518" y="80054"/>
                    <a:pt x="85775" y="86916"/>
                  </a:cubicBezTo>
                  <a:cubicBezTo>
                    <a:pt x="83518" y="86916"/>
                    <a:pt x="81260" y="86916"/>
                    <a:pt x="79003" y="86916"/>
                  </a:cubicBezTo>
                  <a:cubicBezTo>
                    <a:pt x="74489" y="82342"/>
                    <a:pt x="67717" y="77767"/>
                    <a:pt x="67717" y="75480"/>
                  </a:cubicBezTo>
                  <a:cubicBezTo>
                    <a:pt x="67717" y="73192"/>
                    <a:pt x="69974" y="73192"/>
                    <a:pt x="72231" y="73192"/>
                  </a:cubicBezTo>
                  <a:cubicBezTo>
                    <a:pt x="72231" y="68618"/>
                    <a:pt x="65460" y="64043"/>
                    <a:pt x="72231" y="61756"/>
                  </a:cubicBezTo>
                  <a:cubicBezTo>
                    <a:pt x="67717" y="57182"/>
                    <a:pt x="60945" y="52607"/>
                    <a:pt x="56431" y="57182"/>
                  </a:cubicBezTo>
                  <a:cubicBezTo>
                    <a:pt x="51916" y="64043"/>
                    <a:pt x="47402" y="64043"/>
                    <a:pt x="47402" y="66331"/>
                  </a:cubicBezTo>
                  <a:cubicBezTo>
                    <a:pt x="42887" y="70905"/>
                    <a:pt x="40630" y="73192"/>
                    <a:pt x="38373" y="75480"/>
                  </a:cubicBezTo>
                  <a:cubicBezTo>
                    <a:pt x="36116" y="73192"/>
                    <a:pt x="33859" y="66331"/>
                    <a:pt x="38373" y="66331"/>
                  </a:cubicBezTo>
                  <a:cubicBezTo>
                    <a:pt x="36116" y="66331"/>
                    <a:pt x="31601" y="64043"/>
                    <a:pt x="33859" y="61756"/>
                  </a:cubicBezTo>
                  <a:cubicBezTo>
                    <a:pt x="33859" y="59469"/>
                    <a:pt x="36116" y="59469"/>
                    <a:pt x="33859" y="59469"/>
                  </a:cubicBezTo>
                  <a:cubicBezTo>
                    <a:pt x="33859" y="57182"/>
                    <a:pt x="31601" y="57182"/>
                    <a:pt x="29344" y="57182"/>
                  </a:cubicBezTo>
                  <a:cubicBezTo>
                    <a:pt x="24830" y="59469"/>
                    <a:pt x="20315" y="50320"/>
                    <a:pt x="15801" y="48033"/>
                  </a:cubicBezTo>
                  <a:cubicBezTo>
                    <a:pt x="18058" y="45745"/>
                    <a:pt x="20315" y="48033"/>
                    <a:pt x="22572" y="45745"/>
                  </a:cubicBezTo>
                  <a:cubicBezTo>
                    <a:pt x="22572" y="41171"/>
                    <a:pt x="20315" y="41171"/>
                    <a:pt x="18058" y="38884"/>
                  </a:cubicBezTo>
                  <a:cubicBezTo>
                    <a:pt x="13544" y="38884"/>
                    <a:pt x="4515" y="32022"/>
                    <a:pt x="11286" y="27447"/>
                  </a:cubicBezTo>
                  <a:cubicBezTo>
                    <a:pt x="11286" y="22873"/>
                    <a:pt x="4515" y="22873"/>
                    <a:pt x="0" y="20585"/>
                  </a:cubicBezTo>
                  <a:cubicBezTo>
                    <a:pt x="6772" y="20585"/>
                    <a:pt x="0" y="18298"/>
                    <a:pt x="0" y="16011"/>
                  </a:cubicBezTo>
                  <a:cubicBezTo>
                    <a:pt x="4515" y="11436"/>
                    <a:pt x="9029" y="11436"/>
                    <a:pt x="13544" y="16011"/>
                  </a:cubicBezTo>
                  <a:cubicBezTo>
                    <a:pt x="18058" y="20585"/>
                    <a:pt x="20315" y="18298"/>
                    <a:pt x="22572" y="18298"/>
                  </a:cubicBezTo>
                  <a:cubicBezTo>
                    <a:pt x="27087" y="20585"/>
                    <a:pt x="27087" y="22873"/>
                    <a:pt x="29344" y="20585"/>
                  </a:cubicBezTo>
                  <a:cubicBezTo>
                    <a:pt x="36116" y="18298"/>
                    <a:pt x="24830" y="11436"/>
                    <a:pt x="24830" y="11436"/>
                  </a:cubicBezTo>
                  <a:cubicBezTo>
                    <a:pt x="22572" y="9149"/>
                    <a:pt x="20315" y="6862"/>
                    <a:pt x="20315" y="6862"/>
                  </a:cubicBezTo>
                  <a:cubicBezTo>
                    <a:pt x="20315" y="4575"/>
                    <a:pt x="24830" y="2287"/>
                    <a:pt x="22572" y="0"/>
                  </a:cubicBezTo>
                  <a:close/>
                </a:path>
              </a:pathLst>
            </a:custGeom>
            <a:solidFill>
              <a:schemeClr val="accent4"/>
            </a:solidFill>
            <a:ln w="3175">
              <a:solidFill>
                <a:schemeClr val="accent4"/>
              </a:solidFill>
              <a:round/>
              <a:headEnd/>
              <a:tailEnd/>
            </a:ln>
          </p:spPr>
          <p:txBody>
            <a:bodyPr vert="horz" wrap="square" lIns="68455" tIns="34227" rIns="68455" bIns="3422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grpSp>
          <p:nvGrpSpPr>
            <p:cNvPr id="46" name="Group 228">
              <a:extLst>
                <a:ext uri="{FF2B5EF4-FFF2-40B4-BE49-F238E27FC236}">
                  <a16:creationId xmlns:a16="http://schemas.microsoft.com/office/drawing/2014/main" id="{45B1500A-50B1-1D0A-D1EA-4B8D879FDD1A}"/>
                </a:ext>
              </a:extLst>
            </p:cNvPr>
            <p:cNvGrpSpPr/>
            <p:nvPr/>
          </p:nvGrpSpPr>
          <p:grpSpPr>
            <a:xfrm>
              <a:off x="2401326" y="1051586"/>
              <a:ext cx="728238" cy="538995"/>
              <a:chOff x="3613546" y="1630392"/>
              <a:chExt cx="1144179" cy="846849"/>
            </a:xfrm>
            <a:solidFill>
              <a:schemeClr val="accent2"/>
            </a:solidFill>
          </p:grpSpPr>
          <p:sp>
            <p:nvSpPr>
              <p:cNvPr id="47" name="Western Turkey">
                <a:extLst>
                  <a:ext uri="{FF2B5EF4-FFF2-40B4-BE49-F238E27FC236}">
                    <a16:creationId xmlns:a16="http://schemas.microsoft.com/office/drawing/2014/main" id="{C6795E9E-71EB-A975-6F31-7076FD4D2E33}"/>
                  </a:ext>
                </a:extLst>
              </p:cNvPr>
              <p:cNvSpPr>
                <a:spLocks/>
              </p:cNvSpPr>
              <p:nvPr/>
            </p:nvSpPr>
            <p:spPr bwMode="auto">
              <a:xfrm>
                <a:off x="4336696" y="2297729"/>
                <a:ext cx="61880" cy="50960"/>
              </a:xfrm>
              <a:custGeom>
                <a:avLst/>
                <a:gdLst/>
                <a:ahLst/>
                <a:cxnLst>
                  <a:cxn ang="0">
                    <a:pos x="0" y="15"/>
                  </a:cxn>
                  <a:cxn ang="0">
                    <a:pos x="3" y="12"/>
                  </a:cxn>
                  <a:cxn ang="0">
                    <a:pos x="4" y="9"/>
                  </a:cxn>
                  <a:cxn ang="0">
                    <a:pos x="5" y="7"/>
                  </a:cxn>
                  <a:cxn ang="0">
                    <a:pos x="3" y="5"/>
                  </a:cxn>
                  <a:cxn ang="0">
                    <a:pos x="4" y="3"/>
                  </a:cxn>
                  <a:cxn ang="0">
                    <a:pos x="8" y="1"/>
                  </a:cxn>
                  <a:cxn ang="0">
                    <a:pos x="11" y="2"/>
                  </a:cxn>
                  <a:cxn ang="0">
                    <a:pos x="14" y="2"/>
                  </a:cxn>
                  <a:cxn ang="0">
                    <a:pos x="16" y="2"/>
                  </a:cxn>
                  <a:cxn ang="0">
                    <a:pos x="17" y="4"/>
                  </a:cxn>
                  <a:cxn ang="0">
                    <a:pos x="26" y="10"/>
                  </a:cxn>
                  <a:cxn ang="0">
                    <a:pos x="25" y="13"/>
                  </a:cxn>
                  <a:cxn ang="0">
                    <a:pos x="19" y="11"/>
                  </a:cxn>
                  <a:cxn ang="0">
                    <a:pos x="17" y="12"/>
                  </a:cxn>
                  <a:cxn ang="0">
                    <a:pos x="14" y="12"/>
                  </a:cxn>
                  <a:cxn ang="0">
                    <a:pos x="11" y="15"/>
                  </a:cxn>
                  <a:cxn ang="0">
                    <a:pos x="7" y="18"/>
                  </a:cxn>
                  <a:cxn ang="0">
                    <a:pos x="2" y="22"/>
                  </a:cxn>
                  <a:cxn ang="0">
                    <a:pos x="4" y="18"/>
                  </a:cxn>
                  <a:cxn ang="0">
                    <a:pos x="7" y="16"/>
                  </a:cxn>
                  <a:cxn ang="0">
                    <a:pos x="0" y="15"/>
                  </a:cxn>
                </a:cxnLst>
                <a:rect l="0" t="0" r="r" b="b"/>
                <a:pathLst>
                  <a:path w="27" h="22">
                    <a:moveTo>
                      <a:pt x="0" y="15"/>
                    </a:moveTo>
                    <a:cubicBezTo>
                      <a:pt x="1" y="15"/>
                      <a:pt x="3" y="13"/>
                      <a:pt x="3" y="12"/>
                    </a:cubicBezTo>
                    <a:cubicBezTo>
                      <a:pt x="3" y="11"/>
                      <a:pt x="2" y="10"/>
                      <a:pt x="4" y="9"/>
                    </a:cubicBezTo>
                    <a:cubicBezTo>
                      <a:pt x="5" y="8"/>
                      <a:pt x="5" y="8"/>
                      <a:pt x="5" y="7"/>
                    </a:cubicBezTo>
                    <a:cubicBezTo>
                      <a:pt x="5" y="6"/>
                      <a:pt x="4" y="5"/>
                      <a:pt x="3" y="5"/>
                    </a:cubicBezTo>
                    <a:cubicBezTo>
                      <a:pt x="1" y="4"/>
                      <a:pt x="4" y="4"/>
                      <a:pt x="4" y="3"/>
                    </a:cubicBezTo>
                    <a:cubicBezTo>
                      <a:pt x="4" y="2"/>
                      <a:pt x="7" y="1"/>
                      <a:pt x="8" y="1"/>
                    </a:cubicBezTo>
                    <a:cubicBezTo>
                      <a:pt x="9" y="1"/>
                      <a:pt x="10" y="0"/>
                      <a:pt x="11" y="2"/>
                    </a:cubicBezTo>
                    <a:cubicBezTo>
                      <a:pt x="12" y="3"/>
                      <a:pt x="13" y="2"/>
                      <a:pt x="14" y="2"/>
                    </a:cubicBezTo>
                    <a:cubicBezTo>
                      <a:pt x="15" y="2"/>
                      <a:pt x="16" y="2"/>
                      <a:pt x="16" y="2"/>
                    </a:cubicBezTo>
                    <a:cubicBezTo>
                      <a:pt x="17" y="3"/>
                      <a:pt x="16" y="3"/>
                      <a:pt x="17" y="4"/>
                    </a:cubicBezTo>
                    <a:cubicBezTo>
                      <a:pt x="19" y="7"/>
                      <a:pt x="22" y="9"/>
                      <a:pt x="26" y="10"/>
                    </a:cubicBezTo>
                    <a:cubicBezTo>
                      <a:pt x="27" y="10"/>
                      <a:pt x="26" y="12"/>
                      <a:pt x="25" y="13"/>
                    </a:cubicBezTo>
                    <a:cubicBezTo>
                      <a:pt x="23" y="13"/>
                      <a:pt x="21" y="12"/>
                      <a:pt x="19" y="11"/>
                    </a:cubicBezTo>
                    <a:cubicBezTo>
                      <a:pt x="18" y="11"/>
                      <a:pt x="17" y="12"/>
                      <a:pt x="17" y="12"/>
                    </a:cubicBezTo>
                    <a:cubicBezTo>
                      <a:pt x="16" y="13"/>
                      <a:pt x="15" y="12"/>
                      <a:pt x="14" y="12"/>
                    </a:cubicBezTo>
                    <a:cubicBezTo>
                      <a:pt x="13" y="13"/>
                      <a:pt x="12" y="14"/>
                      <a:pt x="11" y="15"/>
                    </a:cubicBezTo>
                    <a:cubicBezTo>
                      <a:pt x="10" y="16"/>
                      <a:pt x="8" y="17"/>
                      <a:pt x="7" y="18"/>
                    </a:cubicBezTo>
                    <a:cubicBezTo>
                      <a:pt x="5" y="19"/>
                      <a:pt x="4" y="22"/>
                      <a:pt x="2" y="22"/>
                    </a:cubicBezTo>
                    <a:cubicBezTo>
                      <a:pt x="2" y="21"/>
                      <a:pt x="3" y="19"/>
                      <a:pt x="4" y="18"/>
                    </a:cubicBezTo>
                    <a:cubicBezTo>
                      <a:pt x="5" y="18"/>
                      <a:pt x="8" y="17"/>
                      <a:pt x="7" y="16"/>
                    </a:cubicBezTo>
                    <a:cubicBezTo>
                      <a:pt x="5" y="15"/>
                      <a:pt x="1" y="19"/>
                      <a:pt x="0" y="15"/>
                    </a:cubicBezTo>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grpSp>
            <p:nvGrpSpPr>
              <p:cNvPr id="48" name="Group 227">
                <a:extLst>
                  <a:ext uri="{FF2B5EF4-FFF2-40B4-BE49-F238E27FC236}">
                    <a16:creationId xmlns:a16="http://schemas.microsoft.com/office/drawing/2014/main" id="{7A7CAFCC-8EBB-8B2A-E6FA-9D04A2AE70CA}"/>
                  </a:ext>
                </a:extLst>
              </p:cNvPr>
              <p:cNvGrpSpPr/>
              <p:nvPr/>
            </p:nvGrpSpPr>
            <p:grpSpPr>
              <a:xfrm>
                <a:off x="3613546" y="1630392"/>
                <a:ext cx="1144179" cy="846849"/>
                <a:chOff x="3613546" y="1630392"/>
                <a:chExt cx="1144179" cy="846849"/>
              </a:xfrm>
              <a:grpFill/>
            </p:grpSpPr>
            <p:grpSp>
              <p:nvGrpSpPr>
                <p:cNvPr id="49" name="Group 226">
                  <a:extLst>
                    <a:ext uri="{FF2B5EF4-FFF2-40B4-BE49-F238E27FC236}">
                      <a16:creationId xmlns:a16="http://schemas.microsoft.com/office/drawing/2014/main" id="{0E3A16A2-853C-03E7-545B-494E754993B3}"/>
                    </a:ext>
                  </a:extLst>
                </p:cNvPr>
                <p:cNvGrpSpPr/>
                <p:nvPr/>
              </p:nvGrpSpPr>
              <p:grpSpPr>
                <a:xfrm>
                  <a:off x="4212935" y="1961635"/>
                  <a:ext cx="380988" cy="359147"/>
                  <a:chOff x="4212935" y="1961635"/>
                  <a:chExt cx="380988" cy="359147"/>
                </a:xfrm>
                <a:grpFill/>
              </p:grpSpPr>
              <p:sp>
                <p:nvSpPr>
                  <p:cNvPr id="89" name="Ukraine">
                    <a:extLst>
                      <a:ext uri="{FF2B5EF4-FFF2-40B4-BE49-F238E27FC236}">
                        <a16:creationId xmlns:a16="http://schemas.microsoft.com/office/drawing/2014/main" id="{2D9F8539-EBCC-D93C-EE69-201063BBD823}"/>
                      </a:ext>
                    </a:extLst>
                  </p:cNvPr>
                  <p:cNvSpPr>
                    <a:spLocks/>
                  </p:cNvSpPr>
                  <p:nvPr/>
                </p:nvSpPr>
                <p:spPr bwMode="auto">
                  <a:xfrm>
                    <a:off x="4248121" y="2050208"/>
                    <a:ext cx="345802" cy="196560"/>
                  </a:xfrm>
                  <a:custGeom>
                    <a:avLst/>
                    <a:gdLst/>
                    <a:ahLst/>
                    <a:cxnLst>
                      <a:cxn ang="0">
                        <a:pos x="3" y="34"/>
                      </a:cxn>
                      <a:cxn ang="0">
                        <a:pos x="4" y="31"/>
                      </a:cxn>
                      <a:cxn ang="0">
                        <a:pos x="13" y="16"/>
                      </a:cxn>
                      <a:cxn ang="0">
                        <a:pos x="13" y="8"/>
                      </a:cxn>
                      <a:cxn ang="0">
                        <a:pos x="27" y="5"/>
                      </a:cxn>
                      <a:cxn ang="0">
                        <a:pos x="41" y="8"/>
                      </a:cxn>
                      <a:cxn ang="0">
                        <a:pos x="48" y="8"/>
                      </a:cxn>
                      <a:cxn ang="0">
                        <a:pos x="55" y="8"/>
                      </a:cxn>
                      <a:cxn ang="0">
                        <a:pos x="63" y="9"/>
                      </a:cxn>
                      <a:cxn ang="0">
                        <a:pos x="71" y="3"/>
                      </a:cxn>
                      <a:cxn ang="0">
                        <a:pos x="80" y="0"/>
                      </a:cxn>
                      <a:cxn ang="0">
                        <a:pos x="94" y="2"/>
                      </a:cxn>
                      <a:cxn ang="0">
                        <a:pos x="96" y="11"/>
                      </a:cxn>
                      <a:cxn ang="0">
                        <a:pos x="108" y="20"/>
                      </a:cxn>
                      <a:cxn ang="0">
                        <a:pos x="123" y="20"/>
                      </a:cxn>
                      <a:cxn ang="0">
                        <a:pos x="133" y="25"/>
                      </a:cxn>
                      <a:cxn ang="0">
                        <a:pos x="145" y="29"/>
                      </a:cxn>
                      <a:cxn ang="0">
                        <a:pos x="145" y="35"/>
                      </a:cxn>
                      <a:cxn ang="0">
                        <a:pos x="147" y="42"/>
                      </a:cxn>
                      <a:cxn ang="0">
                        <a:pos x="142" y="47"/>
                      </a:cxn>
                      <a:cxn ang="0">
                        <a:pos x="136" y="53"/>
                      </a:cxn>
                      <a:cxn ang="0">
                        <a:pos x="128" y="57"/>
                      </a:cxn>
                      <a:cxn ang="0">
                        <a:pos x="116" y="60"/>
                      </a:cxn>
                      <a:cxn ang="0">
                        <a:pos x="109" y="64"/>
                      </a:cxn>
                      <a:cxn ang="0">
                        <a:pos x="107" y="64"/>
                      </a:cxn>
                      <a:cxn ang="0">
                        <a:pos x="105" y="65"/>
                      </a:cxn>
                      <a:cxn ang="0">
                        <a:pos x="98" y="64"/>
                      </a:cxn>
                      <a:cxn ang="0">
                        <a:pos x="106" y="67"/>
                      </a:cxn>
                      <a:cxn ang="0">
                        <a:pos x="111" y="70"/>
                      </a:cxn>
                      <a:cxn ang="0">
                        <a:pos x="113" y="72"/>
                      </a:cxn>
                      <a:cxn ang="0">
                        <a:pos x="117" y="72"/>
                      </a:cxn>
                      <a:cxn ang="0">
                        <a:pos x="123" y="75"/>
                      </a:cxn>
                      <a:cxn ang="0">
                        <a:pos x="115" y="76"/>
                      </a:cxn>
                      <a:cxn ang="0">
                        <a:pos x="107" y="80"/>
                      </a:cxn>
                      <a:cxn ang="0">
                        <a:pos x="94" y="74"/>
                      </a:cxn>
                      <a:cxn ang="0">
                        <a:pos x="99" y="67"/>
                      </a:cxn>
                      <a:cxn ang="0">
                        <a:pos x="91" y="65"/>
                      </a:cxn>
                      <a:cxn ang="0">
                        <a:pos x="80" y="60"/>
                      </a:cxn>
                      <a:cxn ang="0">
                        <a:pos x="82" y="55"/>
                      </a:cxn>
                      <a:cxn ang="0">
                        <a:pos x="80" y="58"/>
                      </a:cxn>
                      <a:cxn ang="0">
                        <a:pos x="71" y="65"/>
                      </a:cxn>
                      <a:cxn ang="0">
                        <a:pos x="66" y="70"/>
                      </a:cxn>
                      <a:cxn ang="0">
                        <a:pos x="66" y="71"/>
                      </a:cxn>
                      <a:cxn ang="0">
                        <a:pos x="60" y="73"/>
                      </a:cxn>
                      <a:cxn ang="0">
                        <a:pos x="56" y="69"/>
                      </a:cxn>
                      <a:cxn ang="0">
                        <a:pos x="61" y="62"/>
                      </a:cxn>
                      <a:cxn ang="0">
                        <a:pos x="62" y="55"/>
                      </a:cxn>
                      <a:cxn ang="0">
                        <a:pos x="58" y="47"/>
                      </a:cxn>
                      <a:cxn ang="0">
                        <a:pos x="51" y="44"/>
                      </a:cxn>
                      <a:cxn ang="0">
                        <a:pos x="38" y="42"/>
                      </a:cxn>
                      <a:cxn ang="0">
                        <a:pos x="31" y="46"/>
                      </a:cxn>
                      <a:cxn ang="0">
                        <a:pos x="17" y="46"/>
                      </a:cxn>
                      <a:cxn ang="0">
                        <a:pos x="6" y="46"/>
                      </a:cxn>
                      <a:cxn ang="0">
                        <a:pos x="0" y="41"/>
                      </a:cxn>
                    </a:cxnLst>
                    <a:rect l="0" t="0" r="r" b="b"/>
                    <a:pathLst>
                      <a:path w="149" h="85">
                        <a:moveTo>
                          <a:pt x="0" y="41"/>
                        </a:moveTo>
                        <a:cubicBezTo>
                          <a:pt x="0" y="39"/>
                          <a:pt x="1" y="38"/>
                          <a:pt x="2" y="36"/>
                        </a:cubicBezTo>
                        <a:cubicBezTo>
                          <a:pt x="2" y="35"/>
                          <a:pt x="2" y="34"/>
                          <a:pt x="3" y="34"/>
                        </a:cubicBezTo>
                        <a:cubicBezTo>
                          <a:pt x="3" y="34"/>
                          <a:pt x="4" y="34"/>
                          <a:pt x="5" y="35"/>
                        </a:cubicBezTo>
                        <a:cubicBezTo>
                          <a:pt x="6" y="34"/>
                          <a:pt x="5" y="34"/>
                          <a:pt x="5" y="34"/>
                        </a:cubicBezTo>
                        <a:cubicBezTo>
                          <a:pt x="4" y="33"/>
                          <a:pt x="4" y="32"/>
                          <a:pt x="4" y="31"/>
                        </a:cubicBezTo>
                        <a:cubicBezTo>
                          <a:pt x="3" y="28"/>
                          <a:pt x="5" y="27"/>
                          <a:pt x="7" y="25"/>
                        </a:cubicBezTo>
                        <a:cubicBezTo>
                          <a:pt x="8" y="23"/>
                          <a:pt x="10" y="22"/>
                          <a:pt x="11" y="21"/>
                        </a:cubicBezTo>
                        <a:cubicBezTo>
                          <a:pt x="13" y="20"/>
                          <a:pt x="16" y="19"/>
                          <a:pt x="13" y="16"/>
                        </a:cubicBezTo>
                        <a:cubicBezTo>
                          <a:pt x="13" y="16"/>
                          <a:pt x="14" y="16"/>
                          <a:pt x="14" y="16"/>
                        </a:cubicBezTo>
                        <a:cubicBezTo>
                          <a:pt x="12" y="15"/>
                          <a:pt x="9" y="10"/>
                          <a:pt x="9" y="8"/>
                        </a:cubicBezTo>
                        <a:cubicBezTo>
                          <a:pt x="9" y="6"/>
                          <a:pt x="12" y="8"/>
                          <a:pt x="13" y="8"/>
                        </a:cubicBezTo>
                        <a:cubicBezTo>
                          <a:pt x="14" y="7"/>
                          <a:pt x="15" y="7"/>
                          <a:pt x="15" y="6"/>
                        </a:cubicBezTo>
                        <a:cubicBezTo>
                          <a:pt x="16" y="5"/>
                          <a:pt x="18" y="5"/>
                          <a:pt x="19" y="5"/>
                        </a:cubicBezTo>
                        <a:cubicBezTo>
                          <a:pt x="22" y="5"/>
                          <a:pt x="24" y="5"/>
                          <a:pt x="27" y="5"/>
                        </a:cubicBezTo>
                        <a:cubicBezTo>
                          <a:pt x="29" y="4"/>
                          <a:pt x="31" y="5"/>
                          <a:pt x="33" y="6"/>
                        </a:cubicBezTo>
                        <a:cubicBezTo>
                          <a:pt x="34" y="6"/>
                          <a:pt x="37" y="6"/>
                          <a:pt x="38" y="7"/>
                        </a:cubicBezTo>
                        <a:cubicBezTo>
                          <a:pt x="39" y="7"/>
                          <a:pt x="39" y="8"/>
                          <a:pt x="41" y="8"/>
                        </a:cubicBezTo>
                        <a:cubicBezTo>
                          <a:pt x="42" y="7"/>
                          <a:pt x="43" y="9"/>
                          <a:pt x="44" y="9"/>
                        </a:cubicBezTo>
                        <a:cubicBezTo>
                          <a:pt x="44" y="7"/>
                          <a:pt x="44" y="8"/>
                          <a:pt x="46" y="8"/>
                        </a:cubicBezTo>
                        <a:cubicBezTo>
                          <a:pt x="47" y="8"/>
                          <a:pt x="47" y="8"/>
                          <a:pt x="48" y="8"/>
                        </a:cubicBezTo>
                        <a:cubicBezTo>
                          <a:pt x="49" y="9"/>
                          <a:pt x="50" y="8"/>
                          <a:pt x="50" y="8"/>
                        </a:cubicBezTo>
                        <a:cubicBezTo>
                          <a:pt x="51" y="9"/>
                          <a:pt x="51" y="10"/>
                          <a:pt x="51" y="10"/>
                        </a:cubicBezTo>
                        <a:cubicBezTo>
                          <a:pt x="51" y="8"/>
                          <a:pt x="53" y="8"/>
                          <a:pt x="55" y="8"/>
                        </a:cubicBezTo>
                        <a:cubicBezTo>
                          <a:pt x="56" y="9"/>
                          <a:pt x="56" y="11"/>
                          <a:pt x="58" y="10"/>
                        </a:cubicBezTo>
                        <a:cubicBezTo>
                          <a:pt x="59" y="9"/>
                          <a:pt x="59" y="9"/>
                          <a:pt x="60" y="9"/>
                        </a:cubicBezTo>
                        <a:cubicBezTo>
                          <a:pt x="61" y="10"/>
                          <a:pt x="62" y="9"/>
                          <a:pt x="63" y="9"/>
                        </a:cubicBezTo>
                        <a:cubicBezTo>
                          <a:pt x="64" y="9"/>
                          <a:pt x="66" y="13"/>
                          <a:pt x="67" y="11"/>
                        </a:cubicBezTo>
                        <a:cubicBezTo>
                          <a:pt x="67" y="9"/>
                          <a:pt x="65" y="8"/>
                          <a:pt x="66" y="6"/>
                        </a:cubicBezTo>
                        <a:cubicBezTo>
                          <a:pt x="67" y="4"/>
                          <a:pt x="69" y="2"/>
                          <a:pt x="71" y="3"/>
                        </a:cubicBezTo>
                        <a:cubicBezTo>
                          <a:pt x="73" y="3"/>
                          <a:pt x="73" y="3"/>
                          <a:pt x="73" y="3"/>
                        </a:cubicBezTo>
                        <a:cubicBezTo>
                          <a:pt x="73" y="3"/>
                          <a:pt x="75" y="3"/>
                          <a:pt x="76" y="3"/>
                        </a:cubicBezTo>
                        <a:cubicBezTo>
                          <a:pt x="77" y="3"/>
                          <a:pt x="79" y="4"/>
                          <a:pt x="80" y="0"/>
                        </a:cubicBezTo>
                        <a:cubicBezTo>
                          <a:pt x="84" y="1"/>
                          <a:pt x="83" y="1"/>
                          <a:pt x="86" y="0"/>
                        </a:cubicBezTo>
                        <a:cubicBezTo>
                          <a:pt x="88" y="0"/>
                          <a:pt x="89" y="1"/>
                          <a:pt x="91" y="0"/>
                        </a:cubicBezTo>
                        <a:cubicBezTo>
                          <a:pt x="92" y="0"/>
                          <a:pt x="93" y="2"/>
                          <a:pt x="94" y="2"/>
                        </a:cubicBezTo>
                        <a:cubicBezTo>
                          <a:pt x="95" y="6"/>
                          <a:pt x="96" y="5"/>
                          <a:pt x="97" y="6"/>
                        </a:cubicBezTo>
                        <a:cubicBezTo>
                          <a:pt x="97" y="7"/>
                          <a:pt x="95" y="7"/>
                          <a:pt x="95" y="7"/>
                        </a:cubicBezTo>
                        <a:cubicBezTo>
                          <a:pt x="95" y="8"/>
                          <a:pt x="97" y="11"/>
                          <a:pt x="96" y="11"/>
                        </a:cubicBezTo>
                        <a:cubicBezTo>
                          <a:pt x="97" y="12"/>
                          <a:pt x="100" y="13"/>
                          <a:pt x="102" y="12"/>
                        </a:cubicBezTo>
                        <a:cubicBezTo>
                          <a:pt x="103" y="11"/>
                          <a:pt x="104" y="14"/>
                          <a:pt x="106" y="14"/>
                        </a:cubicBezTo>
                        <a:cubicBezTo>
                          <a:pt x="106" y="14"/>
                          <a:pt x="105" y="14"/>
                          <a:pt x="108" y="20"/>
                        </a:cubicBezTo>
                        <a:cubicBezTo>
                          <a:pt x="109" y="21"/>
                          <a:pt x="111" y="20"/>
                          <a:pt x="112" y="20"/>
                        </a:cubicBezTo>
                        <a:cubicBezTo>
                          <a:pt x="113" y="20"/>
                          <a:pt x="115" y="22"/>
                          <a:pt x="117" y="22"/>
                        </a:cubicBezTo>
                        <a:cubicBezTo>
                          <a:pt x="118" y="22"/>
                          <a:pt x="120" y="21"/>
                          <a:pt x="123" y="20"/>
                        </a:cubicBezTo>
                        <a:cubicBezTo>
                          <a:pt x="124" y="20"/>
                          <a:pt x="125" y="21"/>
                          <a:pt x="126" y="22"/>
                        </a:cubicBezTo>
                        <a:cubicBezTo>
                          <a:pt x="127" y="24"/>
                          <a:pt x="129" y="24"/>
                          <a:pt x="129" y="26"/>
                        </a:cubicBezTo>
                        <a:cubicBezTo>
                          <a:pt x="132" y="24"/>
                          <a:pt x="131" y="24"/>
                          <a:pt x="133" y="25"/>
                        </a:cubicBezTo>
                        <a:cubicBezTo>
                          <a:pt x="134" y="26"/>
                          <a:pt x="138" y="27"/>
                          <a:pt x="139" y="26"/>
                        </a:cubicBezTo>
                        <a:cubicBezTo>
                          <a:pt x="140" y="28"/>
                          <a:pt x="141" y="26"/>
                          <a:pt x="142" y="28"/>
                        </a:cubicBezTo>
                        <a:cubicBezTo>
                          <a:pt x="143" y="28"/>
                          <a:pt x="144" y="29"/>
                          <a:pt x="145" y="29"/>
                        </a:cubicBezTo>
                        <a:cubicBezTo>
                          <a:pt x="146" y="29"/>
                          <a:pt x="146" y="28"/>
                          <a:pt x="147" y="29"/>
                        </a:cubicBezTo>
                        <a:cubicBezTo>
                          <a:pt x="146" y="30"/>
                          <a:pt x="149" y="32"/>
                          <a:pt x="147" y="34"/>
                        </a:cubicBezTo>
                        <a:cubicBezTo>
                          <a:pt x="146" y="35"/>
                          <a:pt x="145" y="34"/>
                          <a:pt x="145" y="35"/>
                        </a:cubicBezTo>
                        <a:cubicBezTo>
                          <a:pt x="146" y="37"/>
                          <a:pt x="148" y="35"/>
                          <a:pt x="148" y="37"/>
                        </a:cubicBezTo>
                        <a:cubicBezTo>
                          <a:pt x="147" y="37"/>
                          <a:pt x="145" y="38"/>
                          <a:pt x="145" y="39"/>
                        </a:cubicBezTo>
                        <a:cubicBezTo>
                          <a:pt x="146" y="40"/>
                          <a:pt x="149" y="41"/>
                          <a:pt x="147" y="42"/>
                        </a:cubicBezTo>
                        <a:cubicBezTo>
                          <a:pt x="148" y="42"/>
                          <a:pt x="148" y="42"/>
                          <a:pt x="148" y="42"/>
                        </a:cubicBezTo>
                        <a:cubicBezTo>
                          <a:pt x="149" y="43"/>
                          <a:pt x="148" y="46"/>
                          <a:pt x="147" y="46"/>
                        </a:cubicBezTo>
                        <a:cubicBezTo>
                          <a:pt x="146" y="48"/>
                          <a:pt x="144" y="47"/>
                          <a:pt x="142" y="47"/>
                        </a:cubicBezTo>
                        <a:cubicBezTo>
                          <a:pt x="141" y="47"/>
                          <a:pt x="140" y="47"/>
                          <a:pt x="140" y="47"/>
                        </a:cubicBezTo>
                        <a:cubicBezTo>
                          <a:pt x="139" y="48"/>
                          <a:pt x="139" y="49"/>
                          <a:pt x="137" y="49"/>
                        </a:cubicBezTo>
                        <a:cubicBezTo>
                          <a:pt x="134" y="51"/>
                          <a:pt x="135" y="53"/>
                          <a:pt x="136" y="53"/>
                        </a:cubicBezTo>
                        <a:cubicBezTo>
                          <a:pt x="135" y="53"/>
                          <a:pt x="136" y="54"/>
                          <a:pt x="135" y="55"/>
                        </a:cubicBezTo>
                        <a:cubicBezTo>
                          <a:pt x="134" y="55"/>
                          <a:pt x="131" y="55"/>
                          <a:pt x="130" y="55"/>
                        </a:cubicBezTo>
                        <a:cubicBezTo>
                          <a:pt x="129" y="55"/>
                          <a:pt x="129" y="57"/>
                          <a:pt x="128" y="57"/>
                        </a:cubicBezTo>
                        <a:cubicBezTo>
                          <a:pt x="126" y="57"/>
                          <a:pt x="124" y="58"/>
                          <a:pt x="124" y="59"/>
                        </a:cubicBezTo>
                        <a:cubicBezTo>
                          <a:pt x="123" y="58"/>
                          <a:pt x="122" y="58"/>
                          <a:pt x="121" y="59"/>
                        </a:cubicBezTo>
                        <a:cubicBezTo>
                          <a:pt x="119" y="60"/>
                          <a:pt x="118" y="59"/>
                          <a:pt x="116" y="60"/>
                        </a:cubicBezTo>
                        <a:cubicBezTo>
                          <a:pt x="113" y="61"/>
                          <a:pt x="113" y="65"/>
                          <a:pt x="110" y="66"/>
                        </a:cubicBezTo>
                        <a:cubicBezTo>
                          <a:pt x="110" y="65"/>
                          <a:pt x="114" y="62"/>
                          <a:pt x="111" y="61"/>
                        </a:cubicBezTo>
                        <a:cubicBezTo>
                          <a:pt x="112" y="63"/>
                          <a:pt x="110" y="63"/>
                          <a:pt x="109" y="64"/>
                        </a:cubicBezTo>
                        <a:cubicBezTo>
                          <a:pt x="108" y="64"/>
                          <a:pt x="109" y="67"/>
                          <a:pt x="109" y="68"/>
                        </a:cubicBezTo>
                        <a:cubicBezTo>
                          <a:pt x="109" y="67"/>
                          <a:pt x="107" y="66"/>
                          <a:pt x="107" y="66"/>
                        </a:cubicBezTo>
                        <a:cubicBezTo>
                          <a:pt x="107" y="66"/>
                          <a:pt x="108" y="65"/>
                          <a:pt x="107" y="64"/>
                        </a:cubicBezTo>
                        <a:cubicBezTo>
                          <a:pt x="106" y="70"/>
                          <a:pt x="104" y="64"/>
                          <a:pt x="106" y="66"/>
                        </a:cubicBezTo>
                        <a:cubicBezTo>
                          <a:pt x="106" y="65"/>
                          <a:pt x="106" y="63"/>
                          <a:pt x="106" y="65"/>
                        </a:cubicBezTo>
                        <a:cubicBezTo>
                          <a:pt x="105" y="65"/>
                          <a:pt x="105" y="65"/>
                          <a:pt x="105" y="65"/>
                        </a:cubicBezTo>
                        <a:cubicBezTo>
                          <a:pt x="105" y="65"/>
                          <a:pt x="104" y="64"/>
                          <a:pt x="104" y="65"/>
                        </a:cubicBezTo>
                        <a:cubicBezTo>
                          <a:pt x="102" y="63"/>
                          <a:pt x="102" y="63"/>
                          <a:pt x="102" y="63"/>
                        </a:cubicBezTo>
                        <a:cubicBezTo>
                          <a:pt x="103" y="64"/>
                          <a:pt x="103" y="65"/>
                          <a:pt x="98" y="64"/>
                        </a:cubicBezTo>
                        <a:cubicBezTo>
                          <a:pt x="99" y="65"/>
                          <a:pt x="100" y="65"/>
                          <a:pt x="101" y="66"/>
                        </a:cubicBezTo>
                        <a:cubicBezTo>
                          <a:pt x="101" y="66"/>
                          <a:pt x="102" y="65"/>
                          <a:pt x="103" y="67"/>
                        </a:cubicBezTo>
                        <a:cubicBezTo>
                          <a:pt x="102" y="64"/>
                          <a:pt x="106" y="69"/>
                          <a:pt x="106" y="67"/>
                        </a:cubicBezTo>
                        <a:cubicBezTo>
                          <a:pt x="106" y="67"/>
                          <a:pt x="107" y="68"/>
                          <a:pt x="106" y="69"/>
                        </a:cubicBezTo>
                        <a:cubicBezTo>
                          <a:pt x="107" y="68"/>
                          <a:pt x="107" y="68"/>
                          <a:pt x="107" y="68"/>
                        </a:cubicBezTo>
                        <a:cubicBezTo>
                          <a:pt x="107" y="69"/>
                          <a:pt x="110" y="70"/>
                          <a:pt x="111" y="70"/>
                        </a:cubicBezTo>
                        <a:cubicBezTo>
                          <a:pt x="112" y="72"/>
                          <a:pt x="110" y="73"/>
                          <a:pt x="114" y="74"/>
                        </a:cubicBezTo>
                        <a:cubicBezTo>
                          <a:pt x="114" y="73"/>
                          <a:pt x="110" y="69"/>
                          <a:pt x="111" y="70"/>
                        </a:cubicBezTo>
                        <a:cubicBezTo>
                          <a:pt x="111" y="71"/>
                          <a:pt x="113" y="72"/>
                          <a:pt x="113" y="72"/>
                        </a:cubicBezTo>
                        <a:cubicBezTo>
                          <a:pt x="114" y="73"/>
                          <a:pt x="115" y="73"/>
                          <a:pt x="115" y="73"/>
                        </a:cubicBezTo>
                        <a:cubicBezTo>
                          <a:pt x="116" y="73"/>
                          <a:pt x="116" y="73"/>
                          <a:pt x="117" y="73"/>
                        </a:cubicBezTo>
                        <a:cubicBezTo>
                          <a:pt x="117" y="73"/>
                          <a:pt x="117" y="73"/>
                          <a:pt x="117" y="72"/>
                        </a:cubicBezTo>
                        <a:cubicBezTo>
                          <a:pt x="118" y="73"/>
                          <a:pt x="119" y="73"/>
                          <a:pt x="120" y="72"/>
                        </a:cubicBezTo>
                        <a:cubicBezTo>
                          <a:pt x="122" y="72"/>
                          <a:pt x="123" y="72"/>
                          <a:pt x="125" y="73"/>
                        </a:cubicBezTo>
                        <a:cubicBezTo>
                          <a:pt x="123" y="73"/>
                          <a:pt x="123" y="74"/>
                          <a:pt x="123" y="75"/>
                        </a:cubicBezTo>
                        <a:cubicBezTo>
                          <a:pt x="123" y="77"/>
                          <a:pt x="122" y="77"/>
                          <a:pt x="121" y="77"/>
                        </a:cubicBezTo>
                        <a:cubicBezTo>
                          <a:pt x="120" y="77"/>
                          <a:pt x="119" y="77"/>
                          <a:pt x="118" y="76"/>
                        </a:cubicBezTo>
                        <a:cubicBezTo>
                          <a:pt x="117" y="76"/>
                          <a:pt x="116" y="75"/>
                          <a:pt x="115" y="76"/>
                        </a:cubicBezTo>
                        <a:cubicBezTo>
                          <a:pt x="115" y="76"/>
                          <a:pt x="115" y="77"/>
                          <a:pt x="115" y="77"/>
                        </a:cubicBezTo>
                        <a:cubicBezTo>
                          <a:pt x="113" y="77"/>
                          <a:pt x="113" y="79"/>
                          <a:pt x="111" y="79"/>
                        </a:cubicBezTo>
                        <a:cubicBezTo>
                          <a:pt x="110" y="79"/>
                          <a:pt x="108" y="79"/>
                          <a:pt x="107" y="80"/>
                        </a:cubicBezTo>
                        <a:cubicBezTo>
                          <a:pt x="105" y="83"/>
                          <a:pt x="100" y="85"/>
                          <a:pt x="98" y="81"/>
                        </a:cubicBezTo>
                        <a:cubicBezTo>
                          <a:pt x="100" y="82"/>
                          <a:pt x="100" y="76"/>
                          <a:pt x="97" y="75"/>
                        </a:cubicBezTo>
                        <a:cubicBezTo>
                          <a:pt x="96" y="75"/>
                          <a:pt x="95" y="74"/>
                          <a:pt x="94" y="74"/>
                        </a:cubicBezTo>
                        <a:cubicBezTo>
                          <a:pt x="92" y="73"/>
                          <a:pt x="91" y="73"/>
                          <a:pt x="90" y="73"/>
                        </a:cubicBezTo>
                        <a:cubicBezTo>
                          <a:pt x="88" y="73"/>
                          <a:pt x="92" y="70"/>
                          <a:pt x="93" y="70"/>
                        </a:cubicBezTo>
                        <a:cubicBezTo>
                          <a:pt x="94" y="69"/>
                          <a:pt x="99" y="69"/>
                          <a:pt x="99" y="67"/>
                        </a:cubicBezTo>
                        <a:cubicBezTo>
                          <a:pt x="98" y="67"/>
                          <a:pt x="98" y="66"/>
                          <a:pt x="98" y="65"/>
                        </a:cubicBezTo>
                        <a:cubicBezTo>
                          <a:pt x="97" y="66"/>
                          <a:pt x="97" y="66"/>
                          <a:pt x="95" y="65"/>
                        </a:cubicBezTo>
                        <a:cubicBezTo>
                          <a:pt x="94" y="64"/>
                          <a:pt x="92" y="65"/>
                          <a:pt x="91" y="65"/>
                        </a:cubicBezTo>
                        <a:cubicBezTo>
                          <a:pt x="89" y="65"/>
                          <a:pt x="88" y="65"/>
                          <a:pt x="87" y="65"/>
                        </a:cubicBezTo>
                        <a:cubicBezTo>
                          <a:pt x="85" y="64"/>
                          <a:pt x="84" y="63"/>
                          <a:pt x="82" y="63"/>
                        </a:cubicBezTo>
                        <a:cubicBezTo>
                          <a:pt x="87" y="61"/>
                          <a:pt x="81" y="62"/>
                          <a:pt x="80" y="60"/>
                        </a:cubicBezTo>
                        <a:cubicBezTo>
                          <a:pt x="83" y="62"/>
                          <a:pt x="87" y="61"/>
                          <a:pt x="89" y="60"/>
                        </a:cubicBezTo>
                        <a:cubicBezTo>
                          <a:pt x="87" y="60"/>
                          <a:pt x="85" y="61"/>
                          <a:pt x="84" y="59"/>
                        </a:cubicBezTo>
                        <a:cubicBezTo>
                          <a:pt x="83" y="58"/>
                          <a:pt x="83" y="56"/>
                          <a:pt x="82" y="55"/>
                        </a:cubicBezTo>
                        <a:cubicBezTo>
                          <a:pt x="83" y="57"/>
                          <a:pt x="83" y="58"/>
                          <a:pt x="83" y="59"/>
                        </a:cubicBezTo>
                        <a:cubicBezTo>
                          <a:pt x="83" y="60"/>
                          <a:pt x="81" y="60"/>
                          <a:pt x="80" y="60"/>
                        </a:cubicBezTo>
                        <a:cubicBezTo>
                          <a:pt x="80" y="59"/>
                          <a:pt x="80" y="59"/>
                          <a:pt x="80" y="58"/>
                        </a:cubicBezTo>
                        <a:cubicBezTo>
                          <a:pt x="79" y="58"/>
                          <a:pt x="79" y="59"/>
                          <a:pt x="79" y="60"/>
                        </a:cubicBezTo>
                        <a:cubicBezTo>
                          <a:pt x="78" y="60"/>
                          <a:pt x="77" y="60"/>
                          <a:pt x="76" y="60"/>
                        </a:cubicBezTo>
                        <a:cubicBezTo>
                          <a:pt x="73" y="60"/>
                          <a:pt x="73" y="64"/>
                          <a:pt x="71" y="65"/>
                        </a:cubicBezTo>
                        <a:cubicBezTo>
                          <a:pt x="71" y="65"/>
                          <a:pt x="70" y="62"/>
                          <a:pt x="68" y="63"/>
                        </a:cubicBezTo>
                        <a:cubicBezTo>
                          <a:pt x="69" y="64"/>
                          <a:pt x="71" y="64"/>
                          <a:pt x="71" y="65"/>
                        </a:cubicBezTo>
                        <a:cubicBezTo>
                          <a:pt x="72" y="67"/>
                          <a:pt x="67" y="70"/>
                          <a:pt x="66" y="70"/>
                        </a:cubicBezTo>
                        <a:cubicBezTo>
                          <a:pt x="67" y="70"/>
                          <a:pt x="68" y="69"/>
                          <a:pt x="69" y="68"/>
                        </a:cubicBezTo>
                        <a:cubicBezTo>
                          <a:pt x="68" y="68"/>
                          <a:pt x="65" y="72"/>
                          <a:pt x="65" y="69"/>
                        </a:cubicBezTo>
                        <a:cubicBezTo>
                          <a:pt x="65" y="70"/>
                          <a:pt x="64" y="72"/>
                          <a:pt x="66" y="71"/>
                        </a:cubicBezTo>
                        <a:cubicBezTo>
                          <a:pt x="65" y="72"/>
                          <a:pt x="65" y="72"/>
                          <a:pt x="65" y="72"/>
                        </a:cubicBezTo>
                        <a:cubicBezTo>
                          <a:pt x="66" y="72"/>
                          <a:pt x="67" y="74"/>
                          <a:pt x="65" y="75"/>
                        </a:cubicBezTo>
                        <a:cubicBezTo>
                          <a:pt x="65" y="71"/>
                          <a:pt x="62" y="73"/>
                          <a:pt x="60" y="73"/>
                        </a:cubicBezTo>
                        <a:cubicBezTo>
                          <a:pt x="58" y="74"/>
                          <a:pt x="57" y="75"/>
                          <a:pt x="55" y="74"/>
                        </a:cubicBezTo>
                        <a:cubicBezTo>
                          <a:pt x="55" y="73"/>
                          <a:pt x="52" y="72"/>
                          <a:pt x="54" y="71"/>
                        </a:cubicBezTo>
                        <a:cubicBezTo>
                          <a:pt x="56" y="71"/>
                          <a:pt x="55" y="70"/>
                          <a:pt x="56" y="69"/>
                        </a:cubicBezTo>
                        <a:cubicBezTo>
                          <a:pt x="58" y="67"/>
                          <a:pt x="59" y="66"/>
                          <a:pt x="59" y="64"/>
                        </a:cubicBezTo>
                        <a:cubicBezTo>
                          <a:pt x="58" y="62"/>
                          <a:pt x="58" y="62"/>
                          <a:pt x="60" y="61"/>
                        </a:cubicBezTo>
                        <a:cubicBezTo>
                          <a:pt x="61" y="61"/>
                          <a:pt x="61" y="62"/>
                          <a:pt x="61" y="62"/>
                        </a:cubicBezTo>
                        <a:cubicBezTo>
                          <a:pt x="62" y="60"/>
                          <a:pt x="66" y="64"/>
                          <a:pt x="68" y="62"/>
                        </a:cubicBezTo>
                        <a:cubicBezTo>
                          <a:pt x="67" y="62"/>
                          <a:pt x="67" y="61"/>
                          <a:pt x="66" y="61"/>
                        </a:cubicBezTo>
                        <a:cubicBezTo>
                          <a:pt x="68" y="59"/>
                          <a:pt x="64" y="56"/>
                          <a:pt x="62" y="55"/>
                        </a:cubicBezTo>
                        <a:cubicBezTo>
                          <a:pt x="63" y="55"/>
                          <a:pt x="63" y="52"/>
                          <a:pt x="62" y="53"/>
                        </a:cubicBezTo>
                        <a:cubicBezTo>
                          <a:pt x="61" y="53"/>
                          <a:pt x="60" y="50"/>
                          <a:pt x="60" y="50"/>
                        </a:cubicBezTo>
                        <a:cubicBezTo>
                          <a:pt x="59" y="49"/>
                          <a:pt x="59" y="48"/>
                          <a:pt x="58" y="47"/>
                        </a:cubicBezTo>
                        <a:cubicBezTo>
                          <a:pt x="57" y="44"/>
                          <a:pt x="58" y="47"/>
                          <a:pt x="56" y="45"/>
                        </a:cubicBezTo>
                        <a:cubicBezTo>
                          <a:pt x="55" y="44"/>
                          <a:pt x="53" y="43"/>
                          <a:pt x="53" y="45"/>
                        </a:cubicBezTo>
                        <a:cubicBezTo>
                          <a:pt x="52" y="43"/>
                          <a:pt x="51" y="45"/>
                          <a:pt x="51" y="44"/>
                        </a:cubicBezTo>
                        <a:cubicBezTo>
                          <a:pt x="49" y="44"/>
                          <a:pt x="47" y="41"/>
                          <a:pt x="46" y="40"/>
                        </a:cubicBezTo>
                        <a:cubicBezTo>
                          <a:pt x="44" y="40"/>
                          <a:pt x="43" y="42"/>
                          <a:pt x="40" y="41"/>
                        </a:cubicBezTo>
                        <a:cubicBezTo>
                          <a:pt x="39" y="41"/>
                          <a:pt x="38" y="41"/>
                          <a:pt x="38" y="42"/>
                        </a:cubicBezTo>
                        <a:cubicBezTo>
                          <a:pt x="38" y="43"/>
                          <a:pt x="37" y="43"/>
                          <a:pt x="36" y="43"/>
                        </a:cubicBezTo>
                        <a:cubicBezTo>
                          <a:pt x="35" y="43"/>
                          <a:pt x="35" y="43"/>
                          <a:pt x="34" y="44"/>
                        </a:cubicBezTo>
                        <a:cubicBezTo>
                          <a:pt x="34" y="46"/>
                          <a:pt x="33" y="46"/>
                          <a:pt x="31" y="46"/>
                        </a:cubicBezTo>
                        <a:cubicBezTo>
                          <a:pt x="29" y="46"/>
                          <a:pt x="27" y="46"/>
                          <a:pt x="25" y="47"/>
                        </a:cubicBezTo>
                        <a:cubicBezTo>
                          <a:pt x="23" y="50"/>
                          <a:pt x="22" y="47"/>
                          <a:pt x="20" y="46"/>
                        </a:cubicBezTo>
                        <a:cubicBezTo>
                          <a:pt x="19" y="46"/>
                          <a:pt x="18" y="46"/>
                          <a:pt x="17" y="46"/>
                        </a:cubicBezTo>
                        <a:cubicBezTo>
                          <a:pt x="15" y="46"/>
                          <a:pt x="15" y="46"/>
                          <a:pt x="13" y="46"/>
                        </a:cubicBezTo>
                        <a:cubicBezTo>
                          <a:pt x="12" y="45"/>
                          <a:pt x="11" y="46"/>
                          <a:pt x="10" y="45"/>
                        </a:cubicBezTo>
                        <a:cubicBezTo>
                          <a:pt x="8" y="44"/>
                          <a:pt x="8" y="45"/>
                          <a:pt x="6" y="46"/>
                        </a:cubicBezTo>
                        <a:cubicBezTo>
                          <a:pt x="6" y="44"/>
                          <a:pt x="4" y="45"/>
                          <a:pt x="3" y="44"/>
                        </a:cubicBezTo>
                        <a:cubicBezTo>
                          <a:pt x="3" y="43"/>
                          <a:pt x="2" y="43"/>
                          <a:pt x="2" y="43"/>
                        </a:cubicBezTo>
                        <a:cubicBezTo>
                          <a:pt x="1" y="42"/>
                          <a:pt x="1" y="41"/>
                          <a:pt x="0" y="41"/>
                        </a:cubicBezTo>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90" name="Romania">
                    <a:extLst>
                      <a:ext uri="{FF2B5EF4-FFF2-40B4-BE49-F238E27FC236}">
                        <a16:creationId xmlns:a16="http://schemas.microsoft.com/office/drawing/2014/main" id="{0B437CC0-2838-5140-11CD-A7C2722D3218}"/>
                      </a:ext>
                    </a:extLst>
                  </p:cNvPr>
                  <p:cNvSpPr>
                    <a:spLocks/>
                  </p:cNvSpPr>
                  <p:nvPr/>
                </p:nvSpPr>
                <p:spPr bwMode="auto">
                  <a:xfrm>
                    <a:off x="4212935" y="2149701"/>
                    <a:ext cx="188067" cy="111628"/>
                  </a:xfrm>
                  <a:custGeom>
                    <a:avLst/>
                    <a:gdLst/>
                    <a:ahLst/>
                    <a:cxnLst>
                      <a:cxn ang="0">
                        <a:pos x="0" y="22"/>
                      </a:cxn>
                      <a:cxn ang="0">
                        <a:pos x="3" y="22"/>
                      </a:cxn>
                      <a:cxn ang="0">
                        <a:pos x="5" y="21"/>
                      </a:cxn>
                      <a:cxn ang="0">
                        <a:pos x="7" y="20"/>
                      </a:cxn>
                      <a:cxn ang="0">
                        <a:pos x="9" y="17"/>
                      </a:cxn>
                      <a:cxn ang="0">
                        <a:pos x="11" y="15"/>
                      </a:cxn>
                      <a:cxn ang="0">
                        <a:pos x="12" y="12"/>
                      </a:cxn>
                      <a:cxn ang="0">
                        <a:pos x="14" y="9"/>
                      </a:cxn>
                      <a:cxn ang="0">
                        <a:pos x="15" y="7"/>
                      </a:cxn>
                      <a:cxn ang="0">
                        <a:pos x="16" y="6"/>
                      </a:cxn>
                      <a:cxn ang="0">
                        <a:pos x="20" y="4"/>
                      </a:cxn>
                      <a:cxn ang="0">
                        <a:pos x="22" y="2"/>
                      </a:cxn>
                      <a:cxn ang="0">
                        <a:pos x="27" y="2"/>
                      </a:cxn>
                      <a:cxn ang="0">
                        <a:pos x="31" y="3"/>
                      </a:cxn>
                      <a:cxn ang="0">
                        <a:pos x="36" y="3"/>
                      </a:cxn>
                      <a:cxn ang="0">
                        <a:pos x="41" y="4"/>
                      </a:cxn>
                      <a:cxn ang="0">
                        <a:pos x="48" y="3"/>
                      </a:cxn>
                      <a:cxn ang="0">
                        <a:pos x="50" y="1"/>
                      </a:cxn>
                      <a:cxn ang="0">
                        <a:pos x="53" y="0"/>
                      </a:cxn>
                      <a:cxn ang="0">
                        <a:pos x="58" y="5"/>
                      </a:cxn>
                      <a:cxn ang="0">
                        <a:pos x="62" y="10"/>
                      </a:cxn>
                      <a:cxn ang="0">
                        <a:pos x="67" y="18"/>
                      </a:cxn>
                      <a:cxn ang="0">
                        <a:pos x="67" y="22"/>
                      </a:cxn>
                      <a:cxn ang="0">
                        <a:pos x="67" y="26"/>
                      </a:cxn>
                      <a:cxn ang="0">
                        <a:pos x="69" y="30"/>
                      </a:cxn>
                      <a:cxn ang="0">
                        <a:pos x="73" y="31"/>
                      </a:cxn>
                      <a:cxn ang="0">
                        <a:pos x="80" y="31"/>
                      </a:cxn>
                      <a:cxn ang="0">
                        <a:pos x="75" y="37"/>
                      </a:cxn>
                      <a:cxn ang="0">
                        <a:pos x="75" y="34"/>
                      </a:cxn>
                      <a:cxn ang="0">
                        <a:pos x="74" y="37"/>
                      </a:cxn>
                      <a:cxn ang="0">
                        <a:pos x="75" y="37"/>
                      </a:cxn>
                      <a:cxn ang="0">
                        <a:pos x="74" y="39"/>
                      </a:cxn>
                      <a:cxn ang="0">
                        <a:pos x="75" y="38"/>
                      </a:cxn>
                      <a:cxn ang="0">
                        <a:pos x="73" y="42"/>
                      </a:cxn>
                      <a:cxn ang="0">
                        <a:pos x="73" y="47"/>
                      </a:cxn>
                      <a:cxn ang="0">
                        <a:pos x="70" y="47"/>
                      </a:cxn>
                      <a:cxn ang="0">
                        <a:pos x="67" y="45"/>
                      </a:cxn>
                      <a:cxn ang="0">
                        <a:pos x="63" y="44"/>
                      </a:cxn>
                      <a:cxn ang="0">
                        <a:pos x="56" y="44"/>
                      </a:cxn>
                      <a:cxn ang="0">
                        <a:pos x="47" y="48"/>
                      </a:cxn>
                      <a:cxn ang="0">
                        <a:pos x="41" y="47"/>
                      </a:cxn>
                      <a:cxn ang="0">
                        <a:pos x="35" y="48"/>
                      </a:cxn>
                      <a:cxn ang="0">
                        <a:pos x="29" y="46"/>
                      </a:cxn>
                      <a:cxn ang="0">
                        <a:pos x="24" y="46"/>
                      </a:cxn>
                      <a:cxn ang="0">
                        <a:pos x="23" y="42"/>
                      </a:cxn>
                      <a:cxn ang="0">
                        <a:pos x="20" y="40"/>
                      </a:cxn>
                      <a:cxn ang="0">
                        <a:pos x="22" y="39"/>
                      </a:cxn>
                      <a:cxn ang="0">
                        <a:pos x="19" y="37"/>
                      </a:cxn>
                      <a:cxn ang="0">
                        <a:pos x="17" y="39"/>
                      </a:cxn>
                      <a:cxn ang="0">
                        <a:pos x="14" y="37"/>
                      </a:cxn>
                      <a:cxn ang="0">
                        <a:pos x="10" y="36"/>
                      </a:cxn>
                      <a:cxn ang="0">
                        <a:pos x="10" y="34"/>
                      </a:cxn>
                      <a:cxn ang="0">
                        <a:pos x="10" y="32"/>
                      </a:cxn>
                      <a:cxn ang="0">
                        <a:pos x="5" y="29"/>
                      </a:cxn>
                      <a:cxn ang="0">
                        <a:pos x="0" y="22"/>
                      </a:cxn>
                    </a:cxnLst>
                    <a:rect l="0" t="0" r="r" b="b"/>
                    <a:pathLst>
                      <a:path w="81" h="48">
                        <a:moveTo>
                          <a:pt x="0" y="22"/>
                        </a:moveTo>
                        <a:cubicBezTo>
                          <a:pt x="1" y="21"/>
                          <a:pt x="2" y="22"/>
                          <a:pt x="3" y="22"/>
                        </a:cubicBezTo>
                        <a:cubicBezTo>
                          <a:pt x="4" y="22"/>
                          <a:pt x="4" y="21"/>
                          <a:pt x="5" y="21"/>
                        </a:cubicBezTo>
                        <a:cubicBezTo>
                          <a:pt x="6" y="20"/>
                          <a:pt x="7" y="20"/>
                          <a:pt x="7" y="20"/>
                        </a:cubicBezTo>
                        <a:cubicBezTo>
                          <a:pt x="9" y="20"/>
                          <a:pt x="8" y="18"/>
                          <a:pt x="9" y="17"/>
                        </a:cubicBezTo>
                        <a:cubicBezTo>
                          <a:pt x="9" y="17"/>
                          <a:pt x="10" y="16"/>
                          <a:pt x="11" y="15"/>
                        </a:cubicBezTo>
                        <a:cubicBezTo>
                          <a:pt x="12" y="14"/>
                          <a:pt x="12" y="13"/>
                          <a:pt x="12" y="12"/>
                        </a:cubicBezTo>
                        <a:cubicBezTo>
                          <a:pt x="13" y="11"/>
                          <a:pt x="14" y="10"/>
                          <a:pt x="14" y="9"/>
                        </a:cubicBezTo>
                        <a:cubicBezTo>
                          <a:pt x="14" y="8"/>
                          <a:pt x="14" y="7"/>
                          <a:pt x="15" y="7"/>
                        </a:cubicBezTo>
                        <a:cubicBezTo>
                          <a:pt x="16" y="7"/>
                          <a:pt x="16" y="6"/>
                          <a:pt x="16" y="6"/>
                        </a:cubicBezTo>
                        <a:cubicBezTo>
                          <a:pt x="17" y="4"/>
                          <a:pt x="19" y="5"/>
                          <a:pt x="20" y="4"/>
                        </a:cubicBezTo>
                        <a:cubicBezTo>
                          <a:pt x="21" y="4"/>
                          <a:pt x="21" y="3"/>
                          <a:pt x="22" y="2"/>
                        </a:cubicBezTo>
                        <a:cubicBezTo>
                          <a:pt x="24" y="1"/>
                          <a:pt x="25" y="2"/>
                          <a:pt x="27" y="2"/>
                        </a:cubicBezTo>
                        <a:cubicBezTo>
                          <a:pt x="28" y="2"/>
                          <a:pt x="29" y="3"/>
                          <a:pt x="31" y="3"/>
                        </a:cubicBezTo>
                        <a:cubicBezTo>
                          <a:pt x="32" y="3"/>
                          <a:pt x="34" y="2"/>
                          <a:pt x="36" y="3"/>
                        </a:cubicBezTo>
                        <a:cubicBezTo>
                          <a:pt x="38" y="5"/>
                          <a:pt x="38" y="6"/>
                          <a:pt x="41" y="4"/>
                        </a:cubicBezTo>
                        <a:cubicBezTo>
                          <a:pt x="43" y="2"/>
                          <a:pt x="46" y="3"/>
                          <a:pt x="48" y="3"/>
                        </a:cubicBezTo>
                        <a:cubicBezTo>
                          <a:pt x="49" y="2"/>
                          <a:pt x="49" y="1"/>
                          <a:pt x="50" y="1"/>
                        </a:cubicBezTo>
                        <a:cubicBezTo>
                          <a:pt x="50" y="0"/>
                          <a:pt x="52" y="0"/>
                          <a:pt x="53" y="0"/>
                        </a:cubicBezTo>
                        <a:cubicBezTo>
                          <a:pt x="55" y="0"/>
                          <a:pt x="57" y="3"/>
                          <a:pt x="58" y="5"/>
                        </a:cubicBezTo>
                        <a:cubicBezTo>
                          <a:pt x="59" y="7"/>
                          <a:pt x="61" y="9"/>
                          <a:pt x="62" y="10"/>
                        </a:cubicBezTo>
                        <a:cubicBezTo>
                          <a:pt x="65" y="13"/>
                          <a:pt x="66" y="15"/>
                          <a:pt x="67" y="18"/>
                        </a:cubicBezTo>
                        <a:cubicBezTo>
                          <a:pt x="68" y="19"/>
                          <a:pt x="67" y="20"/>
                          <a:pt x="67" y="22"/>
                        </a:cubicBezTo>
                        <a:cubicBezTo>
                          <a:pt x="66" y="23"/>
                          <a:pt x="67" y="24"/>
                          <a:pt x="67" y="26"/>
                        </a:cubicBezTo>
                        <a:cubicBezTo>
                          <a:pt x="67" y="28"/>
                          <a:pt x="68" y="29"/>
                          <a:pt x="69" y="30"/>
                        </a:cubicBezTo>
                        <a:cubicBezTo>
                          <a:pt x="70" y="31"/>
                          <a:pt x="72" y="32"/>
                          <a:pt x="73" y="31"/>
                        </a:cubicBezTo>
                        <a:cubicBezTo>
                          <a:pt x="74" y="31"/>
                          <a:pt x="80" y="27"/>
                          <a:pt x="80" y="31"/>
                        </a:cubicBezTo>
                        <a:cubicBezTo>
                          <a:pt x="81" y="35"/>
                          <a:pt x="79" y="37"/>
                          <a:pt x="75" y="37"/>
                        </a:cubicBezTo>
                        <a:cubicBezTo>
                          <a:pt x="76" y="36"/>
                          <a:pt x="76" y="34"/>
                          <a:pt x="75" y="34"/>
                        </a:cubicBezTo>
                        <a:cubicBezTo>
                          <a:pt x="74" y="34"/>
                          <a:pt x="75" y="37"/>
                          <a:pt x="74" y="37"/>
                        </a:cubicBezTo>
                        <a:cubicBezTo>
                          <a:pt x="74" y="37"/>
                          <a:pt x="75" y="37"/>
                          <a:pt x="75" y="37"/>
                        </a:cubicBezTo>
                        <a:cubicBezTo>
                          <a:pt x="75" y="38"/>
                          <a:pt x="73" y="38"/>
                          <a:pt x="74" y="39"/>
                        </a:cubicBezTo>
                        <a:cubicBezTo>
                          <a:pt x="75" y="38"/>
                          <a:pt x="75" y="38"/>
                          <a:pt x="75" y="38"/>
                        </a:cubicBezTo>
                        <a:cubicBezTo>
                          <a:pt x="74" y="39"/>
                          <a:pt x="73" y="40"/>
                          <a:pt x="73" y="42"/>
                        </a:cubicBezTo>
                        <a:cubicBezTo>
                          <a:pt x="72" y="43"/>
                          <a:pt x="74" y="46"/>
                          <a:pt x="73" y="47"/>
                        </a:cubicBezTo>
                        <a:cubicBezTo>
                          <a:pt x="72" y="47"/>
                          <a:pt x="71" y="47"/>
                          <a:pt x="70" y="47"/>
                        </a:cubicBezTo>
                        <a:cubicBezTo>
                          <a:pt x="70" y="47"/>
                          <a:pt x="68" y="46"/>
                          <a:pt x="67" y="45"/>
                        </a:cubicBezTo>
                        <a:cubicBezTo>
                          <a:pt x="66" y="44"/>
                          <a:pt x="65" y="45"/>
                          <a:pt x="63" y="44"/>
                        </a:cubicBezTo>
                        <a:cubicBezTo>
                          <a:pt x="61" y="43"/>
                          <a:pt x="59" y="43"/>
                          <a:pt x="56" y="44"/>
                        </a:cubicBezTo>
                        <a:cubicBezTo>
                          <a:pt x="51" y="44"/>
                          <a:pt x="49" y="47"/>
                          <a:pt x="47" y="48"/>
                        </a:cubicBezTo>
                        <a:cubicBezTo>
                          <a:pt x="45" y="48"/>
                          <a:pt x="43" y="48"/>
                          <a:pt x="41" y="47"/>
                        </a:cubicBezTo>
                        <a:cubicBezTo>
                          <a:pt x="38" y="47"/>
                          <a:pt x="36" y="48"/>
                          <a:pt x="35" y="48"/>
                        </a:cubicBezTo>
                        <a:cubicBezTo>
                          <a:pt x="33" y="48"/>
                          <a:pt x="32" y="46"/>
                          <a:pt x="29" y="46"/>
                        </a:cubicBezTo>
                        <a:cubicBezTo>
                          <a:pt x="28" y="46"/>
                          <a:pt x="25" y="47"/>
                          <a:pt x="24" y="46"/>
                        </a:cubicBezTo>
                        <a:cubicBezTo>
                          <a:pt x="23" y="44"/>
                          <a:pt x="27" y="44"/>
                          <a:pt x="23" y="42"/>
                        </a:cubicBezTo>
                        <a:cubicBezTo>
                          <a:pt x="22" y="42"/>
                          <a:pt x="21" y="42"/>
                          <a:pt x="20" y="40"/>
                        </a:cubicBezTo>
                        <a:cubicBezTo>
                          <a:pt x="19" y="38"/>
                          <a:pt x="22" y="39"/>
                          <a:pt x="22" y="39"/>
                        </a:cubicBezTo>
                        <a:cubicBezTo>
                          <a:pt x="22" y="38"/>
                          <a:pt x="20" y="37"/>
                          <a:pt x="19" y="37"/>
                        </a:cubicBezTo>
                        <a:cubicBezTo>
                          <a:pt x="18" y="38"/>
                          <a:pt x="18" y="40"/>
                          <a:pt x="17" y="39"/>
                        </a:cubicBezTo>
                        <a:cubicBezTo>
                          <a:pt x="16" y="39"/>
                          <a:pt x="15" y="38"/>
                          <a:pt x="14" y="37"/>
                        </a:cubicBezTo>
                        <a:cubicBezTo>
                          <a:pt x="13" y="37"/>
                          <a:pt x="11" y="37"/>
                          <a:pt x="10" y="36"/>
                        </a:cubicBezTo>
                        <a:cubicBezTo>
                          <a:pt x="11" y="35"/>
                          <a:pt x="12" y="34"/>
                          <a:pt x="10" y="34"/>
                        </a:cubicBezTo>
                        <a:cubicBezTo>
                          <a:pt x="12" y="33"/>
                          <a:pt x="11" y="32"/>
                          <a:pt x="10" y="32"/>
                        </a:cubicBezTo>
                        <a:cubicBezTo>
                          <a:pt x="8" y="31"/>
                          <a:pt x="6" y="30"/>
                          <a:pt x="5" y="29"/>
                        </a:cubicBezTo>
                        <a:cubicBezTo>
                          <a:pt x="6" y="26"/>
                          <a:pt x="2" y="24"/>
                          <a:pt x="0" y="22"/>
                        </a:cubicBezTo>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91" name="Moldova">
                    <a:extLst>
                      <a:ext uri="{FF2B5EF4-FFF2-40B4-BE49-F238E27FC236}">
                        <a16:creationId xmlns:a16="http://schemas.microsoft.com/office/drawing/2014/main" id="{6E0EE972-9FD2-3718-2462-5607EAAF7405}"/>
                      </a:ext>
                    </a:extLst>
                  </p:cNvPr>
                  <p:cNvSpPr>
                    <a:spLocks/>
                  </p:cNvSpPr>
                  <p:nvPr/>
                </p:nvSpPr>
                <p:spPr bwMode="auto">
                  <a:xfrm>
                    <a:off x="4334269" y="2139995"/>
                    <a:ext cx="74015" cy="76441"/>
                  </a:xfrm>
                  <a:custGeom>
                    <a:avLst/>
                    <a:gdLst/>
                    <a:ahLst/>
                    <a:cxnLst>
                      <a:cxn ang="0">
                        <a:pos x="0" y="4"/>
                      </a:cxn>
                      <a:cxn ang="0">
                        <a:pos x="1" y="3"/>
                      </a:cxn>
                      <a:cxn ang="0">
                        <a:pos x="3" y="2"/>
                      </a:cxn>
                      <a:cxn ang="0">
                        <a:pos x="7" y="2"/>
                      </a:cxn>
                      <a:cxn ang="0">
                        <a:pos x="14" y="5"/>
                      </a:cxn>
                      <a:cxn ang="0">
                        <a:pos x="16" y="6"/>
                      </a:cxn>
                      <a:cxn ang="0">
                        <a:pos x="18" y="6"/>
                      </a:cxn>
                      <a:cxn ang="0">
                        <a:pos x="20" y="7"/>
                      </a:cxn>
                      <a:cxn ang="0">
                        <a:pos x="22" y="8"/>
                      </a:cxn>
                      <a:cxn ang="0">
                        <a:pos x="24" y="12"/>
                      </a:cxn>
                      <a:cxn ang="0">
                        <a:pos x="24" y="14"/>
                      </a:cxn>
                      <a:cxn ang="0">
                        <a:pos x="25" y="14"/>
                      </a:cxn>
                      <a:cxn ang="0">
                        <a:pos x="25" y="17"/>
                      </a:cxn>
                      <a:cxn ang="0">
                        <a:pos x="29" y="22"/>
                      </a:cxn>
                      <a:cxn ang="0">
                        <a:pos x="31" y="23"/>
                      </a:cxn>
                      <a:cxn ang="0">
                        <a:pos x="24" y="23"/>
                      </a:cxn>
                      <a:cxn ang="0">
                        <a:pos x="23" y="22"/>
                      </a:cxn>
                      <a:cxn ang="0">
                        <a:pos x="21" y="28"/>
                      </a:cxn>
                      <a:cxn ang="0">
                        <a:pos x="19" y="31"/>
                      </a:cxn>
                      <a:cxn ang="0">
                        <a:pos x="18" y="32"/>
                      </a:cxn>
                      <a:cxn ang="0">
                        <a:pos x="16" y="33"/>
                      </a:cxn>
                      <a:cxn ang="0">
                        <a:pos x="15" y="30"/>
                      </a:cxn>
                      <a:cxn ang="0">
                        <a:pos x="15" y="21"/>
                      </a:cxn>
                      <a:cxn ang="0">
                        <a:pos x="12" y="16"/>
                      </a:cxn>
                      <a:cxn ang="0">
                        <a:pos x="6" y="9"/>
                      </a:cxn>
                      <a:cxn ang="0">
                        <a:pos x="0" y="4"/>
                      </a:cxn>
                    </a:cxnLst>
                    <a:rect l="0" t="0" r="r" b="b"/>
                    <a:pathLst>
                      <a:path w="32" h="33">
                        <a:moveTo>
                          <a:pt x="0" y="4"/>
                        </a:moveTo>
                        <a:cubicBezTo>
                          <a:pt x="1" y="3"/>
                          <a:pt x="1" y="4"/>
                          <a:pt x="1" y="3"/>
                        </a:cubicBezTo>
                        <a:cubicBezTo>
                          <a:pt x="2" y="2"/>
                          <a:pt x="2" y="2"/>
                          <a:pt x="3" y="2"/>
                        </a:cubicBezTo>
                        <a:cubicBezTo>
                          <a:pt x="4" y="2"/>
                          <a:pt x="6" y="3"/>
                          <a:pt x="7" y="2"/>
                        </a:cubicBezTo>
                        <a:cubicBezTo>
                          <a:pt x="10" y="0"/>
                          <a:pt x="12" y="6"/>
                          <a:pt x="14" y="5"/>
                        </a:cubicBezTo>
                        <a:cubicBezTo>
                          <a:pt x="14" y="6"/>
                          <a:pt x="15" y="4"/>
                          <a:pt x="16" y="6"/>
                        </a:cubicBezTo>
                        <a:cubicBezTo>
                          <a:pt x="16" y="4"/>
                          <a:pt x="18" y="5"/>
                          <a:pt x="18" y="6"/>
                        </a:cubicBezTo>
                        <a:cubicBezTo>
                          <a:pt x="19" y="6"/>
                          <a:pt x="20" y="7"/>
                          <a:pt x="20" y="7"/>
                        </a:cubicBezTo>
                        <a:cubicBezTo>
                          <a:pt x="21" y="6"/>
                          <a:pt x="21" y="7"/>
                          <a:pt x="22" y="8"/>
                        </a:cubicBezTo>
                        <a:cubicBezTo>
                          <a:pt x="23" y="10"/>
                          <a:pt x="22" y="10"/>
                          <a:pt x="24" y="12"/>
                        </a:cubicBezTo>
                        <a:cubicBezTo>
                          <a:pt x="24" y="12"/>
                          <a:pt x="24" y="13"/>
                          <a:pt x="24" y="14"/>
                        </a:cubicBezTo>
                        <a:cubicBezTo>
                          <a:pt x="25" y="14"/>
                          <a:pt x="25" y="13"/>
                          <a:pt x="25" y="14"/>
                        </a:cubicBezTo>
                        <a:cubicBezTo>
                          <a:pt x="26" y="15"/>
                          <a:pt x="24" y="19"/>
                          <a:pt x="25" y="17"/>
                        </a:cubicBezTo>
                        <a:cubicBezTo>
                          <a:pt x="26" y="14"/>
                          <a:pt x="32" y="21"/>
                          <a:pt x="29" y="22"/>
                        </a:cubicBezTo>
                        <a:cubicBezTo>
                          <a:pt x="30" y="22"/>
                          <a:pt x="30" y="23"/>
                          <a:pt x="31" y="23"/>
                        </a:cubicBezTo>
                        <a:cubicBezTo>
                          <a:pt x="29" y="25"/>
                          <a:pt x="25" y="21"/>
                          <a:pt x="24" y="23"/>
                        </a:cubicBezTo>
                        <a:cubicBezTo>
                          <a:pt x="24" y="23"/>
                          <a:pt x="24" y="22"/>
                          <a:pt x="23" y="22"/>
                        </a:cubicBezTo>
                        <a:cubicBezTo>
                          <a:pt x="20" y="23"/>
                          <a:pt x="23" y="25"/>
                          <a:pt x="21" y="28"/>
                        </a:cubicBezTo>
                        <a:cubicBezTo>
                          <a:pt x="20" y="29"/>
                          <a:pt x="19" y="30"/>
                          <a:pt x="19" y="31"/>
                        </a:cubicBezTo>
                        <a:cubicBezTo>
                          <a:pt x="18" y="32"/>
                          <a:pt x="19" y="32"/>
                          <a:pt x="18" y="32"/>
                        </a:cubicBezTo>
                        <a:cubicBezTo>
                          <a:pt x="17" y="33"/>
                          <a:pt x="16" y="32"/>
                          <a:pt x="16" y="33"/>
                        </a:cubicBezTo>
                        <a:cubicBezTo>
                          <a:pt x="15" y="32"/>
                          <a:pt x="15" y="32"/>
                          <a:pt x="15" y="30"/>
                        </a:cubicBezTo>
                        <a:cubicBezTo>
                          <a:pt x="13" y="27"/>
                          <a:pt x="15" y="24"/>
                          <a:pt x="15" y="21"/>
                        </a:cubicBezTo>
                        <a:cubicBezTo>
                          <a:pt x="15" y="20"/>
                          <a:pt x="13" y="17"/>
                          <a:pt x="12" y="16"/>
                        </a:cubicBezTo>
                        <a:cubicBezTo>
                          <a:pt x="9" y="13"/>
                          <a:pt x="8" y="12"/>
                          <a:pt x="6" y="9"/>
                        </a:cubicBezTo>
                        <a:cubicBezTo>
                          <a:pt x="5" y="7"/>
                          <a:pt x="3" y="4"/>
                          <a:pt x="0" y="4"/>
                        </a:cubicBezTo>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92" name="Bulgaria">
                    <a:extLst>
                      <a:ext uri="{FF2B5EF4-FFF2-40B4-BE49-F238E27FC236}">
                        <a16:creationId xmlns:a16="http://schemas.microsoft.com/office/drawing/2014/main" id="{C0CA90ED-474A-D190-AC2E-155905CB999B}"/>
                      </a:ext>
                    </a:extLst>
                  </p:cNvPr>
                  <p:cNvSpPr>
                    <a:spLocks/>
                  </p:cNvSpPr>
                  <p:nvPr/>
                </p:nvSpPr>
                <p:spPr bwMode="auto">
                  <a:xfrm>
                    <a:off x="4260254" y="2246767"/>
                    <a:ext cx="122548" cy="74015"/>
                  </a:xfrm>
                  <a:custGeom>
                    <a:avLst/>
                    <a:gdLst/>
                    <a:ahLst/>
                    <a:cxnLst>
                      <a:cxn ang="0">
                        <a:pos x="0" y="5"/>
                      </a:cxn>
                      <a:cxn ang="0">
                        <a:pos x="2" y="0"/>
                      </a:cxn>
                      <a:cxn ang="0">
                        <a:pos x="5" y="1"/>
                      </a:cxn>
                      <a:cxn ang="0">
                        <a:pos x="4" y="4"/>
                      </a:cxn>
                      <a:cxn ang="0">
                        <a:pos x="10" y="4"/>
                      </a:cxn>
                      <a:cxn ang="0">
                        <a:pos x="17" y="5"/>
                      </a:cxn>
                      <a:cxn ang="0">
                        <a:pos x="22" y="5"/>
                      </a:cxn>
                      <a:cxn ang="0">
                        <a:pos x="29" y="5"/>
                      </a:cxn>
                      <a:cxn ang="0">
                        <a:pos x="35" y="2"/>
                      </a:cxn>
                      <a:cxn ang="0">
                        <a:pos x="41" y="1"/>
                      </a:cxn>
                      <a:cxn ang="0">
                        <a:pos x="46" y="2"/>
                      </a:cxn>
                      <a:cxn ang="0">
                        <a:pos x="50" y="5"/>
                      </a:cxn>
                      <a:cxn ang="0">
                        <a:pos x="53" y="6"/>
                      </a:cxn>
                      <a:cxn ang="0">
                        <a:pos x="51" y="9"/>
                      </a:cxn>
                      <a:cxn ang="0">
                        <a:pos x="48" y="12"/>
                      </a:cxn>
                      <a:cxn ang="0">
                        <a:pos x="47" y="16"/>
                      </a:cxn>
                      <a:cxn ang="0">
                        <a:pos x="46" y="17"/>
                      </a:cxn>
                      <a:cxn ang="0">
                        <a:pos x="44" y="19"/>
                      </a:cxn>
                      <a:cxn ang="0">
                        <a:pos x="49" y="23"/>
                      </a:cxn>
                      <a:cxn ang="0">
                        <a:pos x="45" y="24"/>
                      </a:cxn>
                      <a:cxn ang="0">
                        <a:pos x="42" y="23"/>
                      </a:cxn>
                      <a:cxn ang="0">
                        <a:pos x="38" y="24"/>
                      </a:cxn>
                      <a:cxn ang="0">
                        <a:pos x="37" y="25"/>
                      </a:cxn>
                      <a:cxn ang="0">
                        <a:pos x="36" y="27"/>
                      </a:cxn>
                      <a:cxn ang="0">
                        <a:pos x="33" y="31"/>
                      </a:cxn>
                      <a:cxn ang="0">
                        <a:pos x="27" y="31"/>
                      </a:cxn>
                      <a:cxn ang="0">
                        <a:pos x="23" y="30"/>
                      </a:cxn>
                      <a:cxn ang="0">
                        <a:pos x="20" y="29"/>
                      </a:cxn>
                      <a:cxn ang="0">
                        <a:pos x="17" y="28"/>
                      </a:cxn>
                      <a:cxn ang="0">
                        <a:pos x="13" y="31"/>
                      </a:cxn>
                      <a:cxn ang="0">
                        <a:pos x="8" y="31"/>
                      </a:cxn>
                      <a:cxn ang="0">
                        <a:pos x="6" y="31"/>
                      </a:cxn>
                      <a:cxn ang="0">
                        <a:pos x="6" y="27"/>
                      </a:cxn>
                      <a:cxn ang="0">
                        <a:pos x="3" y="23"/>
                      </a:cxn>
                      <a:cxn ang="0">
                        <a:pos x="0" y="20"/>
                      </a:cxn>
                      <a:cxn ang="0">
                        <a:pos x="1" y="15"/>
                      </a:cxn>
                      <a:cxn ang="0">
                        <a:pos x="3" y="14"/>
                      </a:cxn>
                      <a:cxn ang="0">
                        <a:pos x="5" y="11"/>
                      </a:cxn>
                      <a:cxn ang="0">
                        <a:pos x="0" y="5"/>
                      </a:cxn>
                    </a:cxnLst>
                    <a:rect l="0" t="0" r="r" b="b"/>
                    <a:pathLst>
                      <a:path w="53" h="32">
                        <a:moveTo>
                          <a:pt x="0" y="5"/>
                        </a:moveTo>
                        <a:cubicBezTo>
                          <a:pt x="0" y="3"/>
                          <a:pt x="1" y="1"/>
                          <a:pt x="2" y="0"/>
                        </a:cubicBezTo>
                        <a:cubicBezTo>
                          <a:pt x="5" y="1"/>
                          <a:pt x="5" y="1"/>
                          <a:pt x="5" y="1"/>
                        </a:cubicBezTo>
                        <a:cubicBezTo>
                          <a:pt x="5" y="2"/>
                          <a:pt x="3" y="3"/>
                          <a:pt x="4" y="4"/>
                        </a:cubicBezTo>
                        <a:cubicBezTo>
                          <a:pt x="5" y="5"/>
                          <a:pt x="9" y="4"/>
                          <a:pt x="10" y="4"/>
                        </a:cubicBezTo>
                        <a:cubicBezTo>
                          <a:pt x="12" y="5"/>
                          <a:pt x="14" y="6"/>
                          <a:pt x="17" y="5"/>
                        </a:cubicBezTo>
                        <a:cubicBezTo>
                          <a:pt x="18" y="5"/>
                          <a:pt x="20" y="5"/>
                          <a:pt x="22" y="5"/>
                        </a:cubicBezTo>
                        <a:cubicBezTo>
                          <a:pt x="25" y="6"/>
                          <a:pt x="26" y="7"/>
                          <a:pt x="29" y="5"/>
                        </a:cubicBezTo>
                        <a:cubicBezTo>
                          <a:pt x="31" y="4"/>
                          <a:pt x="32" y="2"/>
                          <a:pt x="35" y="2"/>
                        </a:cubicBezTo>
                        <a:cubicBezTo>
                          <a:pt x="37" y="2"/>
                          <a:pt x="39" y="0"/>
                          <a:pt x="41" y="1"/>
                        </a:cubicBezTo>
                        <a:cubicBezTo>
                          <a:pt x="43" y="2"/>
                          <a:pt x="45" y="3"/>
                          <a:pt x="46" y="2"/>
                        </a:cubicBezTo>
                        <a:cubicBezTo>
                          <a:pt x="47" y="2"/>
                          <a:pt x="49" y="5"/>
                          <a:pt x="50" y="5"/>
                        </a:cubicBezTo>
                        <a:cubicBezTo>
                          <a:pt x="51" y="5"/>
                          <a:pt x="53" y="4"/>
                          <a:pt x="53" y="6"/>
                        </a:cubicBezTo>
                        <a:cubicBezTo>
                          <a:pt x="53" y="8"/>
                          <a:pt x="53" y="9"/>
                          <a:pt x="51" y="9"/>
                        </a:cubicBezTo>
                        <a:cubicBezTo>
                          <a:pt x="49" y="9"/>
                          <a:pt x="48" y="10"/>
                          <a:pt x="48" y="12"/>
                        </a:cubicBezTo>
                        <a:cubicBezTo>
                          <a:pt x="47" y="13"/>
                          <a:pt x="48" y="15"/>
                          <a:pt x="47" y="16"/>
                        </a:cubicBezTo>
                        <a:cubicBezTo>
                          <a:pt x="47" y="17"/>
                          <a:pt x="46" y="17"/>
                          <a:pt x="46" y="17"/>
                        </a:cubicBezTo>
                        <a:cubicBezTo>
                          <a:pt x="46" y="18"/>
                          <a:pt x="45" y="18"/>
                          <a:pt x="44" y="19"/>
                        </a:cubicBezTo>
                        <a:cubicBezTo>
                          <a:pt x="47" y="19"/>
                          <a:pt x="47" y="21"/>
                          <a:pt x="49" y="23"/>
                        </a:cubicBezTo>
                        <a:cubicBezTo>
                          <a:pt x="51" y="25"/>
                          <a:pt x="46" y="25"/>
                          <a:pt x="45" y="24"/>
                        </a:cubicBezTo>
                        <a:cubicBezTo>
                          <a:pt x="44" y="24"/>
                          <a:pt x="44" y="22"/>
                          <a:pt x="42" y="23"/>
                        </a:cubicBezTo>
                        <a:cubicBezTo>
                          <a:pt x="41" y="23"/>
                          <a:pt x="40" y="24"/>
                          <a:pt x="38" y="24"/>
                        </a:cubicBezTo>
                        <a:cubicBezTo>
                          <a:pt x="36" y="25"/>
                          <a:pt x="38" y="25"/>
                          <a:pt x="37" y="25"/>
                        </a:cubicBezTo>
                        <a:cubicBezTo>
                          <a:pt x="36" y="26"/>
                          <a:pt x="35" y="26"/>
                          <a:pt x="36" y="27"/>
                        </a:cubicBezTo>
                        <a:cubicBezTo>
                          <a:pt x="30" y="26"/>
                          <a:pt x="37" y="29"/>
                          <a:pt x="33" y="31"/>
                        </a:cubicBezTo>
                        <a:cubicBezTo>
                          <a:pt x="31" y="31"/>
                          <a:pt x="32" y="30"/>
                          <a:pt x="27" y="31"/>
                        </a:cubicBezTo>
                        <a:cubicBezTo>
                          <a:pt x="26" y="32"/>
                          <a:pt x="25" y="30"/>
                          <a:pt x="23" y="30"/>
                        </a:cubicBezTo>
                        <a:cubicBezTo>
                          <a:pt x="22" y="30"/>
                          <a:pt x="22" y="31"/>
                          <a:pt x="20" y="29"/>
                        </a:cubicBezTo>
                        <a:cubicBezTo>
                          <a:pt x="19" y="28"/>
                          <a:pt x="18" y="28"/>
                          <a:pt x="17" y="28"/>
                        </a:cubicBezTo>
                        <a:cubicBezTo>
                          <a:pt x="15" y="29"/>
                          <a:pt x="14" y="31"/>
                          <a:pt x="13" y="31"/>
                        </a:cubicBezTo>
                        <a:cubicBezTo>
                          <a:pt x="10" y="31"/>
                          <a:pt x="9" y="31"/>
                          <a:pt x="8" y="31"/>
                        </a:cubicBezTo>
                        <a:cubicBezTo>
                          <a:pt x="8" y="32"/>
                          <a:pt x="7" y="31"/>
                          <a:pt x="6" y="31"/>
                        </a:cubicBezTo>
                        <a:cubicBezTo>
                          <a:pt x="6" y="30"/>
                          <a:pt x="5" y="28"/>
                          <a:pt x="6" y="27"/>
                        </a:cubicBezTo>
                        <a:cubicBezTo>
                          <a:pt x="6" y="25"/>
                          <a:pt x="4" y="24"/>
                          <a:pt x="3" y="23"/>
                        </a:cubicBezTo>
                        <a:cubicBezTo>
                          <a:pt x="2" y="22"/>
                          <a:pt x="1" y="21"/>
                          <a:pt x="0" y="20"/>
                        </a:cubicBezTo>
                        <a:cubicBezTo>
                          <a:pt x="4" y="19"/>
                          <a:pt x="0" y="18"/>
                          <a:pt x="1" y="15"/>
                        </a:cubicBezTo>
                        <a:cubicBezTo>
                          <a:pt x="2" y="14"/>
                          <a:pt x="3" y="15"/>
                          <a:pt x="3" y="14"/>
                        </a:cubicBezTo>
                        <a:cubicBezTo>
                          <a:pt x="4" y="14"/>
                          <a:pt x="5" y="12"/>
                          <a:pt x="5" y="11"/>
                        </a:cubicBezTo>
                        <a:cubicBezTo>
                          <a:pt x="3" y="10"/>
                          <a:pt x="0" y="7"/>
                          <a:pt x="0" y="5"/>
                        </a:cubicBezTo>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93" name="Belarus">
                    <a:extLst>
                      <a:ext uri="{FF2B5EF4-FFF2-40B4-BE49-F238E27FC236}">
                        <a16:creationId xmlns:a16="http://schemas.microsoft.com/office/drawing/2014/main" id="{C766846D-8367-35BD-441C-13BD42C7AD9D}"/>
                      </a:ext>
                    </a:extLst>
                  </p:cNvPr>
                  <p:cNvSpPr>
                    <a:spLocks/>
                  </p:cNvSpPr>
                  <p:nvPr/>
                </p:nvSpPr>
                <p:spPr bwMode="auto">
                  <a:xfrm>
                    <a:off x="4261468" y="1961635"/>
                    <a:ext cx="177147" cy="116481"/>
                  </a:xfrm>
                  <a:custGeom>
                    <a:avLst/>
                    <a:gdLst/>
                    <a:ahLst/>
                    <a:cxnLst>
                      <a:cxn ang="0">
                        <a:pos x="0" y="39"/>
                      </a:cxn>
                      <a:cxn ang="0">
                        <a:pos x="3" y="36"/>
                      </a:cxn>
                      <a:cxn ang="0">
                        <a:pos x="5" y="32"/>
                      </a:cxn>
                      <a:cxn ang="0">
                        <a:pos x="1" y="22"/>
                      </a:cxn>
                      <a:cxn ang="0">
                        <a:pos x="7" y="22"/>
                      </a:cxn>
                      <a:cxn ang="0">
                        <a:pos x="10" y="22"/>
                      </a:cxn>
                      <a:cxn ang="0">
                        <a:pos x="11" y="20"/>
                      </a:cxn>
                      <a:cxn ang="0">
                        <a:pos x="13" y="20"/>
                      </a:cxn>
                      <a:cxn ang="0">
                        <a:pos x="14" y="19"/>
                      </a:cxn>
                      <a:cxn ang="0">
                        <a:pos x="17" y="20"/>
                      </a:cxn>
                      <a:cxn ang="0">
                        <a:pos x="18" y="20"/>
                      </a:cxn>
                      <a:cxn ang="0">
                        <a:pos x="16" y="18"/>
                      </a:cxn>
                      <a:cxn ang="0">
                        <a:pos x="20" y="12"/>
                      </a:cxn>
                      <a:cxn ang="0">
                        <a:pos x="23" y="10"/>
                      </a:cxn>
                      <a:cxn ang="0">
                        <a:pos x="25" y="8"/>
                      </a:cxn>
                      <a:cxn ang="0">
                        <a:pos x="23" y="4"/>
                      </a:cxn>
                      <a:cxn ang="0">
                        <a:pos x="29" y="3"/>
                      </a:cxn>
                      <a:cxn ang="0">
                        <a:pos x="34" y="0"/>
                      </a:cxn>
                      <a:cxn ang="0">
                        <a:pos x="37" y="0"/>
                      </a:cxn>
                      <a:cxn ang="0">
                        <a:pos x="45" y="2"/>
                      </a:cxn>
                      <a:cxn ang="0">
                        <a:pos x="45" y="4"/>
                      </a:cxn>
                      <a:cxn ang="0">
                        <a:pos x="49" y="3"/>
                      </a:cxn>
                      <a:cxn ang="0">
                        <a:pos x="55" y="4"/>
                      </a:cxn>
                      <a:cxn ang="0">
                        <a:pos x="58" y="6"/>
                      </a:cxn>
                      <a:cxn ang="0">
                        <a:pos x="58" y="10"/>
                      </a:cxn>
                      <a:cxn ang="0">
                        <a:pos x="58" y="12"/>
                      </a:cxn>
                      <a:cxn ang="0">
                        <a:pos x="60" y="15"/>
                      </a:cxn>
                      <a:cxn ang="0">
                        <a:pos x="65" y="20"/>
                      </a:cxn>
                      <a:cxn ang="0">
                        <a:pos x="67" y="21"/>
                      </a:cxn>
                      <a:cxn ang="0">
                        <a:pos x="67" y="24"/>
                      </a:cxn>
                      <a:cxn ang="0">
                        <a:pos x="69" y="23"/>
                      </a:cxn>
                      <a:cxn ang="0">
                        <a:pos x="71" y="24"/>
                      </a:cxn>
                      <a:cxn ang="0">
                        <a:pos x="73" y="25"/>
                      </a:cxn>
                      <a:cxn ang="0">
                        <a:pos x="75" y="27"/>
                      </a:cxn>
                      <a:cxn ang="0">
                        <a:pos x="74" y="29"/>
                      </a:cxn>
                      <a:cxn ang="0">
                        <a:pos x="71" y="31"/>
                      </a:cxn>
                      <a:cxn ang="0">
                        <a:pos x="66" y="30"/>
                      </a:cxn>
                      <a:cxn ang="0">
                        <a:pos x="66" y="33"/>
                      </a:cxn>
                      <a:cxn ang="0">
                        <a:pos x="67" y="36"/>
                      </a:cxn>
                      <a:cxn ang="0">
                        <a:pos x="70" y="41"/>
                      </a:cxn>
                      <a:cxn ang="0">
                        <a:pos x="65" y="41"/>
                      </a:cxn>
                      <a:cxn ang="0">
                        <a:pos x="60" y="45"/>
                      </a:cxn>
                      <a:cxn ang="0">
                        <a:pos x="61" y="48"/>
                      </a:cxn>
                      <a:cxn ang="0">
                        <a:pos x="58" y="48"/>
                      </a:cxn>
                      <a:cxn ang="0">
                        <a:pos x="53" y="47"/>
                      </a:cxn>
                      <a:cxn ang="0">
                        <a:pos x="48" y="46"/>
                      </a:cxn>
                      <a:cxn ang="0">
                        <a:pos x="45" y="48"/>
                      </a:cxn>
                      <a:cxn ang="0">
                        <a:pos x="44" y="46"/>
                      </a:cxn>
                      <a:cxn ang="0">
                        <a:pos x="42" y="46"/>
                      </a:cxn>
                      <a:cxn ang="0">
                        <a:pos x="40" y="46"/>
                      </a:cxn>
                      <a:cxn ang="0">
                        <a:pos x="38" y="47"/>
                      </a:cxn>
                      <a:cxn ang="0">
                        <a:pos x="35" y="46"/>
                      </a:cxn>
                      <a:cxn ang="0">
                        <a:pos x="33" y="46"/>
                      </a:cxn>
                      <a:cxn ang="0">
                        <a:pos x="27" y="44"/>
                      </a:cxn>
                      <a:cxn ang="0">
                        <a:pos x="20" y="43"/>
                      </a:cxn>
                      <a:cxn ang="0">
                        <a:pos x="12" y="43"/>
                      </a:cxn>
                      <a:cxn ang="0">
                        <a:pos x="8" y="46"/>
                      </a:cxn>
                      <a:cxn ang="0">
                        <a:pos x="5" y="46"/>
                      </a:cxn>
                      <a:cxn ang="0">
                        <a:pos x="3" y="47"/>
                      </a:cxn>
                      <a:cxn ang="0">
                        <a:pos x="3" y="42"/>
                      </a:cxn>
                      <a:cxn ang="0">
                        <a:pos x="0" y="39"/>
                      </a:cxn>
                    </a:cxnLst>
                    <a:rect l="0" t="0" r="r" b="b"/>
                    <a:pathLst>
                      <a:path w="76" h="50">
                        <a:moveTo>
                          <a:pt x="0" y="39"/>
                        </a:moveTo>
                        <a:cubicBezTo>
                          <a:pt x="0" y="37"/>
                          <a:pt x="1" y="36"/>
                          <a:pt x="3" y="36"/>
                        </a:cubicBezTo>
                        <a:cubicBezTo>
                          <a:pt x="5" y="35"/>
                          <a:pt x="5" y="34"/>
                          <a:pt x="5" y="32"/>
                        </a:cubicBezTo>
                        <a:cubicBezTo>
                          <a:pt x="5" y="28"/>
                          <a:pt x="1" y="26"/>
                          <a:pt x="1" y="22"/>
                        </a:cubicBezTo>
                        <a:cubicBezTo>
                          <a:pt x="3" y="22"/>
                          <a:pt x="5" y="22"/>
                          <a:pt x="7" y="22"/>
                        </a:cubicBezTo>
                        <a:cubicBezTo>
                          <a:pt x="8" y="22"/>
                          <a:pt x="9" y="22"/>
                          <a:pt x="10" y="22"/>
                        </a:cubicBezTo>
                        <a:cubicBezTo>
                          <a:pt x="11" y="21"/>
                          <a:pt x="10" y="21"/>
                          <a:pt x="11" y="20"/>
                        </a:cubicBezTo>
                        <a:cubicBezTo>
                          <a:pt x="12" y="20"/>
                          <a:pt x="13" y="20"/>
                          <a:pt x="13" y="20"/>
                        </a:cubicBezTo>
                        <a:cubicBezTo>
                          <a:pt x="14" y="20"/>
                          <a:pt x="14" y="19"/>
                          <a:pt x="14" y="19"/>
                        </a:cubicBezTo>
                        <a:cubicBezTo>
                          <a:pt x="15" y="18"/>
                          <a:pt x="17" y="18"/>
                          <a:pt x="17" y="20"/>
                        </a:cubicBezTo>
                        <a:cubicBezTo>
                          <a:pt x="17" y="20"/>
                          <a:pt x="18" y="20"/>
                          <a:pt x="18" y="20"/>
                        </a:cubicBezTo>
                        <a:cubicBezTo>
                          <a:pt x="19" y="18"/>
                          <a:pt x="17" y="18"/>
                          <a:pt x="16" y="18"/>
                        </a:cubicBezTo>
                        <a:cubicBezTo>
                          <a:pt x="19" y="16"/>
                          <a:pt x="17" y="13"/>
                          <a:pt x="20" y="12"/>
                        </a:cubicBezTo>
                        <a:cubicBezTo>
                          <a:pt x="21" y="11"/>
                          <a:pt x="21" y="10"/>
                          <a:pt x="23" y="10"/>
                        </a:cubicBezTo>
                        <a:cubicBezTo>
                          <a:pt x="25" y="10"/>
                          <a:pt x="24" y="9"/>
                          <a:pt x="25" y="8"/>
                        </a:cubicBezTo>
                        <a:cubicBezTo>
                          <a:pt x="23" y="8"/>
                          <a:pt x="21" y="7"/>
                          <a:pt x="23" y="4"/>
                        </a:cubicBezTo>
                        <a:cubicBezTo>
                          <a:pt x="25" y="3"/>
                          <a:pt x="28" y="2"/>
                          <a:pt x="29" y="3"/>
                        </a:cubicBezTo>
                        <a:cubicBezTo>
                          <a:pt x="32" y="4"/>
                          <a:pt x="32" y="1"/>
                          <a:pt x="34" y="0"/>
                        </a:cubicBezTo>
                        <a:cubicBezTo>
                          <a:pt x="35" y="0"/>
                          <a:pt x="36" y="1"/>
                          <a:pt x="37" y="0"/>
                        </a:cubicBezTo>
                        <a:cubicBezTo>
                          <a:pt x="39" y="0"/>
                          <a:pt x="45" y="0"/>
                          <a:pt x="45" y="2"/>
                        </a:cubicBezTo>
                        <a:cubicBezTo>
                          <a:pt x="46" y="2"/>
                          <a:pt x="45" y="3"/>
                          <a:pt x="45" y="4"/>
                        </a:cubicBezTo>
                        <a:cubicBezTo>
                          <a:pt x="46" y="4"/>
                          <a:pt x="49" y="3"/>
                          <a:pt x="49" y="3"/>
                        </a:cubicBezTo>
                        <a:cubicBezTo>
                          <a:pt x="52" y="2"/>
                          <a:pt x="53" y="2"/>
                          <a:pt x="55" y="4"/>
                        </a:cubicBezTo>
                        <a:cubicBezTo>
                          <a:pt x="56" y="5"/>
                          <a:pt x="58" y="5"/>
                          <a:pt x="58" y="6"/>
                        </a:cubicBezTo>
                        <a:cubicBezTo>
                          <a:pt x="58" y="8"/>
                          <a:pt x="58" y="8"/>
                          <a:pt x="58" y="10"/>
                        </a:cubicBezTo>
                        <a:cubicBezTo>
                          <a:pt x="59" y="11"/>
                          <a:pt x="59" y="11"/>
                          <a:pt x="58" y="12"/>
                        </a:cubicBezTo>
                        <a:cubicBezTo>
                          <a:pt x="57" y="13"/>
                          <a:pt x="59" y="14"/>
                          <a:pt x="60" y="15"/>
                        </a:cubicBezTo>
                        <a:cubicBezTo>
                          <a:pt x="62" y="16"/>
                          <a:pt x="62" y="19"/>
                          <a:pt x="65" y="20"/>
                        </a:cubicBezTo>
                        <a:cubicBezTo>
                          <a:pt x="66" y="20"/>
                          <a:pt x="67" y="20"/>
                          <a:pt x="67" y="21"/>
                        </a:cubicBezTo>
                        <a:cubicBezTo>
                          <a:pt x="68" y="22"/>
                          <a:pt x="66" y="24"/>
                          <a:pt x="67" y="24"/>
                        </a:cubicBezTo>
                        <a:cubicBezTo>
                          <a:pt x="68" y="23"/>
                          <a:pt x="69" y="23"/>
                          <a:pt x="69" y="23"/>
                        </a:cubicBezTo>
                        <a:cubicBezTo>
                          <a:pt x="70" y="23"/>
                          <a:pt x="70" y="24"/>
                          <a:pt x="71" y="24"/>
                        </a:cubicBezTo>
                        <a:cubicBezTo>
                          <a:pt x="73" y="24"/>
                          <a:pt x="72" y="24"/>
                          <a:pt x="73" y="25"/>
                        </a:cubicBezTo>
                        <a:cubicBezTo>
                          <a:pt x="73" y="26"/>
                          <a:pt x="74" y="26"/>
                          <a:pt x="75" y="27"/>
                        </a:cubicBezTo>
                        <a:cubicBezTo>
                          <a:pt x="76" y="29"/>
                          <a:pt x="74" y="29"/>
                          <a:pt x="74" y="29"/>
                        </a:cubicBezTo>
                        <a:cubicBezTo>
                          <a:pt x="73" y="30"/>
                          <a:pt x="72" y="30"/>
                          <a:pt x="71" y="31"/>
                        </a:cubicBezTo>
                        <a:cubicBezTo>
                          <a:pt x="69" y="31"/>
                          <a:pt x="68" y="29"/>
                          <a:pt x="66" y="30"/>
                        </a:cubicBezTo>
                        <a:cubicBezTo>
                          <a:pt x="62" y="31"/>
                          <a:pt x="65" y="32"/>
                          <a:pt x="66" y="33"/>
                        </a:cubicBezTo>
                        <a:cubicBezTo>
                          <a:pt x="67" y="34"/>
                          <a:pt x="67" y="35"/>
                          <a:pt x="67" y="36"/>
                        </a:cubicBezTo>
                        <a:cubicBezTo>
                          <a:pt x="67" y="38"/>
                          <a:pt x="69" y="39"/>
                          <a:pt x="70" y="41"/>
                        </a:cubicBezTo>
                        <a:cubicBezTo>
                          <a:pt x="68" y="41"/>
                          <a:pt x="68" y="40"/>
                          <a:pt x="65" y="41"/>
                        </a:cubicBezTo>
                        <a:cubicBezTo>
                          <a:pt x="63" y="41"/>
                          <a:pt x="61" y="42"/>
                          <a:pt x="60" y="45"/>
                        </a:cubicBezTo>
                        <a:cubicBezTo>
                          <a:pt x="60" y="46"/>
                          <a:pt x="61" y="47"/>
                          <a:pt x="61" y="48"/>
                        </a:cubicBezTo>
                        <a:cubicBezTo>
                          <a:pt x="61" y="50"/>
                          <a:pt x="58" y="49"/>
                          <a:pt x="58" y="48"/>
                        </a:cubicBezTo>
                        <a:cubicBezTo>
                          <a:pt x="56" y="46"/>
                          <a:pt x="55" y="48"/>
                          <a:pt x="53" y="47"/>
                        </a:cubicBezTo>
                        <a:cubicBezTo>
                          <a:pt x="49" y="50"/>
                          <a:pt x="50" y="47"/>
                          <a:pt x="48" y="46"/>
                        </a:cubicBezTo>
                        <a:cubicBezTo>
                          <a:pt x="47" y="46"/>
                          <a:pt x="45" y="47"/>
                          <a:pt x="45" y="48"/>
                        </a:cubicBezTo>
                        <a:cubicBezTo>
                          <a:pt x="45" y="48"/>
                          <a:pt x="45" y="47"/>
                          <a:pt x="44" y="46"/>
                        </a:cubicBezTo>
                        <a:cubicBezTo>
                          <a:pt x="43" y="46"/>
                          <a:pt x="43" y="47"/>
                          <a:pt x="42" y="46"/>
                        </a:cubicBezTo>
                        <a:cubicBezTo>
                          <a:pt x="41" y="46"/>
                          <a:pt x="41" y="46"/>
                          <a:pt x="40" y="46"/>
                        </a:cubicBezTo>
                        <a:cubicBezTo>
                          <a:pt x="38" y="46"/>
                          <a:pt x="38" y="45"/>
                          <a:pt x="38" y="47"/>
                        </a:cubicBezTo>
                        <a:cubicBezTo>
                          <a:pt x="37" y="47"/>
                          <a:pt x="36" y="46"/>
                          <a:pt x="35" y="46"/>
                        </a:cubicBezTo>
                        <a:cubicBezTo>
                          <a:pt x="35" y="46"/>
                          <a:pt x="34" y="47"/>
                          <a:pt x="33" y="46"/>
                        </a:cubicBezTo>
                        <a:cubicBezTo>
                          <a:pt x="31" y="43"/>
                          <a:pt x="29" y="44"/>
                          <a:pt x="27" y="44"/>
                        </a:cubicBezTo>
                        <a:cubicBezTo>
                          <a:pt x="25" y="43"/>
                          <a:pt x="22" y="42"/>
                          <a:pt x="20" y="43"/>
                        </a:cubicBezTo>
                        <a:cubicBezTo>
                          <a:pt x="17" y="43"/>
                          <a:pt x="15" y="43"/>
                          <a:pt x="12" y="43"/>
                        </a:cubicBezTo>
                        <a:cubicBezTo>
                          <a:pt x="9" y="43"/>
                          <a:pt x="10" y="44"/>
                          <a:pt x="8" y="46"/>
                        </a:cubicBezTo>
                        <a:cubicBezTo>
                          <a:pt x="7" y="46"/>
                          <a:pt x="6" y="46"/>
                          <a:pt x="5" y="46"/>
                        </a:cubicBezTo>
                        <a:cubicBezTo>
                          <a:pt x="3" y="45"/>
                          <a:pt x="4" y="46"/>
                          <a:pt x="3" y="47"/>
                        </a:cubicBezTo>
                        <a:cubicBezTo>
                          <a:pt x="2" y="48"/>
                          <a:pt x="3" y="43"/>
                          <a:pt x="3" y="42"/>
                        </a:cubicBezTo>
                        <a:cubicBezTo>
                          <a:pt x="4" y="39"/>
                          <a:pt x="0" y="41"/>
                          <a:pt x="0" y="39"/>
                        </a:cubicBezTo>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50" name="Group 225">
                  <a:extLst>
                    <a:ext uri="{FF2B5EF4-FFF2-40B4-BE49-F238E27FC236}">
                      <a16:creationId xmlns:a16="http://schemas.microsoft.com/office/drawing/2014/main" id="{402FF9A2-FB1F-22C5-BC61-E294B850D42D}"/>
                    </a:ext>
                  </a:extLst>
                </p:cNvPr>
                <p:cNvGrpSpPr/>
                <p:nvPr/>
              </p:nvGrpSpPr>
              <p:grpSpPr>
                <a:xfrm>
                  <a:off x="3613546" y="1630392"/>
                  <a:ext cx="1144179" cy="846849"/>
                  <a:chOff x="3613546" y="1630392"/>
                  <a:chExt cx="1144179" cy="846849"/>
                </a:xfrm>
                <a:grpFill/>
              </p:grpSpPr>
              <p:sp>
                <p:nvSpPr>
                  <p:cNvPr id="51" name="Latvia">
                    <a:extLst>
                      <a:ext uri="{FF2B5EF4-FFF2-40B4-BE49-F238E27FC236}">
                        <a16:creationId xmlns:a16="http://schemas.microsoft.com/office/drawing/2014/main" id="{43FE5D91-0129-73ED-8039-D63A05E61F9D}"/>
                      </a:ext>
                    </a:extLst>
                  </p:cNvPr>
                  <p:cNvSpPr>
                    <a:spLocks/>
                  </p:cNvSpPr>
                  <p:nvPr/>
                </p:nvSpPr>
                <p:spPr bwMode="auto">
                  <a:xfrm>
                    <a:off x="4210508" y="1915527"/>
                    <a:ext cx="134681" cy="58240"/>
                  </a:xfrm>
                  <a:custGeom>
                    <a:avLst/>
                    <a:gdLst/>
                    <a:ahLst/>
                    <a:cxnLst>
                      <a:cxn ang="0">
                        <a:pos x="1" y="16"/>
                      </a:cxn>
                      <a:cxn ang="0">
                        <a:pos x="1" y="17"/>
                      </a:cxn>
                      <a:cxn ang="0">
                        <a:pos x="2" y="12"/>
                      </a:cxn>
                      <a:cxn ang="0">
                        <a:pos x="3" y="11"/>
                      </a:cxn>
                      <a:cxn ang="0">
                        <a:pos x="4" y="8"/>
                      </a:cxn>
                      <a:cxn ang="0">
                        <a:pos x="8" y="5"/>
                      </a:cxn>
                      <a:cxn ang="0">
                        <a:pos x="12" y="4"/>
                      </a:cxn>
                      <a:cxn ang="0">
                        <a:pos x="16" y="7"/>
                      </a:cxn>
                      <a:cxn ang="0">
                        <a:pos x="20" y="11"/>
                      </a:cxn>
                      <a:cxn ang="0">
                        <a:pos x="25" y="10"/>
                      </a:cxn>
                      <a:cxn ang="0">
                        <a:pos x="26" y="5"/>
                      </a:cxn>
                      <a:cxn ang="0">
                        <a:pos x="25" y="2"/>
                      </a:cxn>
                      <a:cxn ang="0">
                        <a:pos x="27" y="2"/>
                      </a:cxn>
                      <a:cxn ang="0">
                        <a:pos x="32" y="1"/>
                      </a:cxn>
                      <a:cxn ang="0">
                        <a:pos x="36" y="2"/>
                      </a:cxn>
                      <a:cxn ang="0">
                        <a:pos x="40" y="4"/>
                      </a:cxn>
                      <a:cxn ang="0">
                        <a:pos x="44" y="5"/>
                      </a:cxn>
                      <a:cxn ang="0">
                        <a:pos x="49" y="6"/>
                      </a:cxn>
                      <a:cxn ang="0">
                        <a:pos x="54" y="9"/>
                      </a:cxn>
                      <a:cxn ang="0">
                        <a:pos x="52" y="12"/>
                      </a:cxn>
                      <a:cxn ang="0">
                        <a:pos x="55" y="14"/>
                      </a:cxn>
                      <a:cxn ang="0">
                        <a:pos x="58" y="20"/>
                      </a:cxn>
                      <a:cxn ang="0">
                        <a:pos x="56" y="20"/>
                      </a:cxn>
                      <a:cxn ang="0">
                        <a:pos x="54" y="22"/>
                      </a:cxn>
                      <a:cxn ang="0">
                        <a:pos x="53" y="23"/>
                      </a:cxn>
                      <a:cxn ang="0">
                        <a:pos x="48" y="23"/>
                      </a:cxn>
                      <a:cxn ang="0">
                        <a:pos x="43" y="24"/>
                      </a:cxn>
                      <a:cxn ang="0">
                        <a:pos x="38" y="20"/>
                      </a:cxn>
                      <a:cxn ang="0">
                        <a:pos x="33" y="19"/>
                      </a:cxn>
                      <a:cxn ang="0">
                        <a:pos x="30" y="17"/>
                      </a:cxn>
                      <a:cxn ang="0">
                        <a:pos x="26" y="18"/>
                      </a:cxn>
                      <a:cxn ang="0">
                        <a:pos x="21" y="17"/>
                      </a:cxn>
                      <a:cxn ang="0">
                        <a:pos x="17" y="17"/>
                      </a:cxn>
                      <a:cxn ang="0">
                        <a:pos x="12" y="17"/>
                      </a:cxn>
                      <a:cxn ang="0">
                        <a:pos x="7" y="18"/>
                      </a:cxn>
                      <a:cxn ang="0">
                        <a:pos x="3" y="20"/>
                      </a:cxn>
                      <a:cxn ang="0">
                        <a:pos x="1" y="20"/>
                      </a:cxn>
                      <a:cxn ang="0">
                        <a:pos x="1" y="16"/>
                      </a:cxn>
                    </a:cxnLst>
                    <a:rect l="0" t="0" r="r" b="b"/>
                    <a:pathLst>
                      <a:path w="58" h="25">
                        <a:moveTo>
                          <a:pt x="1" y="16"/>
                        </a:moveTo>
                        <a:cubicBezTo>
                          <a:pt x="1" y="17"/>
                          <a:pt x="1" y="17"/>
                          <a:pt x="1" y="17"/>
                        </a:cubicBezTo>
                        <a:cubicBezTo>
                          <a:pt x="1" y="15"/>
                          <a:pt x="1" y="14"/>
                          <a:pt x="2" y="12"/>
                        </a:cubicBezTo>
                        <a:cubicBezTo>
                          <a:pt x="2" y="12"/>
                          <a:pt x="3" y="11"/>
                          <a:pt x="3" y="11"/>
                        </a:cubicBezTo>
                        <a:cubicBezTo>
                          <a:pt x="3" y="10"/>
                          <a:pt x="3" y="9"/>
                          <a:pt x="4" y="8"/>
                        </a:cubicBezTo>
                        <a:cubicBezTo>
                          <a:pt x="5" y="6"/>
                          <a:pt x="6" y="5"/>
                          <a:pt x="8" y="5"/>
                        </a:cubicBezTo>
                        <a:cubicBezTo>
                          <a:pt x="9" y="5"/>
                          <a:pt x="11" y="3"/>
                          <a:pt x="12" y="4"/>
                        </a:cubicBezTo>
                        <a:cubicBezTo>
                          <a:pt x="13" y="5"/>
                          <a:pt x="15" y="6"/>
                          <a:pt x="16" y="7"/>
                        </a:cubicBezTo>
                        <a:cubicBezTo>
                          <a:pt x="17" y="9"/>
                          <a:pt x="18" y="10"/>
                          <a:pt x="20" y="11"/>
                        </a:cubicBezTo>
                        <a:cubicBezTo>
                          <a:pt x="22" y="12"/>
                          <a:pt x="24" y="11"/>
                          <a:pt x="25" y="10"/>
                        </a:cubicBezTo>
                        <a:cubicBezTo>
                          <a:pt x="27" y="9"/>
                          <a:pt x="27" y="7"/>
                          <a:pt x="26" y="5"/>
                        </a:cubicBezTo>
                        <a:cubicBezTo>
                          <a:pt x="25" y="4"/>
                          <a:pt x="25" y="3"/>
                          <a:pt x="25" y="2"/>
                        </a:cubicBezTo>
                        <a:cubicBezTo>
                          <a:pt x="26" y="3"/>
                          <a:pt x="27" y="2"/>
                          <a:pt x="27" y="2"/>
                        </a:cubicBezTo>
                        <a:cubicBezTo>
                          <a:pt x="29" y="1"/>
                          <a:pt x="31" y="0"/>
                          <a:pt x="32" y="1"/>
                        </a:cubicBezTo>
                        <a:cubicBezTo>
                          <a:pt x="33" y="1"/>
                          <a:pt x="35" y="1"/>
                          <a:pt x="36" y="2"/>
                        </a:cubicBezTo>
                        <a:cubicBezTo>
                          <a:pt x="37" y="3"/>
                          <a:pt x="39" y="3"/>
                          <a:pt x="40" y="4"/>
                        </a:cubicBezTo>
                        <a:cubicBezTo>
                          <a:pt x="41" y="5"/>
                          <a:pt x="42" y="6"/>
                          <a:pt x="44" y="5"/>
                        </a:cubicBezTo>
                        <a:cubicBezTo>
                          <a:pt x="46" y="4"/>
                          <a:pt x="47" y="6"/>
                          <a:pt x="49" y="6"/>
                        </a:cubicBezTo>
                        <a:cubicBezTo>
                          <a:pt x="51" y="6"/>
                          <a:pt x="54" y="8"/>
                          <a:pt x="54" y="9"/>
                        </a:cubicBezTo>
                        <a:cubicBezTo>
                          <a:pt x="53" y="10"/>
                          <a:pt x="53" y="12"/>
                          <a:pt x="52" y="12"/>
                        </a:cubicBezTo>
                        <a:cubicBezTo>
                          <a:pt x="55" y="12"/>
                          <a:pt x="54" y="13"/>
                          <a:pt x="55" y="14"/>
                        </a:cubicBezTo>
                        <a:cubicBezTo>
                          <a:pt x="56" y="14"/>
                          <a:pt x="58" y="19"/>
                          <a:pt x="58" y="20"/>
                        </a:cubicBezTo>
                        <a:cubicBezTo>
                          <a:pt x="57" y="20"/>
                          <a:pt x="56" y="20"/>
                          <a:pt x="56" y="20"/>
                        </a:cubicBezTo>
                        <a:cubicBezTo>
                          <a:pt x="55" y="20"/>
                          <a:pt x="54" y="21"/>
                          <a:pt x="54" y="22"/>
                        </a:cubicBezTo>
                        <a:cubicBezTo>
                          <a:pt x="53" y="22"/>
                          <a:pt x="54" y="23"/>
                          <a:pt x="53" y="23"/>
                        </a:cubicBezTo>
                        <a:cubicBezTo>
                          <a:pt x="52" y="24"/>
                          <a:pt x="50" y="22"/>
                          <a:pt x="48" y="23"/>
                        </a:cubicBezTo>
                        <a:cubicBezTo>
                          <a:pt x="46" y="24"/>
                          <a:pt x="46" y="25"/>
                          <a:pt x="43" y="24"/>
                        </a:cubicBezTo>
                        <a:cubicBezTo>
                          <a:pt x="42" y="23"/>
                          <a:pt x="40" y="22"/>
                          <a:pt x="38" y="20"/>
                        </a:cubicBezTo>
                        <a:cubicBezTo>
                          <a:pt x="37" y="19"/>
                          <a:pt x="35" y="20"/>
                          <a:pt x="33" y="19"/>
                        </a:cubicBezTo>
                        <a:cubicBezTo>
                          <a:pt x="32" y="18"/>
                          <a:pt x="32" y="16"/>
                          <a:pt x="30" y="17"/>
                        </a:cubicBezTo>
                        <a:cubicBezTo>
                          <a:pt x="28" y="18"/>
                          <a:pt x="28" y="18"/>
                          <a:pt x="26" y="18"/>
                        </a:cubicBezTo>
                        <a:cubicBezTo>
                          <a:pt x="24" y="19"/>
                          <a:pt x="22" y="17"/>
                          <a:pt x="21" y="17"/>
                        </a:cubicBezTo>
                        <a:cubicBezTo>
                          <a:pt x="19" y="18"/>
                          <a:pt x="18" y="18"/>
                          <a:pt x="17" y="17"/>
                        </a:cubicBezTo>
                        <a:cubicBezTo>
                          <a:pt x="16" y="17"/>
                          <a:pt x="13" y="17"/>
                          <a:pt x="12" y="17"/>
                        </a:cubicBezTo>
                        <a:cubicBezTo>
                          <a:pt x="10" y="17"/>
                          <a:pt x="8" y="17"/>
                          <a:pt x="7" y="18"/>
                        </a:cubicBezTo>
                        <a:cubicBezTo>
                          <a:pt x="5" y="18"/>
                          <a:pt x="4" y="18"/>
                          <a:pt x="3" y="20"/>
                        </a:cubicBezTo>
                        <a:cubicBezTo>
                          <a:pt x="3" y="20"/>
                          <a:pt x="2" y="21"/>
                          <a:pt x="1" y="20"/>
                        </a:cubicBezTo>
                        <a:cubicBezTo>
                          <a:pt x="0" y="19"/>
                          <a:pt x="1" y="17"/>
                          <a:pt x="1" y="16"/>
                        </a:cubicBezTo>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grpSp>
                <p:nvGrpSpPr>
                  <p:cNvPr id="52" name="Group 223">
                    <a:extLst>
                      <a:ext uri="{FF2B5EF4-FFF2-40B4-BE49-F238E27FC236}">
                        <a16:creationId xmlns:a16="http://schemas.microsoft.com/office/drawing/2014/main" id="{9B22B967-6B57-3597-8EA2-116B5950E4D6}"/>
                      </a:ext>
                    </a:extLst>
                  </p:cNvPr>
                  <p:cNvGrpSpPr/>
                  <p:nvPr/>
                </p:nvGrpSpPr>
                <p:grpSpPr>
                  <a:xfrm>
                    <a:off x="3613546" y="1630392"/>
                    <a:ext cx="1144179" cy="846849"/>
                    <a:chOff x="3613546" y="1630392"/>
                    <a:chExt cx="1144179" cy="846849"/>
                  </a:xfrm>
                  <a:grpFill/>
                </p:grpSpPr>
                <p:grpSp>
                  <p:nvGrpSpPr>
                    <p:cNvPr id="53" name="Group 220">
                      <a:extLst>
                        <a:ext uri="{FF2B5EF4-FFF2-40B4-BE49-F238E27FC236}">
                          <a16:creationId xmlns:a16="http://schemas.microsoft.com/office/drawing/2014/main" id="{79A8D598-2308-3DE9-3040-2C587320CCF7}"/>
                        </a:ext>
                      </a:extLst>
                    </p:cNvPr>
                    <p:cNvGrpSpPr/>
                    <p:nvPr/>
                  </p:nvGrpSpPr>
                  <p:grpSpPr>
                    <a:xfrm>
                      <a:off x="4208081" y="2227519"/>
                      <a:ext cx="549644" cy="249722"/>
                      <a:chOff x="4208081" y="2227519"/>
                      <a:chExt cx="549644" cy="249722"/>
                    </a:xfrm>
                    <a:grpFill/>
                  </p:grpSpPr>
                  <p:grpSp>
                    <p:nvGrpSpPr>
                      <p:cNvPr id="85" name="Group 219">
                        <a:extLst>
                          <a:ext uri="{FF2B5EF4-FFF2-40B4-BE49-F238E27FC236}">
                            <a16:creationId xmlns:a16="http://schemas.microsoft.com/office/drawing/2014/main" id="{8ABF8CC7-636A-824F-E944-50D594A78B37}"/>
                          </a:ext>
                        </a:extLst>
                      </p:cNvPr>
                      <p:cNvGrpSpPr/>
                      <p:nvPr/>
                    </p:nvGrpSpPr>
                    <p:grpSpPr>
                      <a:xfrm>
                        <a:off x="4208081" y="2227519"/>
                        <a:ext cx="544533" cy="249722"/>
                        <a:chOff x="4208081" y="2227519"/>
                        <a:chExt cx="544533" cy="249722"/>
                      </a:xfrm>
                      <a:grpFill/>
                    </p:grpSpPr>
                    <p:sp>
                      <p:nvSpPr>
                        <p:cNvPr id="87" name="Turkey">
                          <a:extLst>
                            <a:ext uri="{FF2B5EF4-FFF2-40B4-BE49-F238E27FC236}">
                              <a16:creationId xmlns:a16="http://schemas.microsoft.com/office/drawing/2014/main" id="{BC9E0830-019E-C97E-6598-0EF1A55CEDD4}"/>
                            </a:ext>
                          </a:extLst>
                        </p:cNvPr>
                        <p:cNvSpPr>
                          <a:spLocks/>
                        </p:cNvSpPr>
                        <p:nvPr/>
                      </p:nvSpPr>
                      <p:spPr bwMode="auto">
                        <a:xfrm>
                          <a:off x="4340335" y="2227519"/>
                          <a:ext cx="412279" cy="170700"/>
                        </a:xfrm>
                        <a:custGeom>
                          <a:avLst/>
                          <a:gdLst/>
                          <a:ahLst/>
                          <a:cxnLst>
                            <a:cxn ang="0">
                              <a:pos x="4" y="18"/>
                            </a:cxn>
                            <a:cxn ang="0">
                              <a:pos x="13" y="17"/>
                            </a:cxn>
                            <a:cxn ang="0">
                              <a:pos x="19" y="18"/>
                            </a:cxn>
                            <a:cxn ang="0">
                              <a:pos x="31" y="14"/>
                            </a:cxn>
                            <a:cxn ang="0">
                              <a:pos x="34" y="10"/>
                            </a:cxn>
                            <a:cxn ang="0">
                              <a:pos x="48" y="6"/>
                            </a:cxn>
                            <a:cxn ang="0">
                              <a:pos x="73" y="1"/>
                            </a:cxn>
                            <a:cxn ang="0">
                              <a:pos x="78" y="4"/>
                            </a:cxn>
                            <a:cxn ang="0">
                              <a:pos x="85" y="6"/>
                            </a:cxn>
                            <a:cxn ang="0">
                              <a:pos x="98" y="11"/>
                            </a:cxn>
                            <a:cxn ang="0">
                              <a:pos x="112" y="11"/>
                            </a:cxn>
                            <a:cxn ang="0">
                              <a:pos x="132" y="6"/>
                            </a:cxn>
                            <a:cxn ang="0">
                              <a:pos x="138" y="6"/>
                            </a:cxn>
                            <a:cxn ang="0">
                              <a:pos x="145" y="7"/>
                            </a:cxn>
                            <a:cxn ang="0">
                              <a:pos x="149" y="10"/>
                            </a:cxn>
                            <a:cxn ang="0">
                              <a:pos x="152" y="21"/>
                            </a:cxn>
                            <a:cxn ang="0">
                              <a:pos x="160" y="26"/>
                            </a:cxn>
                            <a:cxn ang="0">
                              <a:pos x="159" y="32"/>
                            </a:cxn>
                            <a:cxn ang="0">
                              <a:pos x="161" y="43"/>
                            </a:cxn>
                            <a:cxn ang="0">
                              <a:pos x="166" y="50"/>
                            </a:cxn>
                            <a:cxn ang="0">
                              <a:pos x="161" y="51"/>
                            </a:cxn>
                            <a:cxn ang="0">
                              <a:pos x="151" y="50"/>
                            </a:cxn>
                            <a:cxn ang="0">
                              <a:pos x="141" y="52"/>
                            </a:cxn>
                            <a:cxn ang="0">
                              <a:pos x="113" y="57"/>
                            </a:cxn>
                            <a:cxn ang="0">
                              <a:pos x="95" y="57"/>
                            </a:cxn>
                            <a:cxn ang="0">
                              <a:pos x="93" y="65"/>
                            </a:cxn>
                            <a:cxn ang="0">
                              <a:pos x="89" y="62"/>
                            </a:cxn>
                            <a:cxn ang="0">
                              <a:pos x="89" y="55"/>
                            </a:cxn>
                            <a:cxn ang="0">
                              <a:pos x="79" y="56"/>
                            </a:cxn>
                            <a:cxn ang="0">
                              <a:pos x="69" y="63"/>
                            </a:cxn>
                            <a:cxn ang="0">
                              <a:pos x="54" y="59"/>
                            </a:cxn>
                            <a:cxn ang="0">
                              <a:pos x="40" y="62"/>
                            </a:cxn>
                            <a:cxn ang="0">
                              <a:pos x="30" y="62"/>
                            </a:cxn>
                            <a:cxn ang="0">
                              <a:pos x="22" y="55"/>
                            </a:cxn>
                            <a:cxn ang="0">
                              <a:pos x="19" y="56"/>
                            </a:cxn>
                            <a:cxn ang="0">
                              <a:pos x="19" y="56"/>
                            </a:cxn>
                            <a:cxn ang="0">
                              <a:pos x="14" y="53"/>
                            </a:cxn>
                            <a:cxn ang="0">
                              <a:pos x="9" y="47"/>
                            </a:cxn>
                            <a:cxn ang="0">
                              <a:pos x="5" y="42"/>
                            </a:cxn>
                            <a:cxn ang="0">
                              <a:pos x="4" y="37"/>
                            </a:cxn>
                            <a:cxn ang="0">
                              <a:pos x="6" y="36"/>
                            </a:cxn>
                            <a:cxn ang="0">
                              <a:pos x="5" y="30"/>
                            </a:cxn>
                          </a:cxnLst>
                          <a:rect l="0" t="0" r="r" b="b"/>
                          <a:pathLst>
                            <a:path w="167" h="67">
                              <a:moveTo>
                                <a:pt x="0" y="28"/>
                              </a:moveTo>
                              <a:cubicBezTo>
                                <a:pt x="0" y="27"/>
                                <a:pt x="0" y="22"/>
                                <a:pt x="0" y="22"/>
                              </a:cubicBezTo>
                              <a:cubicBezTo>
                                <a:pt x="2" y="21"/>
                                <a:pt x="3" y="19"/>
                                <a:pt x="4" y="18"/>
                              </a:cubicBezTo>
                              <a:cubicBezTo>
                                <a:pt x="5" y="17"/>
                                <a:pt x="7" y="18"/>
                                <a:pt x="7" y="18"/>
                              </a:cubicBezTo>
                              <a:cubicBezTo>
                                <a:pt x="9" y="17"/>
                                <a:pt x="9" y="17"/>
                                <a:pt x="10" y="18"/>
                              </a:cubicBezTo>
                              <a:cubicBezTo>
                                <a:pt x="11" y="19"/>
                                <a:pt x="16" y="18"/>
                                <a:pt x="13" y="17"/>
                              </a:cubicBezTo>
                              <a:cubicBezTo>
                                <a:pt x="14" y="16"/>
                                <a:pt x="15" y="16"/>
                                <a:pt x="16" y="17"/>
                              </a:cubicBezTo>
                              <a:cubicBezTo>
                                <a:pt x="15" y="17"/>
                                <a:pt x="15" y="17"/>
                                <a:pt x="15" y="18"/>
                              </a:cubicBezTo>
                              <a:cubicBezTo>
                                <a:pt x="16" y="18"/>
                                <a:pt x="18" y="18"/>
                                <a:pt x="19" y="18"/>
                              </a:cubicBezTo>
                              <a:cubicBezTo>
                                <a:pt x="21" y="18"/>
                                <a:pt x="24" y="19"/>
                                <a:pt x="26" y="17"/>
                              </a:cubicBezTo>
                              <a:cubicBezTo>
                                <a:pt x="25" y="17"/>
                                <a:pt x="24" y="17"/>
                                <a:pt x="23" y="17"/>
                              </a:cubicBezTo>
                              <a:cubicBezTo>
                                <a:pt x="24" y="14"/>
                                <a:pt x="29" y="15"/>
                                <a:pt x="31" y="14"/>
                              </a:cubicBezTo>
                              <a:cubicBezTo>
                                <a:pt x="29" y="13"/>
                                <a:pt x="27" y="14"/>
                                <a:pt x="25" y="12"/>
                              </a:cubicBezTo>
                              <a:cubicBezTo>
                                <a:pt x="23" y="10"/>
                                <a:pt x="25" y="9"/>
                                <a:pt x="27" y="9"/>
                              </a:cubicBezTo>
                              <a:cubicBezTo>
                                <a:pt x="29" y="9"/>
                                <a:pt x="31" y="10"/>
                                <a:pt x="34" y="10"/>
                              </a:cubicBezTo>
                              <a:cubicBezTo>
                                <a:pt x="37" y="9"/>
                                <a:pt x="39" y="11"/>
                                <a:pt x="42" y="10"/>
                              </a:cubicBezTo>
                              <a:cubicBezTo>
                                <a:pt x="44" y="10"/>
                                <a:pt x="44" y="10"/>
                                <a:pt x="44" y="8"/>
                              </a:cubicBezTo>
                              <a:cubicBezTo>
                                <a:pt x="45" y="7"/>
                                <a:pt x="47" y="7"/>
                                <a:pt x="48" y="6"/>
                              </a:cubicBezTo>
                              <a:cubicBezTo>
                                <a:pt x="51" y="4"/>
                                <a:pt x="54" y="3"/>
                                <a:pt x="58" y="2"/>
                              </a:cubicBezTo>
                              <a:cubicBezTo>
                                <a:pt x="61" y="1"/>
                                <a:pt x="64" y="1"/>
                                <a:pt x="68" y="1"/>
                              </a:cubicBezTo>
                              <a:cubicBezTo>
                                <a:pt x="69" y="1"/>
                                <a:pt x="71" y="2"/>
                                <a:pt x="73" y="1"/>
                              </a:cubicBezTo>
                              <a:cubicBezTo>
                                <a:pt x="73" y="1"/>
                                <a:pt x="74" y="0"/>
                                <a:pt x="74" y="0"/>
                              </a:cubicBezTo>
                              <a:cubicBezTo>
                                <a:pt x="75" y="0"/>
                                <a:pt x="76" y="0"/>
                                <a:pt x="76" y="0"/>
                              </a:cubicBezTo>
                              <a:cubicBezTo>
                                <a:pt x="75" y="2"/>
                                <a:pt x="77" y="3"/>
                                <a:pt x="78" y="4"/>
                              </a:cubicBezTo>
                              <a:cubicBezTo>
                                <a:pt x="79" y="4"/>
                                <a:pt x="80" y="4"/>
                                <a:pt x="81" y="4"/>
                              </a:cubicBezTo>
                              <a:cubicBezTo>
                                <a:pt x="82" y="4"/>
                                <a:pt x="83" y="3"/>
                                <a:pt x="83" y="4"/>
                              </a:cubicBezTo>
                              <a:cubicBezTo>
                                <a:pt x="83" y="2"/>
                                <a:pt x="85" y="5"/>
                                <a:pt x="85" y="6"/>
                              </a:cubicBezTo>
                              <a:cubicBezTo>
                                <a:pt x="85" y="6"/>
                                <a:pt x="88" y="9"/>
                                <a:pt x="89" y="8"/>
                              </a:cubicBezTo>
                              <a:cubicBezTo>
                                <a:pt x="90" y="7"/>
                                <a:pt x="91" y="7"/>
                                <a:pt x="93" y="8"/>
                              </a:cubicBezTo>
                              <a:cubicBezTo>
                                <a:pt x="94" y="10"/>
                                <a:pt x="96" y="10"/>
                                <a:pt x="98" y="11"/>
                              </a:cubicBezTo>
                              <a:cubicBezTo>
                                <a:pt x="99" y="11"/>
                                <a:pt x="99" y="9"/>
                                <a:pt x="101" y="11"/>
                              </a:cubicBezTo>
                              <a:cubicBezTo>
                                <a:pt x="102" y="12"/>
                                <a:pt x="104" y="12"/>
                                <a:pt x="105" y="12"/>
                              </a:cubicBezTo>
                              <a:cubicBezTo>
                                <a:pt x="108" y="12"/>
                                <a:pt x="110" y="11"/>
                                <a:pt x="112" y="11"/>
                              </a:cubicBezTo>
                              <a:cubicBezTo>
                                <a:pt x="114" y="11"/>
                                <a:pt x="115" y="10"/>
                                <a:pt x="116" y="11"/>
                              </a:cubicBezTo>
                              <a:cubicBezTo>
                                <a:pt x="119" y="12"/>
                                <a:pt x="121" y="12"/>
                                <a:pt x="123" y="11"/>
                              </a:cubicBezTo>
                              <a:cubicBezTo>
                                <a:pt x="126" y="10"/>
                                <a:pt x="129" y="8"/>
                                <a:pt x="132" y="6"/>
                              </a:cubicBezTo>
                              <a:cubicBezTo>
                                <a:pt x="133" y="5"/>
                                <a:pt x="134" y="7"/>
                                <a:pt x="135" y="7"/>
                              </a:cubicBezTo>
                              <a:cubicBezTo>
                                <a:pt x="135" y="7"/>
                                <a:pt x="135" y="6"/>
                                <a:pt x="136" y="6"/>
                              </a:cubicBezTo>
                              <a:cubicBezTo>
                                <a:pt x="137" y="6"/>
                                <a:pt x="137" y="6"/>
                                <a:pt x="138" y="6"/>
                              </a:cubicBezTo>
                              <a:cubicBezTo>
                                <a:pt x="138" y="6"/>
                                <a:pt x="140" y="7"/>
                                <a:pt x="141" y="6"/>
                              </a:cubicBezTo>
                              <a:cubicBezTo>
                                <a:pt x="141" y="5"/>
                                <a:pt x="144" y="4"/>
                                <a:pt x="143" y="6"/>
                              </a:cubicBezTo>
                              <a:cubicBezTo>
                                <a:pt x="144" y="6"/>
                                <a:pt x="144" y="6"/>
                                <a:pt x="145" y="7"/>
                              </a:cubicBezTo>
                              <a:cubicBezTo>
                                <a:pt x="145" y="7"/>
                                <a:pt x="146" y="7"/>
                                <a:pt x="146" y="8"/>
                              </a:cubicBezTo>
                              <a:cubicBezTo>
                                <a:pt x="147" y="8"/>
                                <a:pt x="147" y="8"/>
                                <a:pt x="147" y="9"/>
                              </a:cubicBezTo>
                              <a:cubicBezTo>
                                <a:pt x="147" y="10"/>
                                <a:pt x="148" y="9"/>
                                <a:pt x="149" y="10"/>
                              </a:cubicBezTo>
                              <a:cubicBezTo>
                                <a:pt x="149" y="10"/>
                                <a:pt x="150" y="12"/>
                                <a:pt x="150" y="12"/>
                              </a:cubicBezTo>
                              <a:cubicBezTo>
                                <a:pt x="152" y="14"/>
                                <a:pt x="153" y="15"/>
                                <a:pt x="152" y="16"/>
                              </a:cubicBezTo>
                              <a:cubicBezTo>
                                <a:pt x="151" y="18"/>
                                <a:pt x="154" y="20"/>
                                <a:pt x="152" y="21"/>
                              </a:cubicBezTo>
                              <a:cubicBezTo>
                                <a:pt x="155" y="22"/>
                                <a:pt x="156" y="21"/>
                                <a:pt x="158" y="22"/>
                              </a:cubicBezTo>
                              <a:cubicBezTo>
                                <a:pt x="160" y="22"/>
                                <a:pt x="163" y="24"/>
                                <a:pt x="163" y="26"/>
                              </a:cubicBezTo>
                              <a:cubicBezTo>
                                <a:pt x="162" y="25"/>
                                <a:pt x="161" y="24"/>
                                <a:pt x="160" y="26"/>
                              </a:cubicBezTo>
                              <a:cubicBezTo>
                                <a:pt x="160" y="27"/>
                                <a:pt x="160" y="27"/>
                                <a:pt x="160" y="28"/>
                              </a:cubicBezTo>
                              <a:cubicBezTo>
                                <a:pt x="160" y="29"/>
                                <a:pt x="158" y="28"/>
                                <a:pt x="157" y="29"/>
                              </a:cubicBezTo>
                              <a:cubicBezTo>
                                <a:pt x="157" y="29"/>
                                <a:pt x="159" y="31"/>
                                <a:pt x="159" y="32"/>
                              </a:cubicBezTo>
                              <a:cubicBezTo>
                                <a:pt x="159" y="33"/>
                                <a:pt x="160" y="34"/>
                                <a:pt x="160" y="35"/>
                              </a:cubicBezTo>
                              <a:cubicBezTo>
                                <a:pt x="161" y="36"/>
                                <a:pt x="160" y="39"/>
                                <a:pt x="162" y="40"/>
                              </a:cubicBezTo>
                              <a:cubicBezTo>
                                <a:pt x="162" y="41"/>
                                <a:pt x="161" y="42"/>
                                <a:pt x="161" y="43"/>
                              </a:cubicBezTo>
                              <a:cubicBezTo>
                                <a:pt x="160" y="45"/>
                                <a:pt x="163" y="45"/>
                                <a:pt x="164" y="46"/>
                              </a:cubicBezTo>
                              <a:cubicBezTo>
                                <a:pt x="165" y="47"/>
                                <a:pt x="164" y="48"/>
                                <a:pt x="165" y="49"/>
                              </a:cubicBezTo>
                              <a:cubicBezTo>
                                <a:pt x="165" y="50"/>
                                <a:pt x="166" y="50"/>
                                <a:pt x="166" y="50"/>
                              </a:cubicBezTo>
                              <a:cubicBezTo>
                                <a:pt x="167" y="51"/>
                                <a:pt x="166" y="52"/>
                                <a:pt x="167" y="52"/>
                              </a:cubicBezTo>
                              <a:cubicBezTo>
                                <a:pt x="165" y="51"/>
                                <a:pt x="164" y="55"/>
                                <a:pt x="163" y="54"/>
                              </a:cubicBezTo>
                              <a:cubicBezTo>
                                <a:pt x="161" y="54"/>
                                <a:pt x="162" y="52"/>
                                <a:pt x="161" y="51"/>
                              </a:cubicBezTo>
                              <a:cubicBezTo>
                                <a:pt x="161" y="51"/>
                                <a:pt x="160" y="51"/>
                                <a:pt x="159" y="51"/>
                              </a:cubicBezTo>
                              <a:cubicBezTo>
                                <a:pt x="158" y="52"/>
                                <a:pt x="157" y="52"/>
                                <a:pt x="156" y="51"/>
                              </a:cubicBezTo>
                              <a:cubicBezTo>
                                <a:pt x="154" y="51"/>
                                <a:pt x="153" y="50"/>
                                <a:pt x="151" y="50"/>
                              </a:cubicBezTo>
                              <a:cubicBezTo>
                                <a:pt x="149" y="50"/>
                                <a:pt x="149" y="50"/>
                                <a:pt x="148" y="51"/>
                              </a:cubicBezTo>
                              <a:cubicBezTo>
                                <a:pt x="147" y="52"/>
                                <a:pt x="145" y="54"/>
                                <a:pt x="145" y="52"/>
                              </a:cubicBezTo>
                              <a:cubicBezTo>
                                <a:pt x="144" y="50"/>
                                <a:pt x="142" y="52"/>
                                <a:pt x="141" y="52"/>
                              </a:cubicBezTo>
                              <a:cubicBezTo>
                                <a:pt x="138" y="53"/>
                                <a:pt x="136" y="53"/>
                                <a:pt x="134" y="53"/>
                              </a:cubicBezTo>
                              <a:cubicBezTo>
                                <a:pt x="129" y="52"/>
                                <a:pt x="125" y="57"/>
                                <a:pt x="120" y="57"/>
                              </a:cubicBezTo>
                              <a:cubicBezTo>
                                <a:pt x="118" y="57"/>
                                <a:pt x="114" y="58"/>
                                <a:pt x="113" y="57"/>
                              </a:cubicBezTo>
                              <a:cubicBezTo>
                                <a:pt x="111" y="55"/>
                                <a:pt x="110" y="55"/>
                                <a:pt x="108" y="56"/>
                              </a:cubicBezTo>
                              <a:cubicBezTo>
                                <a:pt x="105" y="57"/>
                                <a:pt x="100" y="59"/>
                                <a:pt x="98" y="57"/>
                              </a:cubicBezTo>
                              <a:cubicBezTo>
                                <a:pt x="97" y="56"/>
                                <a:pt x="95" y="55"/>
                                <a:pt x="95" y="57"/>
                              </a:cubicBezTo>
                              <a:cubicBezTo>
                                <a:pt x="95" y="59"/>
                                <a:pt x="95" y="60"/>
                                <a:pt x="96" y="62"/>
                              </a:cubicBezTo>
                              <a:cubicBezTo>
                                <a:pt x="95" y="62"/>
                                <a:pt x="94" y="62"/>
                                <a:pt x="93" y="62"/>
                              </a:cubicBezTo>
                              <a:cubicBezTo>
                                <a:pt x="93" y="63"/>
                                <a:pt x="94" y="64"/>
                                <a:pt x="93" y="65"/>
                              </a:cubicBezTo>
                              <a:cubicBezTo>
                                <a:pt x="93" y="65"/>
                                <a:pt x="92" y="66"/>
                                <a:pt x="92" y="67"/>
                              </a:cubicBezTo>
                              <a:cubicBezTo>
                                <a:pt x="91" y="66"/>
                                <a:pt x="90" y="66"/>
                                <a:pt x="90" y="65"/>
                              </a:cubicBezTo>
                              <a:cubicBezTo>
                                <a:pt x="90" y="64"/>
                                <a:pt x="89" y="63"/>
                                <a:pt x="89" y="62"/>
                              </a:cubicBezTo>
                              <a:cubicBezTo>
                                <a:pt x="87" y="61"/>
                                <a:pt x="89" y="60"/>
                                <a:pt x="90" y="59"/>
                              </a:cubicBezTo>
                              <a:cubicBezTo>
                                <a:pt x="91" y="58"/>
                                <a:pt x="92" y="57"/>
                                <a:pt x="91" y="56"/>
                              </a:cubicBezTo>
                              <a:cubicBezTo>
                                <a:pt x="90" y="55"/>
                                <a:pt x="89" y="54"/>
                                <a:pt x="89" y="55"/>
                              </a:cubicBezTo>
                              <a:cubicBezTo>
                                <a:pt x="88" y="56"/>
                                <a:pt x="87" y="56"/>
                                <a:pt x="86" y="57"/>
                              </a:cubicBezTo>
                              <a:cubicBezTo>
                                <a:pt x="87" y="57"/>
                                <a:pt x="86" y="59"/>
                                <a:pt x="84" y="59"/>
                              </a:cubicBezTo>
                              <a:cubicBezTo>
                                <a:pt x="82" y="58"/>
                                <a:pt x="81" y="57"/>
                                <a:pt x="79" y="56"/>
                              </a:cubicBezTo>
                              <a:cubicBezTo>
                                <a:pt x="76" y="55"/>
                                <a:pt x="74" y="60"/>
                                <a:pt x="72" y="62"/>
                              </a:cubicBezTo>
                              <a:cubicBezTo>
                                <a:pt x="71" y="61"/>
                                <a:pt x="71" y="61"/>
                                <a:pt x="71" y="61"/>
                              </a:cubicBezTo>
                              <a:cubicBezTo>
                                <a:pt x="70" y="62"/>
                                <a:pt x="70" y="63"/>
                                <a:pt x="69" y="63"/>
                              </a:cubicBezTo>
                              <a:cubicBezTo>
                                <a:pt x="68" y="63"/>
                                <a:pt x="65" y="63"/>
                                <a:pt x="64" y="64"/>
                              </a:cubicBezTo>
                              <a:cubicBezTo>
                                <a:pt x="63" y="65"/>
                                <a:pt x="61" y="64"/>
                                <a:pt x="59" y="64"/>
                              </a:cubicBezTo>
                              <a:cubicBezTo>
                                <a:pt x="57" y="63"/>
                                <a:pt x="56" y="60"/>
                                <a:pt x="54" y="59"/>
                              </a:cubicBezTo>
                              <a:cubicBezTo>
                                <a:pt x="51" y="58"/>
                                <a:pt x="48" y="56"/>
                                <a:pt x="46" y="56"/>
                              </a:cubicBezTo>
                              <a:cubicBezTo>
                                <a:pt x="44" y="55"/>
                                <a:pt x="41" y="55"/>
                                <a:pt x="41" y="57"/>
                              </a:cubicBezTo>
                              <a:cubicBezTo>
                                <a:pt x="41" y="58"/>
                                <a:pt x="41" y="61"/>
                                <a:pt x="40" y="62"/>
                              </a:cubicBezTo>
                              <a:cubicBezTo>
                                <a:pt x="40" y="63"/>
                                <a:pt x="39" y="61"/>
                                <a:pt x="39" y="61"/>
                              </a:cubicBezTo>
                              <a:cubicBezTo>
                                <a:pt x="37" y="61"/>
                                <a:pt x="36" y="63"/>
                                <a:pt x="35" y="63"/>
                              </a:cubicBezTo>
                              <a:cubicBezTo>
                                <a:pt x="33" y="63"/>
                                <a:pt x="31" y="62"/>
                                <a:pt x="30" y="62"/>
                              </a:cubicBezTo>
                              <a:cubicBezTo>
                                <a:pt x="29" y="61"/>
                                <a:pt x="29" y="59"/>
                                <a:pt x="28" y="59"/>
                              </a:cubicBezTo>
                              <a:cubicBezTo>
                                <a:pt x="29" y="58"/>
                                <a:pt x="26" y="56"/>
                                <a:pt x="26" y="58"/>
                              </a:cubicBezTo>
                              <a:cubicBezTo>
                                <a:pt x="25" y="57"/>
                                <a:pt x="23" y="57"/>
                                <a:pt x="22" y="55"/>
                              </a:cubicBezTo>
                              <a:cubicBezTo>
                                <a:pt x="22" y="56"/>
                                <a:pt x="20" y="58"/>
                                <a:pt x="19" y="59"/>
                              </a:cubicBezTo>
                              <a:cubicBezTo>
                                <a:pt x="19" y="58"/>
                                <a:pt x="19" y="58"/>
                                <a:pt x="18" y="57"/>
                              </a:cubicBezTo>
                              <a:cubicBezTo>
                                <a:pt x="19" y="57"/>
                                <a:pt x="19" y="57"/>
                                <a:pt x="19" y="56"/>
                              </a:cubicBezTo>
                              <a:cubicBezTo>
                                <a:pt x="18" y="57"/>
                                <a:pt x="14" y="58"/>
                                <a:pt x="13" y="57"/>
                              </a:cubicBezTo>
                              <a:cubicBezTo>
                                <a:pt x="14" y="56"/>
                                <a:pt x="16" y="56"/>
                                <a:pt x="17" y="56"/>
                              </a:cubicBezTo>
                              <a:cubicBezTo>
                                <a:pt x="18" y="56"/>
                                <a:pt x="18" y="57"/>
                                <a:pt x="19" y="56"/>
                              </a:cubicBezTo>
                              <a:cubicBezTo>
                                <a:pt x="19" y="55"/>
                                <a:pt x="20" y="55"/>
                                <a:pt x="20" y="54"/>
                              </a:cubicBezTo>
                              <a:cubicBezTo>
                                <a:pt x="19" y="53"/>
                                <a:pt x="13" y="53"/>
                                <a:pt x="12" y="54"/>
                              </a:cubicBezTo>
                              <a:cubicBezTo>
                                <a:pt x="10" y="52"/>
                                <a:pt x="14" y="53"/>
                                <a:pt x="14" y="53"/>
                              </a:cubicBezTo>
                              <a:cubicBezTo>
                                <a:pt x="14" y="52"/>
                                <a:pt x="14" y="51"/>
                                <a:pt x="14" y="51"/>
                              </a:cubicBezTo>
                              <a:cubicBezTo>
                                <a:pt x="13" y="50"/>
                                <a:pt x="12" y="51"/>
                                <a:pt x="13" y="50"/>
                              </a:cubicBezTo>
                              <a:cubicBezTo>
                                <a:pt x="11" y="52"/>
                                <a:pt x="11" y="47"/>
                                <a:pt x="9" y="47"/>
                              </a:cubicBezTo>
                              <a:cubicBezTo>
                                <a:pt x="10" y="46"/>
                                <a:pt x="12" y="46"/>
                                <a:pt x="11" y="44"/>
                              </a:cubicBezTo>
                              <a:cubicBezTo>
                                <a:pt x="10" y="43"/>
                                <a:pt x="8" y="43"/>
                                <a:pt x="7" y="42"/>
                              </a:cubicBezTo>
                              <a:cubicBezTo>
                                <a:pt x="7" y="41"/>
                                <a:pt x="6" y="40"/>
                                <a:pt x="5" y="42"/>
                              </a:cubicBezTo>
                              <a:cubicBezTo>
                                <a:pt x="5" y="43"/>
                                <a:pt x="2" y="41"/>
                                <a:pt x="2" y="40"/>
                              </a:cubicBezTo>
                              <a:cubicBezTo>
                                <a:pt x="5" y="41"/>
                                <a:pt x="3" y="38"/>
                                <a:pt x="3" y="37"/>
                              </a:cubicBezTo>
                              <a:cubicBezTo>
                                <a:pt x="3" y="36"/>
                                <a:pt x="4" y="36"/>
                                <a:pt x="4" y="37"/>
                              </a:cubicBezTo>
                              <a:cubicBezTo>
                                <a:pt x="5" y="38"/>
                                <a:pt x="5" y="39"/>
                                <a:pt x="6" y="40"/>
                              </a:cubicBezTo>
                              <a:cubicBezTo>
                                <a:pt x="5" y="38"/>
                                <a:pt x="9" y="40"/>
                                <a:pt x="9" y="38"/>
                              </a:cubicBezTo>
                              <a:cubicBezTo>
                                <a:pt x="8" y="38"/>
                                <a:pt x="7" y="37"/>
                                <a:pt x="6" y="36"/>
                              </a:cubicBezTo>
                              <a:cubicBezTo>
                                <a:pt x="7" y="36"/>
                                <a:pt x="7" y="34"/>
                                <a:pt x="8" y="34"/>
                              </a:cubicBezTo>
                              <a:cubicBezTo>
                                <a:pt x="8" y="33"/>
                                <a:pt x="6" y="34"/>
                                <a:pt x="6" y="33"/>
                              </a:cubicBezTo>
                              <a:cubicBezTo>
                                <a:pt x="7" y="31"/>
                                <a:pt x="6" y="31"/>
                                <a:pt x="5" y="30"/>
                              </a:cubicBezTo>
                              <a:cubicBezTo>
                                <a:pt x="5" y="29"/>
                                <a:pt x="6" y="28"/>
                                <a:pt x="7" y="27"/>
                              </a:cubicBezTo>
                              <a:cubicBezTo>
                                <a:pt x="4" y="26"/>
                                <a:pt x="2" y="28"/>
                                <a:pt x="0" y="28"/>
                              </a:cubicBezTo>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88" name="Greece">
                          <a:extLst>
                            <a:ext uri="{FF2B5EF4-FFF2-40B4-BE49-F238E27FC236}">
                              <a16:creationId xmlns:a16="http://schemas.microsoft.com/office/drawing/2014/main" id="{1212FEE2-08AB-294E-5777-EDE7E4855A66}"/>
                            </a:ext>
                          </a:extLst>
                        </p:cNvPr>
                        <p:cNvSpPr>
                          <a:spLocks/>
                        </p:cNvSpPr>
                        <p:nvPr/>
                      </p:nvSpPr>
                      <p:spPr bwMode="auto">
                        <a:xfrm>
                          <a:off x="4208081" y="2308722"/>
                          <a:ext cx="180788" cy="168519"/>
                        </a:xfrm>
                        <a:custGeom>
                          <a:avLst/>
                          <a:gdLst>
                            <a:gd name="connsiteX0" fmla="*/ 86725 w 177404"/>
                            <a:gd name="connsiteY0" fmla="*/ 146373 h 165364"/>
                            <a:gd name="connsiteX1" fmla="*/ 95869 w 177404"/>
                            <a:gd name="connsiteY1" fmla="*/ 148622 h 165364"/>
                            <a:gd name="connsiteX2" fmla="*/ 95869 w 177404"/>
                            <a:gd name="connsiteY2" fmla="*/ 153120 h 165364"/>
                            <a:gd name="connsiteX3" fmla="*/ 105013 w 177404"/>
                            <a:gd name="connsiteY3" fmla="*/ 153120 h 165364"/>
                            <a:gd name="connsiteX4" fmla="*/ 123301 w 177404"/>
                            <a:gd name="connsiteY4" fmla="*/ 155369 h 165364"/>
                            <a:gd name="connsiteX5" fmla="*/ 127873 w 177404"/>
                            <a:gd name="connsiteY5" fmla="*/ 157618 h 165364"/>
                            <a:gd name="connsiteX6" fmla="*/ 130159 w 177404"/>
                            <a:gd name="connsiteY6" fmla="*/ 159867 h 165364"/>
                            <a:gd name="connsiteX7" fmla="*/ 139303 w 177404"/>
                            <a:gd name="connsiteY7" fmla="*/ 157618 h 165364"/>
                            <a:gd name="connsiteX8" fmla="*/ 139303 w 177404"/>
                            <a:gd name="connsiteY8" fmla="*/ 162116 h 165364"/>
                            <a:gd name="connsiteX9" fmla="*/ 134731 w 177404"/>
                            <a:gd name="connsiteY9" fmla="*/ 162116 h 165364"/>
                            <a:gd name="connsiteX10" fmla="*/ 116443 w 177404"/>
                            <a:gd name="connsiteY10" fmla="*/ 164365 h 165364"/>
                            <a:gd name="connsiteX11" fmla="*/ 109585 w 177404"/>
                            <a:gd name="connsiteY11" fmla="*/ 164365 h 165364"/>
                            <a:gd name="connsiteX12" fmla="*/ 107299 w 177404"/>
                            <a:gd name="connsiteY12" fmla="*/ 159867 h 165364"/>
                            <a:gd name="connsiteX13" fmla="*/ 95869 w 177404"/>
                            <a:gd name="connsiteY13" fmla="*/ 157618 h 165364"/>
                            <a:gd name="connsiteX14" fmla="*/ 84439 w 177404"/>
                            <a:gd name="connsiteY14" fmla="*/ 157618 h 165364"/>
                            <a:gd name="connsiteX15" fmla="*/ 84439 w 177404"/>
                            <a:gd name="connsiteY15" fmla="*/ 150871 h 165364"/>
                            <a:gd name="connsiteX16" fmla="*/ 86725 w 177404"/>
                            <a:gd name="connsiteY16" fmla="*/ 150871 h 165364"/>
                            <a:gd name="connsiteX17" fmla="*/ 86725 w 177404"/>
                            <a:gd name="connsiteY17" fmla="*/ 146373 h 165364"/>
                            <a:gd name="connsiteX18" fmla="*/ 157163 w 177404"/>
                            <a:gd name="connsiteY18" fmla="*/ 143992 h 165364"/>
                            <a:gd name="connsiteX19" fmla="*/ 157163 w 177404"/>
                            <a:gd name="connsiteY19" fmla="*/ 153517 h 165364"/>
                            <a:gd name="connsiteX20" fmla="*/ 157163 w 177404"/>
                            <a:gd name="connsiteY20" fmla="*/ 143992 h 165364"/>
                            <a:gd name="connsiteX21" fmla="*/ 177404 w 177404"/>
                            <a:gd name="connsiteY21" fmla="*/ 128514 h 165364"/>
                            <a:gd name="connsiteX22" fmla="*/ 175261 w 177404"/>
                            <a:gd name="connsiteY22" fmla="*/ 135148 h 165364"/>
                            <a:gd name="connsiteX23" fmla="*/ 170975 w 177404"/>
                            <a:gd name="connsiteY23" fmla="*/ 139570 h 165364"/>
                            <a:gd name="connsiteX24" fmla="*/ 166688 w 177404"/>
                            <a:gd name="connsiteY24" fmla="*/ 135148 h 165364"/>
                            <a:gd name="connsiteX25" fmla="*/ 177404 w 177404"/>
                            <a:gd name="connsiteY25" fmla="*/ 128514 h 165364"/>
                            <a:gd name="connsiteX26" fmla="*/ 98822 w 177404"/>
                            <a:gd name="connsiteY26" fmla="*/ 121370 h 165364"/>
                            <a:gd name="connsiteX27" fmla="*/ 102394 w 177404"/>
                            <a:gd name="connsiteY27" fmla="*/ 121370 h 165364"/>
                            <a:gd name="connsiteX28" fmla="*/ 98822 w 177404"/>
                            <a:gd name="connsiteY28" fmla="*/ 123751 h 165364"/>
                            <a:gd name="connsiteX29" fmla="*/ 98822 w 177404"/>
                            <a:gd name="connsiteY29" fmla="*/ 121370 h 165364"/>
                            <a:gd name="connsiteX30" fmla="*/ 157163 w 177404"/>
                            <a:gd name="connsiteY30" fmla="*/ 116608 h 165364"/>
                            <a:gd name="connsiteX31" fmla="*/ 150912 w 177404"/>
                            <a:gd name="connsiteY31" fmla="*/ 123752 h 165364"/>
                            <a:gd name="connsiteX32" fmla="*/ 157163 w 177404"/>
                            <a:gd name="connsiteY32" fmla="*/ 116608 h 165364"/>
                            <a:gd name="connsiteX33" fmla="*/ 123826 w 177404"/>
                            <a:gd name="connsiteY33" fmla="*/ 110654 h 165364"/>
                            <a:gd name="connsiteX34" fmla="*/ 121444 w 177404"/>
                            <a:gd name="connsiteY34" fmla="*/ 116608 h 165364"/>
                            <a:gd name="connsiteX35" fmla="*/ 119063 w 177404"/>
                            <a:gd name="connsiteY35" fmla="*/ 112639 h 165364"/>
                            <a:gd name="connsiteX36" fmla="*/ 123826 w 177404"/>
                            <a:gd name="connsiteY36" fmla="*/ 110654 h 165364"/>
                            <a:gd name="connsiteX37" fmla="*/ 144065 w 177404"/>
                            <a:gd name="connsiteY37" fmla="*/ 93985 h 165364"/>
                            <a:gd name="connsiteX38" fmla="*/ 151209 w 177404"/>
                            <a:gd name="connsiteY38" fmla="*/ 96366 h 165364"/>
                            <a:gd name="connsiteX39" fmla="*/ 146446 w 177404"/>
                            <a:gd name="connsiteY39" fmla="*/ 98748 h 165364"/>
                            <a:gd name="connsiteX40" fmla="*/ 144065 w 177404"/>
                            <a:gd name="connsiteY40" fmla="*/ 93985 h 165364"/>
                            <a:gd name="connsiteX41" fmla="*/ 104775 w 177404"/>
                            <a:gd name="connsiteY41" fmla="*/ 89223 h 165364"/>
                            <a:gd name="connsiteX42" fmla="*/ 109538 w 177404"/>
                            <a:gd name="connsiteY42" fmla="*/ 98748 h 165364"/>
                            <a:gd name="connsiteX43" fmla="*/ 102394 w 177404"/>
                            <a:gd name="connsiteY43" fmla="*/ 91604 h 165364"/>
                            <a:gd name="connsiteX44" fmla="*/ 104775 w 177404"/>
                            <a:gd name="connsiteY44" fmla="*/ 89223 h 165364"/>
                            <a:gd name="connsiteX45" fmla="*/ 18574 w 177404"/>
                            <a:gd name="connsiteY45" fmla="*/ 78507 h 165364"/>
                            <a:gd name="connsiteX46" fmla="*/ 20717 w 177404"/>
                            <a:gd name="connsiteY46" fmla="*/ 82793 h 165364"/>
                            <a:gd name="connsiteX47" fmla="*/ 25004 w 177404"/>
                            <a:gd name="connsiteY47" fmla="*/ 87080 h 165364"/>
                            <a:gd name="connsiteX48" fmla="*/ 18574 w 177404"/>
                            <a:gd name="connsiteY48" fmla="*/ 84937 h 165364"/>
                            <a:gd name="connsiteX49" fmla="*/ 16431 w 177404"/>
                            <a:gd name="connsiteY49" fmla="*/ 87080 h 165364"/>
                            <a:gd name="connsiteX50" fmla="*/ 18574 w 177404"/>
                            <a:gd name="connsiteY50" fmla="*/ 80650 h 165364"/>
                            <a:gd name="connsiteX51" fmla="*/ 18574 w 177404"/>
                            <a:gd name="connsiteY51" fmla="*/ 78507 h 165364"/>
                            <a:gd name="connsiteX52" fmla="*/ 126207 w 177404"/>
                            <a:gd name="connsiteY52" fmla="*/ 77998 h 165364"/>
                            <a:gd name="connsiteX53" fmla="*/ 130374 w 177404"/>
                            <a:gd name="connsiteY53" fmla="*/ 86843 h 165364"/>
                            <a:gd name="connsiteX54" fmla="*/ 126207 w 177404"/>
                            <a:gd name="connsiteY54" fmla="*/ 77998 h 165364"/>
                            <a:gd name="connsiteX55" fmla="*/ 98426 w 177404"/>
                            <a:gd name="connsiteY55" fmla="*/ 66601 h 165364"/>
                            <a:gd name="connsiteX56" fmla="*/ 102395 w 177404"/>
                            <a:gd name="connsiteY56" fmla="*/ 71364 h 165364"/>
                            <a:gd name="connsiteX57" fmla="*/ 100410 w 177404"/>
                            <a:gd name="connsiteY57" fmla="*/ 71364 h 165364"/>
                            <a:gd name="connsiteX58" fmla="*/ 98426 w 177404"/>
                            <a:gd name="connsiteY58" fmla="*/ 66601 h 165364"/>
                            <a:gd name="connsiteX59" fmla="*/ 73372 w 177404"/>
                            <a:gd name="connsiteY59" fmla="*/ 64220 h 165364"/>
                            <a:gd name="connsiteX60" fmla="*/ 80069 w 177404"/>
                            <a:gd name="connsiteY60" fmla="*/ 71066 h 165364"/>
                            <a:gd name="connsiteX61" fmla="*/ 88999 w 177404"/>
                            <a:gd name="connsiteY61" fmla="*/ 73348 h 165364"/>
                            <a:gd name="connsiteX62" fmla="*/ 93464 w 177404"/>
                            <a:gd name="connsiteY62" fmla="*/ 82477 h 165364"/>
                            <a:gd name="connsiteX63" fmla="*/ 100161 w 177404"/>
                            <a:gd name="connsiteY63" fmla="*/ 87041 h 165364"/>
                            <a:gd name="connsiteX64" fmla="*/ 95697 w 177404"/>
                            <a:gd name="connsiteY64" fmla="*/ 87041 h 165364"/>
                            <a:gd name="connsiteX65" fmla="*/ 88999 w 177404"/>
                            <a:gd name="connsiteY65" fmla="*/ 80195 h 165364"/>
                            <a:gd name="connsiteX66" fmla="*/ 80069 w 177404"/>
                            <a:gd name="connsiteY66" fmla="*/ 77912 h 165364"/>
                            <a:gd name="connsiteX67" fmla="*/ 66675 w 177404"/>
                            <a:gd name="connsiteY67" fmla="*/ 68784 h 165364"/>
                            <a:gd name="connsiteX68" fmla="*/ 73372 w 177404"/>
                            <a:gd name="connsiteY68" fmla="*/ 64220 h 165364"/>
                            <a:gd name="connsiteX69" fmla="*/ 128290 w 177404"/>
                            <a:gd name="connsiteY69" fmla="*/ 58266 h 165364"/>
                            <a:gd name="connsiteX70" fmla="*/ 141685 w 177404"/>
                            <a:gd name="connsiteY70" fmla="*/ 64517 h 165364"/>
                            <a:gd name="connsiteX71" fmla="*/ 137220 w 177404"/>
                            <a:gd name="connsiteY71" fmla="*/ 66601 h 165364"/>
                            <a:gd name="connsiteX72" fmla="*/ 130522 w 177404"/>
                            <a:gd name="connsiteY72" fmla="*/ 64517 h 165364"/>
                            <a:gd name="connsiteX73" fmla="*/ 132755 w 177404"/>
                            <a:gd name="connsiteY73" fmla="*/ 62433 h 165364"/>
                            <a:gd name="connsiteX74" fmla="*/ 126057 w 177404"/>
                            <a:gd name="connsiteY74" fmla="*/ 62433 h 165364"/>
                            <a:gd name="connsiteX75" fmla="*/ 128290 w 177404"/>
                            <a:gd name="connsiteY75" fmla="*/ 58266 h 165364"/>
                            <a:gd name="connsiteX76" fmla="*/ 6830 w 177404"/>
                            <a:gd name="connsiteY76" fmla="*/ 54892 h 165364"/>
                            <a:gd name="connsiteX77" fmla="*/ 9525 w 177404"/>
                            <a:gd name="connsiteY77" fmla="*/ 55885 h 165364"/>
                            <a:gd name="connsiteX78" fmla="*/ 7144 w 177404"/>
                            <a:gd name="connsiteY78" fmla="*/ 55885 h 165364"/>
                            <a:gd name="connsiteX79" fmla="*/ 0 w 177404"/>
                            <a:gd name="connsiteY79" fmla="*/ 46360 h 165364"/>
                            <a:gd name="connsiteX80" fmla="*/ 5358 w 177404"/>
                            <a:gd name="connsiteY80" fmla="*/ 50229 h 165364"/>
                            <a:gd name="connsiteX81" fmla="*/ 6830 w 177404"/>
                            <a:gd name="connsiteY81" fmla="*/ 54892 h 165364"/>
                            <a:gd name="connsiteX82" fmla="*/ 3869 w 177404"/>
                            <a:gd name="connsiteY82" fmla="*/ 53801 h 165364"/>
                            <a:gd name="connsiteX83" fmla="*/ 0 w 177404"/>
                            <a:gd name="connsiteY83" fmla="*/ 46360 h 165364"/>
                            <a:gd name="connsiteX84" fmla="*/ 109538 w 177404"/>
                            <a:gd name="connsiteY84" fmla="*/ 41598 h 165364"/>
                            <a:gd name="connsiteX85" fmla="*/ 116682 w 177404"/>
                            <a:gd name="connsiteY85" fmla="*/ 41598 h 165364"/>
                            <a:gd name="connsiteX86" fmla="*/ 114301 w 177404"/>
                            <a:gd name="connsiteY86" fmla="*/ 46361 h 165364"/>
                            <a:gd name="connsiteX87" fmla="*/ 109538 w 177404"/>
                            <a:gd name="connsiteY87" fmla="*/ 41598 h 165364"/>
                            <a:gd name="connsiteX88" fmla="*/ 122933 w 177404"/>
                            <a:gd name="connsiteY88" fmla="*/ 36984 h 165364"/>
                            <a:gd name="connsiteX89" fmla="*/ 126207 w 177404"/>
                            <a:gd name="connsiteY89" fmla="*/ 37431 h 165364"/>
                            <a:gd name="connsiteX90" fmla="*/ 121444 w 177404"/>
                            <a:gd name="connsiteY90" fmla="*/ 39217 h 165364"/>
                            <a:gd name="connsiteX91" fmla="*/ 122933 w 177404"/>
                            <a:gd name="connsiteY91" fmla="*/ 36984 h 165364"/>
                            <a:gd name="connsiteX92" fmla="*/ 116682 w 177404"/>
                            <a:gd name="connsiteY92" fmla="*/ 30882 h 165364"/>
                            <a:gd name="connsiteX93" fmla="*/ 119063 w 177404"/>
                            <a:gd name="connsiteY93" fmla="*/ 30882 h 165364"/>
                            <a:gd name="connsiteX94" fmla="*/ 119063 w 177404"/>
                            <a:gd name="connsiteY94" fmla="*/ 33264 h 165364"/>
                            <a:gd name="connsiteX95" fmla="*/ 116682 w 177404"/>
                            <a:gd name="connsiteY95" fmla="*/ 30882 h 165364"/>
                            <a:gd name="connsiteX96" fmla="*/ 98426 w 177404"/>
                            <a:gd name="connsiteY96" fmla="*/ 23738 h 165364"/>
                            <a:gd name="connsiteX97" fmla="*/ 98426 w 177404"/>
                            <a:gd name="connsiteY97" fmla="*/ 28501 h 165364"/>
                            <a:gd name="connsiteX98" fmla="*/ 98426 w 177404"/>
                            <a:gd name="connsiteY98" fmla="*/ 23738 h 165364"/>
                            <a:gd name="connsiteX99" fmla="*/ 128385 w 177404"/>
                            <a:gd name="connsiteY99" fmla="*/ 158 h 165364"/>
                            <a:gd name="connsiteX100" fmla="*/ 134646 w 177404"/>
                            <a:gd name="connsiteY100" fmla="*/ 1012 h 165364"/>
                            <a:gd name="connsiteX101" fmla="*/ 136923 w 177404"/>
                            <a:gd name="connsiteY101" fmla="*/ 7842 h 165364"/>
                            <a:gd name="connsiteX102" fmla="*/ 132369 w 177404"/>
                            <a:gd name="connsiteY102" fmla="*/ 16950 h 165364"/>
                            <a:gd name="connsiteX103" fmla="*/ 125539 w 177404"/>
                            <a:gd name="connsiteY103" fmla="*/ 23780 h 165364"/>
                            <a:gd name="connsiteX104" fmla="*/ 109601 w 177404"/>
                            <a:gd name="connsiteY104" fmla="*/ 19226 h 165364"/>
                            <a:gd name="connsiteX105" fmla="*/ 102771 w 177404"/>
                            <a:gd name="connsiteY105" fmla="*/ 21503 h 165364"/>
                            <a:gd name="connsiteX106" fmla="*/ 93663 w 177404"/>
                            <a:gd name="connsiteY106" fmla="*/ 19226 h 165364"/>
                            <a:gd name="connsiteX107" fmla="*/ 84556 w 177404"/>
                            <a:gd name="connsiteY107" fmla="*/ 23780 h 165364"/>
                            <a:gd name="connsiteX108" fmla="*/ 82279 w 177404"/>
                            <a:gd name="connsiteY108" fmla="*/ 26057 h 165364"/>
                            <a:gd name="connsiteX109" fmla="*/ 82279 w 177404"/>
                            <a:gd name="connsiteY109" fmla="*/ 28334 h 165364"/>
                            <a:gd name="connsiteX110" fmla="*/ 84556 w 177404"/>
                            <a:gd name="connsiteY110" fmla="*/ 30610 h 165364"/>
                            <a:gd name="connsiteX111" fmla="*/ 93663 w 177404"/>
                            <a:gd name="connsiteY111" fmla="*/ 37441 h 165364"/>
                            <a:gd name="connsiteX112" fmla="*/ 84556 w 177404"/>
                            <a:gd name="connsiteY112" fmla="*/ 32887 h 165364"/>
                            <a:gd name="connsiteX113" fmla="*/ 86833 w 177404"/>
                            <a:gd name="connsiteY113" fmla="*/ 41995 h 165364"/>
                            <a:gd name="connsiteX114" fmla="*/ 77725 w 177404"/>
                            <a:gd name="connsiteY114" fmla="*/ 35164 h 165364"/>
                            <a:gd name="connsiteX115" fmla="*/ 75449 w 177404"/>
                            <a:gd name="connsiteY115" fmla="*/ 37441 h 165364"/>
                            <a:gd name="connsiteX116" fmla="*/ 80002 w 177404"/>
                            <a:gd name="connsiteY116" fmla="*/ 44271 h 165364"/>
                            <a:gd name="connsiteX117" fmla="*/ 73172 w 177404"/>
                            <a:gd name="connsiteY117" fmla="*/ 37441 h 165364"/>
                            <a:gd name="connsiteX118" fmla="*/ 64064 w 177404"/>
                            <a:gd name="connsiteY118" fmla="*/ 30610 h 165364"/>
                            <a:gd name="connsiteX119" fmla="*/ 66341 w 177404"/>
                            <a:gd name="connsiteY119" fmla="*/ 26057 h 165364"/>
                            <a:gd name="connsiteX120" fmla="*/ 64064 w 177404"/>
                            <a:gd name="connsiteY120" fmla="*/ 46548 h 165364"/>
                            <a:gd name="connsiteX121" fmla="*/ 70895 w 177404"/>
                            <a:gd name="connsiteY121" fmla="*/ 64763 h 165364"/>
                            <a:gd name="connsiteX122" fmla="*/ 66341 w 177404"/>
                            <a:gd name="connsiteY122" fmla="*/ 57932 h 165364"/>
                            <a:gd name="connsiteX123" fmla="*/ 68618 w 177404"/>
                            <a:gd name="connsiteY123" fmla="*/ 64763 h 165364"/>
                            <a:gd name="connsiteX124" fmla="*/ 59511 w 177404"/>
                            <a:gd name="connsiteY124" fmla="*/ 69316 h 165364"/>
                            <a:gd name="connsiteX125" fmla="*/ 70895 w 177404"/>
                            <a:gd name="connsiteY125" fmla="*/ 73870 h 165364"/>
                            <a:gd name="connsiteX126" fmla="*/ 73172 w 177404"/>
                            <a:gd name="connsiteY126" fmla="*/ 73870 h 165364"/>
                            <a:gd name="connsiteX127" fmla="*/ 75449 w 177404"/>
                            <a:gd name="connsiteY127" fmla="*/ 78424 h 165364"/>
                            <a:gd name="connsiteX128" fmla="*/ 86833 w 177404"/>
                            <a:gd name="connsiteY128" fmla="*/ 82977 h 165364"/>
                            <a:gd name="connsiteX129" fmla="*/ 89110 w 177404"/>
                            <a:gd name="connsiteY129" fmla="*/ 89808 h 165364"/>
                            <a:gd name="connsiteX130" fmla="*/ 91386 w 177404"/>
                            <a:gd name="connsiteY130" fmla="*/ 98915 h 165364"/>
                            <a:gd name="connsiteX131" fmla="*/ 80002 w 177404"/>
                            <a:gd name="connsiteY131" fmla="*/ 89808 h 165364"/>
                            <a:gd name="connsiteX132" fmla="*/ 78914 w 177404"/>
                            <a:gd name="connsiteY132" fmla="*/ 90080 h 165364"/>
                            <a:gd name="connsiteX133" fmla="*/ 70895 w 177404"/>
                            <a:gd name="connsiteY133" fmla="*/ 92085 h 165364"/>
                            <a:gd name="connsiteX134" fmla="*/ 73172 w 177404"/>
                            <a:gd name="connsiteY134" fmla="*/ 96638 h 165364"/>
                            <a:gd name="connsiteX135" fmla="*/ 75449 w 177404"/>
                            <a:gd name="connsiteY135" fmla="*/ 98915 h 165364"/>
                            <a:gd name="connsiteX136" fmla="*/ 80002 w 177404"/>
                            <a:gd name="connsiteY136" fmla="*/ 103469 h 165364"/>
                            <a:gd name="connsiteX137" fmla="*/ 75449 w 177404"/>
                            <a:gd name="connsiteY137" fmla="*/ 108023 h 165364"/>
                            <a:gd name="connsiteX138" fmla="*/ 70895 w 177404"/>
                            <a:gd name="connsiteY138" fmla="*/ 103469 h 165364"/>
                            <a:gd name="connsiteX139" fmla="*/ 64064 w 177404"/>
                            <a:gd name="connsiteY139" fmla="*/ 101192 h 165364"/>
                            <a:gd name="connsiteX140" fmla="*/ 70895 w 177404"/>
                            <a:gd name="connsiteY140" fmla="*/ 114853 h 165364"/>
                            <a:gd name="connsiteX141" fmla="*/ 73172 w 177404"/>
                            <a:gd name="connsiteY141" fmla="*/ 121683 h 165364"/>
                            <a:gd name="connsiteX142" fmla="*/ 75449 w 177404"/>
                            <a:gd name="connsiteY142" fmla="*/ 128514 h 165364"/>
                            <a:gd name="connsiteX143" fmla="*/ 66341 w 177404"/>
                            <a:gd name="connsiteY143" fmla="*/ 121683 h 165364"/>
                            <a:gd name="connsiteX144" fmla="*/ 61788 w 177404"/>
                            <a:gd name="connsiteY144" fmla="*/ 128514 h 165364"/>
                            <a:gd name="connsiteX145" fmla="*/ 54957 w 177404"/>
                            <a:gd name="connsiteY145" fmla="*/ 117130 h 165364"/>
                            <a:gd name="connsiteX146" fmla="*/ 52680 w 177404"/>
                            <a:gd name="connsiteY146" fmla="*/ 114853 h 165364"/>
                            <a:gd name="connsiteX147" fmla="*/ 50404 w 177404"/>
                            <a:gd name="connsiteY147" fmla="*/ 121683 h 165364"/>
                            <a:gd name="connsiteX148" fmla="*/ 43573 w 177404"/>
                            <a:gd name="connsiteY148" fmla="*/ 108023 h 165364"/>
                            <a:gd name="connsiteX149" fmla="*/ 32189 w 177404"/>
                            <a:gd name="connsiteY149" fmla="*/ 92085 h 165364"/>
                            <a:gd name="connsiteX150" fmla="*/ 36743 w 177404"/>
                            <a:gd name="connsiteY150" fmla="*/ 87531 h 165364"/>
                            <a:gd name="connsiteX151" fmla="*/ 43573 w 177404"/>
                            <a:gd name="connsiteY151" fmla="*/ 85254 h 165364"/>
                            <a:gd name="connsiteX152" fmla="*/ 48127 w 177404"/>
                            <a:gd name="connsiteY152" fmla="*/ 82977 h 165364"/>
                            <a:gd name="connsiteX153" fmla="*/ 57234 w 177404"/>
                            <a:gd name="connsiteY153" fmla="*/ 87531 h 165364"/>
                            <a:gd name="connsiteX154" fmla="*/ 66341 w 177404"/>
                            <a:gd name="connsiteY154" fmla="*/ 92085 h 165364"/>
                            <a:gd name="connsiteX155" fmla="*/ 70895 w 177404"/>
                            <a:gd name="connsiteY155" fmla="*/ 89808 h 165364"/>
                            <a:gd name="connsiteX156" fmla="*/ 70895 w 177404"/>
                            <a:gd name="connsiteY156" fmla="*/ 85254 h 165364"/>
                            <a:gd name="connsiteX157" fmla="*/ 66341 w 177404"/>
                            <a:gd name="connsiteY157" fmla="*/ 85254 h 165364"/>
                            <a:gd name="connsiteX158" fmla="*/ 61788 w 177404"/>
                            <a:gd name="connsiteY158" fmla="*/ 82977 h 165364"/>
                            <a:gd name="connsiteX159" fmla="*/ 57234 w 177404"/>
                            <a:gd name="connsiteY159" fmla="*/ 80701 h 165364"/>
                            <a:gd name="connsiteX160" fmla="*/ 48127 w 177404"/>
                            <a:gd name="connsiteY160" fmla="*/ 80701 h 165364"/>
                            <a:gd name="connsiteX161" fmla="*/ 36743 w 177404"/>
                            <a:gd name="connsiteY161" fmla="*/ 78424 h 165364"/>
                            <a:gd name="connsiteX162" fmla="*/ 32189 w 177404"/>
                            <a:gd name="connsiteY162" fmla="*/ 82977 h 165364"/>
                            <a:gd name="connsiteX163" fmla="*/ 27635 w 177404"/>
                            <a:gd name="connsiteY163" fmla="*/ 73870 h 165364"/>
                            <a:gd name="connsiteX164" fmla="*/ 23682 w 177404"/>
                            <a:gd name="connsiteY164" fmla="*/ 71329 h 165364"/>
                            <a:gd name="connsiteX165" fmla="*/ 23515 w 177404"/>
                            <a:gd name="connsiteY165" fmla="*/ 74340 h 165364"/>
                            <a:gd name="connsiteX166" fmla="*/ 21431 w 177404"/>
                            <a:gd name="connsiteY166" fmla="*/ 76126 h 165364"/>
                            <a:gd name="connsiteX167" fmla="*/ 23476 w 177404"/>
                            <a:gd name="connsiteY167" fmla="*/ 69994 h 165364"/>
                            <a:gd name="connsiteX168" fmla="*/ 23082 w 177404"/>
                            <a:gd name="connsiteY168" fmla="*/ 67040 h 165364"/>
                            <a:gd name="connsiteX169" fmla="*/ 29912 w 177404"/>
                            <a:gd name="connsiteY169" fmla="*/ 64763 h 165364"/>
                            <a:gd name="connsiteX170" fmla="*/ 23082 w 177404"/>
                            <a:gd name="connsiteY170" fmla="*/ 67040 h 165364"/>
                            <a:gd name="connsiteX171" fmla="*/ 13974 w 177404"/>
                            <a:gd name="connsiteY171" fmla="*/ 57932 h 165364"/>
                            <a:gd name="connsiteX172" fmla="*/ 7144 w 177404"/>
                            <a:gd name="connsiteY172" fmla="*/ 48825 h 165364"/>
                            <a:gd name="connsiteX173" fmla="*/ 13974 w 177404"/>
                            <a:gd name="connsiteY173" fmla="*/ 48825 h 165364"/>
                            <a:gd name="connsiteX174" fmla="*/ 16251 w 177404"/>
                            <a:gd name="connsiteY174" fmla="*/ 46548 h 165364"/>
                            <a:gd name="connsiteX175" fmla="*/ 16251 w 177404"/>
                            <a:gd name="connsiteY175" fmla="*/ 39718 h 165364"/>
                            <a:gd name="connsiteX176" fmla="*/ 20805 w 177404"/>
                            <a:gd name="connsiteY176" fmla="*/ 35164 h 165364"/>
                            <a:gd name="connsiteX177" fmla="*/ 27635 w 177404"/>
                            <a:gd name="connsiteY177" fmla="*/ 28334 h 165364"/>
                            <a:gd name="connsiteX178" fmla="*/ 25358 w 177404"/>
                            <a:gd name="connsiteY178" fmla="*/ 21503 h 165364"/>
                            <a:gd name="connsiteX179" fmla="*/ 32189 w 177404"/>
                            <a:gd name="connsiteY179" fmla="*/ 19226 h 165364"/>
                            <a:gd name="connsiteX180" fmla="*/ 48127 w 177404"/>
                            <a:gd name="connsiteY180" fmla="*/ 14673 h 165364"/>
                            <a:gd name="connsiteX181" fmla="*/ 59511 w 177404"/>
                            <a:gd name="connsiteY181" fmla="*/ 12396 h 165364"/>
                            <a:gd name="connsiteX182" fmla="*/ 64064 w 177404"/>
                            <a:gd name="connsiteY182" fmla="*/ 10119 h 165364"/>
                            <a:gd name="connsiteX183" fmla="*/ 68618 w 177404"/>
                            <a:gd name="connsiteY183" fmla="*/ 10119 h 165364"/>
                            <a:gd name="connsiteX184" fmla="*/ 80002 w 177404"/>
                            <a:gd name="connsiteY184" fmla="*/ 10119 h 165364"/>
                            <a:gd name="connsiteX185" fmla="*/ 86833 w 177404"/>
                            <a:gd name="connsiteY185" fmla="*/ 5565 h 165364"/>
                            <a:gd name="connsiteX186" fmla="*/ 95940 w 177404"/>
                            <a:gd name="connsiteY186" fmla="*/ 5565 h 165364"/>
                            <a:gd name="connsiteX187" fmla="*/ 102771 w 177404"/>
                            <a:gd name="connsiteY187" fmla="*/ 7842 h 165364"/>
                            <a:gd name="connsiteX188" fmla="*/ 109601 w 177404"/>
                            <a:gd name="connsiteY188" fmla="*/ 10119 h 165364"/>
                            <a:gd name="connsiteX189" fmla="*/ 118708 w 177404"/>
                            <a:gd name="connsiteY189" fmla="*/ 10119 h 165364"/>
                            <a:gd name="connsiteX190" fmla="*/ 127816 w 177404"/>
                            <a:gd name="connsiteY190" fmla="*/ 7842 h 165364"/>
                            <a:gd name="connsiteX191" fmla="*/ 125539 w 177404"/>
                            <a:gd name="connsiteY191" fmla="*/ 1012 h 165364"/>
                            <a:gd name="connsiteX192" fmla="*/ 128385 w 177404"/>
                            <a:gd name="connsiteY192" fmla="*/ 158 h 165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Lst>
                          <a:rect l="l" t="t" r="r" b="b"/>
                          <a:pathLst>
                            <a:path w="177404" h="165364">
                              <a:moveTo>
                                <a:pt x="86725" y="146373"/>
                              </a:moveTo>
                              <a:cubicBezTo>
                                <a:pt x="89011" y="150871"/>
                                <a:pt x="93583" y="148622"/>
                                <a:pt x="95869" y="148622"/>
                              </a:cubicBezTo>
                              <a:cubicBezTo>
                                <a:pt x="93583" y="150871"/>
                                <a:pt x="95869" y="150871"/>
                                <a:pt x="95869" y="153120"/>
                              </a:cubicBezTo>
                              <a:cubicBezTo>
                                <a:pt x="100441" y="155369"/>
                                <a:pt x="102727" y="155369"/>
                                <a:pt x="105013" y="153120"/>
                              </a:cubicBezTo>
                              <a:cubicBezTo>
                                <a:pt x="111871" y="150871"/>
                                <a:pt x="116443" y="155369"/>
                                <a:pt x="123301" y="155369"/>
                              </a:cubicBezTo>
                              <a:cubicBezTo>
                                <a:pt x="125587" y="155369"/>
                                <a:pt x="127873" y="153120"/>
                                <a:pt x="127873" y="157618"/>
                              </a:cubicBezTo>
                              <a:cubicBezTo>
                                <a:pt x="127873" y="157618"/>
                                <a:pt x="127873" y="159867"/>
                                <a:pt x="130159" y="159867"/>
                              </a:cubicBezTo>
                              <a:cubicBezTo>
                                <a:pt x="132445" y="159867"/>
                                <a:pt x="134731" y="157618"/>
                                <a:pt x="139303" y="157618"/>
                              </a:cubicBezTo>
                              <a:cubicBezTo>
                                <a:pt x="139303" y="157618"/>
                                <a:pt x="139303" y="159867"/>
                                <a:pt x="139303" y="162116"/>
                              </a:cubicBezTo>
                              <a:cubicBezTo>
                                <a:pt x="139303" y="162116"/>
                                <a:pt x="137017" y="162116"/>
                                <a:pt x="134731" y="162116"/>
                              </a:cubicBezTo>
                              <a:cubicBezTo>
                                <a:pt x="127873" y="162116"/>
                                <a:pt x="123301" y="162116"/>
                                <a:pt x="116443" y="164365"/>
                              </a:cubicBezTo>
                              <a:cubicBezTo>
                                <a:pt x="114157" y="164365"/>
                                <a:pt x="111871" y="166614"/>
                                <a:pt x="109585" y="164365"/>
                              </a:cubicBezTo>
                              <a:cubicBezTo>
                                <a:pt x="107299" y="164365"/>
                                <a:pt x="109585" y="162116"/>
                                <a:pt x="107299" y="159867"/>
                              </a:cubicBezTo>
                              <a:cubicBezTo>
                                <a:pt x="102727" y="157618"/>
                                <a:pt x="100441" y="159867"/>
                                <a:pt x="95869" y="157618"/>
                              </a:cubicBezTo>
                              <a:cubicBezTo>
                                <a:pt x="93583" y="157618"/>
                                <a:pt x="86725" y="157618"/>
                                <a:pt x="84439" y="157618"/>
                              </a:cubicBezTo>
                              <a:cubicBezTo>
                                <a:pt x="82153" y="155369"/>
                                <a:pt x="84439" y="150871"/>
                                <a:pt x="84439" y="150871"/>
                              </a:cubicBezTo>
                              <a:cubicBezTo>
                                <a:pt x="86725" y="150871"/>
                                <a:pt x="86725" y="150871"/>
                                <a:pt x="86725" y="150871"/>
                              </a:cubicBezTo>
                              <a:cubicBezTo>
                                <a:pt x="86725" y="150871"/>
                                <a:pt x="86725" y="148622"/>
                                <a:pt x="86725" y="146373"/>
                              </a:cubicBezTo>
                              <a:close/>
                              <a:moveTo>
                                <a:pt x="157163" y="143992"/>
                              </a:moveTo>
                              <a:cubicBezTo>
                                <a:pt x="157163" y="146373"/>
                                <a:pt x="159545" y="153517"/>
                                <a:pt x="157163" y="153517"/>
                              </a:cubicBezTo>
                              <a:cubicBezTo>
                                <a:pt x="154782" y="148755"/>
                                <a:pt x="154782" y="146373"/>
                                <a:pt x="157163" y="143992"/>
                              </a:cubicBezTo>
                              <a:close/>
                              <a:moveTo>
                                <a:pt x="177404" y="128514"/>
                              </a:moveTo>
                              <a:cubicBezTo>
                                <a:pt x="177404" y="130725"/>
                                <a:pt x="175261" y="132937"/>
                                <a:pt x="175261" y="135148"/>
                              </a:cubicBezTo>
                              <a:cubicBezTo>
                                <a:pt x="173118" y="139570"/>
                                <a:pt x="173118" y="135148"/>
                                <a:pt x="170975" y="139570"/>
                              </a:cubicBezTo>
                              <a:cubicBezTo>
                                <a:pt x="168831" y="143993"/>
                                <a:pt x="168831" y="137359"/>
                                <a:pt x="166688" y="135148"/>
                              </a:cubicBezTo>
                              <a:cubicBezTo>
                                <a:pt x="166688" y="132937"/>
                                <a:pt x="173118" y="128514"/>
                                <a:pt x="177404" y="128514"/>
                              </a:cubicBezTo>
                              <a:close/>
                              <a:moveTo>
                                <a:pt x="98822" y="121370"/>
                              </a:moveTo>
                              <a:cubicBezTo>
                                <a:pt x="100608" y="121370"/>
                                <a:pt x="100608" y="121370"/>
                                <a:pt x="102394" y="121370"/>
                              </a:cubicBezTo>
                              <a:cubicBezTo>
                                <a:pt x="102394" y="123751"/>
                                <a:pt x="100608" y="123751"/>
                                <a:pt x="98822" y="123751"/>
                              </a:cubicBezTo>
                              <a:cubicBezTo>
                                <a:pt x="98822" y="121370"/>
                                <a:pt x="98822" y="121370"/>
                                <a:pt x="98822" y="121370"/>
                              </a:cubicBezTo>
                              <a:close/>
                              <a:moveTo>
                                <a:pt x="157163" y="116608"/>
                              </a:moveTo>
                              <a:cubicBezTo>
                                <a:pt x="157163" y="118989"/>
                                <a:pt x="150912" y="118989"/>
                                <a:pt x="150912" y="123752"/>
                              </a:cubicBezTo>
                              <a:cubicBezTo>
                                <a:pt x="148828" y="118989"/>
                                <a:pt x="157163" y="116608"/>
                                <a:pt x="157163" y="116608"/>
                              </a:cubicBezTo>
                              <a:close/>
                              <a:moveTo>
                                <a:pt x="123826" y="110654"/>
                              </a:moveTo>
                              <a:cubicBezTo>
                                <a:pt x="123826" y="112639"/>
                                <a:pt x="121444" y="116608"/>
                                <a:pt x="121444" y="116608"/>
                              </a:cubicBezTo>
                              <a:cubicBezTo>
                                <a:pt x="119063" y="114623"/>
                                <a:pt x="119063" y="114623"/>
                                <a:pt x="119063" y="112639"/>
                              </a:cubicBezTo>
                              <a:cubicBezTo>
                                <a:pt x="119063" y="112639"/>
                                <a:pt x="121444" y="110654"/>
                                <a:pt x="123826" y="110654"/>
                              </a:cubicBezTo>
                              <a:close/>
                              <a:moveTo>
                                <a:pt x="144065" y="93985"/>
                              </a:moveTo>
                              <a:cubicBezTo>
                                <a:pt x="146446" y="93985"/>
                                <a:pt x="148828" y="96366"/>
                                <a:pt x="151209" y="96366"/>
                              </a:cubicBezTo>
                              <a:cubicBezTo>
                                <a:pt x="151209" y="96366"/>
                                <a:pt x="148828" y="98748"/>
                                <a:pt x="146446" y="98748"/>
                              </a:cubicBezTo>
                              <a:cubicBezTo>
                                <a:pt x="146446" y="98748"/>
                                <a:pt x="139303" y="96366"/>
                                <a:pt x="144065" y="93985"/>
                              </a:cubicBezTo>
                              <a:close/>
                              <a:moveTo>
                                <a:pt x="104775" y="89223"/>
                              </a:moveTo>
                              <a:cubicBezTo>
                                <a:pt x="107156" y="93985"/>
                                <a:pt x="111919" y="93985"/>
                                <a:pt x="109538" y="98748"/>
                              </a:cubicBezTo>
                              <a:cubicBezTo>
                                <a:pt x="107156" y="96367"/>
                                <a:pt x="104775" y="93985"/>
                                <a:pt x="102394" y="91604"/>
                              </a:cubicBezTo>
                              <a:cubicBezTo>
                                <a:pt x="104775" y="89223"/>
                                <a:pt x="104775" y="89223"/>
                                <a:pt x="104775" y="89223"/>
                              </a:cubicBezTo>
                              <a:close/>
                              <a:moveTo>
                                <a:pt x="18574" y="78507"/>
                              </a:moveTo>
                              <a:cubicBezTo>
                                <a:pt x="20717" y="80650"/>
                                <a:pt x="20717" y="82793"/>
                                <a:pt x="20717" y="82793"/>
                              </a:cubicBezTo>
                              <a:cubicBezTo>
                                <a:pt x="22861" y="84937"/>
                                <a:pt x="25004" y="84937"/>
                                <a:pt x="25004" y="87080"/>
                              </a:cubicBezTo>
                              <a:cubicBezTo>
                                <a:pt x="22861" y="89223"/>
                                <a:pt x="18574" y="87080"/>
                                <a:pt x="18574" y="84937"/>
                              </a:cubicBezTo>
                              <a:cubicBezTo>
                                <a:pt x="16431" y="87080"/>
                                <a:pt x="16431" y="87080"/>
                                <a:pt x="16431" y="87080"/>
                              </a:cubicBezTo>
                              <a:cubicBezTo>
                                <a:pt x="14288" y="82793"/>
                                <a:pt x="18574" y="82793"/>
                                <a:pt x="18574" y="80650"/>
                              </a:cubicBezTo>
                              <a:cubicBezTo>
                                <a:pt x="18574" y="78507"/>
                                <a:pt x="18574" y="78507"/>
                                <a:pt x="18574" y="78507"/>
                              </a:cubicBezTo>
                              <a:close/>
                              <a:moveTo>
                                <a:pt x="126207" y="77998"/>
                              </a:moveTo>
                              <a:cubicBezTo>
                                <a:pt x="130374" y="71364"/>
                                <a:pt x="134542" y="82420"/>
                                <a:pt x="130374" y="86843"/>
                              </a:cubicBezTo>
                              <a:cubicBezTo>
                                <a:pt x="126207" y="84632"/>
                                <a:pt x="130374" y="80209"/>
                                <a:pt x="126207" y="77998"/>
                              </a:cubicBezTo>
                              <a:close/>
                              <a:moveTo>
                                <a:pt x="98426" y="66601"/>
                              </a:moveTo>
                              <a:cubicBezTo>
                                <a:pt x="100410" y="66601"/>
                                <a:pt x="100410" y="68982"/>
                                <a:pt x="102395" y="71364"/>
                              </a:cubicBezTo>
                              <a:cubicBezTo>
                                <a:pt x="100410" y="71364"/>
                                <a:pt x="100410" y="71364"/>
                                <a:pt x="100410" y="71364"/>
                              </a:cubicBezTo>
                              <a:cubicBezTo>
                                <a:pt x="100410" y="68982"/>
                                <a:pt x="96441" y="68982"/>
                                <a:pt x="98426" y="66601"/>
                              </a:cubicBezTo>
                              <a:close/>
                              <a:moveTo>
                                <a:pt x="73372" y="64220"/>
                              </a:moveTo>
                              <a:cubicBezTo>
                                <a:pt x="77837" y="64220"/>
                                <a:pt x="77837" y="68784"/>
                                <a:pt x="80069" y="71066"/>
                              </a:cubicBezTo>
                              <a:cubicBezTo>
                                <a:pt x="82302" y="73348"/>
                                <a:pt x="86767" y="71066"/>
                                <a:pt x="88999" y="73348"/>
                              </a:cubicBezTo>
                              <a:cubicBezTo>
                                <a:pt x="93464" y="75630"/>
                                <a:pt x="91232" y="80195"/>
                                <a:pt x="93464" y="82477"/>
                              </a:cubicBezTo>
                              <a:cubicBezTo>
                                <a:pt x="95697" y="87041"/>
                                <a:pt x="100161" y="84759"/>
                                <a:pt x="100161" y="87041"/>
                              </a:cubicBezTo>
                              <a:cubicBezTo>
                                <a:pt x="102394" y="91605"/>
                                <a:pt x="95697" y="89323"/>
                                <a:pt x="95697" y="87041"/>
                              </a:cubicBezTo>
                              <a:cubicBezTo>
                                <a:pt x="93464" y="87041"/>
                                <a:pt x="91232" y="82477"/>
                                <a:pt x="88999" y="80195"/>
                              </a:cubicBezTo>
                              <a:cubicBezTo>
                                <a:pt x="86767" y="80195"/>
                                <a:pt x="82302" y="82477"/>
                                <a:pt x="80069" y="77912"/>
                              </a:cubicBezTo>
                              <a:cubicBezTo>
                                <a:pt x="82302" y="73348"/>
                                <a:pt x="71140" y="66502"/>
                                <a:pt x="66675" y="68784"/>
                              </a:cubicBezTo>
                              <a:cubicBezTo>
                                <a:pt x="68907" y="68784"/>
                                <a:pt x="71140" y="64220"/>
                                <a:pt x="73372" y="64220"/>
                              </a:cubicBezTo>
                              <a:close/>
                              <a:moveTo>
                                <a:pt x="128290" y="58266"/>
                              </a:moveTo>
                              <a:cubicBezTo>
                                <a:pt x="134987" y="58266"/>
                                <a:pt x="137220" y="60350"/>
                                <a:pt x="141685" y="64517"/>
                              </a:cubicBezTo>
                              <a:cubicBezTo>
                                <a:pt x="139452" y="64517"/>
                                <a:pt x="137220" y="64517"/>
                                <a:pt x="137220" y="66601"/>
                              </a:cubicBezTo>
                              <a:cubicBezTo>
                                <a:pt x="134987" y="66601"/>
                                <a:pt x="132755" y="64517"/>
                                <a:pt x="130522" y="64517"/>
                              </a:cubicBezTo>
                              <a:cubicBezTo>
                                <a:pt x="132755" y="62433"/>
                                <a:pt x="132755" y="62433"/>
                                <a:pt x="132755" y="62433"/>
                              </a:cubicBezTo>
                              <a:cubicBezTo>
                                <a:pt x="130522" y="62433"/>
                                <a:pt x="128290" y="64517"/>
                                <a:pt x="126057" y="62433"/>
                              </a:cubicBezTo>
                              <a:cubicBezTo>
                                <a:pt x="123825" y="60350"/>
                                <a:pt x="128290" y="60350"/>
                                <a:pt x="128290" y="58266"/>
                              </a:cubicBezTo>
                              <a:close/>
                              <a:moveTo>
                                <a:pt x="6830" y="54892"/>
                              </a:moveTo>
                              <a:lnTo>
                                <a:pt x="9525" y="55885"/>
                              </a:lnTo>
                              <a:cubicBezTo>
                                <a:pt x="9525" y="55885"/>
                                <a:pt x="9525" y="55885"/>
                                <a:pt x="7144" y="55885"/>
                              </a:cubicBezTo>
                              <a:close/>
                              <a:moveTo>
                                <a:pt x="0" y="46360"/>
                              </a:moveTo>
                              <a:cubicBezTo>
                                <a:pt x="4762" y="46360"/>
                                <a:pt x="5358" y="48146"/>
                                <a:pt x="5358" y="50229"/>
                              </a:cubicBezTo>
                              <a:lnTo>
                                <a:pt x="6830" y="54892"/>
                              </a:lnTo>
                              <a:lnTo>
                                <a:pt x="3869" y="53801"/>
                              </a:lnTo>
                              <a:cubicBezTo>
                                <a:pt x="1786" y="51718"/>
                                <a:pt x="0" y="48741"/>
                                <a:pt x="0" y="46360"/>
                              </a:cubicBezTo>
                              <a:close/>
                              <a:moveTo>
                                <a:pt x="109538" y="41598"/>
                              </a:moveTo>
                              <a:cubicBezTo>
                                <a:pt x="111919" y="41598"/>
                                <a:pt x="114301" y="41598"/>
                                <a:pt x="116682" y="41598"/>
                              </a:cubicBezTo>
                              <a:cubicBezTo>
                                <a:pt x="114301" y="41598"/>
                                <a:pt x="114301" y="43979"/>
                                <a:pt x="114301" y="46361"/>
                              </a:cubicBezTo>
                              <a:cubicBezTo>
                                <a:pt x="111919" y="43979"/>
                                <a:pt x="107157" y="48742"/>
                                <a:pt x="109538" y="41598"/>
                              </a:cubicBezTo>
                              <a:close/>
                              <a:moveTo>
                                <a:pt x="122933" y="36984"/>
                              </a:moveTo>
                              <a:cubicBezTo>
                                <a:pt x="124421" y="36538"/>
                                <a:pt x="126207" y="36538"/>
                                <a:pt x="126207" y="37431"/>
                              </a:cubicBezTo>
                              <a:cubicBezTo>
                                <a:pt x="126207" y="37431"/>
                                <a:pt x="123826" y="39217"/>
                                <a:pt x="121444" y="39217"/>
                              </a:cubicBezTo>
                              <a:cubicBezTo>
                                <a:pt x="120253" y="38324"/>
                                <a:pt x="121444" y="37431"/>
                                <a:pt x="122933" y="36984"/>
                              </a:cubicBezTo>
                              <a:close/>
                              <a:moveTo>
                                <a:pt x="116682" y="30882"/>
                              </a:moveTo>
                              <a:cubicBezTo>
                                <a:pt x="116682" y="28501"/>
                                <a:pt x="119063" y="30882"/>
                                <a:pt x="119063" y="30882"/>
                              </a:cubicBezTo>
                              <a:cubicBezTo>
                                <a:pt x="119063" y="33264"/>
                                <a:pt x="119063" y="33264"/>
                                <a:pt x="119063" y="33264"/>
                              </a:cubicBezTo>
                              <a:cubicBezTo>
                                <a:pt x="116682" y="33264"/>
                                <a:pt x="116682" y="30882"/>
                                <a:pt x="116682" y="30882"/>
                              </a:cubicBezTo>
                              <a:close/>
                              <a:moveTo>
                                <a:pt x="98426" y="23738"/>
                              </a:moveTo>
                              <a:cubicBezTo>
                                <a:pt x="102395" y="23738"/>
                                <a:pt x="102395" y="28501"/>
                                <a:pt x="98426" y="28501"/>
                              </a:cubicBezTo>
                              <a:cubicBezTo>
                                <a:pt x="96441" y="28501"/>
                                <a:pt x="96441" y="21357"/>
                                <a:pt x="98426" y="23738"/>
                              </a:cubicBezTo>
                              <a:close/>
                              <a:moveTo>
                                <a:pt x="128385" y="158"/>
                              </a:moveTo>
                              <a:cubicBezTo>
                                <a:pt x="130662" y="443"/>
                                <a:pt x="133508" y="1012"/>
                                <a:pt x="134646" y="1012"/>
                              </a:cubicBezTo>
                              <a:cubicBezTo>
                                <a:pt x="136923" y="3289"/>
                                <a:pt x="136923" y="5565"/>
                                <a:pt x="136923" y="7842"/>
                              </a:cubicBezTo>
                              <a:cubicBezTo>
                                <a:pt x="130092" y="10119"/>
                                <a:pt x="132369" y="12396"/>
                                <a:pt x="132369" y="16950"/>
                              </a:cubicBezTo>
                              <a:cubicBezTo>
                                <a:pt x="132369" y="19226"/>
                                <a:pt x="130092" y="21503"/>
                                <a:pt x="125539" y="23780"/>
                              </a:cubicBezTo>
                              <a:cubicBezTo>
                                <a:pt x="127816" y="21503"/>
                                <a:pt x="111878" y="19226"/>
                                <a:pt x="109601" y="19226"/>
                              </a:cubicBezTo>
                              <a:cubicBezTo>
                                <a:pt x="105047" y="16950"/>
                                <a:pt x="105047" y="19226"/>
                                <a:pt x="102771" y="21503"/>
                              </a:cubicBezTo>
                              <a:cubicBezTo>
                                <a:pt x="98217" y="23780"/>
                                <a:pt x="95940" y="16950"/>
                                <a:pt x="93663" y="19226"/>
                              </a:cubicBezTo>
                              <a:cubicBezTo>
                                <a:pt x="89110" y="21503"/>
                                <a:pt x="89110" y="26057"/>
                                <a:pt x="84556" y="23780"/>
                              </a:cubicBezTo>
                              <a:cubicBezTo>
                                <a:pt x="80002" y="21503"/>
                                <a:pt x="80002" y="23780"/>
                                <a:pt x="82279" y="26057"/>
                              </a:cubicBezTo>
                              <a:cubicBezTo>
                                <a:pt x="82279" y="28334"/>
                                <a:pt x="84556" y="28334"/>
                                <a:pt x="82279" y="28334"/>
                              </a:cubicBezTo>
                              <a:cubicBezTo>
                                <a:pt x="82279" y="30610"/>
                                <a:pt x="84556" y="32887"/>
                                <a:pt x="84556" y="30610"/>
                              </a:cubicBezTo>
                              <a:cubicBezTo>
                                <a:pt x="86833" y="28334"/>
                                <a:pt x="93663" y="37441"/>
                                <a:pt x="93663" y="37441"/>
                              </a:cubicBezTo>
                              <a:cubicBezTo>
                                <a:pt x="91386" y="39718"/>
                                <a:pt x="86833" y="32887"/>
                                <a:pt x="84556" y="32887"/>
                              </a:cubicBezTo>
                              <a:cubicBezTo>
                                <a:pt x="75449" y="32887"/>
                                <a:pt x="86833" y="39718"/>
                                <a:pt x="86833" y="41995"/>
                              </a:cubicBezTo>
                              <a:cubicBezTo>
                                <a:pt x="82279" y="41995"/>
                                <a:pt x="80002" y="37441"/>
                                <a:pt x="77725" y="35164"/>
                              </a:cubicBezTo>
                              <a:cubicBezTo>
                                <a:pt x="73172" y="35164"/>
                                <a:pt x="73172" y="35164"/>
                                <a:pt x="75449" y="37441"/>
                              </a:cubicBezTo>
                              <a:cubicBezTo>
                                <a:pt x="75449" y="39718"/>
                                <a:pt x="77725" y="41995"/>
                                <a:pt x="80002" y="44271"/>
                              </a:cubicBezTo>
                              <a:cubicBezTo>
                                <a:pt x="75449" y="46548"/>
                                <a:pt x="75449" y="41995"/>
                                <a:pt x="73172" y="37441"/>
                              </a:cubicBezTo>
                              <a:cubicBezTo>
                                <a:pt x="70895" y="32887"/>
                                <a:pt x="66341" y="32887"/>
                                <a:pt x="64064" y="30610"/>
                              </a:cubicBezTo>
                              <a:cubicBezTo>
                                <a:pt x="64064" y="30610"/>
                                <a:pt x="66341" y="28334"/>
                                <a:pt x="66341" y="26057"/>
                              </a:cubicBezTo>
                              <a:cubicBezTo>
                                <a:pt x="54957" y="28334"/>
                                <a:pt x="59511" y="41995"/>
                                <a:pt x="64064" y="46548"/>
                              </a:cubicBezTo>
                              <a:cubicBezTo>
                                <a:pt x="66341" y="48825"/>
                                <a:pt x="80002" y="62486"/>
                                <a:pt x="70895" y="64763"/>
                              </a:cubicBezTo>
                              <a:cubicBezTo>
                                <a:pt x="73172" y="62486"/>
                                <a:pt x="70895" y="55656"/>
                                <a:pt x="66341" y="57932"/>
                              </a:cubicBezTo>
                              <a:cubicBezTo>
                                <a:pt x="61788" y="57932"/>
                                <a:pt x="66341" y="67040"/>
                                <a:pt x="68618" y="64763"/>
                              </a:cubicBezTo>
                              <a:cubicBezTo>
                                <a:pt x="66341" y="67040"/>
                                <a:pt x="64064" y="69316"/>
                                <a:pt x="59511" y="69316"/>
                              </a:cubicBezTo>
                              <a:cubicBezTo>
                                <a:pt x="61788" y="69316"/>
                                <a:pt x="68618" y="71593"/>
                                <a:pt x="70895" y="73870"/>
                              </a:cubicBezTo>
                              <a:cubicBezTo>
                                <a:pt x="70895" y="76147"/>
                                <a:pt x="73172" y="73870"/>
                                <a:pt x="73172" y="73870"/>
                              </a:cubicBezTo>
                              <a:cubicBezTo>
                                <a:pt x="75449" y="76147"/>
                                <a:pt x="73172" y="76147"/>
                                <a:pt x="75449" y="78424"/>
                              </a:cubicBezTo>
                              <a:cubicBezTo>
                                <a:pt x="80002" y="78424"/>
                                <a:pt x="84556" y="80701"/>
                                <a:pt x="86833" y="82977"/>
                              </a:cubicBezTo>
                              <a:cubicBezTo>
                                <a:pt x="91386" y="85254"/>
                                <a:pt x="91386" y="87531"/>
                                <a:pt x="89110" y="89808"/>
                              </a:cubicBezTo>
                              <a:cubicBezTo>
                                <a:pt x="89110" y="94362"/>
                                <a:pt x="91386" y="96638"/>
                                <a:pt x="91386" y="98915"/>
                              </a:cubicBezTo>
                              <a:cubicBezTo>
                                <a:pt x="86833" y="96638"/>
                                <a:pt x="84556" y="92085"/>
                                <a:pt x="80002" y="89808"/>
                              </a:cubicBezTo>
                              <a:lnTo>
                                <a:pt x="78914" y="90080"/>
                              </a:lnTo>
                              <a:lnTo>
                                <a:pt x="70895" y="92085"/>
                              </a:lnTo>
                              <a:cubicBezTo>
                                <a:pt x="70895" y="94362"/>
                                <a:pt x="73172" y="92085"/>
                                <a:pt x="73172" y="96638"/>
                              </a:cubicBezTo>
                              <a:cubicBezTo>
                                <a:pt x="73172" y="96638"/>
                                <a:pt x="75449" y="105746"/>
                                <a:pt x="75449" y="98915"/>
                              </a:cubicBezTo>
                              <a:cubicBezTo>
                                <a:pt x="77725" y="101192"/>
                                <a:pt x="80002" y="103469"/>
                                <a:pt x="80002" y="103469"/>
                              </a:cubicBezTo>
                              <a:cubicBezTo>
                                <a:pt x="80002" y="103469"/>
                                <a:pt x="73172" y="108023"/>
                                <a:pt x="75449" y="108023"/>
                              </a:cubicBezTo>
                              <a:cubicBezTo>
                                <a:pt x="70895" y="108023"/>
                                <a:pt x="73172" y="103469"/>
                                <a:pt x="70895" y="103469"/>
                              </a:cubicBezTo>
                              <a:cubicBezTo>
                                <a:pt x="68618" y="103469"/>
                                <a:pt x="66341" y="103469"/>
                                <a:pt x="64064" y="101192"/>
                              </a:cubicBezTo>
                              <a:cubicBezTo>
                                <a:pt x="64064" y="105746"/>
                                <a:pt x="68618" y="110299"/>
                                <a:pt x="70895" y="114853"/>
                              </a:cubicBezTo>
                              <a:cubicBezTo>
                                <a:pt x="70895" y="117130"/>
                                <a:pt x="73172" y="119407"/>
                                <a:pt x="73172" y="121683"/>
                              </a:cubicBezTo>
                              <a:cubicBezTo>
                                <a:pt x="70895" y="123960"/>
                                <a:pt x="75449" y="126237"/>
                                <a:pt x="75449" y="128514"/>
                              </a:cubicBezTo>
                              <a:cubicBezTo>
                                <a:pt x="75449" y="128514"/>
                                <a:pt x="68618" y="121683"/>
                                <a:pt x="66341" y="121683"/>
                              </a:cubicBezTo>
                              <a:cubicBezTo>
                                <a:pt x="64064" y="114853"/>
                                <a:pt x="59511" y="123960"/>
                                <a:pt x="61788" y="128514"/>
                              </a:cubicBezTo>
                              <a:cubicBezTo>
                                <a:pt x="57234" y="128514"/>
                                <a:pt x="57234" y="119407"/>
                                <a:pt x="54957" y="117130"/>
                              </a:cubicBezTo>
                              <a:cubicBezTo>
                                <a:pt x="52680" y="117130"/>
                                <a:pt x="54957" y="114853"/>
                                <a:pt x="52680" y="114853"/>
                              </a:cubicBezTo>
                              <a:cubicBezTo>
                                <a:pt x="48127" y="114853"/>
                                <a:pt x="48127" y="119407"/>
                                <a:pt x="50404" y="121683"/>
                              </a:cubicBezTo>
                              <a:cubicBezTo>
                                <a:pt x="43573" y="119407"/>
                                <a:pt x="41296" y="112576"/>
                                <a:pt x="43573" y="108023"/>
                              </a:cubicBezTo>
                              <a:cubicBezTo>
                                <a:pt x="45850" y="103469"/>
                                <a:pt x="34466" y="96638"/>
                                <a:pt x="32189" y="92085"/>
                              </a:cubicBezTo>
                              <a:cubicBezTo>
                                <a:pt x="34466" y="92085"/>
                                <a:pt x="34466" y="87531"/>
                                <a:pt x="36743" y="87531"/>
                              </a:cubicBezTo>
                              <a:cubicBezTo>
                                <a:pt x="39019" y="85254"/>
                                <a:pt x="41296" y="87531"/>
                                <a:pt x="43573" y="85254"/>
                              </a:cubicBezTo>
                              <a:cubicBezTo>
                                <a:pt x="43573" y="85254"/>
                                <a:pt x="45850" y="80701"/>
                                <a:pt x="48127" y="82977"/>
                              </a:cubicBezTo>
                              <a:cubicBezTo>
                                <a:pt x="50404" y="82977"/>
                                <a:pt x="52680" y="87531"/>
                                <a:pt x="57234" y="87531"/>
                              </a:cubicBezTo>
                              <a:cubicBezTo>
                                <a:pt x="61788" y="87531"/>
                                <a:pt x="64064" y="89808"/>
                                <a:pt x="66341" y="92085"/>
                              </a:cubicBezTo>
                              <a:cubicBezTo>
                                <a:pt x="68618" y="92085"/>
                                <a:pt x="68618" y="89808"/>
                                <a:pt x="70895" y="89808"/>
                              </a:cubicBezTo>
                              <a:cubicBezTo>
                                <a:pt x="73172" y="87531"/>
                                <a:pt x="75449" y="85254"/>
                                <a:pt x="70895" y="85254"/>
                              </a:cubicBezTo>
                              <a:cubicBezTo>
                                <a:pt x="68618" y="85254"/>
                                <a:pt x="66341" y="85254"/>
                                <a:pt x="66341" y="85254"/>
                              </a:cubicBezTo>
                              <a:cubicBezTo>
                                <a:pt x="64064" y="82977"/>
                                <a:pt x="61788" y="80701"/>
                                <a:pt x="61788" y="82977"/>
                              </a:cubicBezTo>
                              <a:cubicBezTo>
                                <a:pt x="59511" y="82977"/>
                                <a:pt x="59511" y="80701"/>
                                <a:pt x="57234" y="80701"/>
                              </a:cubicBezTo>
                              <a:cubicBezTo>
                                <a:pt x="57234" y="85254"/>
                                <a:pt x="50404" y="80701"/>
                                <a:pt x="48127" y="80701"/>
                              </a:cubicBezTo>
                              <a:cubicBezTo>
                                <a:pt x="41296" y="82977"/>
                                <a:pt x="39019" y="85254"/>
                                <a:pt x="36743" y="78424"/>
                              </a:cubicBezTo>
                              <a:cubicBezTo>
                                <a:pt x="34466" y="80701"/>
                                <a:pt x="34466" y="82977"/>
                                <a:pt x="32189" y="82977"/>
                              </a:cubicBezTo>
                              <a:cubicBezTo>
                                <a:pt x="32189" y="80701"/>
                                <a:pt x="29912" y="76147"/>
                                <a:pt x="27635" y="73870"/>
                              </a:cubicBezTo>
                              <a:lnTo>
                                <a:pt x="23682" y="71329"/>
                              </a:lnTo>
                              <a:lnTo>
                                <a:pt x="23515" y="74340"/>
                              </a:lnTo>
                              <a:cubicBezTo>
                                <a:pt x="23218" y="76126"/>
                                <a:pt x="22622" y="77316"/>
                                <a:pt x="21431" y="76126"/>
                              </a:cubicBezTo>
                              <a:lnTo>
                                <a:pt x="23476" y="69994"/>
                              </a:lnTo>
                              <a:lnTo>
                                <a:pt x="23082" y="67040"/>
                              </a:lnTo>
                              <a:cubicBezTo>
                                <a:pt x="25358" y="67040"/>
                                <a:pt x="36743" y="69316"/>
                                <a:pt x="29912" y="64763"/>
                              </a:cubicBezTo>
                              <a:cubicBezTo>
                                <a:pt x="29912" y="64763"/>
                                <a:pt x="23082" y="62486"/>
                                <a:pt x="23082" y="67040"/>
                              </a:cubicBezTo>
                              <a:cubicBezTo>
                                <a:pt x="20805" y="62486"/>
                                <a:pt x="16251" y="62486"/>
                                <a:pt x="13974" y="57932"/>
                              </a:cubicBezTo>
                              <a:cubicBezTo>
                                <a:pt x="11698" y="55656"/>
                                <a:pt x="11698" y="51102"/>
                                <a:pt x="7144" y="48825"/>
                              </a:cubicBezTo>
                              <a:cubicBezTo>
                                <a:pt x="9421" y="51102"/>
                                <a:pt x="11698" y="51102"/>
                                <a:pt x="13974" y="48825"/>
                              </a:cubicBezTo>
                              <a:cubicBezTo>
                                <a:pt x="16251" y="48825"/>
                                <a:pt x="11698" y="46548"/>
                                <a:pt x="16251" y="46548"/>
                              </a:cubicBezTo>
                              <a:cubicBezTo>
                                <a:pt x="13974" y="41995"/>
                                <a:pt x="13974" y="41995"/>
                                <a:pt x="16251" y="39718"/>
                              </a:cubicBezTo>
                              <a:cubicBezTo>
                                <a:pt x="18528" y="39718"/>
                                <a:pt x="20805" y="37441"/>
                                <a:pt x="20805" y="35164"/>
                              </a:cubicBezTo>
                              <a:cubicBezTo>
                                <a:pt x="23082" y="30610"/>
                                <a:pt x="25358" y="30610"/>
                                <a:pt x="27635" y="28334"/>
                              </a:cubicBezTo>
                              <a:cubicBezTo>
                                <a:pt x="29912" y="26057"/>
                                <a:pt x="25358" y="23780"/>
                                <a:pt x="25358" y="21503"/>
                              </a:cubicBezTo>
                              <a:cubicBezTo>
                                <a:pt x="27635" y="21503"/>
                                <a:pt x="29912" y="19226"/>
                                <a:pt x="32189" y="19226"/>
                              </a:cubicBezTo>
                              <a:cubicBezTo>
                                <a:pt x="39019" y="19226"/>
                                <a:pt x="43573" y="16950"/>
                                <a:pt x="48127" y="14673"/>
                              </a:cubicBezTo>
                              <a:cubicBezTo>
                                <a:pt x="50404" y="12396"/>
                                <a:pt x="54957" y="14673"/>
                                <a:pt x="59511" y="12396"/>
                              </a:cubicBezTo>
                              <a:cubicBezTo>
                                <a:pt x="61788" y="12396"/>
                                <a:pt x="59511" y="10119"/>
                                <a:pt x="64064" y="10119"/>
                              </a:cubicBezTo>
                              <a:cubicBezTo>
                                <a:pt x="64064" y="10119"/>
                                <a:pt x="68618" y="12396"/>
                                <a:pt x="68618" y="10119"/>
                              </a:cubicBezTo>
                              <a:cubicBezTo>
                                <a:pt x="73172" y="7842"/>
                                <a:pt x="75449" y="10119"/>
                                <a:pt x="80002" y="10119"/>
                              </a:cubicBezTo>
                              <a:cubicBezTo>
                                <a:pt x="82279" y="7842"/>
                                <a:pt x="84556" y="5565"/>
                                <a:pt x="86833" y="5565"/>
                              </a:cubicBezTo>
                              <a:cubicBezTo>
                                <a:pt x="89110" y="3289"/>
                                <a:pt x="93663" y="3289"/>
                                <a:pt x="95940" y="5565"/>
                              </a:cubicBezTo>
                              <a:cubicBezTo>
                                <a:pt x="98217" y="5565"/>
                                <a:pt x="98217" y="10119"/>
                                <a:pt x="102771" y="7842"/>
                              </a:cubicBezTo>
                              <a:cubicBezTo>
                                <a:pt x="105047" y="7842"/>
                                <a:pt x="107324" y="10119"/>
                                <a:pt x="109601" y="10119"/>
                              </a:cubicBezTo>
                              <a:cubicBezTo>
                                <a:pt x="114155" y="12396"/>
                                <a:pt x="116431" y="10119"/>
                                <a:pt x="118708" y="10119"/>
                              </a:cubicBezTo>
                              <a:cubicBezTo>
                                <a:pt x="120985" y="10119"/>
                                <a:pt x="125539" y="10119"/>
                                <a:pt x="127816" y="7842"/>
                              </a:cubicBezTo>
                              <a:cubicBezTo>
                                <a:pt x="130092" y="7842"/>
                                <a:pt x="125539" y="3289"/>
                                <a:pt x="125539" y="1012"/>
                              </a:cubicBezTo>
                              <a:cubicBezTo>
                                <a:pt x="124400" y="-127"/>
                                <a:pt x="126108" y="-127"/>
                                <a:pt x="128385" y="158"/>
                              </a:cubicBezTo>
                              <a:close/>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grpSp>
                  <p:sp>
                    <p:nvSpPr>
                      <p:cNvPr id="86" name="Armenia">
                        <a:extLst>
                          <a:ext uri="{FF2B5EF4-FFF2-40B4-BE49-F238E27FC236}">
                            <a16:creationId xmlns:a16="http://schemas.microsoft.com/office/drawing/2014/main" id="{2EFB527B-4BDF-C699-3952-9A69096FCD33}"/>
                          </a:ext>
                        </a:extLst>
                      </p:cNvPr>
                      <p:cNvSpPr>
                        <a:spLocks/>
                      </p:cNvSpPr>
                      <p:nvPr/>
                    </p:nvSpPr>
                    <p:spPr bwMode="auto">
                      <a:xfrm>
                        <a:off x="4686137" y="2319568"/>
                        <a:ext cx="71588" cy="59453"/>
                      </a:xfrm>
                      <a:custGeom>
                        <a:avLst/>
                        <a:gdLst/>
                        <a:ahLst/>
                        <a:cxnLst>
                          <a:cxn ang="0">
                            <a:pos x="0" y="1"/>
                          </a:cxn>
                          <a:cxn ang="0">
                            <a:pos x="5" y="1"/>
                          </a:cxn>
                          <a:cxn ang="0">
                            <a:pos x="12" y="1"/>
                          </a:cxn>
                          <a:cxn ang="0">
                            <a:pos x="14" y="0"/>
                          </a:cxn>
                          <a:cxn ang="0">
                            <a:pos x="14" y="2"/>
                          </a:cxn>
                          <a:cxn ang="0">
                            <a:pos x="19" y="5"/>
                          </a:cxn>
                          <a:cxn ang="0">
                            <a:pos x="21" y="10"/>
                          </a:cxn>
                          <a:cxn ang="0">
                            <a:pos x="24" y="12"/>
                          </a:cxn>
                          <a:cxn ang="0">
                            <a:pos x="21" y="14"/>
                          </a:cxn>
                          <a:cxn ang="0">
                            <a:pos x="27" y="18"/>
                          </a:cxn>
                          <a:cxn ang="0">
                            <a:pos x="29" y="19"/>
                          </a:cxn>
                          <a:cxn ang="0">
                            <a:pos x="31" y="22"/>
                          </a:cxn>
                          <a:cxn ang="0">
                            <a:pos x="31" y="26"/>
                          </a:cxn>
                          <a:cxn ang="0">
                            <a:pos x="27" y="26"/>
                          </a:cxn>
                          <a:cxn ang="0">
                            <a:pos x="24" y="21"/>
                          </a:cxn>
                          <a:cxn ang="0">
                            <a:pos x="23" y="19"/>
                          </a:cxn>
                          <a:cxn ang="0">
                            <a:pos x="21" y="19"/>
                          </a:cxn>
                          <a:cxn ang="0">
                            <a:pos x="18" y="18"/>
                          </a:cxn>
                          <a:cxn ang="0">
                            <a:pos x="14" y="17"/>
                          </a:cxn>
                          <a:cxn ang="0">
                            <a:pos x="9" y="14"/>
                          </a:cxn>
                          <a:cxn ang="0">
                            <a:pos x="3" y="13"/>
                          </a:cxn>
                          <a:cxn ang="0">
                            <a:pos x="3" y="11"/>
                          </a:cxn>
                          <a:cxn ang="0">
                            <a:pos x="3" y="8"/>
                          </a:cxn>
                          <a:cxn ang="0">
                            <a:pos x="0" y="1"/>
                          </a:cxn>
                        </a:cxnLst>
                        <a:rect l="0" t="0" r="r" b="b"/>
                        <a:pathLst>
                          <a:path w="31" h="26">
                            <a:moveTo>
                              <a:pt x="0" y="1"/>
                            </a:moveTo>
                            <a:cubicBezTo>
                              <a:pt x="1" y="1"/>
                              <a:pt x="3" y="2"/>
                              <a:pt x="5" y="1"/>
                            </a:cubicBezTo>
                            <a:cubicBezTo>
                              <a:pt x="7" y="1"/>
                              <a:pt x="10" y="1"/>
                              <a:pt x="12" y="1"/>
                            </a:cubicBezTo>
                            <a:cubicBezTo>
                              <a:pt x="12" y="1"/>
                              <a:pt x="13" y="0"/>
                              <a:pt x="14" y="0"/>
                            </a:cubicBezTo>
                            <a:cubicBezTo>
                              <a:pt x="14" y="0"/>
                              <a:pt x="17" y="3"/>
                              <a:pt x="14" y="2"/>
                            </a:cubicBezTo>
                            <a:cubicBezTo>
                              <a:pt x="16" y="3"/>
                              <a:pt x="19" y="3"/>
                              <a:pt x="19" y="5"/>
                            </a:cubicBezTo>
                            <a:cubicBezTo>
                              <a:pt x="16" y="6"/>
                              <a:pt x="20" y="9"/>
                              <a:pt x="21" y="10"/>
                            </a:cubicBezTo>
                            <a:cubicBezTo>
                              <a:pt x="22" y="11"/>
                              <a:pt x="24" y="11"/>
                              <a:pt x="24" y="12"/>
                            </a:cubicBezTo>
                            <a:cubicBezTo>
                              <a:pt x="24" y="14"/>
                              <a:pt x="22" y="14"/>
                              <a:pt x="21" y="14"/>
                            </a:cubicBezTo>
                            <a:cubicBezTo>
                              <a:pt x="22" y="14"/>
                              <a:pt x="26" y="19"/>
                              <a:pt x="27" y="18"/>
                            </a:cubicBezTo>
                            <a:cubicBezTo>
                              <a:pt x="28" y="18"/>
                              <a:pt x="30" y="19"/>
                              <a:pt x="29" y="19"/>
                            </a:cubicBezTo>
                            <a:cubicBezTo>
                              <a:pt x="28" y="20"/>
                              <a:pt x="30" y="21"/>
                              <a:pt x="31" y="22"/>
                            </a:cubicBezTo>
                            <a:cubicBezTo>
                              <a:pt x="29" y="22"/>
                              <a:pt x="30" y="25"/>
                              <a:pt x="31" y="26"/>
                            </a:cubicBezTo>
                            <a:cubicBezTo>
                              <a:pt x="31" y="26"/>
                              <a:pt x="28" y="26"/>
                              <a:pt x="27" y="26"/>
                            </a:cubicBezTo>
                            <a:cubicBezTo>
                              <a:pt x="26" y="24"/>
                              <a:pt x="26" y="22"/>
                              <a:pt x="24" y="21"/>
                            </a:cubicBezTo>
                            <a:cubicBezTo>
                              <a:pt x="23" y="21"/>
                              <a:pt x="24" y="19"/>
                              <a:pt x="23" y="19"/>
                            </a:cubicBezTo>
                            <a:cubicBezTo>
                              <a:pt x="22" y="19"/>
                              <a:pt x="22" y="19"/>
                              <a:pt x="21" y="19"/>
                            </a:cubicBezTo>
                            <a:cubicBezTo>
                              <a:pt x="19" y="19"/>
                              <a:pt x="19" y="18"/>
                              <a:pt x="18" y="18"/>
                            </a:cubicBezTo>
                            <a:cubicBezTo>
                              <a:pt x="18" y="16"/>
                              <a:pt x="15" y="17"/>
                              <a:pt x="14" y="17"/>
                            </a:cubicBezTo>
                            <a:cubicBezTo>
                              <a:pt x="13" y="16"/>
                              <a:pt x="11" y="13"/>
                              <a:pt x="9" y="14"/>
                            </a:cubicBezTo>
                            <a:cubicBezTo>
                              <a:pt x="7" y="14"/>
                              <a:pt x="5" y="14"/>
                              <a:pt x="3" y="13"/>
                            </a:cubicBezTo>
                            <a:cubicBezTo>
                              <a:pt x="4" y="12"/>
                              <a:pt x="4" y="11"/>
                              <a:pt x="3" y="11"/>
                            </a:cubicBezTo>
                            <a:cubicBezTo>
                              <a:pt x="3" y="9"/>
                              <a:pt x="3" y="9"/>
                              <a:pt x="3" y="8"/>
                            </a:cubicBezTo>
                            <a:cubicBezTo>
                              <a:pt x="4" y="6"/>
                              <a:pt x="1" y="5"/>
                              <a:pt x="0" y="1"/>
                            </a:cubicBezTo>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54" name="Group 222">
                      <a:extLst>
                        <a:ext uri="{FF2B5EF4-FFF2-40B4-BE49-F238E27FC236}">
                          <a16:creationId xmlns:a16="http://schemas.microsoft.com/office/drawing/2014/main" id="{FEE71029-0551-30FE-BFA9-565BDA8F46E6}"/>
                        </a:ext>
                      </a:extLst>
                    </p:cNvPr>
                    <p:cNvGrpSpPr/>
                    <p:nvPr/>
                  </p:nvGrpSpPr>
                  <p:grpSpPr>
                    <a:xfrm>
                      <a:off x="3613546" y="1630392"/>
                      <a:ext cx="732054" cy="820215"/>
                      <a:chOff x="3613546" y="1630392"/>
                      <a:chExt cx="732054" cy="820215"/>
                    </a:xfrm>
                    <a:grpFill/>
                  </p:grpSpPr>
                  <p:grpSp>
                    <p:nvGrpSpPr>
                      <p:cNvPr id="55" name="Group 208">
                        <a:extLst>
                          <a:ext uri="{FF2B5EF4-FFF2-40B4-BE49-F238E27FC236}">
                            <a16:creationId xmlns:a16="http://schemas.microsoft.com/office/drawing/2014/main" id="{81DB30ED-DB2A-8425-ADD0-E21220BAC420}"/>
                          </a:ext>
                        </a:extLst>
                      </p:cNvPr>
                      <p:cNvGrpSpPr/>
                      <p:nvPr/>
                    </p:nvGrpSpPr>
                    <p:grpSpPr>
                      <a:xfrm>
                        <a:off x="3613546" y="1820887"/>
                        <a:ext cx="393693" cy="629720"/>
                        <a:chOff x="3613546" y="1820887"/>
                        <a:chExt cx="393693" cy="629720"/>
                      </a:xfrm>
                      <a:grpFill/>
                    </p:grpSpPr>
                    <p:grpSp>
                      <p:nvGrpSpPr>
                        <p:cNvPr id="76" name="Group 206">
                          <a:extLst>
                            <a:ext uri="{FF2B5EF4-FFF2-40B4-BE49-F238E27FC236}">
                              <a16:creationId xmlns:a16="http://schemas.microsoft.com/office/drawing/2014/main" id="{8AE30E52-DE2B-B690-D9EE-C9E33FAFEDAA}"/>
                            </a:ext>
                          </a:extLst>
                        </p:cNvPr>
                        <p:cNvGrpSpPr/>
                        <p:nvPr/>
                      </p:nvGrpSpPr>
                      <p:grpSpPr>
                        <a:xfrm>
                          <a:off x="3613546" y="1820887"/>
                          <a:ext cx="393693" cy="629720"/>
                          <a:chOff x="3613546" y="1820887"/>
                          <a:chExt cx="393693" cy="629720"/>
                        </a:xfrm>
                        <a:grpFill/>
                      </p:grpSpPr>
                      <p:sp>
                        <p:nvSpPr>
                          <p:cNvPr id="80" name="United Kingdom">
                            <a:extLst>
                              <a:ext uri="{FF2B5EF4-FFF2-40B4-BE49-F238E27FC236}">
                                <a16:creationId xmlns:a16="http://schemas.microsoft.com/office/drawing/2014/main" id="{844EFD50-A685-49B7-A489-0BA94728C428}"/>
                              </a:ext>
                            </a:extLst>
                          </p:cNvPr>
                          <p:cNvSpPr>
                            <a:spLocks/>
                          </p:cNvSpPr>
                          <p:nvPr/>
                        </p:nvSpPr>
                        <p:spPr bwMode="auto">
                          <a:xfrm>
                            <a:off x="3680277" y="1820887"/>
                            <a:ext cx="178685" cy="287561"/>
                          </a:xfrm>
                          <a:custGeom>
                            <a:avLst/>
                            <a:gdLst>
                              <a:gd name="connsiteX0" fmla="*/ 120254 w 175340"/>
                              <a:gd name="connsiteY0" fmla="*/ 263128 h 282178"/>
                              <a:gd name="connsiteX1" fmla="*/ 115491 w 175340"/>
                              <a:gd name="connsiteY1" fmla="*/ 267891 h 282178"/>
                              <a:gd name="connsiteX2" fmla="*/ 113110 w 175340"/>
                              <a:gd name="connsiteY2" fmla="*/ 265510 h 282178"/>
                              <a:gd name="connsiteX3" fmla="*/ 120254 w 175340"/>
                              <a:gd name="connsiteY3" fmla="*/ 263128 h 282178"/>
                              <a:gd name="connsiteX4" fmla="*/ 66846 w 175340"/>
                              <a:gd name="connsiteY4" fmla="*/ 202012 h 282178"/>
                              <a:gd name="connsiteX5" fmla="*/ 68547 w 175340"/>
                              <a:gd name="connsiteY5" fmla="*/ 204854 h 282178"/>
                              <a:gd name="connsiteX6" fmla="*/ 61743 w 175340"/>
                              <a:gd name="connsiteY6" fmla="*/ 202580 h 282178"/>
                              <a:gd name="connsiteX7" fmla="*/ 66846 w 175340"/>
                              <a:gd name="connsiteY7" fmla="*/ 202012 h 282178"/>
                              <a:gd name="connsiteX8" fmla="*/ 63699 w 175340"/>
                              <a:gd name="connsiteY8" fmla="*/ 179784 h 282178"/>
                              <a:gd name="connsiteX9" fmla="*/ 67866 w 175340"/>
                              <a:gd name="connsiteY9" fmla="*/ 181769 h 282178"/>
                              <a:gd name="connsiteX10" fmla="*/ 59531 w 175340"/>
                              <a:gd name="connsiteY10" fmla="*/ 185738 h 282178"/>
                              <a:gd name="connsiteX11" fmla="*/ 63699 w 175340"/>
                              <a:gd name="connsiteY11" fmla="*/ 179784 h 282178"/>
                              <a:gd name="connsiteX12" fmla="*/ 22730 w 175340"/>
                              <a:gd name="connsiteY12" fmla="*/ 159385 h 282178"/>
                              <a:gd name="connsiteX13" fmla="*/ 36368 w 175340"/>
                              <a:gd name="connsiteY13" fmla="*/ 159385 h 282178"/>
                              <a:gd name="connsiteX14" fmla="*/ 40914 w 175340"/>
                              <a:gd name="connsiteY14" fmla="*/ 166053 h 282178"/>
                              <a:gd name="connsiteX15" fmla="*/ 43187 w 175340"/>
                              <a:gd name="connsiteY15" fmla="*/ 168276 h 282178"/>
                              <a:gd name="connsiteX16" fmla="*/ 38641 w 175340"/>
                              <a:gd name="connsiteY16" fmla="*/ 172721 h 282178"/>
                              <a:gd name="connsiteX17" fmla="*/ 45460 w 175340"/>
                              <a:gd name="connsiteY17" fmla="*/ 172721 h 282178"/>
                              <a:gd name="connsiteX18" fmla="*/ 45460 w 175340"/>
                              <a:gd name="connsiteY18" fmla="*/ 179388 h 282178"/>
                              <a:gd name="connsiteX19" fmla="*/ 43187 w 175340"/>
                              <a:gd name="connsiteY19" fmla="*/ 174943 h 282178"/>
                              <a:gd name="connsiteX20" fmla="*/ 43187 w 175340"/>
                              <a:gd name="connsiteY20" fmla="*/ 179388 h 282178"/>
                              <a:gd name="connsiteX21" fmla="*/ 45460 w 175340"/>
                              <a:gd name="connsiteY21" fmla="*/ 179388 h 282178"/>
                              <a:gd name="connsiteX22" fmla="*/ 40914 w 175340"/>
                              <a:gd name="connsiteY22" fmla="*/ 181611 h 282178"/>
                              <a:gd name="connsiteX23" fmla="*/ 36368 w 175340"/>
                              <a:gd name="connsiteY23" fmla="*/ 186056 h 282178"/>
                              <a:gd name="connsiteX24" fmla="*/ 29549 w 175340"/>
                              <a:gd name="connsiteY24" fmla="*/ 186056 h 282178"/>
                              <a:gd name="connsiteX25" fmla="*/ 25003 w 175340"/>
                              <a:gd name="connsiteY25" fmla="*/ 183833 h 282178"/>
                              <a:gd name="connsiteX26" fmla="*/ 15911 w 175340"/>
                              <a:gd name="connsiteY26" fmla="*/ 179388 h 282178"/>
                              <a:gd name="connsiteX27" fmla="*/ 0 w 175340"/>
                              <a:gd name="connsiteY27" fmla="*/ 177166 h 282178"/>
                              <a:gd name="connsiteX28" fmla="*/ 6819 w 175340"/>
                              <a:gd name="connsiteY28" fmla="*/ 172721 h 282178"/>
                              <a:gd name="connsiteX29" fmla="*/ 4546 w 175340"/>
                              <a:gd name="connsiteY29" fmla="*/ 170498 h 282178"/>
                              <a:gd name="connsiteX30" fmla="*/ 13638 w 175340"/>
                              <a:gd name="connsiteY30" fmla="*/ 163831 h 282178"/>
                              <a:gd name="connsiteX31" fmla="*/ 22730 w 175340"/>
                              <a:gd name="connsiteY31" fmla="*/ 159385 h 282178"/>
                              <a:gd name="connsiteX32" fmla="*/ 54769 w 175340"/>
                              <a:gd name="connsiteY32" fmla="*/ 147638 h 282178"/>
                              <a:gd name="connsiteX33" fmla="*/ 54769 w 175340"/>
                              <a:gd name="connsiteY33" fmla="*/ 154782 h 282178"/>
                              <a:gd name="connsiteX34" fmla="*/ 54769 w 175340"/>
                              <a:gd name="connsiteY34" fmla="*/ 147638 h 282178"/>
                              <a:gd name="connsiteX35" fmla="*/ 36314 w 175340"/>
                              <a:gd name="connsiteY35" fmla="*/ 142875 h 282178"/>
                              <a:gd name="connsiteX36" fmla="*/ 36314 w 175340"/>
                              <a:gd name="connsiteY36" fmla="*/ 150019 h 282178"/>
                              <a:gd name="connsiteX37" fmla="*/ 36314 w 175340"/>
                              <a:gd name="connsiteY37" fmla="*/ 147638 h 282178"/>
                              <a:gd name="connsiteX38" fmla="*/ 32147 w 175340"/>
                              <a:gd name="connsiteY38" fmla="*/ 147638 h 282178"/>
                              <a:gd name="connsiteX39" fmla="*/ 36314 w 175340"/>
                              <a:gd name="connsiteY39" fmla="*/ 142875 h 282178"/>
                              <a:gd name="connsiteX40" fmla="*/ 45244 w 175340"/>
                              <a:gd name="connsiteY40" fmla="*/ 138113 h 282178"/>
                              <a:gd name="connsiteX41" fmla="*/ 40481 w 175340"/>
                              <a:gd name="connsiteY41" fmla="*/ 145257 h 282178"/>
                              <a:gd name="connsiteX42" fmla="*/ 38100 w 175340"/>
                              <a:gd name="connsiteY42" fmla="*/ 142876 h 282178"/>
                              <a:gd name="connsiteX43" fmla="*/ 45244 w 175340"/>
                              <a:gd name="connsiteY43" fmla="*/ 138113 h 282178"/>
                              <a:gd name="connsiteX44" fmla="*/ 41196 w 175340"/>
                              <a:gd name="connsiteY44" fmla="*/ 133946 h 282178"/>
                              <a:gd name="connsiteX45" fmla="*/ 41196 w 175340"/>
                              <a:gd name="connsiteY45" fmla="*/ 134541 h 282178"/>
                              <a:gd name="connsiteX46" fmla="*/ 39053 w 175340"/>
                              <a:gd name="connsiteY46" fmla="*/ 134541 h 282178"/>
                              <a:gd name="connsiteX47" fmla="*/ 43072 w 175340"/>
                              <a:gd name="connsiteY47" fmla="*/ 128290 h 282178"/>
                              <a:gd name="connsiteX48" fmla="*/ 47626 w 175340"/>
                              <a:gd name="connsiteY48" fmla="*/ 132160 h 282178"/>
                              <a:gd name="connsiteX49" fmla="*/ 41196 w 175340"/>
                              <a:gd name="connsiteY49" fmla="*/ 133946 h 282178"/>
                              <a:gd name="connsiteX50" fmla="*/ 41196 w 175340"/>
                              <a:gd name="connsiteY50" fmla="*/ 132160 h 282178"/>
                              <a:gd name="connsiteX51" fmla="*/ 36910 w 175340"/>
                              <a:gd name="connsiteY51" fmla="*/ 129778 h 282178"/>
                              <a:gd name="connsiteX52" fmla="*/ 43072 w 175340"/>
                              <a:gd name="connsiteY52" fmla="*/ 128290 h 282178"/>
                              <a:gd name="connsiteX53" fmla="*/ 36910 w 175340"/>
                              <a:gd name="connsiteY53" fmla="*/ 117872 h 282178"/>
                              <a:gd name="connsiteX54" fmla="*/ 38101 w 175340"/>
                              <a:gd name="connsiteY54" fmla="*/ 117872 h 282178"/>
                              <a:gd name="connsiteX55" fmla="*/ 38101 w 175340"/>
                              <a:gd name="connsiteY55" fmla="*/ 120254 h 282178"/>
                              <a:gd name="connsiteX56" fmla="*/ 36910 w 175340"/>
                              <a:gd name="connsiteY56" fmla="*/ 117872 h 282178"/>
                              <a:gd name="connsiteX57" fmla="*/ 22623 w 175340"/>
                              <a:gd name="connsiteY57" fmla="*/ 111323 h 282178"/>
                              <a:gd name="connsiteX58" fmla="*/ 22623 w 175340"/>
                              <a:gd name="connsiteY58" fmla="*/ 115689 h 282178"/>
                              <a:gd name="connsiteX59" fmla="*/ 22623 w 175340"/>
                              <a:gd name="connsiteY59" fmla="*/ 111323 h 282178"/>
                              <a:gd name="connsiteX60" fmla="*/ 38844 w 175340"/>
                              <a:gd name="connsiteY60" fmla="*/ 102394 h 282178"/>
                              <a:gd name="connsiteX61" fmla="*/ 42751 w 175340"/>
                              <a:gd name="connsiteY61" fmla="*/ 109304 h 282178"/>
                              <a:gd name="connsiteX62" fmla="*/ 43652 w 175340"/>
                              <a:gd name="connsiteY62" fmla="*/ 109545 h 282178"/>
                              <a:gd name="connsiteX63" fmla="*/ 50007 w 175340"/>
                              <a:gd name="connsiteY63" fmla="*/ 111239 h 282178"/>
                              <a:gd name="connsiteX64" fmla="*/ 43309 w 175340"/>
                              <a:gd name="connsiteY64" fmla="*/ 117873 h 282178"/>
                              <a:gd name="connsiteX65" fmla="*/ 45542 w 175340"/>
                              <a:gd name="connsiteY65" fmla="*/ 113450 h 282178"/>
                              <a:gd name="connsiteX66" fmla="*/ 41077 w 175340"/>
                              <a:gd name="connsiteY66" fmla="*/ 113450 h 282178"/>
                              <a:gd name="connsiteX67" fmla="*/ 38844 w 175340"/>
                              <a:gd name="connsiteY67" fmla="*/ 111239 h 282178"/>
                              <a:gd name="connsiteX68" fmla="*/ 32147 w 175340"/>
                              <a:gd name="connsiteY68" fmla="*/ 109028 h 282178"/>
                              <a:gd name="connsiteX69" fmla="*/ 38844 w 175340"/>
                              <a:gd name="connsiteY69" fmla="*/ 106817 h 282178"/>
                              <a:gd name="connsiteX70" fmla="*/ 38844 w 175340"/>
                              <a:gd name="connsiteY70" fmla="*/ 102394 h 282178"/>
                              <a:gd name="connsiteX71" fmla="*/ 25004 w 175340"/>
                              <a:gd name="connsiteY71" fmla="*/ 102394 h 282178"/>
                              <a:gd name="connsiteX72" fmla="*/ 22622 w 175340"/>
                              <a:gd name="connsiteY72" fmla="*/ 107157 h 282178"/>
                              <a:gd name="connsiteX73" fmla="*/ 17860 w 175340"/>
                              <a:gd name="connsiteY73" fmla="*/ 104775 h 282178"/>
                              <a:gd name="connsiteX74" fmla="*/ 25004 w 175340"/>
                              <a:gd name="connsiteY74" fmla="*/ 102394 h 282178"/>
                              <a:gd name="connsiteX75" fmla="*/ 44129 w 175340"/>
                              <a:gd name="connsiteY75" fmla="*/ 86112 h 282178"/>
                              <a:gd name="connsiteX76" fmla="*/ 40780 w 175340"/>
                              <a:gd name="connsiteY76" fmla="*/ 88940 h 282178"/>
                              <a:gd name="connsiteX77" fmla="*/ 36315 w 175340"/>
                              <a:gd name="connsiteY77" fmla="*/ 93464 h 282178"/>
                              <a:gd name="connsiteX78" fmla="*/ 34082 w 175340"/>
                              <a:gd name="connsiteY78" fmla="*/ 95726 h 282178"/>
                              <a:gd name="connsiteX79" fmla="*/ 27385 w 175340"/>
                              <a:gd name="connsiteY79" fmla="*/ 100251 h 282178"/>
                              <a:gd name="connsiteX80" fmla="*/ 31850 w 175340"/>
                              <a:gd name="connsiteY80" fmla="*/ 97988 h 282178"/>
                              <a:gd name="connsiteX81" fmla="*/ 27385 w 175340"/>
                              <a:gd name="connsiteY81" fmla="*/ 95726 h 282178"/>
                              <a:gd name="connsiteX82" fmla="*/ 27385 w 175340"/>
                              <a:gd name="connsiteY82" fmla="*/ 93464 h 282178"/>
                              <a:gd name="connsiteX83" fmla="*/ 31850 w 175340"/>
                              <a:gd name="connsiteY83" fmla="*/ 91202 h 282178"/>
                              <a:gd name="connsiteX84" fmla="*/ 31850 w 175340"/>
                              <a:gd name="connsiteY84" fmla="*/ 93464 h 282178"/>
                              <a:gd name="connsiteX85" fmla="*/ 34082 w 175340"/>
                              <a:gd name="connsiteY85" fmla="*/ 88940 h 282178"/>
                              <a:gd name="connsiteX86" fmla="*/ 40780 w 175340"/>
                              <a:gd name="connsiteY86" fmla="*/ 86677 h 282178"/>
                              <a:gd name="connsiteX87" fmla="*/ 44129 w 175340"/>
                              <a:gd name="connsiteY87" fmla="*/ 86112 h 282178"/>
                              <a:gd name="connsiteX88" fmla="*/ 66279 w 175340"/>
                              <a:gd name="connsiteY88" fmla="*/ 82046 h 282178"/>
                              <a:gd name="connsiteX89" fmla="*/ 68547 w 175340"/>
                              <a:gd name="connsiteY89" fmla="*/ 84320 h 282178"/>
                              <a:gd name="connsiteX90" fmla="*/ 70815 w 175340"/>
                              <a:gd name="connsiteY90" fmla="*/ 84320 h 282178"/>
                              <a:gd name="connsiteX91" fmla="*/ 75351 w 175340"/>
                              <a:gd name="connsiteY91" fmla="*/ 84320 h 282178"/>
                              <a:gd name="connsiteX92" fmla="*/ 84422 w 175340"/>
                              <a:gd name="connsiteY92" fmla="*/ 84320 h 282178"/>
                              <a:gd name="connsiteX93" fmla="*/ 98029 w 175340"/>
                              <a:gd name="connsiteY93" fmla="*/ 82046 h 282178"/>
                              <a:gd name="connsiteX94" fmla="*/ 88958 w 175340"/>
                              <a:gd name="connsiteY94" fmla="*/ 93417 h 282178"/>
                              <a:gd name="connsiteX95" fmla="*/ 82154 w 175340"/>
                              <a:gd name="connsiteY95" fmla="*/ 95692 h 282178"/>
                              <a:gd name="connsiteX96" fmla="*/ 75351 w 175340"/>
                              <a:gd name="connsiteY96" fmla="*/ 97966 h 282178"/>
                              <a:gd name="connsiteX97" fmla="*/ 84422 w 175340"/>
                              <a:gd name="connsiteY97" fmla="*/ 100240 h 282178"/>
                              <a:gd name="connsiteX98" fmla="*/ 79730 w 175340"/>
                              <a:gd name="connsiteY98" fmla="*/ 102828 h 282178"/>
                              <a:gd name="connsiteX99" fmla="*/ 79886 w 175340"/>
                              <a:gd name="connsiteY99" fmla="*/ 102514 h 282178"/>
                              <a:gd name="connsiteX100" fmla="*/ 73083 w 175340"/>
                              <a:gd name="connsiteY100" fmla="*/ 104788 h 282178"/>
                              <a:gd name="connsiteX101" fmla="*/ 78752 w 175340"/>
                              <a:gd name="connsiteY101" fmla="*/ 103367 h 282178"/>
                              <a:gd name="connsiteX102" fmla="*/ 79730 w 175340"/>
                              <a:gd name="connsiteY102" fmla="*/ 102828 h 282178"/>
                              <a:gd name="connsiteX103" fmla="*/ 77618 w 175340"/>
                              <a:gd name="connsiteY103" fmla="*/ 107063 h 282178"/>
                              <a:gd name="connsiteX104" fmla="*/ 88958 w 175340"/>
                              <a:gd name="connsiteY104" fmla="*/ 102514 h 282178"/>
                              <a:gd name="connsiteX105" fmla="*/ 102565 w 175340"/>
                              <a:gd name="connsiteY105" fmla="*/ 102514 h 282178"/>
                              <a:gd name="connsiteX106" fmla="*/ 118440 w 175340"/>
                              <a:gd name="connsiteY106" fmla="*/ 107063 h 282178"/>
                              <a:gd name="connsiteX107" fmla="*/ 113904 w 175340"/>
                              <a:gd name="connsiteY107" fmla="*/ 111611 h 282178"/>
                              <a:gd name="connsiteX108" fmla="*/ 109368 w 175340"/>
                              <a:gd name="connsiteY108" fmla="*/ 120708 h 282178"/>
                              <a:gd name="connsiteX109" fmla="*/ 91226 w 175340"/>
                              <a:gd name="connsiteY109" fmla="*/ 132079 h 282178"/>
                              <a:gd name="connsiteX110" fmla="*/ 100297 w 175340"/>
                              <a:gd name="connsiteY110" fmla="*/ 132079 h 282178"/>
                              <a:gd name="connsiteX111" fmla="*/ 98029 w 175340"/>
                              <a:gd name="connsiteY111" fmla="*/ 136628 h 282178"/>
                              <a:gd name="connsiteX112" fmla="*/ 79886 w 175340"/>
                              <a:gd name="connsiteY112" fmla="*/ 138902 h 282178"/>
                              <a:gd name="connsiteX113" fmla="*/ 93493 w 175340"/>
                              <a:gd name="connsiteY113" fmla="*/ 141176 h 282178"/>
                              <a:gd name="connsiteX114" fmla="*/ 98029 w 175340"/>
                              <a:gd name="connsiteY114" fmla="*/ 141176 h 282178"/>
                              <a:gd name="connsiteX115" fmla="*/ 102565 w 175340"/>
                              <a:gd name="connsiteY115" fmla="*/ 141176 h 282178"/>
                              <a:gd name="connsiteX116" fmla="*/ 118440 w 175340"/>
                              <a:gd name="connsiteY116" fmla="*/ 154821 h 282178"/>
                              <a:gd name="connsiteX117" fmla="*/ 127511 w 175340"/>
                              <a:gd name="connsiteY117" fmla="*/ 173015 h 282178"/>
                              <a:gd name="connsiteX118" fmla="*/ 136583 w 175340"/>
                              <a:gd name="connsiteY118" fmla="*/ 177564 h 282178"/>
                              <a:gd name="connsiteX119" fmla="*/ 143386 w 175340"/>
                              <a:gd name="connsiteY119" fmla="*/ 184386 h 282178"/>
                              <a:gd name="connsiteX120" fmla="*/ 147922 w 175340"/>
                              <a:gd name="connsiteY120" fmla="*/ 198032 h 282178"/>
                              <a:gd name="connsiteX121" fmla="*/ 132047 w 175340"/>
                              <a:gd name="connsiteY121" fmla="*/ 193483 h 282178"/>
                              <a:gd name="connsiteX122" fmla="*/ 147922 w 175340"/>
                              <a:gd name="connsiteY122" fmla="*/ 200306 h 282178"/>
                              <a:gd name="connsiteX123" fmla="*/ 143386 w 175340"/>
                              <a:gd name="connsiteY123" fmla="*/ 213951 h 282178"/>
                              <a:gd name="connsiteX124" fmla="*/ 150190 w 175340"/>
                              <a:gd name="connsiteY124" fmla="*/ 216226 h 282178"/>
                              <a:gd name="connsiteX125" fmla="*/ 154726 w 175340"/>
                              <a:gd name="connsiteY125" fmla="*/ 211677 h 282178"/>
                              <a:gd name="connsiteX126" fmla="*/ 170601 w 175340"/>
                              <a:gd name="connsiteY126" fmla="*/ 213951 h 282178"/>
                              <a:gd name="connsiteX127" fmla="*/ 172868 w 175340"/>
                              <a:gd name="connsiteY127" fmla="*/ 227597 h 282178"/>
                              <a:gd name="connsiteX128" fmla="*/ 163797 w 175340"/>
                              <a:gd name="connsiteY128" fmla="*/ 234419 h 282178"/>
                              <a:gd name="connsiteX129" fmla="*/ 166065 w 175340"/>
                              <a:gd name="connsiteY129" fmla="*/ 236694 h 282178"/>
                              <a:gd name="connsiteX130" fmla="*/ 159261 w 175340"/>
                              <a:gd name="connsiteY130" fmla="*/ 238968 h 282178"/>
                              <a:gd name="connsiteX131" fmla="*/ 154726 w 175340"/>
                              <a:gd name="connsiteY131" fmla="*/ 241242 h 282178"/>
                              <a:gd name="connsiteX132" fmla="*/ 154726 w 175340"/>
                              <a:gd name="connsiteY132" fmla="*/ 245790 h 282178"/>
                              <a:gd name="connsiteX133" fmla="*/ 152458 w 175340"/>
                              <a:gd name="connsiteY133" fmla="*/ 248065 h 282178"/>
                              <a:gd name="connsiteX134" fmla="*/ 168333 w 175340"/>
                              <a:gd name="connsiteY134" fmla="*/ 252613 h 282178"/>
                              <a:gd name="connsiteX135" fmla="*/ 159261 w 175340"/>
                              <a:gd name="connsiteY135" fmla="*/ 257162 h 282178"/>
                              <a:gd name="connsiteX136" fmla="*/ 154726 w 175340"/>
                              <a:gd name="connsiteY136" fmla="*/ 259436 h 282178"/>
                              <a:gd name="connsiteX137" fmla="*/ 143386 w 175340"/>
                              <a:gd name="connsiteY137" fmla="*/ 263984 h 282178"/>
                              <a:gd name="connsiteX138" fmla="*/ 129779 w 175340"/>
                              <a:gd name="connsiteY138" fmla="*/ 261710 h 282178"/>
                              <a:gd name="connsiteX139" fmla="*/ 125243 w 175340"/>
                              <a:gd name="connsiteY139" fmla="*/ 261710 h 282178"/>
                              <a:gd name="connsiteX140" fmla="*/ 122976 w 175340"/>
                              <a:gd name="connsiteY140" fmla="*/ 261710 h 282178"/>
                              <a:gd name="connsiteX141" fmla="*/ 116172 w 175340"/>
                              <a:gd name="connsiteY141" fmla="*/ 259436 h 282178"/>
                              <a:gd name="connsiteX142" fmla="*/ 102565 w 175340"/>
                              <a:gd name="connsiteY142" fmla="*/ 263984 h 282178"/>
                              <a:gd name="connsiteX143" fmla="*/ 100297 w 175340"/>
                              <a:gd name="connsiteY143" fmla="*/ 266258 h 282178"/>
                              <a:gd name="connsiteX144" fmla="*/ 95761 w 175340"/>
                              <a:gd name="connsiteY144" fmla="*/ 268533 h 282178"/>
                              <a:gd name="connsiteX145" fmla="*/ 84422 w 175340"/>
                              <a:gd name="connsiteY145" fmla="*/ 263984 h 282178"/>
                              <a:gd name="connsiteX146" fmla="*/ 77618 w 175340"/>
                              <a:gd name="connsiteY146" fmla="*/ 266258 h 282178"/>
                              <a:gd name="connsiteX147" fmla="*/ 70815 w 175340"/>
                              <a:gd name="connsiteY147" fmla="*/ 275355 h 282178"/>
                              <a:gd name="connsiteX148" fmla="*/ 61743 w 175340"/>
                              <a:gd name="connsiteY148" fmla="*/ 270807 h 282178"/>
                              <a:gd name="connsiteX149" fmla="*/ 50404 w 175340"/>
                              <a:gd name="connsiteY149" fmla="*/ 275355 h 282178"/>
                              <a:gd name="connsiteX150" fmla="*/ 41332 w 175340"/>
                              <a:gd name="connsiteY150" fmla="*/ 282178 h 282178"/>
                              <a:gd name="connsiteX151" fmla="*/ 34529 w 175340"/>
                              <a:gd name="connsiteY151" fmla="*/ 279904 h 282178"/>
                              <a:gd name="connsiteX152" fmla="*/ 34529 w 175340"/>
                              <a:gd name="connsiteY152" fmla="*/ 277630 h 282178"/>
                              <a:gd name="connsiteX153" fmla="*/ 39065 w 175340"/>
                              <a:gd name="connsiteY153" fmla="*/ 275355 h 282178"/>
                              <a:gd name="connsiteX154" fmla="*/ 45868 w 175340"/>
                              <a:gd name="connsiteY154" fmla="*/ 270807 h 282178"/>
                              <a:gd name="connsiteX155" fmla="*/ 48136 w 175340"/>
                              <a:gd name="connsiteY155" fmla="*/ 268533 h 282178"/>
                              <a:gd name="connsiteX156" fmla="*/ 57207 w 175340"/>
                              <a:gd name="connsiteY156" fmla="*/ 259436 h 282178"/>
                              <a:gd name="connsiteX157" fmla="*/ 61743 w 175340"/>
                              <a:gd name="connsiteY157" fmla="*/ 257162 h 282178"/>
                              <a:gd name="connsiteX158" fmla="*/ 64011 w 175340"/>
                              <a:gd name="connsiteY158" fmla="*/ 252613 h 282178"/>
                              <a:gd name="connsiteX159" fmla="*/ 77618 w 175340"/>
                              <a:gd name="connsiteY159" fmla="*/ 252613 h 282178"/>
                              <a:gd name="connsiteX160" fmla="*/ 84422 w 175340"/>
                              <a:gd name="connsiteY160" fmla="*/ 252613 h 282178"/>
                              <a:gd name="connsiteX161" fmla="*/ 86690 w 175340"/>
                              <a:gd name="connsiteY161" fmla="*/ 250339 h 282178"/>
                              <a:gd name="connsiteX162" fmla="*/ 98029 w 175340"/>
                              <a:gd name="connsiteY162" fmla="*/ 238968 h 282178"/>
                              <a:gd name="connsiteX163" fmla="*/ 86690 w 175340"/>
                              <a:gd name="connsiteY163" fmla="*/ 245790 h 282178"/>
                              <a:gd name="connsiteX164" fmla="*/ 77618 w 175340"/>
                              <a:gd name="connsiteY164" fmla="*/ 248065 h 282178"/>
                              <a:gd name="connsiteX165" fmla="*/ 68547 w 175340"/>
                              <a:gd name="connsiteY165" fmla="*/ 243516 h 282178"/>
                              <a:gd name="connsiteX166" fmla="*/ 64011 w 175340"/>
                              <a:gd name="connsiteY166" fmla="*/ 243516 h 282178"/>
                              <a:gd name="connsiteX167" fmla="*/ 66279 w 175340"/>
                              <a:gd name="connsiteY167" fmla="*/ 241242 h 282178"/>
                              <a:gd name="connsiteX168" fmla="*/ 61743 w 175340"/>
                              <a:gd name="connsiteY168" fmla="*/ 238968 h 282178"/>
                              <a:gd name="connsiteX169" fmla="*/ 48136 w 175340"/>
                              <a:gd name="connsiteY169" fmla="*/ 241242 h 282178"/>
                              <a:gd name="connsiteX170" fmla="*/ 45868 w 175340"/>
                              <a:gd name="connsiteY170" fmla="*/ 236694 h 282178"/>
                              <a:gd name="connsiteX171" fmla="*/ 61743 w 175340"/>
                              <a:gd name="connsiteY171" fmla="*/ 229871 h 282178"/>
                              <a:gd name="connsiteX172" fmla="*/ 68547 w 175340"/>
                              <a:gd name="connsiteY172" fmla="*/ 225322 h 282178"/>
                              <a:gd name="connsiteX173" fmla="*/ 70815 w 175340"/>
                              <a:gd name="connsiteY173" fmla="*/ 220774 h 282178"/>
                              <a:gd name="connsiteX174" fmla="*/ 70815 w 175340"/>
                              <a:gd name="connsiteY174" fmla="*/ 218500 h 282178"/>
                              <a:gd name="connsiteX175" fmla="*/ 68547 w 175340"/>
                              <a:gd name="connsiteY175" fmla="*/ 213951 h 282178"/>
                              <a:gd name="connsiteX176" fmla="*/ 57207 w 175340"/>
                              <a:gd name="connsiteY176" fmla="*/ 216226 h 282178"/>
                              <a:gd name="connsiteX177" fmla="*/ 68547 w 175340"/>
                              <a:gd name="connsiteY177" fmla="*/ 204854 h 282178"/>
                              <a:gd name="connsiteX178" fmla="*/ 88958 w 175340"/>
                              <a:gd name="connsiteY178" fmla="*/ 204854 h 282178"/>
                              <a:gd name="connsiteX179" fmla="*/ 95761 w 175340"/>
                              <a:gd name="connsiteY179" fmla="*/ 202580 h 282178"/>
                              <a:gd name="connsiteX180" fmla="*/ 93493 w 175340"/>
                              <a:gd name="connsiteY180" fmla="*/ 193483 h 282178"/>
                              <a:gd name="connsiteX181" fmla="*/ 91226 w 175340"/>
                              <a:gd name="connsiteY181" fmla="*/ 188935 h 282178"/>
                              <a:gd name="connsiteX182" fmla="*/ 95761 w 175340"/>
                              <a:gd name="connsiteY182" fmla="*/ 182112 h 282178"/>
                              <a:gd name="connsiteX183" fmla="*/ 91226 w 175340"/>
                              <a:gd name="connsiteY183" fmla="*/ 182112 h 282178"/>
                              <a:gd name="connsiteX184" fmla="*/ 88958 w 175340"/>
                              <a:gd name="connsiteY184" fmla="*/ 186661 h 282178"/>
                              <a:gd name="connsiteX185" fmla="*/ 88958 w 175340"/>
                              <a:gd name="connsiteY185" fmla="*/ 182112 h 282178"/>
                              <a:gd name="connsiteX186" fmla="*/ 82154 w 175340"/>
                              <a:gd name="connsiteY186" fmla="*/ 173015 h 282178"/>
                              <a:gd name="connsiteX187" fmla="*/ 93493 w 175340"/>
                              <a:gd name="connsiteY187" fmla="*/ 166192 h 282178"/>
                              <a:gd name="connsiteX188" fmla="*/ 82154 w 175340"/>
                              <a:gd name="connsiteY188" fmla="*/ 163918 h 282178"/>
                              <a:gd name="connsiteX189" fmla="*/ 79886 w 175340"/>
                              <a:gd name="connsiteY189" fmla="*/ 168467 h 282178"/>
                              <a:gd name="connsiteX190" fmla="*/ 68547 w 175340"/>
                              <a:gd name="connsiteY190" fmla="*/ 166192 h 282178"/>
                              <a:gd name="connsiteX191" fmla="*/ 64011 w 175340"/>
                              <a:gd name="connsiteY191" fmla="*/ 168467 h 282178"/>
                              <a:gd name="connsiteX192" fmla="*/ 59475 w 175340"/>
                              <a:gd name="connsiteY192" fmla="*/ 173015 h 282178"/>
                              <a:gd name="connsiteX193" fmla="*/ 54940 w 175340"/>
                              <a:gd name="connsiteY193" fmla="*/ 163918 h 282178"/>
                              <a:gd name="connsiteX194" fmla="*/ 57207 w 175340"/>
                              <a:gd name="connsiteY194" fmla="*/ 166192 h 282178"/>
                              <a:gd name="connsiteX195" fmla="*/ 64011 w 175340"/>
                              <a:gd name="connsiteY195" fmla="*/ 152547 h 282178"/>
                              <a:gd name="connsiteX196" fmla="*/ 61743 w 175340"/>
                              <a:gd name="connsiteY196" fmla="*/ 143450 h 282178"/>
                              <a:gd name="connsiteX197" fmla="*/ 66279 w 175340"/>
                              <a:gd name="connsiteY197" fmla="*/ 143450 h 282178"/>
                              <a:gd name="connsiteX198" fmla="*/ 64011 w 175340"/>
                              <a:gd name="connsiteY198" fmla="*/ 141176 h 282178"/>
                              <a:gd name="connsiteX199" fmla="*/ 64011 w 175340"/>
                              <a:gd name="connsiteY199" fmla="*/ 138902 h 282178"/>
                              <a:gd name="connsiteX200" fmla="*/ 59475 w 175340"/>
                              <a:gd name="connsiteY200" fmla="*/ 145724 h 282178"/>
                              <a:gd name="connsiteX201" fmla="*/ 57207 w 175340"/>
                              <a:gd name="connsiteY201" fmla="*/ 143450 h 282178"/>
                              <a:gd name="connsiteX202" fmla="*/ 59475 w 175340"/>
                              <a:gd name="connsiteY202" fmla="*/ 147999 h 282178"/>
                              <a:gd name="connsiteX203" fmla="*/ 54940 w 175340"/>
                              <a:gd name="connsiteY203" fmla="*/ 143450 h 282178"/>
                              <a:gd name="connsiteX204" fmla="*/ 53388 w 175340"/>
                              <a:gd name="connsiteY204" fmla="*/ 143450 h 282178"/>
                              <a:gd name="connsiteX205" fmla="*/ 53718 w 175340"/>
                              <a:gd name="connsiteY205" fmla="*/ 142401 h 282178"/>
                              <a:gd name="connsiteX206" fmla="*/ 59475 w 175340"/>
                              <a:gd name="connsiteY206" fmla="*/ 136628 h 282178"/>
                              <a:gd name="connsiteX207" fmla="*/ 54373 w 175340"/>
                              <a:gd name="connsiteY207" fmla="*/ 140323 h 282178"/>
                              <a:gd name="connsiteX208" fmla="*/ 53718 w 175340"/>
                              <a:gd name="connsiteY208" fmla="*/ 142401 h 282178"/>
                              <a:gd name="connsiteX209" fmla="*/ 52672 w 175340"/>
                              <a:gd name="connsiteY209" fmla="*/ 143450 h 282178"/>
                              <a:gd name="connsiteX210" fmla="*/ 53388 w 175340"/>
                              <a:gd name="connsiteY210" fmla="*/ 143450 h 282178"/>
                              <a:gd name="connsiteX211" fmla="*/ 52672 w 175340"/>
                              <a:gd name="connsiteY211" fmla="*/ 145724 h 282178"/>
                              <a:gd name="connsiteX212" fmla="*/ 48136 w 175340"/>
                              <a:gd name="connsiteY212" fmla="*/ 154821 h 282178"/>
                              <a:gd name="connsiteX213" fmla="*/ 43600 w 175340"/>
                              <a:gd name="connsiteY213" fmla="*/ 154821 h 282178"/>
                              <a:gd name="connsiteX214" fmla="*/ 50404 w 175340"/>
                              <a:gd name="connsiteY214" fmla="*/ 145724 h 282178"/>
                              <a:gd name="connsiteX215" fmla="*/ 48136 w 175340"/>
                              <a:gd name="connsiteY215" fmla="*/ 141176 h 282178"/>
                              <a:gd name="connsiteX216" fmla="*/ 50404 w 175340"/>
                              <a:gd name="connsiteY216" fmla="*/ 136628 h 282178"/>
                              <a:gd name="connsiteX217" fmla="*/ 50404 w 175340"/>
                              <a:gd name="connsiteY217" fmla="*/ 134353 h 282178"/>
                              <a:gd name="connsiteX218" fmla="*/ 52672 w 175340"/>
                              <a:gd name="connsiteY218" fmla="*/ 132079 h 282178"/>
                              <a:gd name="connsiteX219" fmla="*/ 54940 w 175340"/>
                              <a:gd name="connsiteY219" fmla="*/ 130942 h 282178"/>
                              <a:gd name="connsiteX220" fmla="*/ 54940 w 175340"/>
                              <a:gd name="connsiteY220" fmla="*/ 132079 h 282178"/>
                              <a:gd name="connsiteX221" fmla="*/ 57207 w 175340"/>
                              <a:gd name="connsiteY221" fmla="*/ 129805 h 282178"/>
                              <a:gd name="connsiteX222" fmla="*/ 54940 w 175340"/>
                              <a:gd name="connsiteY222" fmla="*/ 130942 h 282178"/>
                              <a:gd name="connsiteX223" fmla="*/ 54940 w 175340"/>
                              <a:gd name="connsiteY223" fmla="*/ 129805 h 282178"/>
                              <a:gd name="connsiteX224" fmla="*/ 59475 w 175340"/>
                              <a:gd name="connsiteY224" fmla="*/ 125256 h 282178"/>
                              <a:gd name="connsiteX225" fmla="*/ 59475 w 175340"/>
                              <a:gd name="connsiteY225" fmla="*/ 122982 h 282178"/>
                              <a:gd name="connsiteX226" fmla="*/ 43600 w 175340"/>
                              <a:gd name="connsiteY226" fmla="*/ 127531 h 282178"/>
                              <a:gd name="connsiteX227" fmla="*/ 50404 w 175340"/>
                              <a:gd name="connsiteY227" fmla="*/ 125256 h 282178"/>
                              <a:gd name="connsiteX228" fmla="*/ 45868 w 175340"/>
                              <a:gd name="connsiteY228" fmla="*/ 125256 h 282178"/>
                              <a:gd name="connsiteX229" fmla="*/ 48136 w 175340"/>
                              <a:gd name="connsiteY229" fmla="*/ 122982 h 282178"/>
                              <a:gd name="connsiteX230" fmla="*/ 50404 w 175340"/>
                              <a:gd name="connsiteY230" fmla="*/ 118434 h 282178"/>
                              <a:gd name="connsiteX231" fmla="*/ 54940 w 175340"/>
                              <a:gd name="connsiteY231" fmla="*/ 116160 h 282178"/>
                              <a:gd name="connsiteX232" fmla="*/ 54940 w 175340"/>
                              <a:gd name="connsiteY232" fmla="*/ 113885 h 282178"/>
                              <a:gd name="connsiteX233" fmla="*/ 50404 w 175340"/>
                              <a:gd name="connsiteY233" fmla="*/ 111611 h 282178"/>
                              <a:gd name="connsiteX234" fmla="*/ 54940 w 175340"/>
                              <a:gd name="connsiteY234" fmla="*/ 109337 h 282178"/>
                              <a:gd name="connsiteX235" fmla="*/ 48136 w 175340"/>
                              <a:gd name="connsiteY235" fmla="*/ 107063 h 282178"/>
                              <a:gd name="connsiteX236" fmla="*/ 52672 w 175340"/>
                              <a:gd name="connsiteY236" fmla="*/ 107063 h 282178"/>
                              <a:gd name="connsiteX237" fmla="*/ 52672 w 175340"/>
                              <a:gd name="connsiteY237" fmla="*/ 100240 h 282178"/>
                              <a:gd name="connsiteX238" fmla="*/ 61743 w 175340"/>
                              <a:gd name="connsiteY238" fmla="*/ 97966 h 282178"/>
                              <a:gd name="connsiteX239" fmla="*/ 57207 w 175340"/>
                              <a:gd name="connsiteY239" fmla="*/ 95692 h 282178"/>
                              <a:gd name="connsiteX240" fmla="*/ 64011 w 175340"/>
                              <a:gd name="connsiteY240" fmla="*/ 91143 h 282178"/>
                              <a:gd name="connsiteX241" fmla="*/ 61743 w 175340"/>
                              <a:gd name="connsiteY241" fmla="*/ 88869 h 282178"/>
                              <a:gd name="connsiteX242" fmla="*/ 66279 w 175340"/>
                              <a:gd name="connsiteY242" fmla="*/ 82046 h 282178"/>
                              <a:gd name="connsiteX243" fmla="*/ 95846 w 175340"/>
                              <a:gd name="connsiteY243" fmla="*/ 69652 h 282178"/>
                              <a:gd name="connsiteX244" fmla="*/ 100013 w 175340"/>
                              <a:gd name="connsiteY244" fmla="*/ 70247 h 282178"/>
                              <a:gd name="connsiteX245" fmla="*/ 107157 w 175340"/>
                              <a:gd name="connsiteY245" fmla="*/ 72628 h 282178"/>
                              <a:gd name="connsiteX246" fmla="*/ 95250 w 175340"/>
                              <a:gd name="connsiteY246" fmla="*/ 72628 h 282178"/>
                              <a:gd name="connsiteX247" fmla="*/ 95846 w 175340"/>
                              <a:gd name="connsiteY247" fmla="*/ 69652 h 282178"/>
                              <a:gd name="connsiteX248" fmla="*/ 134542 w 175340"/>
                              <a:gd name="connsiteY248" fmla="*/ 38100 h 282178"/>
                              <a:gd name="connsiteX249" fmla="*/ 136923 w 175340"/>
                              <a:gd name="connsiteY249" fmla="*/ 42863 h 282178"/>
                              <a:gd name="connsiteX250" fmla="*/ 132161 w 175340"/>
                              <a:gd name="connsiteY250" fmla="*/ 52388 h 282178"/>
                              <a:gd name="connsiteX251" fmla="*/ 132161 w 175340"/>
                              <a:gd name="connsiteY251" fmla="*/ 50007 h 282178"/>
                              <a:gd name="connsiteX252" fmla="*/ 129779 w 175340"/>
                              <a:gd name="connsiteY252" fmla="*/ 45244 h 282178"/>
                              <a:gd name="connsiteX253" fmla="*/ 127398 w 175340"/>
                              <a:gd name="connsiteY253" fmla="*/ 42863 h 282178"/>
                              <a:gd name="connsiteX254" fmla="*/ 134542 w 175340"/>
                              <a:gd name="connsiteY254" fmla="*/ 42863 h 282178"/>
                              <a:gd name="connsiteX255" fmla="*/ 132161 w 175340"/>
                              <a:gd name="connsiteY255" fmla="*/ 40482 h 282178"/>
                              <a:gd name="connsiteX256" fmla="*/ 134542 w 175340"/>
                              <a:gd name="connsiteY256" fmla="*/ 35719 h 282178"/>
                              <a:gd name="connsiteX257" fmla="*/ 132161 w 175340"/>
                              <a:gd name="connsiteY257" fmla="*/ 40482 h 282178"/>
                              <a:gd name="connsiteX258" fmla="*/ 129779 w 175340"/>
                              <a:gd name="connsiteY258" fmla="*/ 38100 h 282178"/>
                              <a:gd name="connsiteX259" fmla="*/ 134542 w 175340"/>
                              <a:gd name="connsiteY259" fmla="*/ 35719 h 282178"/>
                              <a:gd name="connsiteX260" fmla="*/ 136923 w 175340"/>
                              <a:gd name="connsiteY260" fmla="*/ 33338 h 282178"/>
                              <a:gd name="connsiteX261" fmla="*/ 136923 w 175340"/>
                              <a:gd name="connsiteY261" fmla="*/ 40482 h 282178"/>
                              <a:gd name="connsiteX262" fmla="*/ 136923 w 175340"/>
                              <a:gd name="connsiteY262" fmla="*/ 33338 h 282178"/>
                              <a:gd name="connsiteX263" fmla="*/ 38100 w 175340"/>
                              <a:gd name="connsiteY263" fmla="*/ 13097 h 282178"/>
                              <a:gd name="connsiteX264" fmla="*/ 42863 w 175340"/>
                              <a:gd name="connsiteY264" fmla="*/ 20241 h 282178"/>
                              <a:gd name="connsiteX265" fmla="*/ 38100 w 175340"/>
                              <a:gd name="connsiteY265" fmla="*/ 13097 h 282178"/>
                              <a:gd name="connsiteX266" fmla="*/ 34876 w 175340"/>
                              <a:gd name="connsiteY266" fmla="*/ 4168 h 282178"/>
                              <a:gd name="connsiteX267" fmla="*/ 38101 w 175340"/>
                              <a:gd name="connsiteY267" fmla="*/ 4763 h 282178"/>
                              <a:gd name="connsiteX268" fmla="*/ 36116 w 175340"/>
                              <a:gd name="connsiteY268" fmla="*/ 7145 h 282178"/>
                              <a:gd name="connsiteX269" fmla="*/ 34876 w 175340"/>
                              <a:gd name="connsiteY269" fmla="*/ 4168 h 282178"/>
                              <a:gd name="connsiteX270" fmla="*/ 40481 w 175340"/>
                              <a:gd name="connsiteY270" fmla="*/ 0 h 282178"/>
                              <a:gd name="connsiteX271" fmla="*/ 41535 w 175340"/>
                              <a:gd name="connsiteY271" fmla="*/ 376 h 282178"/>
                              <a:gd name="connsiteX272" fmla="*/ 41196 w 175340"/>
                              <a:gd name="connsiteY272" fmla="*/ 0 h 282178"/>
                              <a:gd name="connsiteX273" fmla="*/ 45483 w 175340"/>
                              <a:gd name="connsiteY273" fmla="*/ 4763 h 282178"/>
                              <a:gd name="connsiteX274" fmla="*/ 45183 w 175340"/>
                              <a:gd name="connsiteY274" fmla="*/ 4430 h 282178"/>
                              <a:gd name="connsiteX275" fmla="*/ 45244 w 175340"/>
                              <a:gd name="connsiteY275" fmla="*/ 4763 h 282178"/>
                              <a:gd name="connsiteX276" fmla="*/ 43339 w 175340"/>
                              <a:gd name="connsiteY276" fmla="*/ 2859 h 282178"/>
                              <a:gd name="connsiteX277" fmla="*/ 43339 w 175340"/>
                              <a:gd name="connsiteY277" fmla="*/ 4763 h 282178"/>
                              <a:gd name="connsiteX278" fmla="*/ 45483 w 175340"/>
                              <a:gd name="connsiteY278" fmla="*/ 7144 h 282178"/>
                              <a:gd name="connsiteX279" fmla="*/ 36910 w 175340"/>
                              <a:gd name="connsiteY279" fmla="*/ 0 h 282178"/>
                              <a:gd name="connsiteX280" fmla="*/ 42581 w 175340"/>
                              <a:gd name="connsiteY280" fmla="*/ 2101 h 282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Lst>
                            <a:rect l="l" t="t" r="r" b="b"/>
                            <a:pathLst>
                              <a:path w="175340" h="282178">
                                <a:moveTo>
                                  <a:pt x="120254" y="263128"/>
                                </a:moveTo>
                                <a:cubicBezTo>
                                  <a:pt x="120254" y="265510"/>
                                  <a:pt x="117873" y="265510"/>
                                  <a:pt x="115491" y="267891"/>
                                </a:cubicBezTo>
                                <a:cubicBezTo>
                                  <a:pt x="115491" y="265510"/>
                                  <a:pt x="113110" y="265510"/>
                                  <a:pt x="113110" y="265510"/>
                                </a:cubicBezTo>
                                <a:cubicBezTo>
                                  <a:pt x="115491" y="263128"/>
                                  <a:pt x="117873" y="263128"/>
                                  <a:pt x="120254" y="263128"/>
                                </a:cubicBezTo>
                                <a:close/>
                                <a:moveTo>
                                  <a:pt x="66846" y="202012"/>
                                </a:moveTo>
                                <a:cubicBezTo>
                                  <a:pt x="68547" y="202580"/>
                                  <a:pt x="69681" y="203717"/>
                                  <a:pt x="68547" y="204854"/>
                                </a:cubicBezTo>
                                <a:cubicBezTo>
                                  <a:pt x="64011" y="209403"/>
                                  <a:pt x="59475" y="204854"/>
                                  <a:pt x="61743" y="202580"/>
                                </a:cubicBezTo>
                                <a:cubicBezTo>
                                  <a:pt x="62877" y="201443"/>
                                  <a:pt x="65145" y="201443"/>
                                  <a:pt x="66846" y="202012"/>
                                </a:cubicBezTo>
                                <a:close/>
                                <a:moveTo>
                                  <a:pt x="63699" y="179784"/>
                                </a:moveTo>
                                <a:cubicBezTo>
                                  <a:pt x="65782" y="179784"/>
                                  <a:pt x="67866" y="179784"/>
                                  <a:pt x="67866" y="181769"/>
                                </a:cubicBezTo>
                                <a:cubicBezTo>
                                  <a:pt x="65782" y="183753"/>
                                  <a:pt x="61615" y="185738"/>
                                  <a:pt x="59531" y="185738"/>
                                </a:cubicBezTo>
                                <a:cubicBezTo>
                                  <a:pt x="59531" y="183753"/>
                                  <a:pt x="61615" y="179784"/>
                                  <a:pt x="63699" y="179784"/>
                                </a:cubicBezTo>
                                <a:close/>
                                <a:moveTo>
                                  <a:pt x="22730" y="159385"/>
                                </a:moveTo>
                                <a:cubicBezTo>
                                  <a:pt x="27276" y="161608"/>
                                  <a:pt x="31822" y="157163"/>
                                  <a:pt x="36368" y="159385"/>
                                </a:cubicBezTo>
                                <a:cubicBezTo>
                                  <a:pt x="38641" y="161608"/>
                                  <a:pt x="40914" y="163831"/>
                                  <a:pt x="40914" y="166053"/>
                                </a:cubicBezTo>
                                <a:cubicBezTo>
                                  <a:pt x="43187" y="168276"/>
                                  <a:pt x="43187" y="168276"/>
                                  <a:pt x="43187" y="168276"/>
                                </a:cubicBezTo>
                                <a:cubicBezTo>
                                  <a:pt x="38641" y="172721"/>
                                  <a:pt x="38641" y="172721"/>
                                  <a:pt x="38641" y="172721"/>
                                </a:cubicBezTo>
                                <a:cubicBezTo>
                                  <a:pt x="40914" y="172721"/>
                                  <a:pt x="45460" y="170498"/>
                                  <a:pt x="45460" y="172721"/>
                                </a:cubicBezTo>
                                <a:cubicBezTo>
                                  <a:pt x="47733" y="174943"/>
                                  <a:pt x="50006" y="177166"/>
                                  <a:pt x="45460" y="179388"/>
                                </a:cubicBezTo>
                                <a:cubicBezTo>
                                  <a:pt x="45460" y="177166"/>
                                  <a:pt x="45460" y="174943"/>
                                  <a:pt x="43187" y="174943"/>
                                </a:cubicBezTo>
                                <a:cubicBezTo>
                                  <a:pt x="45460" y="174943"/>
                                  <a:pt x="43187" y="177166"/>
                                  <a:pt x="43187" y="179388"/>
                                </a:cubicBezTo>
                                <a:cubicBezTo>
                                  <a:pt x="43187" y="177166"/>
                                  <a:pt x="45460" y="177166"/>
                                  <a:pt x="45460" y="179388"/>
                                </a:cubicBezTo>
                                <a:cubicBezTo>
                                  <a:pt x="45460" y="179388"/>
                                  <a:pt x="43187" y="181611"/>
                                  <a:pt x="40914" y="181611"/>
                                </a:cubicBezTo>
                                <a:cubicBezTo>
                                  <a:pt x="38641" y="181611"/>
                                  <a:pt x="38641" y="186056"/>
                                  <a:pt x="36368" y="186056"/>
                                </a:cubicBezTo>
                                <a:cubicBezTo>
                                  <a:pt x="31822" y="183833"/>
                                  <a:pt x="31822" y="183833"/>
                                  <a:pt x="29549" y="186056"/>
                                </a:cubicBezTo>
                                <a:cubicBezTo>
                                  <a:pt x="27276" y="186056"/>
                                  <a:pt x="25003" y="186056"/>
                                  <a:pt x="25003" y="183833"/>
                                </a:cubicBezTo>
                                <a:cubicBezTo>
                                  <a:pt x="25003" y="183833"/>
                                  <a:pt x="15911" y="174943"/>
                                  <a:pt x="15911" y="179388"/>
                                </a:cubicBezTo>
                                <a:cubicBezTo>
                                  <a:pt x="13638" y="190501"/>
                                  <a:pt x="2273" y="179388"/>
                                  <a:pt x="0" y="177166"/>
                                </a:cubicBezTo>
                                <a:cubicBezTo>
                                  <a:pt x="0" y="174943"/>
                                  <a:pt x="4546" y="174943"/>
                                  <a:pt x="6819" y="172721"/>
                                </a:cubicBezTo>
                                <a:cubicBezTo>
                                  <a:pt x="6819" y="172721"/>
                                  <a:pt x="4546" y="172721"/>
                                  <a:pt x="4546" y="170498"/>
                                </a:cubicBezTo>
                                <a:cubicBezTo>
                                  <a:pt x="9092" y="172721"/>
                                  <a:pt x="11365" y="166053"/>
                                  <a:pt x="13638" y="163831"/>
                                </a:cubicBezTo>
                                <a:cubicBezTo>
                                  <a:pt x="15911" y="161608"/>
                                  <a:pt x="20457" y="163831"/>
                                  <a:pt x="22730" y="159385"/>
                                </a:cubicBezTo>
                                <a:close/>
                                <a:moveTo>
                                  <a:pt x="54769" y="147638"/>
                                </a:moveTo>
                                <a:cubicBezTo>
                                  <a:pt x="57150" y="147638"/>
                                  <a:pt x="57150" y="152401"/>
                                  <a:pt x="54769" y="154782"/>
                                </a:cubicBezTo>
                                <a:cubicBezTo>
                                  <a:pt x="52387" y="154782"/>
                                  <a:pt x="50006" y="147638"/>
                                  <a:pt x="54769" y="147638"/>
                                </a:cubicBezTo>
                                <a:close/>
                                <a:moveTo>
                                  <a:pt x="36314" y="142875"/>
                                </a:moveTo>
                                <a:cubicBezTo>
                                  <a:pt x="40482" y="145256"/>
                                  <a:pt x="38398" y="150019"/>
                                  <a:pt x="36314" y="150019"/>
                                </a:cubicBezTo>
                                <a:cubicBezTo>
                                  <a:pt x="36314" y="150019"/>
                                  <a:pt x="36314" y="147638"/>
                                  <a:pt x="36314" y="147638"/>
                                </a:cubicBezTo>
                                <a:cubicBezTo>
                                  <a:pt x="34231" y="147638"/>
                                  <a:pt x="32147" y="147638"/>
                                  <a:pt x="32147" y="147638"/>
                                </a:cubicBezTo>
                                <a:cubicBezTo>
                                  <a:pt x="32147" y="147638"/>
                                  <a:pt x="34231" y="142875"/>
                                  <a:pt x="36314" y="142875"/>
                                </a:cubicBezTo>
                                <a:close/>
                                <a:moveTo>
                                  <a:pt x="45244" y="138113"/>
                                </a:moveTo>
                                <a:cubicBezTo>
                                  <a:pt x="45244" y="140494"/>
                                  <a:pt x="42863" y="142876"/>
                                  <a:pt x="40481" y="145257"/>
                                </a:cubicBezTo>
                                <a:cubicBezTo>
                                  <a:pt x="40481" y="145257"/>
                                  <a:pt x="40481" y="145257"/>
                                  <a:pt x="38100" y="142876"/>
                                </a:cubicBezTo>
                                <a:cubicBezTo>
                                  <a:pt x="42863" y="142876"/>
                                  <a:pt x="42863" y="138113"/>
                                  <a:pt x="45244" y="138113"/>
                                </a:cubicBezTo>
                                <a:close/>
                                <a:moveTo>
                                  <a:pt x="41196" y="133946"/>
                                </a:moveTo>
                                <a:lnTo>
                                  <a:pt x="41196" y="134541"/>
                                </a:lnTo>
                                <a:cubicBezTo>
                                  <a:pt x="41196" y="134541"/>
                                  <a:pt x="39053" y="134541"/>
                                  <a:pt x="39053" y="134541"/>
                                </a:cubicBezTo>
                                <a:close/>
                                <a:moveTo>
                                  <a:pt x="43072" y="128290"/>
                                </a:moveTo>
                                <a:cubicBezTo>
                                  <a:pt x="45483" y="129183"/>
                                  <a:pt x="47626" y="130969"/>
                                  <a:pt x="47626" y="132160"/>
                                </a:cubicBezTo>
                                <a:lnTo>
                                  <a:pt x="41196" y="133946"/>
                                </a:lnTo>
                                <a:lnTo>
                                  <a:pt x="41196" y="132160"/>
                                </a:lnTo>
                                <a:cubicBezTo>
                                  <a:pt x="41196" y="129778"/>
                                  <a:pt x="39053" y="129778"/>
                                  <a:pt x="36910" y="129778"/>
                                </a:cubicBezTo>
                                <a:cubicBezTo>
                                  <a:pt x="37982" y="127397"/>
                                  <a:pt x="40661" y="127397"/>
                                  <a:pt x="43072" y="128290"/>
                                </a:cubicBezTo>
                                <a:close/>
                                <a:moveTo>
                                  <a:pt x="36910" y="117872"/>
                                </a:moveTo>
                                <a:cubicBezTo>
                                  <a:pt x="36910" y="115491"/>
                                  <a:pt x="38101" y="117872"/>
                                  <a:pt x="38101" y="117872"/>
                                </a:cubicBezTo>
                                <a:cubicBezTo>
                                  <a:pt x="38101" y="117872"/>
                                  <a:pt x="38101" y="117872"/>
                                  <a:pt x="38101" y="120254"/>
                                </a:cubicBezTo>
                                <a:cubicBezTo>
                                  <a:pt x="38101" y="120254"/>
                                  <a:pt x="38101" y="120254"/>
                                  <a:pt x="36910" y="117872"/>
                                </a:cubicBezTo>
                                <a:close/>
                                <a:moveTo>
                                  <a:pt x="22623" y="111323"/>
                                </a:moveTo>
                                <a:cubicBezTo>
                                  <a:pt x="20242" y="111323"/>
                                  <a:pt x="20242" y="115689"/>
                                  <a:pt x="22623" y="115689"/>
                                </a:cubicBezTo>
                                <a:cubicBezTo>
                                  <a:pt x="15479" y="117872"/>
                                  <a:pt x="20242" y="104775"/>
                                  <a:pt x="22623" y="111323"/>
                                </a:cubicBezTo>
                                <a:close/>
                                <a:moveTo>
                                  <a:pt x="38844" y="102394"/>
                                </a:moveTo>
                                <a:cubicBezTo>
                                  <a:pt x="41077" y="103500"/>
                                  <a:pt x="41635" y="106817"/>
                                  <a:pt x="42751" y="109304"/>
                                </a:cubicBezTo>
                                <a:lnTo>
                                  <a:pt x="43652" y="109545"/>
                                </a:lnTo>
                                <a:lnTo>
                                  <a:pt x="50007" y="111239"/>
                                </a:lnTo>
                                <a:cubicBezTo>
                                  <a:pt x="50007" y="115662"/>
                                  <a:pt x="45542" y="117873"/>
                                  <a:pt x="43309" y="117873"/>
                                </a:cubicBezTo>
                                <a:cubicBezTo>
                                  <a:pt x="43309" y="115662"/>
                                  <a:pt x="45542" y="115662"/>
                                  <a:pt x="45542" y="113450"/>
                                </a:cubicBezTo>
                                <a:cubicBezTo>
                                  <a:pt x="45542" y="113450"/>
                                  <a:pt x="43309" y="113450"/>
                                  <a:pt x="41077" y="113450"/>
                                </a:cubicBezTo>
                                <a:cubicBezTo>
                                  <a:pt x="38844" y="113450"/>
                                  <a:pt x="34379" y="111239"/>
                                  <a:pt x="38844" y="111239"/>
                                </a:cubicBezTo>
                                <a:cubicBezTo>
                                  <a:pt x="36612" y="109028"/>
                                  <a:pt x="32147" y="111239"/>
                                  <a:pt x="32147" y="109028"/>
                                </a:cubicBezTo>
                                <a:cubicBezTo>
                                  <a:pt x="34379" y="109028"/>
                                  <a:pt x="34379" y="106817"/>
                                  <a:pt x="38844" y="106817"/>
                                </a:cubicBezTo>
                                <a:cubicBezTo>
                                  <a:pt x="38844" y="104605"/>
                                  <a:pt x="38844" y="104605"/>
                                  <a:pt x="38844" y="102394"/>
                                </a:cubicBezTo>
                                <a:close/>
                                <a:moveTo>
                                  <a:pt x="25004" y="102394"/>
                                </a:moveTo>
                                <a:cubicBezTo>
                                  <a:pt x="27385" y="104775"/>
                                  <a:pt x="22622" y="107157"/>
                                  <a:pt x="22622" y="107157"/>
                                </a:cubicBezTo>
                                <a:cubicBezTo>
                                  <a:pt x="22622" y="107157"/>
                                  <a:pt x="20241" y="104775"/>
                                  <a:pt x="17860" y="104775"/>
                                </a:cubicBezTo>
                                <a:cubicBezTo>
                                  <a:pt x="17860" y="102394"/>
                                  <a:pt x="22622" y="102394"/>
                                  <a:pt x="25004" y="102394"/>
                                </a:cubicBezTo>
                                <a:close/>
                                <a:moveTo>
                                  <a:pt x="44129" y="86112"/>
                                </a:moveTo>
                                <a:cubicBezTo>
                                  <a:pt x="44129" y="87243"/>
                                  <a:pt x="43012" y="88940"/>
                                  <a:pt x="40780" y="88940"/>
                                </a:cubicBezTo>
                                <a:cubicBezTo>
                                  <a:pt x="45245" y="91202"/>
                                  <a:pt x="38547" y="93464"/>
                                  <a:pt x="36315" y="93464"/>
                                </a:cubicBezTo>
                                <a:cubicBezTo>
                                  <a:pt x="40780" y="91202"/>
                                  <a:pt x="36315" y="100251"/>
                                  <a:pt x="34082" y="95726"/>
                                </a:cubicBezTo>
                                <a:cubicBezTo>
                                  <a:pt x="34082" y="97988"/>
                                  <a:pt x="29617" y="104775"/>
                                  <a:pt x="27385" y="100251"/>
                                </a:cubicBezTo>
                                <a:cubicBezTo>
                                  <a:pt x="27385" y="100251"/>
                                  <a:pt x="29617" y="97988"/>
                                  <a:pt x="31850" y="97988"/>
                                </a:cubicBezTo>
                                <a:cubicBezTo>
                                  <a:pt x="29617" y="97988"/>
                                  <a:pt x="27385" y="95726"/>
                                  <a:pt x="27385" y="95726"/>
                                </a:cubicBezTo>
                                <a:cubicBezTo>
                                  <a:pt x="29617" y="95726"/>
                                  <a:pt x="29617" y="93464"/>
                                  <a:pt x="27385" y="93464"/>
                                </a:cubicBezTo>
                                <a:cubicBezTo>
                                  <a:pt x="27385" y="91202"/>
                                  <a:pt x="29617" y="91202"/>
                                  <a:pt x="31850" y="91202"/>
                                </a:cubicBezTo>
                                <a:cubicBezTo>
                                  <a:pt x="31850" y="91202"/>
                                  <a:pt x="31850" y="91202"/>
                                  <a:pt x="31850" y="93464"/>
                                </a:cubicBezTo>
                                <a:cubicBezTo>
                                  <a:pt x="34082" y="91202"/>
                                  <a:pt x="31850" y="88940"/>
                                  <a:pt x="34082" y="88940"/>
                                </a:cubicBezTo>
                                <a:cubicBezTo>
                                  <a:pt x="36315" y="86677"/>
                                  <a:pt x="38547" y="86677"/>
                                  <a:pt x="40780" y="86677"/>
                                </a:cubicBezTo>
                                <a:cubicBezTo>
                                  <a:pt x="43012" y="84415"/>
                                  <a:pt x="44129" y="84981"/>
                                  <a:pt x="44129" y="86112"/>
                                </a:cubicBezTo>
                                <a:close/>
                                <a:moveTo>
                                  <a:pt x="66279" y="82046"/>
                                </a:moveTo>
                                <a:cubicBezTo>
                                  <a:pt x="66279" y="82046"/>
                                  <a:pt x="68547" y="82046"/>
                                  <a:pt x="68547" y="84320"/>
                                </a:cubicBezTo>
                                <a:cubicBezTo>
                                  <a:pt x="70815" y="84320"/>
                                  <a:pt x="73083" y="82046"/>
                                  <a:pt x="70815" y="84320"/>
                                </a:cubicBezTo>
                                <a:cubicBezTo>
                                  <a:pt x="70815" y="84320"/>
                                  <a:pt x="73083" y="82046"/>
                                  <a:pt x="75351" y="84320"/>
                                </a:cubicBezTo>
                                <a:cubicBezTo>
                                  <a:pt x="77618" y="84320"/>
                                  <a:pt x="82154" y="84320"/>
                                  <a:pt x="84422" y="84320"/>
                                </a:cubicBezTo>
                                <a:cubicBezTo>
                                  <a:pt x="86690" y="82046"/>
                                  <a:pt x="93493" y="79772"/>
                                  <a:pt x="98029" y="82046"/>
                                </a:cubicBezTo>
                                <a:cubicBezTo>
                                  <a:pt x="104833" y="82046"/>
                                  <a:pt x="91226" y="91143"/>
                                  <a:pt x="88958" y="93417"/>
                                </a:cubicBezTo>
                                <a:cubicBezTo>
                                  <a:pt x="86690" y="93417"/>
                                  <a:pt x="84422" y="95692"/>
                                  <a:pt x="82154" y="95692"/>
                                </a:cubicBezTo>
                                <a:cubicBezTo>
                                  <a:pt x="77618" y="97966"/>
                                  <a:pt x="79886" y="100240"/>
                                  <a:pt x="75351" y="97966"/>
                                </a:cubicBezTo>
                                <a:cubicBezTo>
                                  <a:pt x="77618" y="100240"/>
                                  <a:pt x="79886" y="100240"/>
                                  <a:pt x="84422" y="100240"/>
                                </a:cubicBezTo>
                                <a:lnTo>
                                  <a:pt x="79730" y="102828"/>
                                </a:lnTo>
                                <a:lnTo>
                                  <a:pt x="79886" y="102514"/>
                                </a:lnTo>
                                <a:cubicBezTo>
                                  <a:pt x="77618" y="102514"/>
                                  <a:pt x="75351" y="104788"/>
                                  <a:pt x="73083" y="104788"/>
                                </a:cubicBezTo>
                                <a:cubicBezTo>
                                  <a:pt x="74217" y="103651"/>
                                  <a:pt x="76485" y="103651"/>
                                  <a:pt x="78752" y="103367"/>
                                </a:cubicBezTo>
                                <a:lnTo>
                                  <a:pt x="79730" y="102828"/>
                                </a:lnTo>
                                <a:lnTo>
                                  <a:pt x="77618" y="107063"/>
                                </a:lnTo>
                                <a:cubicBezTo>
                                  <a:pt x="79886" y="107063"/>
                                  <a:pt x="84422" y="104788"/>
                                  <a:pt x="88958" y="102514"/>
                                </a:cubicBezTo>
                                <a:cubicBezTo>
                                  <a:pt x="93493" y="102514"/>
                                  <a:pt x="98029" y="104788"/>
                                  <a:pt x="102565" y="102514"/>
                                </a:cubicBezTo>
                                <a:cubicBezTo>
                                  <a:pt x="107101" y="102514"/>
                                  <a:pt x="116172" y="100240"/>
                                  <a:pt x="118440" y="107063"/>
                                </a:cubicBezTo>
                                <a:cubicBezTo>
                                  <a:pt x="120708" y="109337"/>
                                  <a:pt x="116172" y="109337"/>
                                  <a:pt x="113904" y="111611"/>
                                </a:cubicBezTo>
                                <a:cubicBezTo>
                                  <a:pt x="113904" y="116160"/>
                                  <a:pt x="111636" y="118434"/>
                                  <a:pt x="109368" y="120708"/>
                                </a:cubicBezTo>
                                <a:cubicBezTo>
                                  <a:pt x="104833" y="127531"/>
                                  <a:pt x="98029" y="132079"/>
                                  <a:pt x="91226" y="132079"/>
                                </a:cubicBezTo>
                                <a:cubicBezTo>
                                  <a:pt x="93493" y="134353"/>
                                  <a:pt x="95761" y="129805"/>
                                  <a:pt x="100297" y="132079"/>
                                </a:cubicBezTo>
                                <a:cubicBezTo>
                                  <a:pt x="100297" y="134353"/>
                                  <a:pt x="102565" y="136628"/>
                                  <a:pt x="98029" y="136628"/>
                                </a:cubicBezTo>
                                <a:cubicBezTo>
                                  <a:pt x="91226" y="136628"/>
                                  <a:pt x="86690" y="143450"/>
                                  <a:pt x="79886" y="138902"/>
                                </a:cubicBezTo>
                                <a:cubicBezTo>
                                  <a:pt x="84422" y="143450"/>
                                  <a:pt x="88958" y="141176"/>
                                  <a:pt x="93493" y="141176"/>
                                </a:cubicBezTo>
                                <a:cubicBezTo>
                                  <a:pt x="95761" y="141176"/>
                                  <a:pt x="98029" y="141176"/>
                                  <a:pt x="98029" y="141176"/>
                                </a:cubicBezTo>
                                <a:cubicBezTo>
                                  <a:pt x="100297" y="138902"/>
                                  <a:pt x="102565" y="141176"/>
                                  <a:pt x="102565" y="141176"/>
                                </a:cubicBezTo>
                                <a:cubicBezTo>
                                  <a:pt x="109368" y="143450"/>
                                  <a:pt x="118440" y="147999"/>
                                  <a:pt x="118440" y="154821"/>
                                </a:cubicBezTo>
                                <a:cubicBezTo>
                                  <a:pt x="120708" y="159370"/>
                                  <a:pt x="120708" y="173015"/>
                                  <a:pt x="127511" y="173015"/>
                                </a:cubicBezTo>
                                <a:cubicBezTo>
                                  <a:pt x="129779" y="175289"/>
                                  <a:pt x="134315" y="175289"/>
                                  <a:pt x="136583" y="177564"/>
                                </a:cubicBezTo>
                                <a:cubicBezTo>
                                  <a:pt x="138851" y="179838"/>
                                  <a:pt x="141118" y="184386"/>
                                  <a:pt x="143386" y="184386"/>
                                </a:cubicBezTo>
                                <a:cubicBezTo>
                                  <a:pt x="138851" y="186661"/>
                                  <a:pt x="145654" y="193483"/>
                                  <a:pt x="147922" y="198032"/>
                                </a:cubicBezTo>
                                <a:cubicBezTo>
                                  <a:pt x="143386" y="193483"/>
                                  <a:pt x="136583" y="193483"/>
                                  <a:pt x="132047" y="193483"/>
                                </a:cubicBezTo>
                                <a:cubicBezTo>
                                  <a:pt x="138851" y="195758"/>
                                  <a:pt x="143386" y="195758"/>
                                  <a:pt x="147922" y="200306"/>
                                </a:cubicBezTo>
                                <a:cubicBezTo>
                                  <a:pt x="154726" y="209403"/>
                                  <a:pt x="147922" y="209403"/>
                                  <a:pt x="143386" y="213951"/>
                                </a:cubicBezTo>
                                <a:cubicBezTo>
                                  <a:pt x="145654" y="213951"/>
                                  <a:pt x="147922" y="216226"/>
                                  <a:pt x="150190" y="216226"/>
                                </a:cubicBezTo>
                                <a:cubicBezTo>
                                  <a:pt x="152458" y="216226"/>
                                  <a:pt x="152458" y="213951"/>
                                  <a:pt x="154726" y="211677"/>
                                </a:cubicBezTo>
                                <a:cubicBezTo>
                                  <a:pt x="156993" y="209403"/>
                                  <a:pt x="166065" y="211677"/>
                                  <a:pt x="170601" y="213951"/>
                                </a:cubicBezTo>
                                <a:cubicBezTo>
                                  <a:pt x="175136" y="216226"/>
                                  <a:pt x="177404" y="223048"/>
                                  <a:pt x="172868" y="227597"/>
                                </a:cubicBezTo>
                                <a:cubicBezTo>
                                  <a:pt x="170601" y="232145"/>
                                  <a:pt x="170601" y="234419"/>
                                  <a:pt x="163797" y="234419"/>
                                </a:cubicBezTo>
                                <a:cubicBezTo>
                                  <a:pt x="163797" y="236694"/>
                                  <a:pt x="166065" y="236694"/>
                                  <a:pt x="166065" y="236694"/>
                                </a:cubicBezTo>
                                <a:cubicBezTo>
                                  <a:pt x="163797" y="241242"/>
                                  <a:pt x="161529" y="236694"/>
                                  <a:pt x="159261" y="238968"/>
                                </a:cubicBezTo>
                                <a:cubicBezTo>
                                  <a:pt x="159261" y="238968"/>
                                  <a:pt x="156993" y="241242"/>
                                  <a:pt x="154726" y="241242"/>
                                </a:cubicBezTo>
                                <a:cubicBezTo>
                                  <a:pt x="159261" y="241242"/>
                                  <a:pt x="159261" y="245790"/>
                                  <a:pt x="154726" y="245790"/>
                                </a:cubicBezTo>
                                <a:cubicBezTo>
                                  <a:pt x="154726" y="248065"/>
                                  <a:pt x="152458" y="248065"/>
                                  <a:pt x="152458" y="248065"/>
                                </a:cubicBezTo>
                                <a:cubicBezTo>
                                  <a:pt x="154726" y="248065"/>
                                  <a:pt x="170601" y="248065"/>
                                  <a:pt x="168333" y="252613"/>
                                </a:cubicBezTo>
                                <a:cubicBezTo>
                                  <a:pt x="166065" y="254887"/>
                                  <a:pt x="161529" y="254887"/>
                                  <a:pt x="159261" y="257162"/>
                                </a:cubicBezTo>
                                <a:cubicBezTo>
                                  <a:pt x="159261" y="259436"/>
                                  <a:pt x="156993" y="259436"/>
                                  <a:pt x="154726" y="259436"/>
                                </a:cubicBezTo>
                                <a:cubicBezTo>
                                  <a:pt x="150190" y="261710"/>
                                  <a:pt x="145654" y="263984"/>
                                  <a:pt x="143386" y="263984"/>
                                </a:cubicBezTo>
                                <a:cubicBezTo>
                                  <a:pt x="138851" y="261710"/>
                                  <a:pt x="134315" y="261710"/>
                                  <a:pt x="129779" y="261710"/>
                                </a:cubicBezTo>
                                <a:cubicBezTo>
                                  <a:pt x="129779" y="261710"/>
                                  <a:pt x="125243" y="263984"/>
                                  <a:pt x="125243" y="261710"/>
                                </a:cubicBezTo>
                                <a:cubicBezTo>
                                  <a:pt x="125243" y="261710"/>
                                  <a:pt x="125243" y="261710"/>
                                  <a:pt x="122976" y="261710"/>
                                </a:cubicBezTo>
                                <a:cubicBezTo>
                                  <a:pt x="120708" y="261710"/>
                                  <a:pt x="118440" y="261710"/>
                                  <a:pt x="116172" y="259436"/>
                                </a:cubicBezTo>
                                <a:cubicBezTo>
                                  <a:pt x="118440" y="263984"/>
                                  <a:pt x="104833" y="263984"/>
                                  <a:pt x="102565" y="263984"/>
                                </a:cubicBezTo>
                                <a:cubicBezTo>
                                  <a:pt x="107101" y="266258"/>
                                  <a:pt x="102565" y="266258"/>
                                  <a:pt x="100297" y="266258"/>
                                </a:cubicBezTo>
                                <a:cubicBezTo>
                                  <a:pt x="98029" y="266258"/>
                                  <a:pt x="95761" y="266258"/>
                                  <a:pt x="95761" y="268533"/>
                                </a:cubicBezTo>
                                <a:cubicBezTo>
                                  <a:pt x="93493" y="263984"/>
                                  <a:pt x="88958" y="263984"/>
                                  <a:pt x="84422" y="263984"/>
                                </a:cubicBezTo>
                                <a:cubicBezTo>
                                  <a:pt x="82154" y="266258"/>
                                  <a:pt x="77618" y="268533"/>
                                  <a:pt x="77618" y="266258"/>
                                </a:cubicBezTo>
                                <a:cubicBezTo>
                                  <a:pt x="77618" y="268533"/>
                                  <a:pt x="73083" y="275355"/>
                                  <a:pt x="70815" y="275355"/>
                                </a:cubicBezTo>
                                <a:cubicBezTo>
                                  <a:pt x="68547" y="275355"/>
                                  <a:pt x="61743" y="273081"/>
                                  <a:pt x="61743" y="270807"/>
                                </a:cubicBezTo>
                                <a:cubicBezTo>
                                  <a:pt x="59475" y="275355"/>
                                  <a:pt x="52672" y="273081"/>
                                  <a:pt x="50404" y="275355"/>
                                </a:cubicBezTo>
                                <a:cubicBezTo>
                                  <a:pt x="48136" y="277630"/>
                                  <a:pt x="43600" y="282178"/>
                                  <a:pt x="41332" y="282178"/>
                                </a:cubicBezTo>
                                <a:cubicBezTo>
                                  <a:pt x="41332" y="277630"/>
                                  <a:pt x="36797" y="279904"/>
                                  <a:pt x="34529" y="279904"/>
                                </a:cubicBezTo>
                                <a:cubicBezTo>
                                  <a:pt x="34529" y="279904"/>
                                  <a:pt x="34529" y="279904"/>
                                  <a:pt x="34529" y="277630"/>
                                </a:cubicBezTo>
                                <a:cubicBezTo>
                                  <a:pt x="36797" y="277630"/>
                                  <a:pt x="36797" y="275355"/>
                                  <a:pt x="39065" y="275355"/>
                                </a:cubicBezTo>
                                <a:cubicBezTo>
                                  <a:pt x="41332" y="273081"/>
                                  <a:pt x="45868" y="273081"/>
                                  <a:pt x="45868" y="270807"/>
                                </a:cubicBezTo>
                                <a:cubicBezTo>
                                  <a:pt x="48136" y="268533"/>
                                  <a:pt x="48136" y="268533"/>
                                  <a:pt x="48136" y="268533"/>
                                </a:cubicBezTo>
                                <a:cubicBezTo>
                                  <a:pt x="52672" y="268533"/>
                                  <a:pt x="57207" y="261710"/>
                                  <a:pt x="57207" y="259436"/>
                                </a:cubicBezTo>
                                <a:cubicBezTo>
                                  <a:pt x="57207" y="254887"/>
                                  <a:pt x="59475" y="259436"/>
                                  <a:pt x="61743" y="257162"/>
                                </a:cubicBezTo>
                                <a:cubicBezTo>
                                  <a:pt x="64011" y="257162"/>
                                  <a:pt x="64011" y="254887"/>
                                  <a:pt x="64011" y="252613"/>
                                </a:cubicBezTo>
                                <a:cubicBezTo>
                                  <a:pt x="68547" y="250339"/>
                                  <a:pt x="73083" y="252613"/>
                                  <a:pt x="77618" y="252613"/>
                                </a:cubicBezTo>
                                <a:cubicBezTo>
                                  <a:pt x="79886" y="252613"/>
                                  <a:pt x="82154" y="252613"/>
                                  <a:pt x="84422" y="252613"/>
                                </a:cubicBezTo>
                                <a:cubicBezTo>
                                  <a:pt x="86690" y="252613"/>
                                  <a:pt x="84422" y="250339"/>
                                  <a:pt x="86690" y="250339"/>
                                </a:cubicBezTo>
                                <a:cubicBezTo>
                                  <a:pt x="88958" y="245790"/>
                                  <a:pt x="95761" y="243516"/>
                                  <a:pt x="98029" y="238968"/>
                                </a:cubicBezTo>
                                <a:cubicBezTo>
                                  <a:pt x="93493" y="241242"/>
                                  <a:pt x="91226" y="243516"/>
                                  <a:pt x="86690" y="245790"/>
                                </a:cubicBezTo>
                                <a:cubicBezTo>
                                  <a:pt x="82154" y="245790"/>
                                  <a:pt x="82154" y="250339"/>
                                  <a:pt x="77618" y="248065"/>
                                </a:cubicBezTo>
                                <a:cubicBezTo>
                                  <a:pt x="73083" y="248065"/>
                                  <a:pt x="73083" y="241242"/>
                                  <a:pt x="68547" y="243516"/>
                                </a:cubicBezTo>
                                <a:cubicBezTo>
                                  <a:pt x="66279" y="243516"/>
                                  <a:pt x="64011" y="245790"/>
                                  <a:pt x="64011" y="243516"/>
                                </a:cubicBezTo>
                                <a:cubicBezTo>
                                  <a:pt x="66279" y="243516"/>
                                  <a:pt x="66279" y="243516"/>
                                  <a:pt x="66279" y="241242"/>
                                </a:cubicBezTo>
                                <a:cubicBezTo>
                                  <a:pt x="66279" y="241242"/>
                                  <a:pt x="61743" y="241242"/>
                                  <a:pt x="61743" y="238968"/>
                                </a:cubicBezTo>
                                <a:cubicBezTo>
                                  <a:pt x="59475" y="241242"/>
                                  <a:pt x="50404" y="245790"/>
                                  <a:pt x="48136" y="241242"/>
                                </a:cubicBezTo>
                                <a:cubicBezTo>
                                  <a:pt x="48136" y="238968"/>
                                  <a:pt x="48136" y="238968"/>
                                  <a:pt x="45868" y="236694"/>
                                </a:cubicBezTo>
                                <a:cubicBezTo>
                                  <a:pt x="50404" y="232145"/>
                                  <a:pt x="57207" y="232145"/>
                                  <a:pt x="61743" y="229871"/>
                                </a:cubicBezTo>
                                <a:cubicBezTo>
                                  <a:pt x="64011" y="229871"/>
                                  <a:pt x="66279" y="227597"/>
                                  <a:pt x="68547" y="225322"/>
                                </a:cubicBezTo>
                                <a:cubicBezTo>
                                  <a:pt x="68547" y="223048"/>
                                  <a:pt x="68547" y="220774"/>
                                  <a:pt x="70815" y="220774"/>
                                </a:cubicBezTo>
                                <a:cubicBezTo>
                                  <a:pt x="68547" y="223048"/>
                                  <a:pt x="68547" y="218500"/>
                                  <a:pt x="70815" y="218500"/>
                                </a:cubicBezTo>
                                <a:cubicBezTo>
                                  <a:pt x="68547" y="216226"/>
                                  <a:pt x="68547" y="216226"/>
                                  <a:pt x="68547" y="213951"/>
                                </a:cubicBezTo>
                                <a:cubicBezTo>
                                  <a:pt x="64011" y="211677"/>
                                  <a:pt x="61743" y="216226"/>
                                  <a:pt x="57207" y="216226"/>
                                </a:cubicBezTo>
                                <a:cubicBezTo>
                                  <a:pt x="59475" y="211677"/>
                                  <a:pt x="64011" y="209403"/>
                                  <a:pt x="68547" y="204854"/>
                                </a:cubicBezTo>
                                <a:cubicBezTo>
                                  <a:pt x="75351" y="204854"/>
                                  <a:pt x="82154" y="200306"/>
                                  <a:pt x="88958" y="204854"/>
                                </a:cubicBezTo>
                                <a:cubicBezTo>
                                  <a:pt x="84422" y="198032"/>
                                  <a:pt x="93493" y="204854"/>
                                  <a:pt x="95761" y="202580"/>
                                </a:cubicBezTo>
                                <a:cubicBezTo>
                                  <a:pt x="88958" y="204854"/>
                                  <a:pt x="86690" y="195758"/>
                                  <a:pt x="93493" y="193483"/>
                                </a:cubicBezTo>
                                <a:cubicBezTo>
                                  <a:pt x="86690" y="195758"/>
                                  <a:pt x="91226" y="188935"/>
                                  <a:pt x="91226" y="188935"/>
                                </a:cubicBezTo>
                                <a:cubicBezTo>
                                  <a:pt x="93493" y="186661"/>
                                  <a:pt x="93493" y="184386"/>
                                  <a:pt x="95761" y="182112"/>
                                </a:cubicBezTo>
                                <a:cubicBezTo>
                                  <a:pt x="93493" y="184386"/>
                                  <a:pt x="91226" y="184386"/>
                                  <a:pt x="91226" y="182112"/>
                                </a:cubicBezTo>
                                <a:cubicBezTo>
                                  <a:pt x="91226" y="184386"/>
                                  <a:pt x="88958" y="184386"/>
                                  <a:pt x="88958" y="186661"/>
                                </a:cubicBezTo>
                                <a:cubicBezTo>
                                  <a:pt x="86690" y="184386"/>
                                  <a:pt x="86690" y="184386"/>
                                  <a:pt x="88958" y="182112"/>
                                </a:cubicBezTo>
                                <a:cubicBezTo>
                                  <a:pt x="84422" y="184386"/>
                                  <a:pt x="82154" y="175289"/>
                                  <a:pt x="82154" y="173015"/>
                                </a:cubicBezTo>
                                <a:cubicBezTo>
                                  <a:pt x="84422" y="168467"/>
                                  <a:pt x="88958" y="168467"/>
                                  <a:pt x="93493" y="166192"/>
                                </a:cubicBezTo>
                                <a:cubicBezTo>
                                  <a:pt x="88958" y="163918"/>
                                  <a:pt x="86690" y="166192"/>
                                  <a:pt x="82154" y="163918"/>
                                </a:cubicBezTo>
                                <a:cubicBezTo>
                                  <a:pt x="84422" y="166192"/>
                                  <a:pt x="82154" y="166192"/>
                                  <a:pt x="79886" y="168467"/>
                                </a:cubicBezTo>
                                <a:cubicBezTo>
                                  <a:pt x="75351" y="168467"/>
                                  <a:pt x="73083" y="170741"/>
                                  <a:pt x="68547" y="166192"/>
                                </a:cubicBezTo>
                                <a:cubicBezTo>
                                  <a:pt x="68547" y="170741"/>
                                  <a:pt x="66279" y="170741"/>
                                  <a:pt x="64011" y="168467"/>
                                </a:cubicBezTo>
                                <a:cubicBezTo>
                                  <a:pt x="59475" y="168467"/>
                                  <a:pt x="57207" y="168467"/>
                                  <a:pt x="59475" y="173015"/>
                                </a:cubicBezTo>
                                <a:cubicBezTo>
                                  <a:pt x="57207" y="170741"/>
                                  <a:pt x="52672" y="168467"/>
                                  <a:pt x="54940" y="163918"/>
                                </a:cubicBezTo>
                                <a:cubicBezTo>
                                  <a:pt x="54940" y="163918"/>
                                  <a:pt x="57207" y="166192"/>
                                  <a:pt x="57207" y="166192"/>
                                </a:cubicBezTo>
                                <a:cubicBezTo>
                                  <a:pt x="54940" y="159370"/>
                                  <a:pt x="66279" y="157096"/>
                                  <a:pt x="64011" y="152547"/>
                                </a:cubicBezTo>
                                <a:cubicBezTo>
                                  <a:pt x="64011" y="147999"/>
                                  <a:pt x="59475" y="147999"/>
                                  <a:pt x="61743" y="143450"/>
                                </a:cubicBezTo>
                                <a:cubicBezTo>
                                  <a:pt x="61743" y="141176"/>
                                  <a:pt x="66279" y="143450"/>
                                  <a:pt x="66279" y="143450"/>
                                </a:cubicBezTo>
                                <a:cubicBezTo>
                                  <a:pt x="64011" y="141176"/>
                                  <a:pt x="61743" y="138902"/>
                                  <a:pt x="64011" y="141176"/>
                                </a:cubicBezTo>
                                <a:cubicBezTo>
                                  <a:pt x="61743" y="141176"/>
                                  <a:pt x="61743" y="138902"/>
                                  <a:pt x="64011" y="138902"/>
                                </a:cubicBezTo>
                                <a:cubicBezTo>
                                  <a:pt x="59475" y="136628"/>
                                  <a:pt x="61743" y="141176"/>
                                  <a:pt x="59475" y="145724"/>
                                </a:cubicBezTo>
                                <a:cubicBezTo>
                                  <a:pt x="59475" y="143450"/>
                                  <a:pt x="57207" y="141176"/>
                                  <a:pt x="57207" y="143450"/>
                                </a:cubicBezTo>
                                <a:cubicBezTo>
                                  <a:pt x="57207" y="143450"/>
                                  <a:pt x="59475" y="145724"/>
                                  <a:pt x="59475" y="147999"/>
                                </a:cubicBezTo>
                                <a:cubicBezTo>
                                  <a:pt x="57207" y="145724"/>
                                  <a:pt x="57207" y="145724"/>
                                  <a:pt x="54940" y="143450"/>
                                </a:cubicBezTo>
                                <a:lnTo>
                                  <a:pt x="53388" y="143450"/>
                                </a:lnTo>
                                <a:lnTo>
                                  <a:pt x="53718" y="142401"/>
                                </a:lnTo>
                                <a:lnTo>
                                  <a:pt x="59475" y="136628"/>
                                </a:lnTo>
                                <a:cubicBezTo>
                                  <a:pt x="58341" y="137765"/>
                                  <a:pt x="56074" y="138902"/>
                                  <a:pt x="54373" y="140323"/>
                                </a:cubicBezTo>
                                <a:lnTo>
                                  <a:pt x="53718" y="142401"/>
                                </a:lnTo>
                                <a:lnTo>
                                  <a:pt x="52672" y="143450"/>
                                </a:lnTo>
                                <a:lnTo>
                                  <a:pt x="53388" y="143450"/>
                                </a:lnTo>
                                <a:lnTo>
                                  <a:pt x="52672" y="145724"/>
                                </a:lnTo>
                                <a:cubicBezTo>
                                  <a:pt x="52672" y="147999"/>
                                  <a:pt x="48136" y="152547"/>
                                  <a:pt x="48136" y="154821"/>
                                </a:cubicBezTo>
                                <a:cubicBezTo>
                                  <a:pt x="48136" y="159370"/>
                                  <a:pt x="43600" y="157096"/>
                                  <a:pt x="43600" y="154821"/>
                                </a:cubicBezTo>
                                <a:cubicBezTo>
                                  <a:pt x="45868" y="152547"/>
                                  <a:pt x="45868" y="147999"/>
                                  <a:pt x="50404" y="145724"/>
                                </a:cubicBezTo>
                                <a:cubicBezTo>
                                  <a:pt x="48136" y="147999"/>
                                  <a:pt x="45868" y="143450"/>
                                  <a:pt x="48136" y="141176"/>
                                </a:cubicBezTo>
                                <a:cubicBezTo>
                                  <a:pt x="43600" y="145724"/>
                                  <a:pt x="50404" y="138902"/>
                                  <a:pt x="50404" y="136628"/>
                                </a:cubicBezTo>
                                <a:cubicBezTo>
                                  <a:pt x="50404" y="136628"/>
                                  <a:pt x="50404" y="134353"/>
                                  <a:pt x="50404" y="134353"/>
                                </a:cubicBezTo>
                                <a:cubicBezTo>
                                  <a:pt x="50404" y="132079"/>
                                  <a:pt x="52672" y="132079"/>
                                  <a:pt x="52672" y="132079"/>
                                </a:cubicBezTo>
                                <a:lnTo>
                                  <a:pt x="54940" y="130942"/>
                                </a:lnTo>
                                <a:lnTo>
                                  <a:pt x="54940" y="132079"/>
                                </a:lnTo>
                                <a:cubicBezTo>
                                  <a:pt x="54940" y="132079"/>
                                  <a:pt x="57207" y="129805"/>
                                  <a:pt x="57207" y="129805"/>
                                </a:cubicBezTo>
                                <a:lnTo>
                                  <a:pt x="54940" y="130942"/>
                                </a:lnTo>
                                <a:lnTo>
                                  <a:pt x="54940" y="129805"/>
                                </a:lnTo>
                                <a:cubicBezTo>
                                  <a:pt x="50404" y="129805"/>
                                  <a:pt x="59475" y="125256"/>
                                  <a:pt x="59475" y="125256"/>
                                </a:cubicBezTo>
                                <a:cubicBezTo>
                                  <a:pt x="57207" y="127531"/>
                                  <a:pt x="57207" y="125256"/>
                                  <a:pt x="59475" y="122982"/>
                                </a:cubicBezTo>
                                <a:cubicBezTo>
                                  <a:pt x="54940" y="125256"/>
                                  <a:pt x="45868" y="134353"/>
                                  <a:pt x="43600" y="127531"/>
                                </a:cubicBezTo>
                                <a:cubicBezTo>
                                  <a:pt x="45868" y="127531"/>
                                  <a:pt x="48136" y="125256"/>
                                  <a:pt x="50404" y="125256"/>
                                </a:cubicBezTo>
                                <a:lnTo>
                                  <a:pt x="45868" y="125256"/>
                                </a:lnTo>
                                <a:cubicBezTo>
                                  <a:pt x="45868" y="122982"/>
                                  <a:pt x="48136" y="122982"/>
                                  <a:pt x="48136" y="122982"/>
                                </a:cubicBezTo>
                                <a:cubicBezTo>
                                  <a:pt x="45868" y="120708"/>
                                  <a:pt x="48136" y="116160"/>
                                  <a:pt x="50404" y="118434"/>
                                </a:cubicBezTo>
                                <a:cubicBezTo>
                                  <a:pt x="43600" y="116160"/>
                                  <a:pt x="54940" y="116160"/>
                                  <a:pt x="54940" y="116160"/>
                                </a:cubicBezTo>
                                <a:cubicBezTo>
                                  <a:pt x="48136" y="116160"/>
                                  <a:pt x="52672" y="111611"/>
                                  <a:pt x="54940" y="113885"/>
                                </a:cubicBezTo>
                                <a:cubicBezTo>
                                  <a:pt x="54940" y="111611"/>
                                  <a:pt x="52672" y="111611"/>
                                  <a:pt x="50404" y="111611"/>
                                </a:cubicBezTo>
                                <a:cubicBezTo>
                                  <a:pt x="50404" y="111611"/>
                                  <a:pt x="52672" y="111611"/>
                                  <a:pt x="54940" y="109337"/>
                                </a:cubicBezTo>
                                <a:cubicBezTo>
                                  <a:pt x="50404" y="109337"/>
                                  <a:pt x="48136" y="109337"/>
                                  <a:pt x="48136" y="107063"/>
                                </a:cubicBezTo>
                                <a:cubicBezTo>
                                  <a:pt x="50404" y="107063"/>
                                  <a:pt x="50404" y="107063"/>
                                  <a:pt x="52672" y="107063"/>
                                </a:cubicBezTo>
                                <a:cubicBezTo>
                                  <a:pt x="48136" y="102514"/>
                                  <a:pt x="52672" y="97966"/>
                                  <a:pt x="52672" y="100240"/>
                                </a:cubicBezTo>
                                <a:cubicBezTo>
                                  <a:pt x="52672" y="95692"/>
                                  <a:pt x="59475" y="100240"/>
                                  <a:pt x="61743" y="97966"/>
                                </a:cubicBezTo>
                                <a:cubicBezTo>
                                  <a:pt x="59475" y="97966"/>
                                  <a:pt x="59475" y="95692"/>
                                  <a:pt x="57207" y="95692"/>
                                </a:cubicBezTo>
                                <a:cubicBezTo>
                                  <a:pt x="59475" y="93417"/>
                                  <a:pt x="59475" y="86595"/>
                                  <a:pt x="64011" y="91143"/>
                                </a:cubicBezTo>
                                <a:cubicBezTo>
                                  <a:pt x="64011" y="88869"/>
                                  <a:pt x="64011" y="88869"/>
                                  <a:pt x="61743" y="88869"/>
                                </a:cubicBezTo>
                                <a:cubicBezTo>
                                  <a:pt x="64011" y="86595"/>
                                  <a:pt x="64011" y="82046"/>
                                  <a:pt x="66279" y="82046"/>
                                </a:cubicBezTo>
                                <a:close/>
                                <a:moveTo>
                                  <a:pt x="95846" y="69652"/>
                                </a:moveTo>
                                <a:cubicBezTo>
                                  <a:pt x="97036" y="69057"/>
                                  <a:pt x="98822" y="69057"/>
                                  <a:pt x="100013" y="70247"/>
                                </a:cubicBezTo>
                                <a:cubicBezTo>
                                  <a:pt x="100013" y="72628"/>
                                  <a:pt x="104776" y="72628"/>
                                  <a:pt x="107157" y="72628"/>
                                </a:cubicBezTo>
                                <a:cubicBezTo>
                                  <a:pt x="104776" y="77391"/>
                                  <a:pt x="97632" y="75010"/>
                                  <a:pt x="95250" y="72628"/>
                                </a:cubicBezTo>
                                <a:cubicBezTo>
                                  <a:pt x="94060" y="71438"/>
                                  <a:pt x="94655" y="70247"/>
                                  <a:pt x="95846" y="69652"/>
                                </a:cubicBezTo>
                                <a:close/>
                                <a:moveTo>
                                  <a:pt x="134542" y="38100"/>
                                </a:moveTo>
                                <a:cubicBezTo>
                                  <a:pt x="134542" y="40482"/>
                                  <a:pt x="136923" y="42863"/>
                                  <a:pt x="136923" y="42863"/>
                                </a:cubicBezTo>
                                <a:cubicBezTo>
                                  <a:pt x="136923" y="45244"/>
                                  <a:pt x="134542" y="52388"/>
                                  <a:pt x="132161" y="52388"/>
                                </a:cubicBezTo>
                                <a:cubicBezTo>
                                  <a:pt x="132161" y="52388"/>
                                  <a:pt x="132161" y="52388"/>
                                  <a:pt x="132161" y="50007"/>
                                </a:cubicBezTo>
                                <a:cubicBezTo>
                                  <a:pt x="134542" y="47625"/>
                                  <a:pt x="132161" y="45244"/>
                                  <a:pt x="129779" y="45244"/>
                                </a:cubicBezTo>
                                <a:cubicBezTo>
                                  <a:pt x="127398" y="45244"/>
                                  <a:pt x="127398" y="47625"/>
                                  <a:pt x="127398" y="42863"/>
                                </a:cubicBezTo>
                                <a:cubicBezTo>
                                  <a:pt x="129779" y="42863"/>
                                  <a:pt x="132161" y="42863"/>
                                  <a:pt x="134542" y="42863"/>
                                </a:cubicBezTo>
                                <a:lnTo>
                                  <a:pt x="132161" y="40482"/>
                                </a:lnTo>
                                <a:close/>
                                <a:moveTo>
                                  <a:pt x="134542" y="35719"/>
                                </a:moveTo>
                                <a:lnTo>
                                  <a:pt x="132161" y="40482"/>
                                </a:lnTo>
                                <a:lnTo>
                                  <a:pt x="129779" y="38100"/>
                                </a:lnTo>
                                <a:cubicBezTo>
                                  <a:pt x="132161" y="40482"/>
                                  <a:pt x="132161" y="35719"/>
                                  <a:pt x="134542" y="35719"/>
                                </a:cubicBezTo>
                                <a:close/>
                                <a:moveTo>
                                  <a:pt x="136923" y="33338"/>
                                </a:moveTo>
                                <a:cubicBezTo>
                                  <a:pt x="140495" y="35719"/>
                                  <a:pt x="138709" y="38101"/>
                                  <a:pt x="136923" y="40482"/>
                                </a:cubicBezTo>
                                <a:cubicBezTo>
                                  <a:pt x="136923" y="38101"/>
                                  <a:pt x="136923" y="35719"/>
                                  <a:pt x="136923" y="33338"/>
                                </a:cubicBezTo>
                                <a:close/>
                                <a:moveTo>
                                  <a:pt x="38100" y="13097"/>
                                </a:moveTo>
                                <a:cubicBezTo>
                                  <a:pt x="40481" y="15478"/>
                                  <a:pt x="45244" y="17860"/>
                                  <a:pt x="42863" y="20241"/>
                                </a:cubicBezTo>
                                <a:cubicBezTo>
                                  <a:pt x="40481" y="17860"/>
                                  <a:pt x="40481" y="15478"/>
                                  <a:pt x="38100" y="13097"/>
                                </a:cubicBezTo>
                                <a:close/>
                                <a:moveTo>
                                  <a:pt x="34876" y="4168"/>
                                </a:moveTo>
                                <a:cubicBezTo>
                                  <a:pt x="35620" y="3573"/>
                                  <a:pt x="37109" y="3573"/>
                                  <a:pt x="38101" y="4763"/>
                                </a:cubicBezTo>
                                <a:cubicBezTo>
                                  <a:pt x="38101" y="4763"/>
                                  <a:pt x="36116" y="4763"/>
                                  <a:pt x="36116" y="7145"/>
                                </a:cubicBezTo>
                                <a:cubicBezTo>
                                  <a:pt x="34132" y="5954"/>
                                  <a:pt x="34132" y="4763"/>
                                  <a:pt x="34876" y="4168"/>
                                </a:cubicBezTo>
                                <a:close/>
                                <a:moveTo>
                                  <a:pt x="40481" y="0"/>
                                </a:moveTo>
                                <a:lnTo>
                                  <a:pt x="41535" y="376"/>
                                </a:lnTo>
                                <a:lnTo>
                                  <a:pt x="41196" y="0"/>
                                </a:lnTo>
                                <a:cubicBezTo>
                                  <a:pt x="43339" y="0"/>
                                  <a:pt x="47626" y="2381"/>
                                  <a:pt x="45483" y="4763"/>
                                </a:cubicBezTo>
                                <a:lnTo>
                                  <a:pt x="45183" y="4430"/>
                                </a:lnTo>
                                <a:lnTo>
                                  <a:pt x="45244" y="4763"/>
                                </a:lnTo>
                                <a:lnTo>
                                  <a:pt x="43339" y="2859"/>
                                </a:lnTo>
                                <a:lnTo>
                                  <a:pt x="43339" y="4763"/>
                                </a:lnTo>
                                <a:cubicBezTo>
                                  <a:pt x="43339" y="7144"/>
                                  <a:pt x="45483" y="7144"/>
                                  <a:pt x="45483" y="7144"/>
                                </a:cubicBezTo>
                                <a:cubicBezTo>
                                  <a:pt x="43339" y="7144"/>
                                  <a:pt x="36910" y="4763"/>
                                  <a:pt x="36910" y="0"/>
                                </a:cubicBezTo>
                                <a:lnTo>
                                  <a:pt x="42581" y="2101"/>
                                </a:lnTo>
                                <a:close/>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81" name="Spain">
                            <a:extLst>
                              <a:ext uri="{FF2B5EF4-FFF2-40B4-BE49-F238E27FC236}">
                                <a16:creationId xmlns:a16="http://schemas.microsoft.com/office/drawing/2014/main" id="{2D7BBEA3-C64F-617F-4ACF-8A8A9E0F3F43}"/>
                              </a:ext>
                            </a:extLst>
                          </p:cNvPr>
                          <p:cNvSpPr>
                            <a:spLocks/>
                          </p:cNvSpPr>
                          <p:nvPr/>
                        </p:nvSpPr>
                        <p:spPr bwMode="auto">
                          <a:xfrm>
                            <a:off x="3629320" y="2258784"/>
                            <a:ext cx="269361" cy="191823"/>
                          </a:xfrm>
                          <a:custGeom>
                            <a:avLst/>
                            <a:gdLst>
                              <a:gd name="connsiteX0" fmla="*/ 161242 w 264319"/>
                              <a:gd name="connsiteY0" fmla="*/ 145143 h 188232"/>
                              <a:gd name="connsiteX1" fmla="*/ 160958 w 264319"/>
                              <a:gd name="connsiteY1" fmla="*/ 147694 h 188232"/>
                              <a:gd name="connsiteX2" fmla="*/ 160006 w 264319"/>
                              <a:gd name="connsiteY2" fmla="*/ 146472 h 188232"/>
                              <a:gd name="connsiteX3" fmla="*/ 204787 w 264319"/>
                              <a:gd name="connsiteY3" fmla="*/ 113223 h 188232"/>
                              <a:gd name="connsiteX4" fmla="*/ 209550 w 264319"/>
                              <a:gd name="connsiteY4" fmla="*/ 113223 h 188232"/>
                              <a:gd name="connsiteX5" fmla="*/ 204787 w 264319"/>
                              <a:gd name="connsiteY5" fmla="*/ 117986 h 188232"/>
                              <a:gd name="connsiteX6" fmla="*/ 204787 w 264319"/>
                              <a:gd name="connsiteY6" fmla="*/ 113223 h 188232"/>
                              <a:gd name="connsiteX7" fmla="*/ 243105 w 264319"/>
                              <a:gd name="connsiteY7" fmla="*/ 90601 h 188232"/>
                              <a:gd name="connsiteX8" fmla="*/ 240832 w 264319"/>
                              <a:gd name="connsiteY8" fmla="*/ 95364 h 188232"/>
                              <a:gd name="connsiteX9" fmla="*/ 245378 w 264319"/>
                              <a:gd name="connsiteY9" fmla="*/ 97745 h 188232"/>
                              <a:gd name="connsiteX10" fmla="*/ 243105 w 264319"/>
                              <a:gd name="connsiteY10" fmla="*/ 104889 h 188232"/>
                              <a:gd name="connsiteX11" fmla="*/ 234012 w 264319"/>
                              <a:gd name="connsiteY11" fmla="*/ 107270 h 188232"/>
                              <a:gd name="connsiteX12" fmla="*/ 227193 w 264319"/>
                              <a:gd name="connsiteY12" fmla="*/ 102507 h 188232"/>
                              <a:gd name="connsiteX13" fmla="*/ 229466 w 264319"/>
                              <a:gd name="connsiteY13" fmla="*/ 97745 h 188232"/>
                              <a:gd name="connsiteX14" fmla="*/ 243105 w 264319"/>
                              <a:gd name="connsiteY14" fmla="*/ 90601 h 188232"/>
                              <a:gd name="connsiteX15" fmla="*/ 260450 w 264319"/>
                              <a:gd name="connsiteY15" fmla="*/ 89410 h 188232"/>
                              <a:gd name="connsiteX16" fmla="*/ 264319 w 264319"/>
                              <a:gd name="connsiteY16" fmla="*/ 95363 h 188232"/>
                              <a:gd name="connsiteX17" fmla="*/ 254794 w 264319"/>
                              <a:gd name="connsiteY17" fmla="*/ 90601 h 188232"/>
                              <a:gd name="connsiteX18" fmla="*/ 260450 w 264319"/>
                              <a:gd name="connsiteY18" fmla="*/ 89410 h 188232"/>
                              <a:gd name="connsiteX19" fmla="*/ 31794 w 264319"/>
                              <a:gd name="connsiteY19" fmla="*/ 0 h 188232"/>
                              <a:gd name="connsiteX20" fmla="*/ 45420 w 264319"/>
                              <a:gd name="connsiteY20" fmla="*/ 6803 h 188232"/>
                              <a:gd name="connsiteX21" fmla="*/ 56775 w 264319"/>
                              <a:gd name="connsiteY21" fmla="*/ 4536 h 188232"/>
                              <a:gd name="connsiteX22" fmla="*/ 63588 w 264319"/>
                              <a:gd name="connsiteY22" fmla="*/ 4536 h 188232"/>
                              <a:gd name="connsiteX23" fmla="*/ 72672 w 264319"/>
                              <a:gd name="connsiteY23" fmla="*/ 4536 h 188232"/>
                              <a:gd name="connsiteX24" fmla="*/ 88569 w 264319"/>
                              <a:gd name="connsiteY24" fmla="*/ 6803 h 188232"/>
                              <a:gd name="connsiteX25" fmla="*/ 106737 w 264319"/>
                              <a:gd name="connsiteY25" fmla="*/ 6803 h 188232"/>
                              <a:gd name="connsiteX26" fmla="*/ 118092 w 264319"/>
                              <a:gd name="connsiteY26" fmla="*/ 9071 h 188232"/>
                              <a:gd name="connsiteX27" fmla="*/ 122634 w 264319"/>
                              <a:gd name="connsiteY27" fmla="*/ 9071 h 188232"/>
                              <a:gd name="connsiteX28" fmla="*/ 127176 w 264319"/>
                              <a:gd name="connsiteY28" fmla="*/ 9071 h 188232"/>
                              <a:gd name="connsiteX29" fmla="*/ 138531 w 264319"/>
                              <a:gd name="connsiteY29" fmla="*/ 11339 h 188232"/>
                              <a:gd name="connsiteX30" fmla="*/ 143073 w 264319"/>
                              <a:gd name="connsiteY30" fmla="*/ 9071 h 188232"/>
                              <a:gd name="connsiteX31" fmla="*/ 147615 w 264319"/>
                              <a:gd name="connsiteY31" fmla="*/ 9071 h 188232"/>
                              <a:gd name="connsiteX32" fmla="*/ 154428 w 264319"/>
                              <a:gd name="connsiteY32" fmla="*/ 13607 h 188232"/>
                              <a:gd name="connsiteX33" fmla="*/ 154428 w 264319"/>
                              <a:gd name="connsiteY33" fmla="*/ 15875 h 188232"/>
                              <a:gd name="connsiteX34" fmla="*/ 156700 w 264319"/>
                              <a:gd name="connsiteY34" fmla="*/ 15875 h 188232"/>
                              <a:gd name="connsiteX35" fmla="*/ 172597 w 264319"/>
                              <a:gd name="connsiteY35" fmla="*/ 22678 h 188232"/>
                              <a:gd name="connsiteX36" fmla="*/ 174868 w 264319"/>
                              <a:gd name="connsiteY36" fmla="*/ 22678 h 188232"/>
                              <a:gd name="connsiteX37" fmla="*/ 177139 w 264319"/>
                              <a:gd name="connsiteY37" fmla="*/ 22678 h 188232"/>
                              <a:gd name="connsiteX38" fmla="*/ 179410 w 264319"/>
                              <a:gd name="connsiteY38" fmla="*/ 24946 h 188232"/>
                              <a:gd name="connsiteX39" fmla="*/ 193036 w 264319"/>
                              <a:gd name="connsiteY39" fmla="*/ 24946 h 188232"/>
                              <a:gd name="connsiteX40" fmla="*/ 195307 w 264319"/>
                              <a:gd name="connsiteY40" fmla="*/ 22678 h 188232"/>
                              <a:gd name="connsiteX41" fmla="*/ 204391 w 264319"/>
                              <a:gd name="connsiteY41" fmla="*/ 24946 h 188232"/>
                              <a:gd name="connsiteX42" fmla="*/ 208933 w 264319"/>
                              <a:gd name="connsiteY42" fmla="*/ 31750 h 188232"/>
                              <a:gd name="connsiteX43" fmla="*/ 213475 w 264319"/>
                              <a:gd name="connsiteY43" fmla="*/ 29482 h 188232"/>
                              <a:gd name="connsiteX44" fmla="*/ 222559 w 264319"/>
                              <a:gd name="connsiteY44" fmla="*/ 34018 h 188232"/>
                              <a:gd name="connsiteX45" fmla="*/ 224830 w 264319"/>
                              <a:gd name="connsiteY45" fmla="*/ 31750 h 188232"/>
                              <a:gd name="connsiteX46" fmla="*/ 233914 w 264319"/>
                              <a:gd name="connsiteY46" fmla="*/ 31750 h 188232"/>
                              <a:gd name="connsiteX47" fmla="*/ 242998 w 264319"/>
                              <a:gd name="connsiteY47" fmla="*/ 31750 h 188232"/>
                              <a:gd name="connsiteX48" fmla="*/ 245269 w 264319"/>
                              <a:gd name="connsiteY48" fmla="*/ 34018 h 188232"/>
                              <a:gd name="connsiteX49" fmla="*/ 242998 w 264319"/>
                              <a:gd name="connsiteY49" fmla="*/ 36286 h 188232"/>
                              <a:gd name="connsiteX50" fmla="*/ 242998 w 264319"/>
                              <a:gd name="connsiteY50" fmla="*/ 43089 h 188232"/>
                              <a:gd name="connsiteX51" fmla="*/ 227101 w 264319"/>
                              <a:gd name="connsiteY51" fmla="*/ 54428 h 188232"/>
                              <a:gd name="connsiteX52" fmla="*/ 220288 w 264319"/>
                              <a:gd name="connsiteY52" fmla="*/ 58964 h 188232"/>
                              <a:gd name="connsiteX53" fmla="*/ 211204 w 264319"/>
                              <a:gd name="connsiteY53" fmla="*/ 61232 h 188232"/>
                              <a:gd name="connsiteX54" fmla="*/ 193036 w 264319"/>
                              <a:gd name="connsiteY54" fmla="*/ 70303 h 188232"/>
                              <a:gd name="connsiteX55" fmla="*/ 190765 w 264319"/>
                              <a:gd name="connsiteY55" fmla="*/ 77107 h 188232"/>
                              <a:gd name="connsiteX56" fmla="*/ 179410 w 264319"/>
                              <a:gd name="connsiteY56" fmla="*/ 88446 h 188232"/>
                              <a:gd name="connsiteX57" fmla="*/ 174868 w 264319"/>
                              <a:gd name="connsiteY57" fmla="*/ 115661 h 188232"/>
                              <a:gd name="connsiteX58" fmla="*/ 177139 w 264319"/>
                              <a:gd name="connsiteY58" fmla="*/ 124732 h 188232"/>
                              <a:gd name="connsiteX59" fmla="*/ 165784 w 264319"/>
                              <a:gd name="connsiteY59" fmla="*/ 131536 h 188232"/>
                              <a:gd name="connsiteX60" fmla="*/ 161242 w 264319"/>
                              <a:gd name="connsiteY60" fmla="*/ 140607 h 188232"/>
                              <a:gd name="connsiteX61" fmla="*/ 158971 w 264319"/>
                              <a:gd name="connsiteY61" fmla="*/ 145143 h 188232"/>
                              <a:gd name="connsiteX62" fmla="*/ 160006 w 264319"/>
                              <a:gd name="connsiteY62" fmla="*/ 146472 h 188232"/>
                              <a:gd name="connsiteX63" fmla="*/ 157551 w 264319"/>
                              <a:gd name="connsiteY63" fmla="*/ 149111 h 188232"/>
                              <a:gd name="connsiteX64" fmla="*/ 152157 w 264319"/>
                              <a:gd name="connsiteY64" fmla="*/ 149678 h 188232"/>
                              <a:gd name="connsiteX65" fmla="*/ 138531 w 264319"/>
                              <a:gd name="connsiteY65" fmla="*/ 161018 h 188232"/>
                              <a:gd name="connsiteX66" fmla="*/ 129447 w 264319"/>
                              <a:gd name="connsiteY66" fmla="*/ 167821 h 188232"/>
                              <a:gd name="connsiteX67" fmla="*/ 122634 w 264319"/>
                              <a:gd name="connsiteY67" fmla="*/ 170089 h 188232"/>
                              <a:gd name="connsiteX68" fmla="*/ 115821 w 264319"/>
                              <a:gd name="connsiteY68" fmla="*/ 170089 h 188232"/>
                              <a:gd name="connsiteX69" fmla="*/ 111279 w 264319"/>
                              <a:gd name="connsiteY69" fmla="*/ 170089 h 188232"/>
                              <a:gd name="connsiteX70" fmla="*/ 97653 w 264319"/>
                              <a:gd name="connsiteY70" fmla="*/ 170089 h 188232"/>
                              <a:gd name="connsiteX71" fmla="*/ 90840 w 264319"/>
                              <a:gd name="connsiteY71" fmla="*/ 170089 h 188232"/>
                              <a:gd name="connsiteX72" fmla="*/ 81756 w 264319"/>
                              <a:gd name="connsiteY72" fmla="*/ 174625 h 188232"/>
                              <a:gd name="connsiteX73" fmla="*/ 70401 w 264319"/>
                              <a:gd name="connsiteY73" fmla="*/ 176893 h 188232"/>
                              <a:gd name="connsiteX74" fmla="*/ 65859 w 264319"/>
                              <a:gd name="connsiteY74" fmla="*/ 183696 h 188232"/>
                              <a:gd name="connsiteX75" fmla="*/ 61317 w 264319"/>
                              <a:gd name="connsiteY75" fmla="*/ 188232 h 188232"/>
                              <a:gd name="connsiteX76" fmla="*/ 54504 w 264319"/>
                              <a:gd name="connsiteY76" fmla="*/ 183696 h 188232"/>
                              <a:gd name="connsiteX77" fmla="*/ 47691 w 264319"/>
                              <a:gd name="connsiteY77" fmla="*/ 176893 h 188232"/>
                              <a:gd name="connsiteX78" fmla="*/ 45420 w 264319"/>
                              <a:gd name="connsiteY78" fmla="*/ 172357 h 188232"/>
                              <a:gd name="connsiteX79" fmla="*/ 49962 w 264319"/>
                              <a:gd name="connsiteY79" fmla="*/ 165553 h 188232"/>
                              <a:gd name="connsiteX80" fmla="*/ 47691 w 264319"/>
                              <a:gd name="connsiteY80" fmla="*/ 167821 h 188232"/>
                              <a:gd name="connsiteX81" fmla="*/ 36336 w 264319"/>
                              <a:gd name="connsiteY81" fmla="*/ 156482 h 188232"/>
                              <a:gd name="connsiteX82" fmla="*/ 34065 w 264319"/>
                              <a:gd name="connsiteY82" fmla="*/ 158750 h 188232"/>
                              <a:gd name="connsiteX83" fmla="*/ 27252 w 264319"/>
                              <a:gd name="connsiteY83" fmla="*/ 158750 h 188232"/>
                              <a:gd name="connsiteX84" fmla="*/ 24981 w 264319"/>
                              <a:gd name="connsiteY84" fmla="*/ 149678 h 188232"/>
                              <a:gd name="connsiteX85" fmla="*/ 27252 w 264319"/>
                              <a:gd name="connsiteY85" fmla="*/ 145143 h 188232"/>
                              <a:gd name="connsiteX86" fmla="*/ 31794 w 264319"/>
                              <a:gd name="connsiteY86" fmla="*/ 138339 h 188232"/>
                              <a:gd name="connsiteX87" fmla="*/ 38607 w 264319"/>
                              <a:gd name="connsiteY87" fmla="*/ 133803 h 188232"/>
                              <a:gd name="connsiteX88" fmla="*/ 29523 w 264319"/>
                              <a:gd name="connsiteY88" fmla="*/ 127000 h 188232"/>
                              <a:gd name="connsiteX89" fmla="*/ 38607 w 264319"/>
                              <a:gd name="connsiteY89" fmla="*/ 115661 h 188232"/>
                              <a:gd name="connsiteX90" fmla="*/ 31794 w 264319"/>
                              <a:gd name="connsiteY90" fmla="*/ 106589 h 188232"/>
                              <a:gd name="connsiteX91" fmla="*/ 31794 w 264319"/>
                              <a:gd name="connsiteY91" fmla="*/ 102053 h 188232"/>
                              <a:gd name="connsiteX92" fmla="*/ 27252 w 264319"/>
                              <a:gd name="connsiteY92" fmla="*/ 97518 h 188232"/>
                              <a:gd name="connsiteX93" fmla="*/ 36336 w 264319"/>
                              <a:gd name="connsiteY93" fmla="*/ 99786 h 188232"/>
                              <a:gd name="connsiteX94" fmla="*/ 38607 w 264319"/>
                              <a:gd name="connsiteY94" fmla="*/ 95250 h 188232"/>
                              <a:gd name="connsiteX95" fmla="*/ 38607 w 264319"/>
                              <a:gd name="connsiteY95" fmla="*/ 86178 h 188232"/>
                              <a:gd name="connsiteX96" fmla="*/ 43149 w 264319"/>
                              <a:gd name="connsiteY96" fmla="*/ 83911 h 188232"/>
                              <a:gd name="connsiteX97" fmla="*/ 43149 w 264319"/>
                              <a:gd name="connsiteY97" fmla="*/ 79375 h 188232"/>
                              <a:gd name="connsiteX98" fmla="*/ 43149 w 264319"/>
                              <a:gd name="connsiteY98" fmla="*/ 65768 h 188232"/>
                              <a:gd name="connsiteX99" fmla="*/ 49962 w 264319"/>
                              <a:gd name="connsiteY99" fmla="*/ 61232 h 188232"/>
                              <a:gd name="connsiteX100" fmla="*/ 56775 w 264319"/>
                              <a:gd name="connsiteY100" fmla="*/ 52161 h 188232"/>
                              <a:gd name="connsiteX101" fmla="*/ 49962 w 264319"/>
                              <a:gd name="connsiteY101" fmla="*/ 49893 h 188232"/>
                              <a:gd name="connsiteX102" fmla="*/ 49962 w 264319"/>
                              <a:gd name="connsiteY102" fmla="*/ 43089 h 188232"/>
                              <a:gd name="connsiteX103" fmla="*/ 45420 w 264319"/>
                              <a:gd name="connsiteY103" fmla="*/ 43089 h 188232"/>
                              <a:gd name="connsiteX104" fmla="*/ 38607 w 264319"/>
                              <a:gd name="connsiteY104" fmla="*/ 43089 h 188232"/>
                              <a:gd name="connsiteX105" fmla="*/ 31794 w 264319"/>
                              <a:gd name="connsiteY105" fmla="*/ 45357 h 188232"/>
                              <a:gd name="connsiteX106" fmla="*/ 22710 w 264319"/>
                              <a:gd name="connsiteY106" fmla="*/ 47625 h 188232"/>
                              <a:gd name="connsiteX107" fmla="*/ 22710 w 264319"/>
                              <a:gd name="connsiteY107" fmla="*/ 40821 h 188232"/>
                              <a:gd name="connsiteX108" fmla="*/ 20439 w 264319"/>
                              <a:gd name="connsiteY108" fmla="*/ 38553 h 188232"/>
                              <a:gd name="connsiteX109" fmla="*/ 13626 w 264319"/>
                              <a:gd name="connsiteY109" fmla="*/ 40821 h 188232"/>
                              <a:gd name="connsiteX110" fmla="*/ 6813 w 264319"/>
                              <a:gd name="connsiteY110" fmla="*/ 45357 h 188232"/>
                              <a:gd name="connsiteX111" fmla="*/ 11355 w 264319"/>
                              <a:gd name="connsiteY111" fmla="*/ 34018 h 188232"/>
                              <a:gd name="connsiteX112" fmla="*/ 6813 w 264319"/>
                              <a:gd name="connsiteY112" fmla="*/ 36286 h 188232"/>
                              <a:gd name="connsiteX113" fmla="*/ 11355 w 264319"/>
                              <a:gd name="connsiteY113" fmla="*/ 31750 h 188232"/>
                              <a:gd name="connsiteX114" fmla="*/ 6813 w 264319"/>
                              <a:gd name="connsiteY114" fmla="*/ 29482 h 188232"/>
                              <a:gd name="connsiteX115" fmla="*/ 11355 w 264319"/>
                              <a:gd name="connsiteY115" fmla="*/ 24946 h 188232"/>
                              <a:gd name="connsiteX116" fmla="*/ 4542 w 264319"/>
                              <a:gd name="connsiteY116" fmla="*/ 29482 h 188232"/>
                              <a:gd name="connsiteX117" fmla="*/ 6813 w 264319"/>
                              <a:gd name="connsiteY117" fmla="*/ 22678 h 188232"/>
                              <a:gd name="connsiteX118" fmla="*/ 2271 w 264319"/>
                              <a:gd name="connsiteY118" fmla="*/ 22678 h 188232"/>
                              <a:gd name="connsiteX119" fmla="*/ 2271 w 264319"/>
                              <a:gd name="connsiteY119" fmla="*/ 20411 h 188232"/>
                              <a:gd name="connsiteX120" fmla="*/ 0 w 264319"/>
                              <a:gd name="connsiteY120" fmla="*/ 15875 h 188232"/>
                              <a:gd name="connsiteX121" fmla="*/ 6813 w 264319"/>
                              <a:gd name="connsiteY121" fmla="*/ 13607 h 188232"/>
                              <a:gd name="connsiteX122" fmla="*/ 22710 w 264319"/>
                              <a:gd name="connsiteY122" fmla="*/ 9071 h 188232"/>
                              <a:gd name="connsiteX123" fmla="*/ 22710 w 264319"/>
                              <a:gd name="connsiteY123" fmla="*/ 6803 h 188232"/>
                              <a:gd name="connsiteX124" fmla="*/ 20439 w 264319"/>
                              <a:gd name="connsiteY124" fmla="*/ 6803 h 188232"/>
                              <a:gd name="connsiteX125" fmla="*/ 29523 w 264319"/>
                              <a:gd name="connsiteY125" fmla="*/ 2268 h 188232"/>
                              <a:gd name="connsiteX126" fmla="*/ 31794 w 264319"/>
                              <a:gd name="connsiteY126" fmla="*/ 0 h 18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264319" h="188232">
                                <a:moveTo>
                                  <a:pt x="161242" y="145143"/>
                                </a:moveTo>
                                <a:cubicBezTo>
                                  <a:pt x="162377" y="147411"/>
                                  <a:pt x="161809" y="147978"/>
                                  <a:pt x="160958" y="147694"/>
                                </a:cubicBezTo>
                                <a:lnTo>
                                  <a:pt x="160006" y="146472"/>
                                </a:lnTo>
                                <a:close/>
                                <a:moveTo>
                                  <a:pt x="204787" y="113223"/>
                                </a:moveTo>
                                <a:cubicBezTo>
                                  <a:pt x="207168" y="113223"/>
                                  <a:pt x="207168" y="110842"/>
                                  <a:pt x="209550" y="113223"/>
                                </a:cubicBezTo>
                                <a:cubicBezTo>
                                  <a:pt x="211931" y="115605"/>
                                  <a:pt x="204787" y="117986"/>
                                  <a:pt x="204787" y="117986"/>
                                </a:cubicBezTo>
                                <a:cubicBezTo>
                                  <a:pt x="200025" y="117986"/>
                                  <a:pt x="202406" y="113223"/>
                                  <a:pt x="204787" y="113223"/>
                                </a:cubicBezTo>
                                <a:close/>
                                <a:moveTo>
                                  <a:pt x="243105" y="90601"/>
                                </a:moveTo>
                                <a:cubicBezTo>
                                  <a:pt x="240832" y="92982"/>
                                  <a:pt x="238559" y="95364"/>
                                  <a:pt x="240832" y="95364"/>
                                </a:cubicBezTo>
                                <a:cubicBezTo>
                                  <a:pt x="243105" y="97745"/>
                                  <a:pt x="245378" y="95364"/>
                                  <a:pt x="245378" y="97745"/>
                                </a:cubicBezTo>
                                <a:cubicBezTo>
                                  <a:pt x="247651" y="97745"/>
                                  <a:pt x="243105" y="102507"/>
                                  <a:pt x="243105" y="104889"/>
                                </a:cubicBezTo>
                                <a:cubicBezTo>
                                  <a:pt x="238559" y="109651"/>
                                  <a:pt x="238559" y="107270"/>
                                  <a:pt x="234012" y="107270"/>
                                </a:cubicBezTo>
                                <a:cubicBezTo>
                                  <a:pt x="229466" y="104889"/>
                                  <a:pt x="234012" y="100126"/>
                                  <a:pt x="227193" y="102507"/>
                                </a:cubicBezTo>
                                <a:cubicBezTo>
                                  <a:pt x="222647" y="104889"/>
                                  <a:pt x="227193" y="97745"/>
                                  <a:pt x="229466" y="97745"/>
                                </a:cubicBezTo>
                                <a:cubicBezTo>
                                  <a:pt x="231739" y="95364"/>
                                  <a:pt x="236285" y="92982"/>
                                  <a:pt x="243105" y="90601"/>
                                </a:cubicBezTo>
                                <a:close/>
                                <a:moveTo>
                                  <a:pt x="260450" y="89410"/>
                                </a:moveTo>
                                <a:cubicBezTo>
                                  <a:pt x="262533" y="90601"/>
                                  <a:pt x="264319" y="92982"/>
                                  <a:pt x="264319" y="95363"/>
                                </a:cubicBezTo>
                                <a:cubicBezTo>
                                  <a:pt x="261938" y="95363"/>
                                  <a:pt x="254794" y="92982"/>
                                  <a:pt x="254794" y="90601"/>
                                </a:cubicBezTo>
                                <a:cubicBezTo>
                                  <a:pt x="255985" y="88219"/>
                                  <a:pt x="258366" y="88219"/>
                                  <a:pt x="260450" y="89410"/>
                                </a:cubicBezTo>
                                <a:close/>
                                <a:moveTo>
                                  <a:pt x="31794" y="0"/>
                                </a:moveTo>
                                <a:cubicBezTo>
                                  <a:pt x="31794" y="2268"/>
                                  <a:pt x="45420" y="2268"/>
                                  <a:pt x="45420" y="6803"/>
                                </a:cubicBezTo>
                                <a:cubicBezTo>
                                  <a:pt x="47691" y="2268"/>
                                  <a:pt x="52233" y="4536"/>
                                  <a:pt x="56775" y="4536"/>
                                </a:cubicBezTo>
                                <a:cubicBezTo>
                                  <a:pt x="59046" y="4536"/>
                                  <a:pt x="61317" y="4536"/>
                                  <a:pt x="63588" y="4536"/>
                                </a:cubicBezTo>
                                <a:cubicBezTo>
                                  <a:pt x="68130" y="4536"/>
                                  <a:pt x="68130" y="4536"/>
                                  <a:pt x="72672" y="4536"/>
                                </a:cubicBezTo>
                                <a:cubicBezTo>
                                  <a:pt x="77214" y="6803"/>
                                  <a:pt x="84027" y="6803"/>
                                  <a:pt x="88569" y="6803"/>
                                </a:cubicBezTo>
                                <a:cubicBezTo>
                                  <a:pt x="95382" y="9071"/>
                                  <a:pt x="99924" y="9071"/>
                                  <a:pt x="106737" y="6803"/>
                                </a:cubicBezTo>
                                <a:cubicBezTo>
                                  <a:pt x="111279" y="6803"/>
                                  <a:pt x="115821" y="6803"/>
                                  <a:pt x="118092" y="9071"/>
                                </a:cubicBezTo>
                                <a:cubicBezTo>
                                  <a:pt x="120363" y="11339"/>
                                  <a:pt x="122634" y="9071"/>
                                  <a:pt x="122634" y="9071"/>
                                </a:cubicBezTo>
                                <a:cubicBezTo>
                                  <a:pt x="124905" y="9071"/>
                                  <a:pt x="124905" y="6803"/>
                                  <a:pt x="127176" y="9071"/>
                                </a:cubicBezTo>
                                <a:cubicBezTo>
                                  <a:pt x="129447" y="9071"/>
                                  <a:pt x="133989" y="9071"/>
                                  <a:pt x="138531" y="11339"/>
                                </a:cubicBezTo>
                                <a:cubicBezTo>
                                  <a:pt x="138531" y="11339"/>
                                  <a:pt x="140802" y="11339"/>
                                  <a:pt x="143073" y="9071"/>
                                </a:cubicBezTo>
                                <a:cubicBezTo>
                                  <a:pt x="145344" y="9071"/>
                                  <a:pt x="147615" y="9071"/>
                                  <a:pt x="147615" y="9071"/>
                                </a:cubicBezTo>
                                <a:cubicBezTo>
                                  <a:pt x="149886" y="11339"/>
                                  <a:pt x="154428" y="9071"/>
                                  <a:pt x="154428" y="13607"/>
                                </a:cubicBezTo>
                                <a:cubicBezTo>
                                  <a:pt x="154428" y="13607"/>
                                  <a:pt x="152157" y="15875"/>
                                  <a:pt x="154428" y="15875"/>
                                </a:cubicBezTo>
                                <a:cubicBezTo>
                                  <a:pt x="156700" y="15875"/>
                                  <a:pt x="156700" y="15875"/>
                                  <a:pt x="156700" y="15875"/>
                                </a:cubicBezTo>
                                <a:cubicBezTo>
                                  <a:pt x="163513" y="15875"/>
                                  <a:pt x="170326" y="22678"/>
                                  <a:pt x="172597" y="22678"/>
                                </a:cubicBezTo>
                                <a:cubicBezTo>
                                  <a:pt x="172597" y="22678"/>
                                  <a:pt x="174868" y="22678"/>
                                  <a:pt x="174868" y="22678"/>
                                </a:cubicBezTo>
                                <a:cubicBezTo>
                                  <a:pt x="174868" y="22678"/>
                                  <a:pt x="174868" y="22678"/>
                                  <a:pt x="177139" y="22678"/>
                                </a:cubicBezTo>
                                <a:cubicBezTo>
                                  <a:pt x="177139" y="22678"/>
                                  <a:pt x="179410" y="24946"/>
                                  <a:pt x="179410" y="24946"/>
                                </a:cubicBezTo>
                                <a:cubicBezTo>
                                  <a:pt x="183952" y="24946"/>
                                  <a:pt x="188494" y="24946"/>
                                  <a:pt x="193036" y="24946"/>
                                </a:cubicBezTo>
                                <a:cubicBezTo>
                                  <a:pt x="193036" y="24946"/>
                                  <a:pt x="193036" y="22678"/>
                                  <a:pt x="195307" y="22678"/>
                                </a:cubicBezTo>
                                <a:cubicBezTo>
                                  <a:pt x="197578" y="22678"/>
                                  <a:pt x="199849" y="22678"/>
                                  <a:pt x="204391" y="24946"/>
                                </a:cubicBezTo>
                                <a:cubicBezTo>
                                  <a:pt x="206662" y="24946"/>
                                  <a:pt x="211204" y="24946"/>
                                  <a:pt x="208933" y="31750"/>
                                </a:cubicBezTo>
                                <a:cubicBezTo>
                                  <a:pt x="213475" y="31750"/>
                                  <a:pt x="213475" y="27214"/>
                                  <a:pt x="213475" y="29482"/>
                                </a:cubicBezTo>
                                <a:cubicBezTo>
                                  <a:pt x="215746" y="29482"/>
                                  <a:pt x="220288" y="34018"/>
                                  <a:pt x="222559" y="34018"/>
                                </a:cubicBezTo>
                                <a:cubicBezTo>
                                  <a:pt x="222559" y="31750"/>
                                  <a:pt x="224830" y="31750"/>
                                  <a:pt x="224830" y="31750"/>
                                </a:cubicBezTo>
                                <a:cubicBezTo>
                                  <a:pt x="229372" y="34018"/>
                                  <a:pt x="231643" y="34018"/>
                                  <a:pt x="233914" y="31750"/>
                                </a:cubicBezTo>
                                <a:cubicBezTo>
                                  <a:pt x="236185" y="31750"/>
                                  <a:pt x="238456" y="31750"/>
                                  <a:pt x="242998" y="31750"/>
                                </a:cubicBezTo>
                                <a:cubicBezTo>
                                  <a:pt x="245269" y="31750"/>
                                  <a:pt x="242998" y="34018"/>
                                  <a:pt x="245269" y="34018"/>
                                </a:cubicBezTo>
                                <a:cubicBezTo>
                                  <a:pt x="245269" y="36286"/>
                                  <a:pt x="242998" y="36286"/>
                                  <a:pt x="242998" y="36286"/>
                                </a:cubicBezTo>
                                <a:cubicBezTo>
                                  <a:pt x="240727" y="38553"/>
                                  <a:pt x="242998" y="40821"/>
                                  <a:pt x="242998" y="43089"/>
                                </a:cubicBezTo>
                                <a:cubicBezTo>
                                  <a:pt x="242998" y="49893"/>
                                  <a:pt x="231643" y="52161"/>
                                  <a:pt x="227101" y="54428"/>
                                </a:cubicBezTo>
                                <a:cubicBezTo>
                                  <a:pt x="224830" y="54428"/>
                                  <a:pt x="222559" y="58964"/>
                                  <a:pt x="220288" y="58964"/>
                                </a:cubicBezTo>
                                <a:cubicBezTo>
                                  <a:pt x="218017" y="61232"/>
                                  <a:pt x="213475" y="61232"/>
                                  <a:pt x="211204" y="61232"/>
                                </a:cubicBezTo>
                                <a:cubicBezTo>
                                  <a:pt x="204391" y="63500"/>
                                  <a:pt x="199849" y="65768"/>
                                  <a:pt x="193036" y="70303"/>
                                </a:cubicBezTo>
                                <a:cubicBezTo>
                                  <a:pt x="197578" y="74839"/>
                                  <a:pt x="193036" y="74839"/>
                                  <a:pt x="190765" y="77107"/>
                                </a:cubicBezTo>
                                <a:cubicBezTo>
                                  <a:pt x="186223" y="79375"/>
                                  <a:pt x="183952" y="86178"/>
                                  <a:pt x="179410" y="88446"/>
                                </a:cubicBezTo>
                                <a:cubicBezTo>
                                  <a:pt x="172597" y="95250"/>
                                  <a:pt x="168055" y="108857"/>
                                  <a:pt x="174868" y="115661"/>
                                </a:cubicBezTo>
                                <a:cubicBezTo>
                                  <a:pt x="179410" y="120196"/>
                                  <a:pt x="181681" y="120196"/>
                                  <a:pt x="177139" y="124732"/>
                                </a:cubicBezTo>
                                <a:cubicBezTo>
                                  <a:pt x="172597" y="127000"/>
                                  <a:pt x="170326" y="129268"/>
                                  <a:pt x="165784" y="131536"/>
                                </a:cubicBezTo>
                                <a:cubicBezTo>
                                  <a:pt x="163513" y="133803"/>
                                  <a:pt x="163513" y="136071"/>
                                  <a:pt x="161242" y="140607"/>
                                </a:cubicBezTo>
                                <a:cubicBezTo>
                                  <a:pt x="161242" y="140607"/>
                                  <a:pt x="158971" y="142875"/>
                                  <a:pt x="158971" y="145143"/>
                                </a:cubicBezTo>
                                <a:lnTo>
                                  <a:pt x="160006" y="146472"/>
                                </a:lnTo>
                                <a:lnTo>
                                  <a:pt x="157551" y="149111"/>
                                </a:lnTo>
                                <a:cubicBezTo>
                                  <a:pt x="154996" y="149678"/>
                                  <a:pt x="152157" y="149678"/>
                                  <a:pt x="152157" y="149678"/>
                                </a:cubicBezTo>
                                <a:cubicBezTo>
                                  <a:pt x="145344" y="151946"/>
                                  <a:pt x="138531" y="154214"/>
                                  <a:pt x="138531" y="161018"/>
                                </a:cubicBezTo>
                                <a:cubicBezTo>
                                  <a:pt x="136260" y="163286"/>
                                  <a:pt x="133989" y="172357"/>
                                  <a:pt x="129447" y="167821"/>
                                </a:cubicBezTo>
                                <a:cubicBezTo>
                                  <a:pt x="127176" y="165553"/>
                                  <a:pt x="124905" y="167821"/>
                                  <a:pt x="122634" y="170089"/>
                                </a:cubicBezTo>
                                <a:cubicBezTo>
                                  <a:pt x="120363" y="170089"/>
                                  <a:pt x="118092" y="170089"/>
                                  <a:pt x="115821" y="170089"/>
                                </a:cubicBezTo>
                                <a:cubicBezTo>
                                  <a:pt x="115821" y="170089"/>
                                  <a:pt x="113550" y="170089"/>
                                  <a:pt x="111279" y="170089"/>
                                </a:cubicBezTo>
                                <a:cubicBezTo>
                                  <a:pt x="106737" y="170089"/>
                                  <a:pt x="102195" y="170089"/>
                                  <a:pt x="97653" y="170089"/>
                                </a:cubicBezTo>
                                <a:cubicBezTo>
                                  <a:pt x="95382" y="170089"/>
                                  <a:pt x="93111" y="170089"/>
                                  <a:pt x="90840" y="170089"/>
                                </a:cubicBezTo>
                                <a:cubicBezTo>
                                  <a:pt x="86298" y="170089"/>
                                  <a:pt x="86298" y="170089"/>
                                  <a:pt x="81756" y="174625"/>
                                </a:cubicBezTo>
                                <a:cubicBezTo>
                                  <a:pt x="79485" y="176893"/>
                                  <a:pt x="74943" y="174625"/>
                                  <a:pt x="70401" y="176893"/>
                                </a:cubicBezTo>
                                <a:cubicBezTo>
                                  <a:pt x="70401" y="179161"/>
                                  <a:pt x="68130" y="183696"/>
                                  <a:pt x="65859" y="183696"/>
                                </a:cubicBezTo>
                                <a:cubicBezTo>
                                  <a:pt x="63588" y="183696"/>
                                  <a:pt x="63588" y="188232"/>
                                  <a:pt x="61317" y="188232"/>
                                </a:cubicBezTo>
                                <a:cubicBezTo>
                                  <a:pt x="59046" y="188232"/>
                                  <a:pt x="56775" y="183696"/>
                                  <a:pt x="54504" y="183696"/>
                                </a:cubicBezTo>
                                <a:cubicBezTo>
                                  <a:pt x="52233" y="183696"/>
                                  <a:pt x="49962" y="176893"/>
                                  <a:pt x="47691" y="176893"/>
                                </a:cubicBezTo>
                                <a:cubicBezTo>
                                  <a:pt x="52233" y="174625"/>
                                  <a:pt x="47691" y="172357"/>
                                  <a:pt x="45420" y="172357"/>
                                </a:cubicBezTo>
                                <a:cubicBezTo>
                                  <a:pt x="43149" y="170089"/>
                                  <a:pt x="47691" y="165553"/>
                                  <a:pt x="49962" y="165553"/>
                                </a:cubicBezTo>
                                <a:cubicBezTo>
                                  <a:pt x="47691" y="165553"/>
                                  <a:pt x="47691" y="165553"/>
                                  <a:pt x="47691" y="167821"/>
                                </a:cubicBezTo>
                                <a:cubicBezTo>
                                  <a:pt x="45420" y="165553"/>
                                  <a:pt x="34065" y="158750"/>
                                  <a:pt x="36336" y="156482"/>
                                </a:cubicBezTo>
                                <a:cubicBezTo>
                                  <a:pt x="34065" y="156482"/>
                                  <a:pt x="36336" y="158750"/>
                                  <a:pt x="34065" y="158750"/>
                                </a:cubicBezTo>
                                <a:cubicBezTo>
                                  <a:pt x="31794" y="158750"/>
                                  <a:pt x="29523" y="158750"/>
                                  <a:pt x="27252" y="158750"/>
                                </a:cubicBezTo>
                                <a:cubicBezTo>
                                  <a:pt x="24981" y="156482"/>
                                  <a:pt x="24981" y="151946"/>
                                  <a:pt x="24981" y="149678"/>
                                </a:cubicBezTo>
                                <a:cubicBezTo>
                                  <a:pt x="24981" y="147411"/>
                                  <a:pt x="27252" y="145143"/>
                                  <a:pt x="27252" y="145143"/>
                                </a:cubicBezTo>
                                <a:cubicBezTo>
                                  <a:pt x="29523" y="142875"/>
                                  <a:pt x="29523" y="140607"/>
                                  <a:pt x="31794" y="138339"/>
                                </a:cubicBezTo>
                                <a:cubicBezTo>
                                  <a:pt x="34065" y="136071"/>
                                  <a:pt x="36336" y="138339"/>
                                  <a:pt x="38607" y="133803"/>
                                </a:cubicBezTo>
                                <a:cubicBezTo>
                                  <a:pt x="34065" y="136071"/>
                                  <a:pt x="29523" y="129268"/>
                                  <a:pt x="29523" y="127000"/>
                                </a:cubicBezTo>
                                <a:cubicBezTo>
                                  <a:pt x="29523" y="122464"/>
                                  <a:pt x="36336" y="120196"/>
                                  <a:pt x="38607" y="115661"/>
                                </a:cubicBezTo>
                                <a:cubicBezTo>
                                  <a:pt x="38607" y="113393"/>
                                  <a:pt x="34065" y="108857"/>
                                  <a:pt x="31794" y="106589"/>
                                </a:cubicBezTo>
                                <a:cubicBezTo>
                                  <a:pt x="31794" y="104321"/>
                                  <a:pt x="31794" y="104321"/>
                                  <a:pt x="31794" y="102053"/>
                                </a:cubicBezTo>
                                <a:cubicBezTo>
                                  <a:pt x="29523" y="102053"/>
                                  <a:pt x="29523" y="99786"/>
                                  <a:pt x="27252" y="97518"/>
                                </a:cubicBezTo>
                                <a:cubicBezTo>
                                  <a:pt x="29523" y="99786"/>
                                  <a:pt x="34065" y="99786"/>
                                  <a:pt x="36336" y="99786"/>
                                </a:cubicBezTo>
                                <a:cubicBezTo>
                                  <a:pt x="38607" y="99786"/>
                                  <a:pt x="38607" y="97518"/>
                                  <a:pt x="38607" y="95250"/>
                                </a:cubicBezTo>
                                <a:cubicBezTo>
                                  <a:pt x="40878" y="92982"/>
                                  <a:pt x="43149" y="92982"/>
                                  <a:pt x="38607" y="86178"/>
                                </a:cubicBezTo>
                                <a:cubicBezTo>
                                  <a:pt x="38607" y="83911"/>
                                  <a:pt x="43149" y="83911"/>
                                  <a:pt x="43149" y="83911"/>
                                </a:cubicBezTo>
                                <a:cubicBezTo>
                                  <a:pt x="45420" y="83911"/>
                                  <a:pt x="43149" y="79375"/>
                                  <a:pt x="43149" y="79375"/>
                                </a:cubicBezTo>
                                <a:cubicBezTo>
                                  <a:pt x="43149" y="77107"/>
                                  <a:pt x="45420" y="65768"/>
                                  <a:pt x="43149" y="65768"/>
                                </a:cubicBezTo>
                                <a:cubicBezTo>
                                  <a:pt x="45420" y="65768"/>
                                  <a:pt x="47691" y="61232"/>
                                  <a:pt x="49962" y="61232"/>
                                </a:cubicBezTo>
                                <a:cubicBezTo>
                                  <a:pt x="52233" y="58964"/>
                                  <a:pt x="59046" y="54428"/>
                                  <a:pt x="56775" y="52161"/>
                                </a:cubicBezTo>
                                <a:cubicBezTo>
                                  <a:pt x="56775" y="49893"/>
                                  <a:pt x="49962" y="49893"/>
                                  <a:pt x="49962" y="49893"/>
                                </a:cubicBezTo>
                                <a:cubicBezTo>
                                  <a:pt x="49962" y="47625"/>
                                  <a:pt x="52233" y="43089"/>
                                  <a:pt x="49962" y="43089"/>
                                </a:cubicBezTo>
                                <a:cubicBezTo>
                                  <a:pt x="49962" y="45357"/>
                                  <a:pt x="47691" y="43089"/>
                                  <a:pt x="45420" y="43089"/>
                                </a:cubicBezTo>
                                <a:cubicBezTo>
                                  <a:pt x="40878" y="43089"/>
                                  <a:pt x="38607" y="43089"/>
                                  <a:pt x="38607" y="43089"/>
                                </a:cubicBezTo>
                                <a:cubicBezTo>
                                  <a:pt x="38607" y="47625"/>
                                  <a:pt x="31794" y="45357"/>
                                  <a:pt x="31794" y="45357"/>
                                </a:cubicBezTo>
                                <a:cubicBezTo>
                                  <a:pt x="27252" y="43089"/>
                                  <a:pt x="24981" y="45357"/>
                                  <a:pt x="22710" y="47625"/>
                                </a:cubicBezTo>
                                <a:cubicBezTo>
                                  <a:pt x="15897" y="49893"/>
                                  <a:pt x="20439" y="43089"/>
                                  <a:pt x="22710" y="40821"/>
                                </a:cubicBezTo>
                                <a:cubicBezTo>
                                  <a:pt x="20439" y="40821"/>
                                  <a:pt x="18168" y="40821"/>
                                  <a:pt x="20439" y="38553"/>
                                </a:cubicBezTo>
                                <a:cubicBezTo>
                                  <a:pt x="18168" y="40821"/>
                                  <a:pt x="15897" y="40821"/>
                                  <a:pt x="13626" y="40821"/>
                                </a:cubicBezTo>
                                <a:cubicBezTo>
                                  <a:pt x="11355" y="40821"/>
                                  <a:pt x="9084" y="43089"/>
                                  <a:pt x="6813" y="45357"/>
                                </a:cubicBezTo>
                                <a:cubicBezTo>
                                  <a:pt x="4542" y="38553"/>
                                  <a:pt x="11355" y="38553"/>
                                  <a:pt x="11355" y="34018"/>
                                </a:cubicBezTo>
                                <a:cubicBezTo>
                                  <a:pt x="11355" y="36286"/>
                                  <a:pt x="9084" y="36286"/>
                                  <a:pt x="6813" y="36286"/>
                                </a:cubicBezTo>
                                <a:cubicBezTo>
                                  <a:pt x="6813" y="34018"/>
                                  <a:pt x="9084" y="34018"/>
                                  <a:pt x="11355" y="31750"/>
                                </a:cubicBezTo>
                                <a:cubicBezTo>
                                  <a:pt x="9084" y="31750"/>
                                  <a:pt x="6813" y="34018"/>
                                  <a:pt x="6813" y="29482"/>
                                </a:cubicBezTo>
                                <a:cubicBezTo>
                                  <a:pt x="6813" y="27214"/>
                                  <a:pt x="9084" y="27214"/>
                                  <a:pt x="11355" y="24946"/>
                                </a:cubicBezTo>
                                <a:cubicBezTo>
                                  <a:pt x="9084" y="27214"/>
                                  <a:pt x="4542" y="27214"/>
                                  <a:pt x="4542" y="29482"/>
                                </a:cubicBezTo>
                                <a:cubicBezTo>
                                  <a:pt x="2271" y="27214"/>
                                  <a:pt x="6813" y="24946"/>
                                  <a:pt x="6813" y="22678"/>
                                </a:cubicBezTo>
                                <a:cubicBezTo>
                                  <a:pt x="6813" y="24946"/>
                                  <a:pt x="2271" y="24946"/>
                                  <a:pt x="2271" y="22678"/>
                                </a:cubicBezTo>
                                <a:cubicBezTo>
                                  <a:pt x="2271" y="20411"/>
                                  <a:pt x="2271" y="20411"/>
                                  <a:pt x="2271" y="20411"/>
                                </a:cubicBezTo>
                                <a:cubicBezTo>
                                  <a:pt x="0" y="20411"/>
                                  <a:pt x="0" y="18143"/>
                                  <a:pt x="0" y="15875"/>
                                </a:cubicBezTo>
                                <a:cubicBezTo>
                                  <a:pt x="2271" y="13607"/>
                                  <a:pt x="4542" y="13607"/>
                                  <a:pt x="6813" y="13607"/>
                                </a:cubicBezTo>
                                <a:cubicBezTo>
                                  <a:pt x="9084" y="9071"/>
                                  <a:pt x="18168" y="11339"/>
                                  <a:pt x="22710" y="9071"/>
                                </a:cubicBezTo>
                                <a:cubicBezTo>
                                  <a:pt x="18168" y="9071"/>
                                  <a:pt x="20439" y="6803"/>
                                  <a:pt x="22710" y="6803"/>
                                </a:cubicBezTo>
                                <a:cubicBezTo>
                                  <a:pt x="22710" y="6803"/>
                                  <a:pt x="20439" y="6803"/>
                                  <a:pt x="20439" y="6803"/>
                                </a:cubicBezTo>
                                <a:cubicBezTo>
                                  <a:pt x="20439" y="4536"/>
                                  <a:pt x="29523" y="-2268"/>
                                  <a:pt x="29523" y="2268"/>
                                </a:cubicBezTo>
                                <a:cubicBezTo>
                                  <a:pt x="29523" y="2268"/>
                                  <a:pt x="31794" y="0"/>
                                  <a:pt x="31794" y="0"/>
                                </a:cubicBezTo>
                                <a:close/>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82" name="Portugal">
                            <a:extLst>
                              <a:ext uri="{FF2B5EF4-FFF2-40B4-BE49-F238E27FC236}">
                                <a16:creationId xmlns:a16="http://schemas.microsoft.com/office/drawing/2014/main" id="{707F5ABC-B748-F3B9-1843-2DDD90B63D5B}"/>
                              </a:ext>
                            </a:extLst>
                          </p:cNvPr>
                          <p:cNvSpPr>
                            <a:spLocks/>
                          </p:cNvSpPr>
                          <p:nvPr/>
                        </p:nvSpPr>
                        <p:spPr bwMode="auto">
                          <a:xfrm>
                            <a:off x="3613546" y="2297729"/>
                            <a:ext cx="76441" cy="127401"/>
                          </a:xfrm>
                          <a:custGeom>
                            <a:avLst/>
                            <a:gdLst/>
                            <a:ahLst/>
                            <a:cxnLst>
                              <a:cxn ang="0">
                                <a:pos x="3" y="30"/>
                              </a:cxn>
                              <a:cxn ang="0">
                                <a:pos x="3" y="30"/>
                              </a:cxn>
                              <a:cxn ang="0">
                                <a:pos x="8" y="23"/>
                              </a:cxn>
                              <a:cxn ang="0">
                                <a:pos x="9" y="17"/>
                              </a:cxn>
                              <a:cxn ang="0">
                                <a:pos x="10" y="16"/>
                              </a:cxn>
                              <a:cxn ang="0">
                                <a:pos x="10" y="16"/>
                              </a:cxn>
                              <a:cxn ang="0">
                                <a:pos x="10" y="10"/>
                              </a:cxn>
                              <a:cxn ang="0">
                                <a:pos x="10" y="5"/>
                              </a:cxn>
                              <a:cxn ang="0">
                                <a:pos x="11" y="2"/>
                              </a:cxn>
                              <a:cxn ang="0">
                                <a:pos x="16" y="0"/>
                              </a:cxn>
                              <a:cxn ang="0">
                                <a:pos x="17" y="1"/>
                              </a:cxn>
                              <a:cxn ang="0">
                                <a:pos x="16" y="4"/>
                              </a:cxn>
                              <a:cxn ang="0">
                                <a:pos x="20" y="3"/>
                              </a:cxn>
                              <a:cxn ang="0">
                                <a:pos x="24" y="3"/>
                              </a:cxn>
                              <a:cxn ang="0">
                                <a:pos x="29" y="2"/>
                              </a:cxn>
                              <a:cxn ang="0">
                                <a:pos x="29" y="4"/>
                              </a:cxn>
                              <a:cxn ang="0">
                                <a:pos x="32" y="6"/>
                              </a:cxn>
                              <a:cxn ang="0">
                                <a:pos x="26" y="12"/>
                              </a:cxn>
                              <a:cxn ang="0">
                                <a:pos x="26" y="17"/>
                              </a:cxn>
                              <a:cxn ang="0">
                                <a:pos x="26" y="19"/>
                              </a:cxn>
                              <a:cxn ang="0">
                                <a:pos x="24" y="21"/>
                              </a:cxn>
                              <a:cxn ang="0">
                                <a:pos x="24" y="25"/>
                              </a:cxn>
                              <a:cxn ang="0">
                                <a:pos x="23" y="26"/>
                              </a:cxn>
                              <a:cxn ang="0">
                                <a:pos x="19" y="26"/>
                              </a:cxn>
                              <a:cxn ang="0">
                                <a:pos x="21" y="28"/>
                              </a:cxn>
                              <a:cxn ang="0">
                                <a:pos x="21" y="30"/>
                              </a:cxn>
                              <a:cxn ang="0">
                                <a:pos x="24" y="34"/>
                              </a:cxn>
                              <a:cxn ang="0">
                                <a:pos x="20" y="38"/>
                              </a:cxn>
                              <a:cxn ang="0">
                                <a:pos x="24" y="42"/>
                              </a:cxn>
                              <a:cxn ang="0">
                                <a:pos x="20" y="46"/>
                              </a:cxn>
                              <a:cxn ang="0">
                                <a:pos x="18" y="48"/>
                              </a:cxn>
                              <a:cxn ang="0">
                                <a:pos x="18" y="53"/>
                              </a:cxn>
                              <a:cxn ang="0">
                                <a:pos x="12" y="54"/>
                              </a:cxn>
                              <a:cxn ang="0">
                                <a:pos x="5" y="55"/>
                              </a:cxn>
                              <a:cxn ang="0">
                                <a:pos x="6" y="52"/>
                              </a:cxn>
                              <a:cxn ang="0">
                                <a:pos x="7" y="48"/>
                              </a:cxn>
                              <a:cxn ang="0">
                                <a:pos x="7" y="44"/>
                              </a:cxn>
                              <a:cxn ang="0">
                                <a:pos x="7" y="39"/>
                              </a:cxn>
                              <a:cxn ang="0">
                                <a:pos x="8" y="38"/>
                              </a:cxn>
                              <a:cxn ang="0">
                                <a:pos x="4" y="40"/>
                              </a:cxn>
                              <a:cxn ang="0">
                                <a:pos x="4" y="37"/>
                              </a:cxn>
                              <a:cxn ang="0">
                                <a:pos x="5" y="38"/>
                              </a:cxn>
                              <a:cxn ang="0">
                                <a:pos x="6" y="36"/>
                              </a:cxn>
                              <a:cxn ang="0">
                                <a:pos x="6" y="34"/>
                              </a:cxn>
                              <a:cxn ang="0">
                                <a:pos x="2" y="37"/>
                              </a:cxn>
                              <a:cxn ang="0">
                                <a:pos x="3" y="30"/>
                              </a:cxn>
                            </a:cxnLst>
                            <a:rect l="0" t="0" r="r" b="b"/>
                            <a:pathLst>
                              <a:path w="33" h="55">
                                <a:moveTo>
                                  <a:pt x="3" y="30"/>
                                </a:moveTo>
                                <a:cubicBezTo>
                                  <a:pt x="3" y="30"/>
                                  <a:pt x="3" y="30"/>
                                  <a:pt x="3" y="30"/>
                                </a:cubicBezTo>
                                <a:cubicBezTo>
                                  <a:pt x="6" y="29"/>
                                  <a:pt x="7" y="25"/>
                                  <a:pt x="8" y="23"/>
                                </a:cubicBezTo>
                                <a:cubicBezTo>
                                  <a:pt x="8" y="21"/>
                                  <a:pt x="9" y="19"/>
                                  <a:pt x="9" y="17"/>
                                </a:cubicBezTo>
                                <a:cubicBezTo>
                                  <a:pt x="9" y="16"/>
                                  <a:pt x="10" y="16"/>
                                  <a:pt x="10" y="16"/>
                                </a:cubicBezTo>
                                <a:cubicBezTo>
                                  <a:pt x="11" y="15"/>
                                  <a:pt x="11" y="13"/>
                                  <a:pt x="10" y="16"/>
                                </a:cubicBezTo>
                                <a:cubicBezTo>
                                  <a:pt x="10" y="13"/>
                                  <a:pt x="11" y="12"/>
                                  <a:pt x="10" y="10"/>
                                </a:cubicBezTo>
                                <a:cubicBezTo>
                                  <a:pt x="10" y="9"/>
                                  <a:pt x="9" y="5"/>
                                  <a:pt x="10" y="5"/>
                                </a:cubicBezTo>
                                <a:cubicBezTo>
                                  <a:pt x="8" y="6"/>
                                  <a:pt x="10" y="2"/>
                                  <a:pt x="11" y="2"/>
                                </a:cubicBezTo>
                                <a:cubicBezTo>
                                  <a:pt x="13" y="1"/>
                                  <a:pt x="14" y="1"/>
                                  <a:pt x="16" y="0"/>
                                </a:cubicBezTo>
                                <a:cubicBezTo>
                                  <a:pt x="15" y="1"/>
                                  <a:pt x="16" y="1"/>
                                  <a:pt x="17" y="1"/>
                                </a:cubicBezTo>
                                <a:cubicBezTo>
                                  <a:pt x="16" y="1"/>
                                  <a:pt x="14" y="4"/>
                                  <a:pt x="16" y="4"/>
                                </a:cubicBezTo>
                                <a:cubicBezTo>
                                  <a:pt x="17" y="4"/>
                                  <a:pt x="19" y="3"/>
                                  <a:pt x="20" y="3"/>
                                </a:cubicBezTo>
                                <a:cubicBezTo>
                                  <a:pt x="22" y="3"/>
                                  <a:pt x="22" y="4"/>
                                  <a:pt x="24" y="3"/>
                                </a:cubicBezTo>
                                <a:cubicBezTo>
                                  <a:pt x="24" y="1"/>
                                  <a:pt x="27" y="2"/>
                                  <a:pt x="29" y="2"/>
                                </a:cubicBezTo>
                                <a:cubicBezTo>
                                  <a:pt x="30" y="2"/>
                                  <a:pt x="29" y="3"/>
                                  <a:pt x="29" y="4"/>
                                </a:cubicBezTo>
                                <a:cubicBezTo>
                                  <a:pt x="30" y="5"/>
                                  <a:pt x="32" y="5"/>
                                  <a:pt x="32" y="6"/>
                                </a:cubicBezTo>
                                <a:cubicBezTo>
                                  <a:pt x="33" y="7"/>
                                  <a:pt x="27" y="12"/>
                                  <a:pt x="26" y="12"/>
                                </a:cubicBezTo>
                                <a:cubicBezTo>
                                  <a:pt x="27" y="12"/>
                                  <a:pt x="26" y="17"/>
                                  <a:pt x="26" y="17"/>
                                </a:cubicBezTo>
                                <a:cubicBezTo>
                                  <a:pt x="26" y="18"/>
                                  <a:pt x="27" y="19"/>
                                  <a:pt x="26" y="19"/>
                                </a:cubicBezTo>
                                <a:cubicBezTo>
                                  <a:pt x="26" y="20"/>
                                  <a:pt x="25" y="20"/>
                                  <a:pt x="24" y="21"/>
                                </a:cubicBezTo>
                                <a:cubicBezTo>
                                  <a:pt x="24" y="22"/>
                                  <a:pt x="26" y="24"/>
                                  <a:pt x="24" y="25"/>
                                </a:cubicBezTo>
                                <a:cubicBezTo>
                                  <a:pt x="24" y="25"/>
                                  <a:pt x="24" y="26"/>
                                  <a:pt x="23" y="26"/>
                                </a:cubicBezTo>
                                <a:cubicBezTo>
                                  <a:pt x="23" y="27"/>
                                  <a:pt x="20" y="27"/>
                                  <a:pt x="19" y="26"/>
                                </a:cubicBezTo>
                                <a:cubicBezTo>
                                  <a:pt x="20" y="27"/>
                                  <a:pt x="20" y="28"/>
                                  <a:pt x="21" y="28"/>
                                </a:cubicBezTo>
                                <a:cubicBezTo>
                                  <a:pt x="22" y="29"/>
                                  <a:pt x="21" y="30"/>
                                  <a:pt x="21" y="30"/>
                                </a:cubicBezTo>
                                <a:cubicBezTo>
                                  <a:pt x="22" y="31"/>
                                  <a:pt x="24" y="33"/>
                                  <a:pt x="24" y="34"/>
                                </a:cubicBezTo>
                                <a:cubicBezTo>
                                  <a:pt x="23" y="35"/>
                                  <a:pt x="21" y="36"/>
                                  <a:pt x="20" y="38"/>
                                </a:cubicBezTo>
                                <a:cubicBezTo>
                                  <a:pt x="20" y="40"/>
                                  <a:pt x="22" y="43"/>
                                  <a:pt x="24" y="42"/>
                                </a:cubicBezTo>
                                <a:cubicBezTo>
                                  <a:pt x="23" y="44"/>
                                  <a:pt x="21" y="44"/>
                                  <a:pt x="20" y="46"/>
                                </a:cubicBezTo>
                                <a:cubicBezTo>
                                  <a:pt x="20" y="47"/>
                                  <a:pt x="19" y="47"/>
                                  <a:pt x="18" y="48"/>
                                </a:cubicBezTo>
                                <a:cubicBezTo>
                                  <a:pt x="18" y="50"/>
                                  <a:pt x="19" y="51"/>
                                  <a:pt x="18" y="53"/>
                                </a:cubicBezTo>
                                <a:cubicBezTo>
                                  <a:pt x="17" y="55"/>
                                  <a:pt x="14" y="55"/>
                                  <a:pt x="12" y="54"/>
                                </a:cubicBezTo>
                                <a:cubicBezTo>
                                  <a:pt x="10" y="53"/>
                                  <a:pt x="7" y="53"/>
                                  <a:pt x="5" y="55"/>
                                </a:cubicBezTo>
                                <a:cubicBezTo>
                                  <a:pt x="5" y="54"/>
                                  <a:pt x="5" y="53"/>
                                  <a:pt x="6" y="52"/>
                                </a:cubicBezTo>
                                <a:cubicBezTo>
                                  <a:pt x="6" y="51"/>
                                  <a:pt x="6" y="49"/>
                                  <a:pt x="7" y="48"/>
                                </a:cubicBezTo>
                                <a:cubicBezTo>
                                  <a:pt x="7" y="47"/>
                                  <a:pt x="7" y="46"/>
                                  <a:pt x="7" y="44"/>
                                </a:cubicBezTo>
                                <a:cubicBezTo>
                                  <a:pt x="7" y="42"/>
                                  <a:pt x="8" y="41"/>
                                  <a:pt x="7" y="39"/>
                                </a:cubicBezTo>
                                <a:cubicBezTo>
                                  <a:pt x="7" y="41"/>
                                  <a:pt x="8" y="39"/>
                                  <a:pt x="8" y="38"/>
                                </a:cubicBezTo>
                                <a:cubicBezTo>
                                  <a:pt x="8" y="39"/>
                                  <a:pt x="5" y="39"/>
                                  <a:pt x="4" y="40"/>
                                </a:cubicBezTo>
                                <a:cubicBezTo>
                                  <a:pt x="4" y="39"/>
                                  <a:pt x="4" y="38"/>
                                  <a:pt x="4" y="37"/>
                                </a:cubicBezTo>
                                <a:cubicBezTo>
                                  <a:pt x="4" y="37"/>
                                  <a:pt x="5" y="37"/>
                                  <a:pt x="5" y="38"/>
                                </a:cubicBezTo>
                                <a:cubicBezTo>
                                  <a:pt x="5" y="37"/>
                                  <a:pt x="6" y="37"/>
                                  <a:pt x="6" y="36"/>
                                </a:cubicBezTo>
                                <a:cubicBezTo>
                                  <a:pt x="7" y="36"/>
                                  <a:pt x="6" y="35"/>
                                  <a:pt x="6" y="34"/>
                                </a:cubicBezTo>
                                <a:cubicBezTo>
                                  <a:pt x="5" y="35"/>
                                  <a:pt x="3" y="38"/>
                                  <a:pt x="2" y="37"/>
                                </a:cubicBezTo>
                                <a:cubicBezTo>
                                  <a:pt x="0" y="36"/>
                                  <a:pt x="3" y="32"/>
                                  <a:pt x="3" y="30"/>
                                </a:cubicBezTo>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83" name="Ireland">
                            <a:extLst>
                              <a:ext uri="{FF2B5EF4-FFF2-40B4-BE49-F238E27FC236}">
                                <a16:creationId xmlns:a16="http://schemas.microsoft.com/office/drawing/2014/main" id="{1AF477BD-2B51-6397-8285-B87FACAD75A2}"/>
                              </a:ext>
                            </a:extLst>
                          </p:cNvPr>
                          <p:cNvSpPr>
                            <a:spLocks/>
                          </p:cNvSpPr>
                          <p:nvPr/>
                        </p:nvSpPr>
                        <p:spPr bwMode="auto">
                          <a:xfrm>
                            <a:off x="3629228" y="1981623"/>
                            <a:ext cx="86334" cy="89211"/>
                          </a:xfrm>
                          <a:custGeom>
                            <a:avLst/>
                            <a:gdLst>
                              <a:gd name="connsiteX0" fmla="*/ 13088 w 84717"/>
                              <a:gd name="connsiteY0" fmla="*/ 29498 h 87541"/>
                              <a:gd name="connsiteX1" fmla="*/ 13585 w 84717"/>
                              <a:gd name="connsiteY1" fmla="*/ 30391 h 87541"/>
                              <a:gd name="connsiteX2" fmla="*/ 9616 w 84717"/>
                              <a:gd name="connsiteY2" fmla="*/ 30391 h 87541"/>
                              <a:gd name="connsiteX3" fmla="*/ 13088 w 84717"/>
                              <a:gd name="connsiteY3" fmla="*/ 29498 h 87541"/>
                              <a:gd name="connsiteX4" fmla="*/ 61821 w 84717"/>
                              <a:gd name="connsiteY4" fmla="*/ 1694 h 87541"/>
                              <a:gd name="connsiteX5" fmla="*/ 73269 w 84717"/>
                              <a:gd name="connsiteY5" fmla="*/ 1694 h 87541"/>
                              <a:gd name="connsiteX6" fmla="*/ 64110 w 84717"/>
                              <a:gd name="connsiteY6" fmla="*/ 8471 h 87541"/>
                              <a:gd name="connsiteX7" fmla="*/ 54952 w 84717"/>
                              <a:gd name="connsiteY7" fmla="*/ 12990 h 87541"/>
                              <a:gd name="connsiteX8" fmla="*/ 57241 w 84717"/>
                              <a:gd name="connsiteY8" fmla="*/ 15249 h 87541"/>
                              <a:gd name="connsiteX9" fmla="*/ 52662 w 84717"/>
                              <a:gd name="connsiteY9" fmla="*/ 22026 h 87541"/>
                              <a:gd name="connsiteX10" fmla="*/ 59531 w 84717"/>
                              <a:gd name="connsiteY10" fmla="*/ 26544 h 87541"/>
                              <a:gd name="connsiteX11" fmla="*/ 66400 w 84717"/>
                              <a:gd name="connsiteY11" fmla="*/ 24285 h 87541"/>
                              <a:gd name="connsiteX12" fmla="*/ 68690 w 84717"/>
                              <a:gd name="connsiteY12" fmla="*/ 22026 h 87541"/>
                              <a:gd name="connsiteX13" fmla="*/ 75559 w 84717"/>
                              <a:gd name="connsiteY13" fmla="*/ 26544 h 87541"/>
                              <a:gd name="connsiteX14" fmla="*/ 80138 w 84717"/>
                              <a:gd name="connsiteY14" fmla="*/ 28804 h 87541"/>
                              <a:gd name="connsiteX15" fmla="*/ 84717 w 84717"/>
                              <a:gd name="connsiteY15" fmla="*/ 28804 h 87541"/>
                              <a:gd name="connsiteX16" fmla="*/ 80138 w 84717"/>
                              <a:gd name="connsiteY16" fmla="*/ 31063 h 87541"/>
                              <a:gd name="connsiteX17" fmla="*/ 82428 w 84717"/>
                              <a:gd name="connsiteY17" fmla="*/ 35581 h 87541"/>
                              <a:gd name="connsiteX18" fmla="*/ 82428 w 84717"/>
                              <a:gd name="connsiteY18" fmla="*/ 44617 h 87541"/>
                              <a:gd name="connsiteX19" fmla="*/ 82428 w 84717"/>
                              <a:gd name="connsiteY19" fmla="*/ 60431 h 87541"/>
                              <a:gd name="connsiteX20" fmla="*/ 73269 w 84717"/>
                              <a:gd name="connsiteY20" fmla="*/ 67209 h 87541"/>
                              <a:gd name="connsiteX21" fmla="*/ 73269 w 84717"/>
                              <a:gd name="connsiteY21" fmla="*/ 71727 h 87541"/>
                              <a:gd name="connsiteX22" fmla="*/ 64110 w 84717"/>
                              <a:gd name="connsiteY22" fmla="*/ 69468 h 87541"/>
                              <a:gd name="connsiteX23" fmla="*/ 54952 w 84717"/>
                              <a:gd name="connsiteY23" fmla="*/ 73986 h 87541"/>
                              <a:gd name="connsiteX24" fmla="*/ 50372 w 84717"/>
                              <a:gd name="connsiteY24" fmla="*/ 76245 h 87541"/>
                              <a:gd name="connsiteX25" fmla="*/ 41214 w 84717"/>
                              <a:gd name="connsiteY25" fmla="*/ 80764 h 87541"/>
                              <a:gd name="connsiteX26" fmla="*/ 36634 w 84717"/>
                              <a:gd name="connsiteY26" fmla="*/ 78504 h 87541"/>
                              <a:gd name="connsiteX27" fmla="*/ 36634 w 84717"/>
                              <a:gd name="connsiteY27" fmla="*/ 83023 h 87541"/>
                              <a:gd name="connsiteX28" fmla="*/ 34345 w 84717"/>
                              <a:gd name="connsiteY28" fmla="*/ 83023 h 87541"/>
                              <a:gd name="connsiteX29" fmla="*/ 32055 w 84717"/>
                              <a:gd name="connsiteY29" fmla="*/ 85282 h 87541"/>
                              <a:gd name="connsiteX30" fmla="*/ 22896 w 84717"/>
                              <a:gd name="connsiteY30" fmla="*/ 87541 h 87541"/>
                              <a:gd name="connsiteX31" fmla="*/ 11448 w 84717"/>
                              <a:gd name="connsiteY31" fmla="*/ 87541 h 87541"/>
                              <a:gd name="connsiteX32" fmla="*/ 18317 w 84717"/>
                              <a:gd name="connsiteY32" fmla="*/ 83023 h 87541"/>
                              <a:gd name="connsiteX33" fmla="*/ 6869 w 84717"/>
                              <a:gd name="connsiteY33" fmla="*/ 85282 h 87541"/>
                              <a:gd name="connsiteX34" fmla="*/ 4579 w 84717"/>
                              <a:gd name="connsiteY34" fmla="*/ 85282 h 87541"/>
                              <a:gd name="connsiteX35" fmla="*/ 13738 w 84717"/>
                              <a:gd name="connsiteY35" fmla="*/ 78504 h 87541"/>
                              <a:gd name="connsiteX36" fmla="*/ 2289 w 84717"/>
                              <a:gd name="connsiteY36" fmla="*/ 80764 h 87541"/>
                              <a:gd name="connsiteX37" fmla="*/ 11448 w 84717"/>
                              <a:gd name="connsiteY37" fmla="*/ 73986 h 87541"/>
                              <a:gd name="connsiteX38" fmla="*/ 0 w 84717"/>
                              <a:gd name="connsiteY38" fmla="*/ 73986 h 87541"/>
                              <a:gd name="connsiteX39" fmla="*/ 4579 w 84717"/>
                              <a:gd name="connsiteY39" fmla="*/ 69468 h 87541"/>
                              <a:gd name="connsiteX40" fmla="*/ 6869 w 84717"/>
                              <a:gd name="connsiteY40" fmla="*/ 69468 h 87541"/>
                              <a:gd name="connsiteX41" fmla="*/ 13738 w 84717"/>
                              <a:gd name="connsiteY41" fmla="*/ 69468 h 87541"/>
                              <a:gd name="connsiteX42" fmla="*/ 11448 w 84717"/>
                              <a:gd name="connsiteY42" fmla="*/ 67209 h 87541"/>
                              <a:gd name="connsiteX43" fmla="*/ 20607 w 84717"/>
                              <a:gd name="connsiteY43" fmla="*/ 62691 h 87541"/>
                              <a:gd name="connsiteX44" fmla="*/ 34345 w 84717"/>
                              <a:gd name="connsiteY44" fmla="*/ 60431 h 87541"/>
                              <a:gd name="connsiteX45" fmla="*/ 29765 w 84717"/>
                              <a:gd name="connsiteY45" fmla="*/ 58172 h 87541"/>
                              <a:gd name="connsiteX46" fmla="*/ 13738 w 84717"/>
                              <a:gd name="connsiteY46" fmla="*/ 62691 h 87541"/>
                              <a:gd name="connsiteX47" fmla="*/ 22896 w 84717"/>
                              <a:gd name="connsiteY47" fmla="*/ 53654 h 87541"/>
                              <a:gd name="connsiteX48" fmla="*/ 32055 w 84717"/>
                              <a:gd name="connsiteY48" fmla="*/ 46877 h 87541"/>
                              <a:gd name="connsiteX49" fmla="*/ 20607 w 84717"/>
                              <a:gd name="connsiteY49" fmla="*/ 46877 h 87541"/>
                              <a:gd name="connsiteX50" fmla="*/ 13738 w 84717"/>
                              <a:gd name="connsiteY50" fmla="*/ 44617 h 87541"/>
                              <a:gd name="connsiteX51" fmla="*/ 16027 w 84717"/>
                              <a:gd name="connsiteY51" fmla="*/ 42358 h 87541"/>
                              <a:gd name="connsiteX52" fmla="*/ 9158 w 84717"/>
                              <a:gd name="connsiteY52" fmla="*/ 44617 h 87541"/>
                              <a:gd name="connsiteX53" fmla="*/ 11448 w 84717"/>
                              <a:gd name="connsiteY53" fmla="*/ 42358 h 87541"/>
                              <a:gd name="connsiteX54" fmla="*/ 9158 w 84717"/>
                              <a:gd name="connsiteY54" fmla="*/ 40099 h 87541"/>
                              <a:gd name="connsiteX55" fmla="*/ 13738 w 84717"/>
                              <a:gd name="connsiteY55" fmla="*/ 37840 h 87541"/>
                              <a:gd name="connsiteX56" fmla="*/ 18317 w 84717"/>
                              <a:gd name="connsiteY56" fmla="*/ 37840 h 87541"/>
                              <a:gd name="connsiteX57" fmla="*/ 16027 w 84717"/>
                              <a:gd name="connsiteY57" fmla="*/ 35581 h 87541"/>
                              <a:gd name="connsiteX58" fmla="*/ 20607 w 84717"/>
                              <a:gd name="connsiteY58" fmla="*/ 35581 h 87541"/>
                              <a:gd name="connsiteX59" fmla="*/ 16027 w 84717"/>
                              <a:gd name="connsiteY59" fmla="*/ 33322 h 87541"/>
                              <a:gd name="connsiteX60" fmla="*/ 18317 w 84717"/>
                              <a:gd name="connsiteY60" fmla="*/ 31063 h 87541"/>
                              <a:gd name="connsiteX61" fmla="*/ 13738 w 84717"/>
                              <a:gd name="connsiteY61" fmla="*/ 28804 h 87541"/>
                              <a:gd name="connsiteX62" fmla="*/ 13738 w 84717"/>
                              <a:gd name="connsiteY62" fmla="*/ 26544 h 87541"/>
                              <a:gd name="connsiteX63" fmla="*/ 13738 w 84717"/>
                              <a:gd name="connsiteY63" fmla="*/ 24285 h 87541"/>
                              <a:gd name="connsiteX64" fmla="*/ 13738 w 84717"/>
                              <a:gd name="connsiteY64" fmla="*/ 22026 h 87541"/>
                              <a:gd name="connsiteX65" fmla="*/ 22896 w 84717"/>
                              <a:gd name="connsiteY65" fmla="*/ 22026 h 87541"/>
                              <a:gd name="connsiteX66" fmla="*/ 29765 w 84717"/>
                              <a:gd name="connsiteY66" fmla="*/ 26544 h 87541"/>
                              <a:gd name="connsiteX67" fmla="*/ 41214 w 84717"/>
                              <a:gd name="connsiteY67" fmla="*/ 24285 h 87541"/>
                              <a:gd name="connsiteX68" fmla="*/ 38924 w 84717"/>
                              <a:gd name="connsiteY68" fmla="*/ 22026 h 87541"/>
                              <a:gd name="connsiteX69" fmla="*/ 48083 w 84717"/>
                              <a:gd name="connsiteY69" fmla="*/ 15249 h 87541"/>
                              <a:gd name="connsiteX70" fmla="*/ 38924 w 84717"/>
                              <a:gd name="connsiteY70" fmla="*/ 15249 h 87541"/>
                              <a:gd name="connsiteX71" fmla="*/ 43503 w 84717"/>
                              <a:gd name="connsiteY71" fmla="*/ 12990 h 87541"/>
                              <a:gd name="connsiteX72" fmla="*/ 45793 w 84717"/>
                              <a:gd name="connsiteY72" fmla="*/ 10731 h 87541"/>
                              <a:gd name="connsiteX73" fmla="*/ 48083 w 84717"/>
                              <a:gd name="connsiteY73" fmla="*/ 3953 h 87541"/>
                              <a:gd name="connsiteX74" fmla="*/ 59531 w 84717"/>
                              <a:gd name="connsiteY74" fmla="*/ 3953 h 87541"/>
                              <a:gd name="connsiteX75" fmla="*/ 61821 w 84717"/>
                              <a:gd name="connsiteY75" fmla="*/ 1694 h 87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84717" h="87541">
                                <a:moveTo>
                                  <a:pt x="13088" y="29498"/>
                                </a:moveTo>
                                <a:cubicBezTo>
                                  <a:pt x="14081" y="29796"/>
                                  <a:pt x="14577" y="30391"/>
                                  <a:pt x="13585" y="30391"/>
                                </a:cubicBezTo>
                                <a:cubicBezTo>
                                  <a:pt x="13585" y="30391"/>
                                  <a:pt x="11600" y="30391"/>
                                  <a:pt x="9616" y="30391"/>
                                </a:cubicBezTo>
                                <a:cubicBezTo>
                                  <a:pt x="10608" y="29200"/>
                                  <a:pt x="12096" y="29200"/>
                                  <a:pt x="13088" y="29498"/>
                                </a:cubicBezTo>
                                <a:close/>
                                <a:moveTo>
                                  <a:pt x="61821" y="1694"/>
                                </a:moveTo>
                                <a:cubicBezTo>
                                  <a:pt x="66400" y="-565"/>
                                  <a:pt x="68690" y="-565"/>
                                  <a:pt x="73269" y="1694"/>
                                </a:cubicBezTo>
                                <a:cubicBezTo>
                                  <a:pt x="70979" y="3953"/>
                                  <a:pt x="64110" y="3953"/>
                                  <a:pt x="64110" y="8471"/>
                                </a:cubicBezTo>
                                <a:cubicBezTo>
                                  <a:pt x="61821" y="10731"/>
                                  <a:pt x="59531" y="15249"/>
                                  <a:pt x="54952" y="12990"/>
                                </a:cubicBezTo>
                                <a:cubicBezTo>
                                  <a:pt x="54952" y="15249"/>
                                  <a:pt x="57241" y="15249"/>
                                  <a:pt x="57241" y="15249"/>
                                </a:cubicBezTo>
                                <a:cubicBezTo>
                                  <a:pt x="52662" y="17508"/>
                                  <a:pt x="48083" y="17508"/>
                                  <a:pt x="52662" y="22026"/>
                                </a:cubicBezTo>
                                <a:cubicBezTo>
                                  <a:pt x="54952" y="24285"/>
                                  <a:pt x="57241" y="24285"/>
                                  <a:pt x="59531" y="26544"/>
                                </a:cubicBezTo>
                                <a:cubicBezTo>
                                  <a:pt x="61821" y="26544"/>
                                  <a:pt x="64110" y="26544"/>
                                  <a:pt x="66400" y="24285"/>
                                </a:cubicBezTo>
                                <a:cubicBezTo>
                                  <a:pt x="66400" y="22026"/>
                                  <a:pt x="64110" y="19767"/>
                                  <a:pt x="68690" y="22026"/>
                                </a:cubicBezTo>
                                <a:cubicBezTo>
                                  <a:pt x="73269" y="22026"/>
                                  <a:pt x="73269" y="24285"/>
                                  <a:pt x="75559" y="26544"/>
                                </a:cubicBezTo>
                                <a:cubicBezTo>
                                  <a:pt x="75559" y="28804"/>
                                  <a:pt x="77848" y="28804"/>
                                  <a:pt x="80138" y="28804"/>
                                </a:cubicBezTo>
                                <a:cubicBezTo>
                                  <a:pt x="82428" y="28804"/>
                                  <a:pt x="82428" y="26544"/>
                                  <a:pt x="84717" y="28804"/>
                                </a:cubicBezTo>
                                <a:cubicBezTo>
                                  <a:pt x="82428" y="28804"/>
                                  <a:pt x="82428" y="28804"/>
                                  <a:pt x="80138" y="31063"/>
                                </a:cubicBezTo>
                                <a:cubicBezTo>
                                  <a:pt x="80138" y="31063"/>
                                  <a:pt x="82428" y="33322"/>
                                  <a:pt x="82428" y="35581"/>
                                </a:cubicBezTo>
                                <a:cubicBezTo>
                                  <a:pt x="82428" y="37840"/>
                                  <a:pt x="87007" y="42358"/>
                                  <a:pt x="82428" y="44617"/>
                                </a:cubicBezTo>
                                <a:cubicBezTo>
                                  <a:pt x="84717" y="49136"/>
                                  <a:pt x="84717" y="53654"/>
                                  <a:pt x="82428" y="60431"/>
                                </a:cubicBezTo>
                                <a:cubicBezTo>
                                  <a:pt x="80138" y="62691"/>
                                  <a:pt x="77848" y="67209"/>
                                  <a:pt x="73269" y="67209"/>
                                </a:cubicBezTo>
                                <a:cubicBezTo>
                                  <a:pt x="77848" y="69468"/>
                                  <a:pt x="75559" y="71727"/>
                                  <a:pt x="73269" y="71727"/>
                                </a:cubicBezTo>
                                <a:cubicBezTo>
                                  <a:pt x="68690" y="71727"/>
                                  <a:pt x="66400" y="73986"/>
                                  <a:pt x="64110" y="69468"/>
                                </a:cubicBezTo>
                                <a:cubicBezTo>
                                  <a:pt x="66400" y="73986"/>
                                  <a:pt x="57241" y="71727"/>
                                  <a:pt x="54952" y="73986"/>
                                </a:cubicBezTo>
                                <a:cubicBezTo>
                                  <a:pt x="52662" y="73986"/>
                                  <a:pt x="52662" y="76245"/>
                                  <a:pt x="50372" y="76245"/>
                                </a:cubicBezTo>
                                <a:cubicBezTo>
                                  <a:pt x="45793" y="76245"/>
                                  <a:pt x="45793" y="80764"/>
                                  <a:pt x="41214" y="80764"/>
                                </a:cubicBezTo>
                                <a:cubicBezTo>
                                  <a:pt x="43503" y="76245"/>
                                  <a:pt x="38924" y="78504"/>
                                  <a:pt x="36634" y="78504"/>
                                </a:cubicBezTo>
                                <a:cubicBezTo>
                                  <a:pt x="41214" y="80764"/>
                                  <a:pt x="38924" y="80764"/>
                                  <a:pt x="36634" y="83023"/>
                                </a:cubicBezTo>
                                <a:cubicBezTo>
                                  <a:pt x="36634" y="83023"/>
                                  <a:pt x="34345" y="83023"/>
                                  <a:pt x="34345" y="83023"/>
                                </a:cubicBezTo>
                                <a:cubicBezTo>
                                  <a:pt x="34345" y="85282"/>
                                  <a:pt x="32055" y="85282"/>
                                  <a:pt x="32055" y="85282"/>
                                </a:cubicBezTo>
                                <a:cubicBezTo>
                                  <a:pt x="29765" y="85282"/>
                                  <a:pt x="25186" y="85282"/>
                                  <a:pt x="22896" y="87541"/>
                                </a:cubicBezTo>
                                <a:cubicBezTo>
                                  <a:pt x="18317" y="87541"/>
                                  <a:pt x="13738" y="87541"/>
                                  <a:pt x="11448" y="87541"/>
                                </a:cubicBezTo>
                                <a:cubicBezTo>
                                  <a:pt x="13738" y="85282"/>
                                  <a:pt x="16027" y="83023"/>
                                  <a:pt x="18317" y="83023"/>
                                </a:cubicBezTo>
                                <a:cubicBezTo>
                                  <a:pt x="13738" y="83023"/>
                                  <a:pt x="9158" y="83023"/>
                                  <a:pt x="6869" y="85282"/>
                                </a:cubicBezTo>
                                <a:cubicBezTo>
                                  <a:pt x="4579" y="85282"/>
                                  <a:pt x="4579" y="85282"/>
                                  <a:pt x="4579" y="85282"/>
                                </a:cubicBezTo>
                                <a:cubicBezTo>
                                  <a:pt x="6869" y="83023"/>
                                  <a:pt x="11448" y="80764"/>
                                  <a:pt x="13738" y="78504"/>
                                </a:cubicBezTo>
                                <a:cubicBezTo>
                                  <a:pt x="11448" y="78504"/>
                                  <a:pt x="4579" y="83023"/>
                                  <a:pt x="2289" y="80764"/>
                                </a:cubicBezTo>
                                <a:cubicBezTo>
                                  <a:pt x="-2290" y="78504"/>
                                  <a:pt x="9158" y="71727"/>
                                  <a:pt x="11448" y="73986"/>
                                </a:cubicBezTo>
                                <a:cubicBezTo>
                                  <a:pt x="9158" y="71727"/>
                                  <a:pt x="4579" y="73986"/>
                                  <a:pt x="0" y="73986"/>
                                </a:cubicBezTo>
                                <a:cubicBezTo>
                                  <a:pt x="0" y="71727"/>
                                  <a:pt x="2289" y="69468"/>
                                  <a:pt x="4579" y="69468"/>
                                </a:cubicBezTo>
                                <a:cubicBezTo>
                                  <a:pt x="4579" y="69468"/>
                                  <a:pt x="6869" y="69468"/>
                                  <a:pt x="6869" y="69468"/>
                                </a:cubicBezTo>
                                <a:cubicBezTo>
                                  <a:pt x="9158" y="69468"/>
                                  <a:pt x="11448" y="71727"/>
                                  <a:pt x="13738" y="69468"/>
                                </a:cubicBezTo>
                                <a:cubicBezTo>
                                  <a:pt x="11448" y="69468"/>
                                  <a:pt x="11448" y="67209"/>
                                  <a:pt x="11448" y="67209"/>
                                </a:cubicBezTo>
                                <a:cubicBezTo>
                                  <a:pt x="13738" y="67209"/>
                                  <a:pt x="16027" y="62691"/>
                                  <a:pt x="20607" y="62691"/>
                                </a:cubicBezTo>
                                <a:cubicBezTo>
                                  <a:pt x="25186" y="62691"/>
                                  <a:pt x="29765" y="60431"/>
                                  <a:pt x="34345" y="60431"/>
                                </a:cubicBezTo>
                                <a:cubicBezTo>
                                  <a:pt x="32055" y="60431"/>
                                  <a:pt x="29765" y="60431"/>
                                  <a:pt x="29765" y="58172"/>
                                </a:cubicBezTo>
                                <a:cubicBezTo>
                                  <a:pt x="25186" y="62691"/>
                                  <a:pt x="20607" y="62691"/>
                                  <a:pt x="13738" y="62691"/>
                                </a:cubicBezTo>
                                <a:cubicBezTo>
                                  <a:pt x="13738" y="62691"/>
                                  <a:pt x="22896" y="55913"/>
                                  <a:pt x="22896" y="53654"/>
                                </a:cubicBezTo>
                                <a:cubicBezTo>
                                  <a:pt x="20607" y="49136"/>
                                  <a:pt x="29765" y="49136"/>
                                  <a:pt x="32055" y="46877"/>
                                </a:cubicBezTo>
                                <a:cubicBezTo>
                                  <a:pt x="27476" y="46877"/>
                                  <a:pt x="25186" y="46877"/>
                                  <a:pt x="20607" y="46877"/>
                                </a:cubicBezTo>
                                <a:cubicBezTo>
                                  <a:pt x="20607" y="46877"/>
                                  <a:pt x="16027" y="44617"/>
                                  <a:pt x="13738" y="44617"/>
                                </a:cubicBezTo>
                                <a:cubicBezTo>
                                  <a:pt x="16027" y="42358"/>
                                  <a:pt x="16027" y="42358"/>
                                  <a:pt x="16027" y="42358"/>
                                </a:cubicBezTo>
                                <a:cubicBezTo>
                                  <a:pt x="13738" y="42358"/>
                                  <a:pt x="11448" y="44617"/>
                                  <a:pt x="9158" y="44617"/>
                                </a:cubicBezTo>
                                <a:cubicBezTo>
                                  <a:pt x="11448" y="42358"/>
                                  <a:pt x="11448" y="42358"/>
                                  <a:pt x="11448" y="42358"/>
                                </a:cubicBezTo>
                                <a:cubicBezTo>
                                  <a:pt x="9158" y="40099"/>
                                  <a:pt x="9158" y="40099"/>
                                  <a:pt x="9158" y="40099"/>
                                </a:cubicBezTo>
                                <a:cubicBezTo>
                                  <a:pt x="11448" y="40099"/>
                                  <a:pt x="11448" y="40099"/>
                                  <a:pt x="13738" y="37840"/>
                                </a:cubicBezTo>
                                <a:cubicBezTo>
                                  <a:pt x="13738" y="37840"/>
                                  <a:pt x="16027" y="40099"/>
                                  <a:pt x="18317" y="37840"/>
                                </a:cubicBezTo>
                                <a:cubicBezTo>
                                  <a:pt x="16027" y="40099"/>
                                  <a:pt x="13738" y="37840"/>
                                  <a:pt x="16027" y="35581"/>
                                </a:cubicBezTo>
                                <a:cubicBezTo>
                                  <a:pt x="16027" y="35581"/>
                                  <a:pt x="18317" y="35581"/>
                                  <a:pt x="20607" y="35581"/>
                                </a:cubicBezTo>
                                <a:cubicBezTo>
                                  <a:pt x="25186" y="33322"/>
                                  <a:pt x="13738" y="31063"/>
                                  <a:pt x="16027" y="33322"/>
                                </a:cubicBezTo>
                                <a:cubicBezTo>
                                  <a:pt x="13738" y="31063"/>
                                  <a:pt x="16027" y="31063"/>
                                  <a:pt x="18317" y="31063"/>
                                </a:cubicBezTo>
                                <a:cubicBezTo>
                                  <a:pt x="16027" y="28804"/>
                                  <a:pt x="18317" y="26544"/>
                                  <a:pt x="13738" y="28804"/>
                                </a:cubicBezTo>
                                <a:lnTo>
                                  <a:pt x="13738" y="26544"/>
                                </a:lnTo>
                                <a:cubicBezTo>
                                  <a:pt x="13738" y="26544"/>
                                  <a:pt x="13738" y="26544"/>
                                  <a:pt x="13738" y="24285"/>
                                </a:cubicBezTo>
                                <a:lnTo>
                                  <a:pt x="13738" y="22026"/>
                                </a:lnTo>
                                <a:cubicBezTo>
                                  <a:pt x="16027" y="26544"/>
                                  <a:pt x="20607" y="22026"/>
                                  <a:pt x="22896" y="22026"/>
                                </a:cubicBezTo>
                                <a:cubicBezTo>
                                  <a:pt x="25186" y="22026"/>
                                  <a:pt x="29765" y="22026"/>
                                  <a:pt x="29765" y="26544"/>
                                </a:cubicBezTo>
                                <a:cubicBezTo>
                                  <a:pt x="32055" y="19767"/>
                                  <a:pt x="38924" y="26544"/>
                                  <a:pt x="41214" y="24285"/>
                                </a:cubicBezTo>
                                <a:cubicBezTo>
                                  <a:pt x="38924" y="22026"/>
                                  <a:pt x="38924" y="22026"/>
                                  <a:pt x="38924" y="22026"/>
                                </a:cubicBezTo>
                                <a:cubicBezTo>
                                  <a:pt x="41214" y="19767"/>
                                  <a:pt x="48083" y="19767"/>
                                  <a:pt x="48083" y="15249"/>
                                </a:cubicBezTo>
                                <a:cubicBezTo>
                                  <a:pt x="45793" y="15249"/>
                                  <a:pt x="41214" y="17508"/>
                                  <a:pt x="38924" y="15249"/>
                                </a:cubicBezTo>
                                <a:cubicBezTo>
                                  <a:pt x="38924" y="12990"/>
                                  <a:pt x="41214" y="10731"/>
                                  <a:pt x="43503" y="12990"/>
                                </a:cubicBezTo>
                                <a:cubicBezTo>
                                  <a:pt x="43503" y="10731"/>
                                  <a:pt x="43503" y="8471"/>
                                  <a:pt x="45793" y="10731"/>
                                </a:cubicBezTo>
                                <a:cubicBezTo>
                                  <a:pt x="43503" y="8471"/>
                                  <a:pt x="45793" y="3953"/>
                                  <a:pt x="48083" y="3953"/>
                                </a:cubicBezTo>
                                <a:cubicBezTo>
                                  <a:pt x="52662" y="1694"/>
                                  <a:pt x="54952" y="3953"/>
                                  <a:pt x="59531" y="3953"/>
                                </a:cubicBezTo>
                                <a:cubicBezTo>
                                  <a:pt x="57241" y="-565"/>
                                  <a:pt x="59531" y="-565"/>
                                  <a:pt x="61821" y="1694"/>
                                </a:cubicBezTo>
                                <a:close/>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84" name="France">
                            <a:extLst>
                              <a:ext uri="{FF2B5EF4-FFF2-40B4-BE49-F238E27FC236}">
                                <a16:creationId xmlns:a16="http://schemas.microsoft.com/office/drawing/2014/main" id="{E74D2F9C-4126-5F56-A53D-C81EB03E3772}"/>
                              </a:ext>
                            </a:extLst>
                          </p:cNvPr>
                          <p:cNvSpPr>
                            <a:spLocks noEditPoints="1"/>
                          </p:cNvSpPr>
                          <p:nvPr/>
                        </p:nvSpPr>
                        <p:spPr bwMode="auto">
                          <a:xfrm>
                            <a:off x="3728980" y="2080702"/>
                            <a:ext cx="278259" cy="237815"/>
                          </a:xfrm>
                          <a:custGeom>
                            <a:avLst/>
                            <a:gdLst>
                              <a:gd name="T0" fmla="*/ 1271 w 1892"/>
                              <a:gd name="T1" fmla="*/ 1276 h 1617"/>
                              <a:gd name="T2" fmla="*/ 1849 w 1892"/>
                              <a:gd name="T3" fmla="*/ 1369 h 1617"/>
                              <a:gd name="T4" fmla="*/ 1762 w 1892"/>
                              <a:gd name="T5" fmla="*/ 1471 h 1617"/>
                              <a:gd name="T6" fmla="*/ 1777 w 1892"/>
                              <a:gd name="T7" fmla="*/ 1538 h 1617"/>
                              <a:gd name="T8" fmla="*/ 1802 w 1892"/>
                              <a:gd name="T9" fmla="*/ 1601 h 1617"/>
                              <a:gd name="T10" fmla="*/ 448 w 1892"/>
                              <a:gd name="T11" fmla="*/ 847 h 1617"/>
                              <a:gd name="T12" fmla="*/ 1649 w 1892"/>
                              <a:gd name="T13" fmla="*/ 438 h 1617"/>
                              <a:gd name="T14" fmla="*/ 1624 w 1892"/>
                              <a:gd name="T15" fmla="*/ 570 h 1617"/>
                              <a:gd name="T16" fmla="*/ 1558 w 1892"/>
                              <a:gd name="T17" fmla="*/ 596 h 1617"/>
                              <a:gd name="T18" fmla="*/ 1466 w 1892"/>
                              <a:gd name="T19" fmla="*/ 716 h 1617"/>
                              <a:gd name="T20" fmla="*/ 1415 w 1892"/>
                              <a:gd name="T21" fmla="*/ 808 h 1617"/>
                              <a:gd name="T22" fmla="*/ 1513 w 1892"/>
                              <a:gd name="T23" fmla="*/ 773 h 1617"/>
                              <a:gd name="T24" fmla="*/ 1528 w 1892"/>
                              <a:gd name="T25" fmla="*/ 894 h 1617"/>
                              <a:gd name="T26" fmla="*/ 1491 w 1892"/>
                              <a:gd name="T27" fmla="*/ 993 h 1617"/>
                              <a:gd name="T28" fmla="*/ 1530 w 1892"/>
                              <a:gd name="T29" fmla="*/ 1116 h 1617"/>
                              <a:gd name="T30" fmla="*/ 1624 w 1892"/>
                              <a:gd name="T31" fmla="*/ 1166 h 1617"/>
                              <a:gd name="T32" fmla="*/ 1433 w 1892"/>
                              <a:gd name="T33" fmla="*/ 1325 h 1617"/>
                              <a:gd name="T34" fmla="*/ 1323 w 1892"/>
                              <a:gd name="T35" fmla="*/ 1308 h 1617"/>
                              <a:gd name="T36" fmla="*/ 1277 w 1892"/>
                              <a:gd name="T37" fmla="*/ 1264 h 1617"/>
                              <a:gd name="T38" fmla="*/ 1226 w 1892"/>
                              <a:gd name="T39" fmla="*/ 1271 h 1617"/>
                              <a:gd name="T40" fmla="*/ 1075 w 1892"/>
                              <a:gd name="T41" fmla="*/ 1276 h 1617"/>
                              <a:gd name="T42" fmla="*/ 989 w 1892"/>
                              <a:gd name="T43" fmla="*/ 1362 h 1617"/>
                              <a:gd name="T44" fmla="*/ 975 w 1892"/>
                              <a:gd name="T45" fmla="*/ 1436 h 1617"/>
                              <a:gd name="T46" fmla="*/ 866 w 1892"/>
                              <a:gd name="T47" fmla="*/ 1451 h 1617"/>
                              <a:gd name="T48" fmla="*/ 805 w 1892"/>
                              <a:gd name="T49" fmla="*/ 1440 h 1617"/>
                              <a:gd name="T50" fmla="*/ 774 w 1892"/>
                              <a:gd name="T51" fmla="*/ 1394 h 1617"/>
                              <a:gd name="T52" fmla="*/ 645 w 1892"/>
                              <a:gd name="T53" fmla="*/ 1387 h 1617"/>
                              <a:gd name="T54" fmla="*/ 528 w 1892"/>
                              <a:gd name="T55" fmla="*/ 1372 h 1617"/>
                              <a:gd name="T56" fmla="*/ 395 w 1892"/>
                              <a:gd name="T57" fmla="*/ 1315 h 1617"/>
                              <a:gd name="T58" fmla="*/ 395 w 1892"/>
                              <a:gd name="T59" fmla="*/ 1217 h 1617"/>
                              <a:gd name="T60" fmla="*/ 437 w 1892"/>
                              <a:gd name="T61" fmla="*/ 1055 h 1617"/>
                              <a:gd name="T62" fmla="*/ 464 w 1892"/>
                              <a:gd name="T63" fmla="*/ 902 h 1617"/>
                              <a:gd name="T64" fmla="*/ 458 w 1892"/>
                              <a:gd name="T65" fmla="*/ 841 h 1617"/>
                              <a:gd name="T66" fmla="*/ 377 w 1892"/>
                              <a:gd name="T67" fmla="*/ 745 h 1617"/>
                              <a:gd name="T68" fmla="*/ 336 w 1892"/>
                              <a:gd name="T69" fmla="*/ 688 h 1617"/>
                              <a:gd name="T70" fmla="*/ 310 w 1892"/>
                              <a:gd name="T71" fmla="*/ 629 h 1617"/>
                              <a:gd name="T72" fmla="*/ 303 w 1892"/>
                              <a:gd name="T73" fmla="*/ 593 h 1617"/>
                              <a:gd name="T74" fmla="*/ 256 w 1892"/>
                              <a:gd name="T75" fmla="*/ 574 h 1617"/>
                              <a:gd name="T76" fmla="*/ 189 w 1892"/>
                              <a:gd name="T77" fmla="*/ 558 h 1617"/>
                              <a:gd name="T78" fmla="*/ 69 w 1892"/>
                              <a:gd name="T79" fmla="*/ 549 h 1617"/>
                              <a:gd name="T80" fmla="*/ 45 w 1892"/>
                              <a:gd name="T81" fmla="*/ 472 h 1617"/>
                              <a:gd name="T82" fmla="*/ 39 w 1892"/>
                              <a:gd name="T83" fmla="*/ 410 h 1617"/>
                              <a:gd name="T84" fmla="*/ 222 w 1892"/>
                              <a:gd name="T85" fmla="*/ 362 h 1617"/>
                              <a:gd name="T86" fmla="*/ 312 w 1892"/>
                              <a:gd name="T87" fmla="*/ 405 h 1617"/>
                              <a:gd name="T88" fmla="*/ 370 w 1892"/>
                              <a:gd name="T89" fmla="*/ 425 h 1617"/>
                              <a:gd name="T90" fmla="*/ 427 w 1892"/>
                              <a:gd name="T91" fmla="*/ 374 h 1617"/>
                              <a:gd name="T92" fmla="*/ 404 w 1892"/>
                              <a:gd name="T93" fmla="*/ 232 h 1617"/>
                              <a:gd name="T94" fmla="*/ 479 w 1892"/>
                              <a:gd name="T95" fmla="*/ 260 h 1617"/>
                              <a:gd name="T96" fmla="*/ 627 w 1892"/>
                              <a:gd name="T97" fmla="*/ 293 h 1617"/>
                              <a:gd name="T98" fmla="*/ 654 w 1892"/>
                              <a:gd name="T99" fmla="*/ 246 h 1617"/>
                              <a:gd name="T100" fmla="*/ 844 w 1892"/>
                              <a:gd name="T101" fmla="*/ 155 h 1617"/>
                              <a:gd name="T102" fmla="*/ 912 w 1892"/>
                              <a:gd name="T103" fmla="*/ 10 h 1617"/>
                              <a:gd name="T104" fmla="*/ 1006 w 1892"/>
                              <a:gd name="T105" fmla="*/ 62 h 1617"/>
                              <a:gd name="T106" fmla="*/ 1074 w 1892"/>
                              <a:gd name="T107" fmla="*/ 91 h 1617"/>
                              <a:gd name="T108" fmla="*/ 1195 w 1892"/>
                              <a:gd name="T109" fmla="*/ 156 h 1617"/>
                              <a:gd name="T110" fmla="*/ 1281 w 1892"/>
                              <a:gd name="T111" fmla="*/ 202 h 1617"/>
                              <a:gd name="T112" fmla="*/ 1417 w 1892"/>
                              <a:gd name="T113" fmla="*/ 264 h 1617"/>
                              <a:gd name="T114" fmla="*/ 1536 w 1892"/>
                              <a:gd name="T115" fmla="*/ 314 h 1617"/>
                              <a:gd name="T116" fmla="*/ 1578 w 1892"/>
                              <a:gd name="T117" fmla="*/ 329 h 1617"/>
                              <a:gd name="T118" fmla="*/ 1691 w 1892"/>
                              <a:gd name="T119" fmla="*/ 345 h 1617"/>
                              <a:gd name="T120" fmla="*/ 386 w 1892"/>
                              <a:gd name="T121" fmla="*/ 634 h 1617"/>
                              <a:gd name="T122" fmla="*/ 510 w 1892"/>
                              <a:gd name="T123" fmla="*/ 985 h 1617"/>
                              <a:gd name="T124" fmla="*/ 803 w 1892"/>
                              <a:gd name="T125" fmla="*/ 1404 h 1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92" h="1617">
                                <a:moveTo>
                                  <a:pt x="211" y="626"/>
                                </a:moveTo>
                                <a:lnTo>
                                  <a:pt x="211" y="630"/>
                                </a:lnTo>
                                <a:lnTo>
                                  <a:pt x="208" y="630"/>
                                </a:lnTo>
                                <a:lnTo>
                                  <a:pt x="206" y="629"/>
                                </a:lnTo>
                                <a:lnTo>
                                  <a:pt x="204" y="628"/>
                                </a:lnTo>
                                <a:lnTo>
                                  <a:pt x="202" y="626"/>
                                </a:lnTo>
                                <a:lnTo>
                                  <a:pt x="200" y="625"/>
                                </a:lnTo>
                                <a:lnTo>
                                  <a:pt x="199" y="624"/>
                                </a:lnTo>
                                <a:lnTo>
                                  <a:pt x="198" y="623"/>
                                </a:lnTo>
                                <a:lnTo>
                                  <a:pt x="197" y="621"/>
                                </a:lnTo>
                                <a:lnTo>
                                  <a:pt x="196" y="619"/>
                                </a:lnTo>
                                <a:lnTo>
                                  <a:pt x="195" y="618"/>
                                </a:lnTo>
                                <a:lnTo>
                                  <a:pt x="195" y="616"/>
                                </a:lnTo>
                                <a:lnTo>
                                  <a:pt x="195" y="615"/>
                                </a:lnTo>
                                <a:lnTo>
                                  <a:pt x="195" y="614"/>
                                </a:lnTo>
                                <a:lnTo>
                                  <a:pt x="195" y="613"/>
                                </a:lnTo>
                                <a:lnTo>
                                  <a:pt x="195" y="613"/>
                                </a:lnTo>
                                <a:lnTo>
                                  <a:pt x="195" y="613"/>
                                </a:lnTo>
                                <a:lnTo>
                                  <a:pt x="196" y="613"/>
                                </a:lnTo>
                                <a:lnTo>
                                  <a:pt x="197" y="613"/>
                                </a:lnTo>
                                <a:lnTo>
                                  <a:pt x="198" y="613"/>
                                </a:lnTo>
                                <a:lnTo>
                                  <a:pt x="200" y="613"/>
                                </a:lnTo>
                                <a:lnTo>
                                  <a:pt x="201" y="614"/>
                                </a:lnTo>
                                <a:lnTo>
                                  <a:pt x="203" y="615"/>
                                </a:lnTo>
                                <a:lnTo>
                                  <a:pt x="205" y="616"/>
                                </a:lnTo>
                                <a:lnTo>
                                  <a:pt x="206" y="617"/>
                                </a:lnTo>
                                <a:lnTo>
                                  <a:pt x="207" y="618"/>
                                </a:lnTo>
                                <a:lnTo>
                                  <a:pt x="208" y="620"/>
                                </a:lnTo>
                                <a:lnTo>
                                  <a:pt x="209" y="622"/>
                                </a:lnTo>
                                <a:lnTo>
                                  <a:pt x="210" y="624"/>
                                </a:lnTo>
                                <a:lnTo>
                                  <a:pt x="211" y="626"/>
                                </a:lnTo>
                                <a:close/>
                                <a:moveTo>
                                  <a:pt x="1285" y="1275"/>
                                </a:moveTo>
                                <a:lnTo>
                                  <a:pt x="1285" y="1274"/>
                                </a:lnTo>
                                <a:lnTo>
                                  <a:pt x="1285" y="1272"/>
                                </a:lnTo>
                                <a:lnTo>
                                  <a:pt x="1284" y="1271"/>
                                </a:lnTo>
                                <a:lnTo>
                                  <a:pt x="1284" y="1271"/>
                                </a:lnTo>
                                <a:lnTo>
                                  <a:pt x="1284" y="1270"/>
                                </a:lnTo>
                                <a:lnTo>
                                  <a:pt x="1283" y="1270"/>
                                </a:lnTo>
                                <a:lnTo>
                                  <a:pt x="1282" y="1270"/>
                                </a:lnTo>
                                <a:lnTo>
                                  <a:pt x="1280" y="1270"/>
                                </a:lnTo>
                                <a:lnTo>
                                  <a:pt x="1279" y="1270"/>
                                </a:lnTo>
                                <a:lnTo>
                                  <a:pt x="1278" y="1271"/>
                                </a:lnTo>
                                <a:lnTo>
                                  <a:pt x="1276" y="1271"/>
                                </a:lnTo>
                                <a:lnTo>
                                  <a:pt x="1275" y="1272"/>
                                </a:lnTo>
                                <a:lnTo>
                                  <a:pt x="1274" y="1274"/>
                                </a:lnTo>
                                <a:lnTo>
                                  <a:pt x="1272" y="1275"/>
                                </a:lnTo>
                                <a:lnTo>
                                  <a:pt x="1271" y="1276"/>
                                </a:lnTo>
                                <a:lnTo>
                                  <a:pt x="1271" y="1276"/>
                                </a:lnTo>
                                <a:lnTo>
                                  <a:pt x="1270" y="1277"/>
                                </a:lnTo>
                                <a:lnTo>
                                  <a:pt x="1270" y="1277"/>
                                </a:lnTo>
                                <a:lnTo>
                                  <a:pt x="1270" y="1277"/>
                                </a:lnTo>
                                <a:lnTo>
                                  <a:pt x="1271" y="1277"/>
                                </a:lnTo>
                                <a:lnTo>
                                  <a:pt x="1271" y="1277"/>
                                </a:lnTo>
                                <a:lnTo>
                                  <a:pt x="1273" y="1277"/>
                                </a:lnTo>
                                <a:lnTo>
                                  <a:pt x="1274" y="1277"/>
                                </a:lnTo>
                                <a:lnTo>
                                  <a:pt x="1276" y="1277"/>
                                </a:lnTo>
                                <a:lnTo>
                                  <a:pt x="1278" y="1277"/>
                                </a:lnTo>
                                <a:lnTo>
                                  <a:pt x="1280" y="1277"/>
                                </a:lnTo>
                                <a:lnTo>
                                  <a:pt x="1282" y="1277"/>
                                </a:lnTo>
                                <a:lnTo>
                                  <a:pt x="1284" y="1277"/>
                                </a:lnTo>
                                <a:lnTo>
                                  <a:pt x="1286" y="1277"/>
                                </a:lnTo>
                                <a:lnTo>
                                  <a:pt x="1285" y="1276"/>
                                </a:lnTo>
                                <a:lnTo>
                                  <a:pt x="1285" y="1275"/>
                                </a:lnTo>
                                <a:close/>
                                <a:moveTo>
                                  <a:pt x="1892" y="1454"/>
                                </a:moveTo>
                                <a:lnTo>
                                  <a:pt x="1891" y="1449"/>
                                </a:lnTo>
                                <a:lnTo>
                                  <a:pt x="1891" y="1445"/>
                                </a:lnTo>
                                <a:lnTo>
                                  <a:pt x="1890" y="1441"/>
                                </a:lnTo>
                                <a:lnTo>
                                  <a:pt x="1888" y="1431"/>
                                </a:lnTo>
                                <a:lnTo>
                                  <a:pt x="1886" y="1421"/>
                                </a:lnTo>
                                <a:lnTo>
                                  <a:pt x="1884" y="1411"/>
                                </a:lnTo>
                                <a:lnTo>
                                  <a:pt x="1882" y="1402"/>
                                </a:lnTo>
                                <a:lnTo>
                                  <a:pt x="1879" y="1391"/>
                                </a:lnTo>
                                <a:lnTo>
                                  <a:pt x="1877" y="1381"/>
                                </a:lnTo>
                                <a:lnTo>
                                  <a:pt x="1875" y="1372"/>
                                </a:lnTo>
                                <a:lnTo>
                                  <a:pt x="1875" y="1367"/>
                                </a:lnTo>
                                <a:lnTo>
                                  <a:pt x="1874" y="1362"/>
                                </a:lnTo>
                                <a:lnTo>
                                  <a:pt x="1873" y="1357"/>
                                </a:lnTo>
                                <a:lnTo>
                                  <a:pt x="1873" y="1351"/>
                                </a:lnTo>
                                <a:lnTo>
                                  <a:pt x="1873" y="1347"/>
                                </a:lnTo>
                                <a:lnTo>
                                  <a:pt x="1873" y="1343"/>
                                </a:lnTo>
                                <a:lnTo>
                                  <a:pt x="1869" y="1343"/>
                                </a:lnTo>
                                <a:lnTo>
                                  <a:pt x="1867" y="1343"/>
                                </a:lnTo>
                                <a:lnTo>
                                  <a:pt x="1864" y="1343"/>
                                </a:lnTo>
                                <a:lnTo>
                                  <a:pt x="1862" y="1344"/>
                                </a:lnTo>
                                <a:lnTo>
                                  <a:pt x="1860" y="1345"/>
                                </a:lnTo>
                                <a:lnTo>
                                  <a:pt x="1859" y="1346"/>
                                </a:lnTo>
                                <a:lnTo>
                                  <a:pt x="1858" y="1347"/>
                                </a:lnTo>
                                <a:lnTo>
                                  <a:pt x="1856" y="1348"/>
                                </a:lnTo>
                                <a:lnTo>
                                  <a:pt x="1855" y="1349"/>
                                </a:lnTo>
                                <a:lnTo>
                                  <a:pt x="1854" y="1350"/>
                                </a:lnTo>
                                <a:lnTo>
                                  <a:pt x="1853" y="1352"/>
                                </a:lnTo>
                                <a:lnTo>
                                  <a:pt x="1853" y="1353"/>
                                </a:lnTo>
                                <a:lnTo>
                                  <a:pt x="1851" y="1358"/>
                                </a:lnTo>
                                <a:lnTo>
                                  <a:pt x="1851" y="1361"/>
                                </a:lnTo>
                                <a:lnTo>
                                  <a:pt x="1850" y="1365"/>
                                </a:lnTo>
                                <a:lnTo>
                                  <a:pt x="1849" y="1369"/>
                                </a:lnTo>
                                <a:lnTo>
                                  <a:pt x="1849" y="1373"/>
                                </a:lnTo>
                                <a:lnTo>
                                  <a:pt x="1848" y="1377"/>
                                </a:lnTo>
                                <a:lnTo>
                                  <a:pt x="1847" y="1381"/>
                                </a:lnTo>
                                <a:lnTo>
                                  <a:pt x="1846" y="1382"/>
                                </a:lnTo>
                                <a:lnTo>
                                  <a:pt x="1846" y="1384"/>
                                </a:lnTo>
                                <a:lnTo>
                                  <a:pt x="1845" y="1386"/>
                                </a:lnTo>
                                <a:lnTo>
                                  <a:pt x="1844" y="1387"/>
                                </a:lnTo>
                                <a:lnTo>
                                  <a:pt x="1842" y="1389"/>
                                </a:lnTo>
                                <a:lnTo>
                                  <a:pt x="1841" y="1391"/>
                                </a:lnTo>
                                <a:lnTo>
                                  <a:pt x="1838" y="1394"/>
                                </a:lnTo>
                                <a:lnTo>
                                  <a:pt x="1834" y="1397"/>
                                </a:lnTo>
                                <a:lnTo>
                                  <a:pt x="1830" y="1399"/>
                                </a:lnTo>
                                <a:lnTo>
                                  <a:pt x="1826" y="1401"/>
                                </a:lnTo>
                                <a:lnTo>
                                  <a:pt x="1822" y="1403"/>
                                </a:lnTo>
                                <a:lnTo>
                                  <a:pt x="1818" y="1404"/>
                                </a:lnTo>
                                <a:lnTo>
                                  <a:pt x="1809" y="1408"/>
                                </a:lnTo>
                                <a:lnTo>
                                  <a:pt x="1801" y="1410"/>
                                </a:lnTo>
                                <a:lnTo>
                                  <a:pt x="1797" y="1412"/>
                                </a:lnTo>
                                <a:lnTo>
                                  <a:pt x="1793" y="1414"/>
                                </a:lnTo>
                                <a:lnTo>
                                  <a:pt x="1787" y="1416"/>
                                </a:lnTo>
                                <a:lnTo>
                                  <a:pt x="1784" y="1418"/>
                                </a:lnTo>
                                <a:lnTo>
                                  <a:pt x="1781" y="1420"/>
                                </a:lnTo>
                                <a:lnTo>
                                  <a:pt x="1778" y="1423"/>
                                </a:lnTo>
                                <a:lnTo>
                                  <a:pt x="1775" y="1423"/>
                                </a:lnTo>
                                <a:lnTo>
                                  <a:pt x="1772" y="1424"/>
                                </a:lnTo>
                                <a:lnTo>
                                  <a:pt x="1771" y="1424"/>
                                </a:lnTo>
                                <a:lnTo>
                                  <a:pt x="1769" y="1426"/>
                                </a:lnTo>
                                <a:lnTo>
                                  <a:pt x="1767" y="1427"/>
                                </a:lnTo>
                                <a:lnTo>
                                  <a:pt x="1766" y="1429"/>
                                </a:lnTo>
                                <a:lnTo>
                                  <a:pt x="1765" y="1431"/>
                                </a:lnTo>
                                <a:lnTo>
                                  <a:pt x="1764" y="1433"/>
                                </a:lnTo>
                                <a:lnTo>
                                  <a:pt x="1763" y="1436"/>
                                </a:lnTo>
                                <a:lnTo>
                                  <a:pt x="1763" y="1438"/>
                                </a:lnTo>
                                <a:lnTo>
                                  <a:pt x="1762" y="1441"/>
                                </a:lnTo>
                                <a:lnTo>
                                  <a:pt x="1762" y="1444"/>
                                </a:lnTo>
                                <a:lnTo>
                                  <a:pt x="1762" y="1449"/>
                                </a:lnTo>
                                <a:lnTo>
                                  <a:pt x="1762" y="1456"/>
                                </a:lnTo>
                                <a:lnTo>
                                  <a:pt x="1762" y="1456"/>
                                </a:lnTo>
                                <a:lnTo>
                                  <a:pt x="1762" y="1457"/>
                                </a:lnTo>
                                <a:lnTo>
                                  <a:pt x="1762" y="1458"/>
                                </a:lnTo>
                                <a:lnTo>
                                  <a:pt x="1762" y="1458"/>
                                </a:lnTo>
                                <a:lnTo>
                                  <a:pt x="1762" y="1459"/>
                                </a:lnTo>
                                <a:lnTo>
                                  <a:pt x="1762" y="1460"/>
                                </a:lnTo>
                                <a:lnTo>
                                  <a:pt x="1762" y="1462"/>
                                </a:lnTo>
                                <a:lnTo>
                                  <a:pt x="1762" y="1464"/>
                                </a:lnTo>
                                <a:lnTo>
                                  <a:pt x="1762" y="1466"/>
                                </a:lnTo>
                                <a:lnTo>
                                  <a:pt x="1762" y="1469"/>
                                </a:lnTo>
                                <a:lnTo>
                                  <a:pt x="1762" y="1471"/>
                                </a:lnTo>
                                <a:lnTo>
                                  <a:pt x="1761" y="1471"/>
                                </a:lnTo>
                                <a:lnTo>
                                  <a:pt x="1760" y="1471"/>
                                </a:lnTo>
                                <a:lnTo>
                                  <a:pt x="1759" y="1472"/>
                                </a:lnTo>
                                <a:lnTo>
                                  <a:pt x="1758" y="1472"/>
                                </a:lnTo>
                                <a:lnTo>
                                  <a:pt x="1757" y="1473"/>
                                </a:lnTo>
                                <a:lnTo>
                                  <a:pt x="1757" y="1474"/>
                                </a:lnTo>
                                <a:lnTo>
                                  <a:pt x="1756" y="1475"/>
                                </a:lnTo>
                                <a:lnTo>
                                  <a:pt x="1756" y="1477"/>
                                </a:lnTo>
                                <a:lnTo>
                                  <a:pt x="1756" y="1478"/>
                                </a:lnTo>
                                <a:lnTo>
                                  <a:pt x="1756" y="1479"/>
                                </a:lnTo>
                                <a:lnTo>
                                  <a:pt x="1756" y="1481"/>
                                </a:lnTo>
                                <a:lnTo>
                                  <a:pt x="1756" y="1482"/>
                                </a:lnTo>
                                <a:lnTo>
                                  <a:pt x="1757" y="1485"/>
                                </a:lnTo>
                                <a:lnTo>
                                  <a:pt x="1759" y="1488"/>
                                </a:lnTo>
                                <a:lnTo>
                                  <a:pt x="1760" y="1491"/>
                                </a:lnTo>
                                <a:lnTo>
                                  <a:pt x="1762" y="1494"/>
                                </a:lnTo>
                                <a:lnTo>
                                  <a:pt x="1764" y="1496"/>
                                </a:lnTo>
                                <a:lnTo>
                                  <a:pt x="1767" y="1499"/>
                                </a:lnTo>
                                <a:lnTo>
                                  <a:pt x="1769" y="1501"/>
                                </a:lnTo>
                                <a:lnTo>
                                  <a:pt x="1771" y="1501"/>
                                </a:lnTo>
                                <a:lnTo>
                                  <a:pt x="1772" y="1502"/>
                                </a:lnTo>
                                <a:lnTo>
                                  <a:pt x="1773" y="1503"/>
                                </a:lnTo>
                                <a:lnTo>
                                  <a:pt x="1775" y="1503"/>
                                </a:lnTo>
                                <a:lnTo>
                                  <a:pt x="1776" y="1504"/>
                                </a:lnTo>
                                <a:lnTo>
                                  <a:pt x="1775" y="1504"/>
                                </a:lnTo>
                                <a:lnTo>
                                  <a:pt x="1773" y="1504"/>
                                </a:lnTo>
                                <a:lnTo>
                                  <a:pt x="1772" y="1505"/>
                                </a:lnTo>
                                <a:lnTo>
                                  <a:pt x="1772" y="1506"/>
                                </a:lnTo>
                                <a:lnTo>
                                  <a:pt x="1771" y="1507"/>
                                </a:lnTo>
                                <a:lnTo>
                                  <a:pt x="1769" y="1508"/>
                                </a:lnTo>
                                <a:lnTo>
                                  <a:pt x="1768" y="1511"/>
                                </a:lnTo>
                                <a:lnTo>
                                  <a:pt x="1767" y="1513"/>
                                </a:lnTo>
                                <a:lnTo>
                                  <a:pt x="1766" y="1517"/>
                                </a:lnTo>
                                <a:lnTo>
                                  <a:pt x="1766" y="1520"/>
                                </a:lnTo>
                                <a:lnTo>
                                  <a:pt x="1766" y="1523"/>
                                </a:lnTo>
                                <a:lnTo>
                                  <a:pt x="1767" y="1526"/>
                                </a:lnTo>
                                <a:lnTo>
                                  <a:pt x="1768" y="1529"/>
                                </a:lnTo>
                                <a:lnTo>
                                  <a:pt x="1769" y="1531"/>
                                </a:lnTo>
                                <a:lnTo>
                                  <a:pt x="1771" y="1533"/>
                                </a:lnTo>
                                <a:lnTo>
                                  <a:pt x="1772" y="1534"/>
                                </a:lnTo>
                                <a:lnTo>
                                  <a:pt x="1772" y="1534"/>
                                </a:lnTo>
                                <a:lnTo>
                                  <a:pt x="1773" y="1535"/>
                                </a:lnTo>
                                <a:lnTo>
                                  <a:pt x="1775" y="1535"/>
                                </a:lnTo>
                                <a:lnTo>
                                  <a:pt x="1776" y="1536"/>
                                </a:lnTo>
                                <a:lnTo>
                                  <a:pt x="1778" y="1536"/>
                                </a:lnTo>
                                <a:lnTo>
                                  <a:pt x="1777" y="1536"/>
                                </a:lnTo>
                                <a:lnTo>
                                  <a:pt x="1777" y="1537"/>
                                </a:lnTo>
                                <a:lnTo>
                                  <a:pt x="1777" y="1538"/>
                                </a:lnTo>
                                <a:lnTo>
                                  <a:pt x="1777" y="1540"/>
                                </a:lnTo>
                                <a:lnTo>
                                  <a:pt x="1777" y="1541"/>
                                </a:lnTo>
                                <a:lnTo>
                                  <a:pt x="1776" y="1542"/>
                                </a:lnTo>
                                <a:lnTo>
                                  <a:pt x="1776" y="1544"/>
                                </a:lnTo>
                                <a:lnTo>
                                  <a:pt x="1775" y="1545"/>
                                </a:lnTo>
                                <a:lnTo>
                                  <a:pt x="1774" y="1546"/>
                                </a:lnTo>
                                <a:lnTo>
                                  <a:pt x="1772" y="1548"/>
                                </a:lnTo>
                                <a:lnTo>
                                  <a:pt x="1771" y="1549"/>
                                </a:lnTo>
                                <a:lnTo>
                                  <a:pt x="1769" y="1550"/>
                                </a:lnTo>
                                <a:lnTo>
                                  <a:pt x="1767" y="1551"/>
                                </a:lnTo>
                                <a:lnTo>
                                  <a:pt x="1765" y="1551"/>
                                </a:lnTo>
                                <a:lnTo>
                                  <a:pt x="1762" y="1552"/>
                                </a:lnTo>
                                <a:lnTo>
                                  <a:pt x="1765" y="1555"/>
                                </a:lnTo>
                                <a:lnTo>
                                  <a:pt x="1768" y="1558"/>
                                </a:lnTo>
                                <a:lnTo>
                                  <a:pt x="1771" y="1560"/>
                                </a:lnTo>
                                <a:lnTo>
                                  <a:pt x="1773" y="1562"/>
                                </a:lnTo>
                                <a:lnTo>
                                  <a:pt x="1776" y="1563"/>
                                </a:lnTo>
                                <a:lnTo>
                                  <a:pt x="1779" y="1565"/>
                                </a:lnTo>
                                <a:lnTo>
                                  <a:pt x="1781" y="1566"/>
                                </a:lnTo>
                                <a:lnTo>
                                  <a:pt x="1784" y="1566"/>
                                </a:lnTo>
                                <a:lnTo>
                                  <a:pt x="1785" y="1567"/>
                                </a:lnTo>
                                <a:lnTo>
                                  <a:pt x="1787" y="1568"/>
                                </a:lnTo>
                                <a:lnTo>
                                  <a:pt x="1789" y="1568"/>
                                </a:lnTo>
                                <a:lnTo>
                                  <a:pt x="1790" y="1568"/>
                                </a:lnTo>
                                <a:lnTo>
                                  <a:pt x="1792" y="1568"/>
                                </a:lnTo>
                                <a:lnTo>
                                  <a:pt x="1793" y="1568"/>
                                </a:lnTo>
                                <a:lnTo>
                                  <a:pt x="1794" y="1569"/>
                                </a:lnTo>
                                <a:lnTo>
                                  <a:pt x="1794" y="1569"/>
                                </a:lnTo>
                                <a:lnTo>
                                  <a:pt x="1793" y="1569"/>
                                </a:lnTo>
                                <a:lnTo>
                                  <a:pt x="1790" y="1570"/>
                                </a:lnTo>
                                <a:lnTo>
                                  <a:pt x="1789" y="1570"/>
                                </a:lnTo>
                                <a:lnTo>
                                  <a:pt x="1788" y="1571"/>
                                </a:lnTo>
                                <a:lnTo>
                                  <a:pt x="1787" y="1572"/>
                                </a:lnTo>
                                <a:lnTo>
                                  <a:pt x="1786" y="1573"/>
                                </a:lnTo>
                                <a:lnTo>
                                  <a:pt x="1785" y="1575"/>
                                </a:lnTo>
                                <a:lnTo>
                                  <a:pt x="1784" y="1577"/>
                                </a:lnTo>
                                <a:lnTo>
                                  <a:pt x="1784" y="1579"/>
                                </a:lnTo>
                                <a:lnTo>
                                  <a:pt x="1784" y="1581"/>
                                </a:lnTo>
                                <a:lnTo>
                                  <a:pt x="1785" y="1582"/>
                                </a:lnTo>
                                <a:lnTo>
                                  <a:pt x="1786" y="1584"/>
                                </a:lnTo>
                                <a:lnTo>
                                  <a:pt x="1787" y="1586"/>
                                </a:lnTo>
                                <a:lnTo>
                                  <a:pt x="1788" y="1588"/>
                                </a:lnTo>
                                <a:lnTo>
                                  <a:pt x="1790" y="1590"/>
                                </a:lnTo>
                                <a:lnTo>
                                  <a:pt x="1793" y="1592"/>
                                </a:lnTo>
                                <a:lnTo>
                                  <a:pt x="1795" y="1594"/>
                                </a:lnTo>
                                <a:lnTo>
                                  <a:pt x="1797" y="1596"/>
                                </a:lnTo>
                                <a:lnTo>
                                  <a:pt x="1800" y="1599"/>
                                </a:lnTo>
                                <a:lnTo>
                                  <a:pt x="1802" y="1601"/>
                                </a:lnTo>
                                <a:lnTo>
                                  <a:pt x="1805" y="1602"/>
                                </a:lnTo>
                                <a:lnTo>
                                  <a:pt x="1810" y="1606"/>
                                </a:lnTo>
                                <a:lnTo>
                                  <a:pt x="1816" y="1608"/>
                                </a:lnTo>
                                <a:lnTo>
                                  <a:pt x="1822" y="1611"/>
                                </a:lnTo>
                                <a:lnTo>
                                  <a:pt x="1825" y="1612"/>
                                </a:lnTo>
                                <a:lnTo>
                                  <a:pt x="1827" y="1613"/>
                                </a:lnTo>
                                <a:lnTo>
                                  <a:pt x="1830" y="1614"/>
                                </a:lnTo>
                                <a:lnTo>
                                  <a:pt x="1834" y="1615"/>
                                </a:lnTo>
                                <a:lnTo>
                                  <a:pt x="1835" y="1616"/>
                                </a:lnTo>
                                <a:lnTo>
                                  <a:pt x="1837" y="1616"/>
                                </a:lnTo>
                                <a:lnTo>
                                  <a:pt x="1839" y="1616"/>
                                </a:lnTo>
                                <a:lnTo>
                                  <a:pt x="1841" y="1617"/>
                                </a:lnTo>
                                <a:lnTo>
                                  <a:pt x="1844" y="1610"/>
                                </a:lnTo>
                                <a:lnTo>
                                  <a:pt x="1847" y="1604"/>
                                </a:lnTo>
                                <a:lnTo>
                                  <a:pt x="1850" y="1596"/>
                                </a:lnTo>
                                <a:lnTo>
                                  <a:pt x="1853" y="1589"/>
                                </a:lnTo>
                                <a:lnTo>
                                  <a:pt x="1856" y="1582"/>
                                </a:lnTo>
                                <a:lnTo>
                                  <a:pt x="1858" y="1574"/>
                                </a:lnTo>
                                <a:lnTo>
                                  <a:pt x="1861" y="1567"/>
                                </a:lnTo>
                                <a:lnTo>
                                  <a:pt x="1864" y="1558"/>
                                </a:lnTo>
                                <a:lnTo>
                                  <a:pt x="1867" y="1549"/>
                                </a:lnTo>
                                <a:lnTo>
                                  <a:pt x="1870" y="1541"/>
                                </a:lnTo>
                                <a:lnTo>
                                  <a:pt x="1874" y="1533"/>
                                </a:lnTo>
                                <a:lnTo>
                                  <a:pt x="1877" y="1524"/>
                                </a:lnTo>
                                <a:lnTo>
                                  <a:pt x="1883" y="1506"/>
                                </a:lnTo>
                                <a:lnTo>
                                  <a:pt x="1888" y="1488"/>
                                </a:lnTo>
                                <a:lnTo>
                                  <a:pt x="1889" y="1485"/>
                                </a:lnTo>
                                <a:lnTo>
                                  <a:pt x="1890" y="1482"/>
                                </a:lnTo>
                                <a:lnTo>
                                  <a:pt x="1891" y="1478"/>
                                </a:lnTo>
                                <a:lnTo>
                                  <a:pt x="1892" y="1474"/>
                                </a:lnTo>
                                <a:lnTo>
                                  <a:pt x="1892" y="1470"/>
                                </a:lnTo>
                                <a:lnTo>
                                  <a:pt x="1892" y="1466"/>
                                </a:lnTo>
                                <a:lnTo>
                                  <a:pt x="1892" y="1462"/>
                                </a:lnTo>
                                <a:lnTo>
                                  <a:pt x="1892" y="1458"/>
                                </a:lnTo>
                                <a:lnTo>
                                  <a:pt x="1892" y="1454"/>
                                </a:lnTo>
                                <a:close/>
                                <a:moveTo>
                                  <a:pt x="449" y="868"/>
                                </a:moveTo>
                                <a:lnTo>
                                  <a:pt x="450" y="866"/>
                                </a:lnTo>
                                <a:lnTo>
                                  <a:pt x="451" y="865"/>
                                </a:lnTo>
                                <a:lnTo>
                                  <a:pt x="451" y="863"/>
                                </a:lnTo>
                                <a:lnTo>
                                  <a:pt x="452" y="862"/>
                                </a:lnTo>
                                <a:lnTo>
                                  <a:pt x="452" y="860"/>
                                </a:lnTo>
                                <a:lnTo>
                                  <a:pt x="453" y="857"/>
                                </a:lnTo>
                                <a:lnTo>
                                  <a:pt x="453" y="855"/>
                                </a:lnTo>
                                <a:lnTo>
                                  <a:pt x="453" y="853"/>
                                </a:lnTo>
                                <a:lnTo>
                                  <a:pt x="452" y="851"/>
                                </a:lnTo>
                                <a:lnTo>
                                  <a:pt x="451" y="849"/>
                                </a:lnTo>
                                <a:lnTo>
                                  <a:pt x="450" y="848"/>
                                </a:lnTo>
                                <a:lnTo>
                                  <a:pt x="448" y="847"/>
                                </a:lnTo>
                                <a:lnTo>
                                  <a:pt x="447" y="847"/>
                                </a:lnTo>
                                <a:lnTo>
                                  <a:pt x="446" y="846"/>
                                </a:lnTo>
                                <a:lnTo>
                                  <a:pt x="445" y="846"/>
                                </a:lnTo>
                                <a:lnTo>
                                  <a:pt x="444" y="846"/>
                                </a:lnTo>
                                <a:lnTo>
                                  <a:pt x="443" y="847"/>
                                </a:lnTo>
                                <a:lnTo>
                                  <a:pt x="442" y="847"/>
                                </a:lnTo>
                                <a:lnTo>
                                  <a:pt x="441" y="848"/>
                                </a:lnTo>
                                <a:lnTo>
                                  <a:pt x="440" y="848"/>
                                </a:lnTo>
                                <a:lnTo>
                                  <a:pt x="439" y="849"/>
                                </a:lnTo>
                                <a:lnTo>
                                  <a:pt x="438" y="851"/>
                                </a:lnTo>
                                <a:lnTo>
                                  <a:pt x="437" y="852"/>
                                </a:lnTo>
                                <a:lnTo>
                                  <a:pt x="436" y="853"/>
                                </a:lnTo>
                                <a:lnTo>
                                  <a:pt x="436" y="854"/>
                                </a:lnTo>
                                <a:lnTo>
                                  <a:pt x="437" y="855"/>
                                </a:lnTo>
                                <a:lnTo>
                                  <a:pt x="438" y="856"/>
                                </a:lnTo>
                                <a:lnTo>
                                  <a:pt x="438" y="857"/>
                                </a:lnTo>
                                <a:lnTo>
                                  <a:pt x="440" y="858"/>
                                </a:lnTo>
                                <a:lnTo>
                                  <a:pt x="442" y="861"/>
                                </a:lnTo>
                                <a:lnTo>
                                  <a:pt x="444" y="864"/>
                                </a:lnTo>
                                <a:lnTo>
                                  <a:pt x="445" y="866"/>
                                </a:lnTo>
                                <a:lnTo>
                                  <a:pt x="446" y="867"/>
                                </a:lnTo>
                                <a:lnTo>
                                  <a:pt x="447" y="868"/>
                                </a:lnTo>
                                <a:lnTo>
                                  <a:pt x="447" y="870"/>
                                </a:lnTo>
                                <a:lnTo>
                                  <a:pt x="448" y="870"/>
                                </a:lnTo>
                                <a:lnTo>
                                  <a:pt x="448" y="870"/>
                                </a:lnTo>
                                <a:lnTo>
                                  <a:pt x="449" y="868"/>
                                </a:lnTo>
                                <a:close/>
                                <a:moveTo>
                                  <a:pt x="1710" y="346"/>
                                </a:moveTo>
                                <a:lnTo>
                                  <a:pt x="1713" y="346"/>
                                </a:lnTo>
                                <a:lnTo>
                                  <a:pt x="1701" y="357"/>
                                </a:lnTo>
                                <a:lnTo>
                                  <a:pt x="1695" y="363"/>
                                </a:lnTo>
                                <a:lnTo>
                                  <a:pt x="1689" y="369"/>
                                </a:lnTo>
                                <a:lnTo>
                                  <a:pt x="1684" y="375"/>
                                </a:lnTo>
                                <a:lnTo>
                                  <a:pt x="1679" y="381"/>
                                </a:lnTo>
                                <a:lnTo>
                                  <a:pt x="1674" y="388"/>
                                </a:lnTo>
                                <a:lnTo>
                                  <a:pt x="1669" y="393"/>
                                </a:lnTo>
                                <a:lnTo>
                                  <a:pt x="1665" y="399"/>
                                </a:lnTo>
                                <a:lnTo>
                                  <a:pt x="1661" y="405"/>
                                </a:lnTo>
                                <a:lnTo>
                                  <a:pt x="1659" y="408"/>
                                </a:lnTo>
                                <a:lnTo>
                                  <a:pt x="1658" y="411"/>
                                </a:lnTo>
                                <a:lnTo>
                                  <a:pt x="1656" y="414"/>
                                </a:lnTo>
                                <a:lnTo>
                                  <a:pt x="1655" y="416"/>
                                </a:lnTo>
                                <a:lnTo>
                                  <a:pt x="1654" y="419"/>
                                </a:lnTo>
                                <a:lnTo>
                                  <a:pt x="1652" y="422"/>
                                </a:lnTo>
                                <a:lnTo>
                                  <a:pt x="1651" y="426"/>
                                </a:lnTo>
                                <a:lnTo>
                                  <a:pt x="1651" y="429"/>
                                </a:lnTo>
                                <a:lnTo>
                                  <a:pt x="1650" y="432"/>
                                </a:lnTo>
                                <a:lnTo>
                                  <a:pt x="1650" y="435"/>
                                </a:lnTo>
                                <a:lnTo>
                                  <a:pt x="1649" y="438"/>
                                </a:lnTo>
                                <a:lnTo>
                                  <a:pt x="1649" y="440"/>
                                </a:lnTo>
                                <a:lnTo>
                                  <a:pt x="1647" y="446"/>
                                </a:lnTo>
                                <a:lnTo>
                                  <a:pt x="1644" y="451"/>
                                </a:lnTo>
                                <a:lnTo>
                                  <a:pt x="1642" y="456"/>
                                </a:lnTo>
                                <a:lnTo>
                                  <a:pt x="1640" y="461"/>
                                </a:lnTo>
                                <a:lnTo>
                                  <a:pt x="1639" y="466"/>
                                </a:lnTo>
                                <a:lnTo>
                                  <a:pt x="1638" y="470"/>
                                </a:lnTo>
                                <a:lnTo>
                                  <a:pt x="1637" y="474"/>
                                </a:lnTo>
                                <a:lnTo>
                                  <a:pt x="1636" y="478"/>
                                </a:lnTo>
                                <a:lnTo>
                                  <a:pt x="1635" y="481"/>
                                </a:lnTo>
                                <a:lnTo>
                                  <a:pt x="1635" y="485"/>
                                </a:lnTo>
                                <a:lnTo>
                                  <a:pt x="1635" y="488"/>
                                </a:lnTo>
                                <a:lnTo>
                                  <a:pt x="1634" y="491"/>
                                </a:lnTo>
                                <a:lnTo>
                                  <a:pt x="1634" y="497"/>
                                </a:lnTo>
                                <a:lnTo>
                                  <a:pt x="1634" y="503"/>
                                </a:lnTo>
                                <a:lnTo>
                                  <a:pt x="1633" y="504"/>
                                </a:lnTo>
                                <a:lnTo>
                                  <a:pt x="1631" y="507"/>
                                </a:lnTo>
                                <a:lnTo>
                                  <a:pt x="1629" y="508"/>
                                </a:lnTo>
                                <a:lnTo>
                                  <a:pt x="1629" y="509"/>
                                </a:lnTo>
                                <a:lnTo>
                                  <a:pt x="1628" y="510"/>
                                </a:lnTo>
                                <a:lnTo>
                                  <a:pt x="1627" y="511"/>
                                </a:lnTo>
                                <a:lnTo>
                                  <a:pt x="1626" y="513"/>
                                </a:lnTo>
                                <a:lnTo>
                                  <a:pt x="1626" y="515"/>
                                </a:lnTo>
                                <a:lnTo>
                                  <a:pt x="1625" y="516"/>
                                </a:lnTo>
                                <a:lnTo>
                                  <a:pt x="1625" y="518"/>
                                </a:lnTo>
                                <a:lnTo>
                                  <a:pt x="1625" y="519"/>
                                </a:lnTo>
                                <a:lnTo>
                                  <a:pt x="1625" y="521"/>
                                </a:lnTo>
                                <a:lnTo>
                                  <a:pt x="1625" y="522"/>
                                </a:lnTo>
                                <a:lnTo>
                                  <a:pt x="1625" y="524"/>
                                </a:lnTo>
                                <a:lnTo>
                                  <a:pt x="1624" y="526"/>
                                </a:lnTo>
                                <a:lnTo>
                                  <a:pt x="1624" y="527"/>
                                </a:lnTo>
                                <a:lnTo>
                                  <a:pt x="1623" y="528"/>
                                </a:lnTo>
                                <a:lnTo>
                                  <a:pt x="1622" y="530"/>
                                </a:lnTo>
                                <a:lnTo>
                                  <a:pt x="1621" y="531"/>
                                </a:lnTo>
                                <a:lnTo>
                                  <a:pt x="1620" y="532"/>
                                </a:lnTo>
                                <a:lnTo>
                                  <a:pt x="1619" y="533"/>
                                </a:lnTo>
                                <a:lnTo>
                                  <a:pt x="1618" y="535"/>
                                </a:lnTo>
                                <a:lnTo>
                                  <a:pt x="1618" y="538"/>
                                </a:lnTo>
                                <a:lnTo>
                                  <a:pt x="1618" y="540"/>
                                </a:lnTo>
                                <a:lnTo>
                                  <a:pt x="1619" y="543"/>
                                </a:lnTo>
                                <a:lnTo>
                                  <a:pt x="1620" y="547"/>
                                </a:lnTo>
                                <a:lnTo>
                                  <a:pt x="1622" y="553"/>
                                </a:lnTo>
                                <a:lnTo>
                                  <a:pt x="1623" y="556"/>
                                </a:lnTo>
                                <a:lnTo>
                                  <a:pt x="1624" y="559"/>
                                </a:lnTo>
                                <a:lnTo>
                                  <a:pt x="1624" y="562"/>
                                </a:lnTo>
                                <a:lnTo>
                                  <a:pt x="1624" y="564"/>
                                </a:lnTo>
                                <a:lnTo>
                                  <a:pt x="1624" y="567"/>
                                </a:lnTo>
                                <a:lnTo>
                                  <a:pt x="1624" y="570"/>
                                </a:lnTo>
                                <a:lnTo>
                                  <a:pt x="1624" y="572"/>
                                </a:lnTo>
                                <a:lnTo>
                                  <a:pt x="1624" y="573"/>
                                </a:lnTo>
                                <a:lnTo>
                                  <a:pt x="1623" y="575"/>
                                </a:lnTo>
                                <a:lnTo>
                                  <a:pt x="1622" y="576"/>
                                </a:lnTo>
                                <a:lnTo>
                                  <a:pt x="1621" y="578"/>
                                </a:lnTo>
                                <a:lnTo>
                                  <a:pt x="1620" y="579"/>
                                </a:lnTo>
                                <a:lnTo>
                                  <a:pt x="1619" y="581"/>
                                </a:lnTo>
                                <a:lnTo>
                                  <a:pt x="1618" y="582"/>
                                </a:lnTo>
                                <a:lnTo>
                                  <a:pt x="1615" y="585"/>
                                </a:lnTo>
                                <a:lnTo>
                                  <a:pt x="1612" y="588"/>
                                </a:lnTo>
                                <a:lnTo>
                                  <a:pt x="1611" y="591"/>
                                </a:lnTo>
                                <a:lnTo>
                                  <a:pt x="1609" y="594"/>
                                </a:lnTo>
                                <a:lnTo>
                                  <a:pt x="1607" y="597"/>
                                </a:lnTo>
                                <a:lnTo>
                                  <a:pt x="1605" y="599"/>
                                </a:lnTo>
                                <a:lnTo>
                                  <a:pt x="1604" y="600"/>
                                </a:lnTo>
                                <a:lnTo>
                                  <a:pt x="1602" y="602"/>
                                </a:lnTo>
                                <a:lnTo>
                                  <a:pt x="1600" y="603"/>
                                </a:lnTo>
                                <a:lnTo>
                                  <a:pt x="1599" y="604"/>
                                </a:lnTo>
                                <a:lnTo>
                                  <a:pt x="1599" y="605"/>
                                </a:lnTo>
                                <a:lnTo>
                                  <a:pt x="1598" y="605"/>
                                </a:lnTo>
                                <a:lnTo>
                                  <a:pt x="1597" y="605"/>
                                </a:lnTo>
                                <a:lnTo>
                                  <a:pt x="1596" y="605"/>
                                </a:lnTo>
                                <a:lnTo>
                                  <a:pt x="1595" y="604"/>
                                </a:lnTo>
                                <a:lnTo>
                                  <a:pt x="1594" y="604"/>
                                </a:lnTo>
                                <a:lnTo>
                                  <a:pt x="1593" y="603"/>
                                </a:lnTo>
                                <a:lnTo>
                                  <a:pt x="1592" y="603"/>
                                </a:lnTo>
                                <a:lnTo>
                                  <a:pt x="1591" y="602"/>
                                </a:lnTo>
                                <a:lnTo>
                                  <a:pt x="1588" y="601"/>
                                </a:lnTo>
                                <a:lnTo>
                                  <a:pt x="1587" y="600"/>
                                </a:lnTo>
                                <a:lnTo>
                                  <a:pt x="1586" y="599"/>
                                </a:lnTo>
                                <a:lnTo>
                                  <a:pt x="1583" y="598"/>
                                </a:lnTo>
                                <a:lnTo>
                                  <a:pt x="1581" y="598"/>
                                </a:lnTo>
                                <a:lnTo>
                                  <a:pt x="1578" y="597"/>
                                </a:lnTo>
                                <a:lnTo>
                                  <a:pt x="1576" y="596"/>
                                </a:lnTo>
                                <a:lnTo>
                                  <a:pt x="1575" y="595"/>
                                </a:lnTo>
                                <a:lnTo>
                                  <a:pt x="1573" y="594"/>
                                </a:lnTo>
                                <a:lnTo>
                                  <a:pt x="1572" y="593"/>
                                </a:lnTo>
                                <a:lnTo>
                                  <a:pt x="1570" y="593"/>
                                </a:lnTo>
                                <a:lnTo>
                                  <a:pt x="1569" y="592"/>
                                </a:lnTo>
                                <a:lnTo>
                                  <a:pt x="1567" y="591"/>
                                </a:lnTo>
                                <a:lnTo>
                                  <a:pt x="1566" y="591"/>
                                </a:lnTo>
                                <a:lnTo>
                                  <a:pt x="1564" y="592"/>
                                </a:lnTo>
                                <a:lnTo>
                                  <a:pt x="1563" y="592"/>
                                </a:lnTo>
                                <a:lnTo>
                                  <a:pt x="1562" y="593"/>
                                </a:lnTo>
                                <a:lnTo>
                                  <a:pt x="1561" y="593"/>
                                </a:lnTo>
                                <a:lnTo>
                                  <a:pt x="1560" y="594"/>
                                </a:lnTo>
                                <a:lnTo>
                                  <a:pt x="1559" y="595"/>
                                </a:lnTo>
                                <a:lnTo>
                                  <a:pt x="1558" y="596"/>
                                </a:lnTo>
                                <a:lnTo>
                                  <a:pt x="1556" y="597"/>
                                </a:lnTo>
                                <a:lnTo>
                                  <a:pt x="1555" y="599"/>
                                </a:lnTo>
                                <a:lnTo>
                                  <a:pt x="1552" y="599"/>
                                </a:lnTo>
                                <a:lnTo>
                                  <a:pt x="1549" y="599"/>
                                </a:lnTo>
                                <a:lnTo>
                                  <a:pt x="1547" y="600"/>
                                </a:lnTo>
                                <a:lnTo>
                                  <a:pt x="1545" y="601"/>
                                </a:lnTo>
                                <a:lnTo>
                                  <a:pt x="1544" y="602"/>
                                </a:lnTo>
                                <a:lnTo>
                                  <a:pt x="1543" y="603"/>
                                </a:lnTo>
                                <a:lnTo>
                                  <a:pt x="1542" y="605"/>
                                </a:lnTo>
                                <a:lnTo>
                                  <a:pt x="1542" y="606"/>
                                </a:lnTo>
                                <a:lnTo>
                                  <a:pt x="1542" y="608"/>
                                </a:lnTo>
                                <a:lnTo>
                                  <a:pt x="1543" y="609"/>
                                </a:lnTo>
                                <a:lnTo>
                                  <a:pt x="1544" y="610"/>
                                </a:lnTo>
                                <a:lnTo>
                                  <a:pt x="1545" y="612"/>
                                </a:lnTo>
                                <a:lnTo>
                                  <a:pt x="1547" y="612"/>
                                </a:lnTo>
                                <a:lnTo>
                                  <a:pt x="1549" y="613"/>
                                </a:lnTo>
                                <a:lnTo>
                                  <a:pt x="1552" y="613"/>
                                </a:lnTo>
                                <a:lnTo>
                                  <a:pt x="1555" y="614"/>
                                </a:lnTo>
                                <a:lnTo>
                                  <a:pt x="1531" y="638"/>
                                </a:lnTo>
                                <a:lnTo>
                                  <a:pt x="1507" y="661"/>
                                </a:lnTo>
                                <a:lnTo>
                                  <a:pt x="1506" y="663"/>
                                </a:lnTo>
                                <a:lnTo>
                                  <a:pt x="1506" y="666"/>
                                </a:lnTo>
                                <a:lnTo>
                                  <a:pt x="1505" y="669"/>
                                </a:lnTo>
                                <a:lnTo>
                                  <a:pt x="1504" y="671"/>
                                </a:lnTo>
                                <a:lnTo>
                                  <a:pt x="1502" y="673"/>
                                </a:lnTo>
                                <a:lnTo>
                                  <a:pt x="1501" y="674"/>
                                </a:lnTo>
                                <a:lnTo>
                                  <a:pt x="1499" y="676"/>
                                </a:lnTo>
                                <a:lnTo>
                                  <a:pt x="1497" y="677"/>
                                </a:lnTo>
                                <a:lnTo>
                                  <a:pt x="1495" y="679"/>
                                </a:lnTo>
                                <a:lnTo>
                                  <a:pt x="1492" y="680"/>
                                </a:lnTo>
                                <a:lnTo>
                                  <a:pt x="1489" y="682"/>
                                </a:lnTo>
                                <a:lnTo>
                                  <a:pt x="1487" y="684"/>
                                </a:lnTo>
                                <a:lnTo>
                                  <a:pt x="1484" y="686"/>
                                </a:lnTo>
                                <a:lnTo>
                                  <a:pt x="1481" y="687"/>
                                </a:lnTo>
                                <a:lnTo>
                                  <a:pt x="1478" y="690"/>
                                </a:lnTo>
                                <a:lnTo>
                                  <a:pt x="1476" y="693"/>
                                </a:lnTo>
                                <a:lnTo>
                                  <a:pt x="1476" y="693"/>
                                </a:lnTo>
                                <a:lnTo>
                                  <a:pt x="1476" y="694"/>
                                </a:lnTo>
                                <a:lnTo>
                                  <a:pt x="1476" y="696"/>
                                </a:lnTo>
                                <a:lnTo>
                                  <a:pt x="1475" y="697"/>
                                </a:lnTo>
                                <a:lnTo>
                                  <a:pt x="1475" y="698"/>
                                </a:lnTo>
                                <a:lnTo>
                                  <a:pt x="1475" y="700"/>
                                </a:lnTo>
                                <a:lnTo>
                                  <a:pt x="1474" y="702"/>
                                </a:lnTo>
                                <a:lnTo>
                                  <a:pt x="1473" y="705"/>
                                </a:lnTo>
                                <a:lnTo>
                                  <a:pt x="1472" y="708"/>
                                </a:lnTo>
                                <a:lnTo>
                                  <a:pt x="1471" y="711"/>
                                </a:lnTo>
                                <a:lnTo>
                                  <a:pt x="1468" y="713"/>
                                </a:lnTo>
                                <a:lnTo>
                                  <a:pt x="1466" y="716"/>
                                </a:lnTo>
                                <a:lnTo>
                                  <a:pt x="1464" y="719"/>
                                </a:lnTo>
                                <a:lnTo>
                                  <a:pt x="1462" y="722"/>
                                </a:lnTo>
                                <a:lnTo>
                                  <a:pt x="1459" y="724"/>
                                </a:lnTo>
                                <a:lnTo>
                                  <a:pt x="1459" y="726"/>
                                </a:lnTo>
                                <a:lnTo>
                                  <a:pt x="1459" y="727"/>
                                </a:lnTo>
                                <a:lnTo>
                                  <a:pt x="1458" y="728"/>
                                </a:lnTo>
                                <a:lnTo>
                                  <a:pt x="1458" y="730"/>
                                </a:lnTo>
                                <a:lnTo>
                                  <a:pt x="1457" y="731"/>
                                </a:lnTo>
                                <a:lnTo>
                                  <a:pt x="1456" y="732"/>
                                </a:lnTo>
                                <a:lnTo>
                                  <a:pt x="1454" y="734"/>
                                </a:lnTo>
                                <a:lnTo>
                                  <a:pt x="1452" y="735"/>
                                </a:lnTo>
                                <a:lnTo>
                                  <a:pt x="1450" y="737"/>
                                </a:lnTo>
                                <a:lnTo>
                                  <a:pt x="1447" y="738"/>
                                </a:lnTo>
                                <a:lnTo>
                                  <a:pt x="1444" y="740"/>
                                </a:lnTo>
                                <a:lnTo>
                                  <a:pt x="1441" y="741"/>
                                </a:lnTo>
                                <a:lnTo>
                                  <a:pt x="1438" y="743"/>
                                </a:lnTo>
                                <a:lnTo>
                                  <a:pt x="1436" y="745"/>
                                </a:lnTo>
                                <a:lnTo>
                                  <a:pt x="1433" y="746"/>
                                </a:lnTo>
                                <a:lnTo>
                                  <a:pt x="1431" y="749"/>
                                </a:lnTo>
                                <a:lnTo>
                                  <a:pt x="1430" y="750"/>
                                </a:lnTo>
                                <a:lnTo>
                                  <a:pt x="1430" y="751"/>
                                </a:lnTo>
                                <a:lnTo>
                                  <a:pt x="1428" y="752"/>
                                </a:lnTo>
                                <a:lnTo>
                                  <a:pt x="1427" y="754"/>
                                </a:lnTo>
                                <a:lnTo>
                                  <a:pt x="1427" y="755"/>
                                </a:lnTo>
                                <a:lnTo>
                                  <a:pt x="1427" y="756"/>
                                </a:lnTo>
                                <a:lnTo>
                                  <a:pt x="1427" y="759"/>
                                </a:lnTo>
                                <a:lnTo>
                                  <a:pt x="1427" y="761"/>
                                </a:lnTo>
                                <a:lnTo>
                                  <a:pt x="1427" y="763"/>
                                </a:lnTo>
                                <a:lnTo>
                                  <a:pt x="1427" y="765"/>
                                </a:lnTo>
                                <a:lnTo>
                                  <a:pt x="1427" y="767"/>
                                </a:lnTo>
                                <a:lnTo>
                                  <a:pt x="1427" y="769"/>
                                </a:lnTo>
                                <a:lnTo>
                                  <a:pt x="1427" y="772"/>
                                </a:lnTo>
                                <a:lnTo>
                                  <a:pt x="1427" y="775"/>
                                </a:lnTo>
                                <a:lnTo>
                                  <a:pt x="1427" y="776"/>
                                </a:lnTo>
                                <a:lnTo>
                                  <a:pt x="1427" y="778"/>
                                </a:lnTo>
                                <a:lnTo>
                                  <a:pt x="1427" y="780"/>
                                </a:lnTo>
                                <a:lnTo>
                                  <a:pt x="1427" y="782"/>
                                </a:lnTo>
                                <a:lnTo>
                                  <a:pt x="1427" y="784"/>
                                </a:lnTo>
                                <a:lnTo>
                                  <a:pt x="1427" y="787"/>
                                </a:lnTo>
                                <a:lnTo>
                                  <a:pt x="1427" y="791"/>
                                </a:lnTo>
                                <a:lnTo>
                                  <a:pt x="1427" y="793"/>
                                </a:lnTo>
                                <a:lnTo>
                                  <a:pt x="1426" y="796"/>
                                </a:lnTo>
                                <a:lnTo>
                                  <a:pt x="1425" y="797"/>
                                </a:lnTo>
                                <a:lnTo>
                                  <a:pt x="1424" y="799"/>
                                </a:lnTo>
                                <a:lnTo>
                                  <a:pt x="1423" y="800"/>
                                </a:lnTo>
                                <a:lnTo>
                                  <a:pt x="1420" y="804"/>
                                </a:lnTo>
                                <a:lnTo>
                                  <a:pt x="1417" y="807"/>
                                </a:lnTo>
                                <a:lnTo>
                                  <a:pt x="1415" y="808"/>
                                </a:lnTo>
                                <a:lnTo>
                                  <a:pt x="1415" y="810"/>
                                </a:lnTo>
                                <a:lnTo>
                                  <a:pt x="1414" y="811"/>
                                </a:lnTo>
                                <a:lnTo>
                                  <a:pt x="1413" y="814"/>
                                </a:lnTo>
                                <a:lnTo>
                                  <a:pt x="1412" y="816"/>
                                </a:lnTo>
                                <a:lnTo>
                                  <a:pt x="1412" y="819"/>
                                </a:lnTo>
                                <a:lnTo>
                                  <a:pt x="1415" y="819"/>
                                </a:lnTo>
                                <a:lnTo>
                                  <a:pt x="1418" y="818"/>
                                </a:lnTo>
                                <a:lnTo>
                                  <a:pt x="1421" y="817"/>
                                </a:lnTo>
                                <a:lnTo>
                                  <a:pt x="1423" y="816"/>
                                </a:lnTo>
                                <a:lnTo>
                                  <a:pt x="1426" y="815"/>
                                </a:lnTo>
                                <a:lnTo>
                                  <a:pt x="1428" y="813"/>
                                </a:lnTo>
                                <a:lnTo>
                                  <a:pt x="1432" y="811"/>
                                </a:lnTo>
                                <a:lnTo>
                                  <a:pt x="1434" y="809"/>
                                </a:lnTo>
                                <a:lnTo>
                                  <a:pt x="1436" y="807"/>
                                </a:lnTo>
                                <a:lnTo>
                                  <a:pt x="1438" y="805"/>
                                </a:lnTo>
                                <a:lnTo>
                                  <a:pt x="1440" y="802"/>
                                </a:lnTo>
                                <a:lnTo>
                                  <a:pt x="1441" y="799"/>
                                </a:lnTo>
                                <a:lnTo>
                                  <a:pt x="1442" y="797"/>
                                </a:lnTo>
                                <a:lnTo>
                                  <a:pt x="1443" y="794"/>
                                </a:lnTo>
                                <a:lnTo>
                                  <a:pt x="1444" y="791"/>
                                </a:lnTo>
                                <a:lnTo>
                                  <a:pt x="1444" y="787"/>
                                </a:lnTo>
                                <a:lnTo>
                                  <a:pt x="1445" y="784"/>
                                </a:lnTo>
                                <a:lnTo>
                                  <a:pt x="1447" y="782"/>
                                </a:lnTo>
                                <a:lnTo>
                                  <a:pt x="1449" y="780"/>
                                </a:lnTo>
                                <a:lnTo>
                                  <a:pt x="1450" y="778"/>
                                </a:lnTo>
                                <a:lnTo>
                                  <a:pt x="1452" y="776"/>
                                </a:lnTo>
                                <a:lnTo>
                                  <a:pt x="1454" y="774"/>
                                </a:lnTo>
                                <a:lnTo>
                                  <a:pt x="1456" y="773"/>
                                </a:lnTo>
                                <a:lnTo>
                                  <a:pt x="1458" y="772"/>
                                </a:lnTo>
                                <a:lnTo>
                                  <a:pt x="1460" y="771"/>
                                </a:lnTo>
                                <a:lnTo>
                                  <a:pt x="1462" y="770"/>
                                </a:lnTo>
                                <a:lnTo>
                                  <a:pt x="1464" y="769"/>
                                </a:lnTo>
                                <a:lnTo>
                                  <a:pt x="1466" y="769"/>
                                </a:lnTo>
                                <a:lnTo>
                                  <a:pt x="1468" y="768"/>
                                </a:lnTo>
                                <a:lnTo>
                                  <a:pt x="1471" y="768"/>
                                </a:lnTo>
                                <a:lnTo>
                                  <a:pt x="1476" y="768"/>
                                </a:lnTo>
                                <a:lnTo>
                                  <a:pt x="1480" y="768"/>
                                </a:lnTo>
                                <a:lnTo>
                                  <a:pt x="1484" y="769"/>
                                </a:lnTo>
                                <a:lnTo>
                                  <a:pt x="1489" y="769"/>
                                </a:lnTo>
                                <a:lnTo>
                                  <a:pt x="1492" y="770"/>
                                </a:lnTo>
                                <a:lnTo>
                                  <a:pt x="1497" y="771"/>
                                </a:lnTo>
                                <a:lnTo>
                                  <a:pt x="1500" y="771"/>
                                </a:lnTo>
                                <a:lnTo>
                                  <a:pt x="1503" y="772"/>
                                </a:lnTo>
                                <a:lnTo>
                                  <a:pt x="1507" y="772"/>
                                </a:lnTo>
                                <a:lnTo>
                                  <a:pt x="1508" y="772"/>
                                </a:lnTo>
                                <a:lnTo>
                                  <a:pt x="1509" y="772"/>
                                </a:lnTo>
                                <a:lnTo>
                                  <a:pt x="1512" y="772"/>
                                </a:lnTo>
                                <a:lnTo>
                                  <a:pt x="1513" y="773"/>
                                </a:lnTo>
                                <a:lnTo>
                                  <a:pt x="1514" y="774"/>
                                </a:lnTo>
                                <a:lnTo>
                                  <a:pt x="1514" y="775"/>
                                </a:lnTo>
                                <a:lnTo>
                                  <a:pt x="1515" y="776"/>
                                </a:lnTo>
                                <a:lnTo>
                                  <a:pt x="1516" y="777"/>
                                </a:lnTo>
                                <a:lnTo>
                                  <a:pt x="1518" y="779"/>
                                </a:lnTo>
                                <a:lnTo>
                                  <a:pt x="1519" y="782"/>
                                </a:lnTo>
                                <a:lnTo>
                                  <a:pt x="1520" y="785"/>
                                </a:lnTo>
                                <a:lnTo>
                                  <a:pt x="1521" y="790"/>
                                </a:lnTo>
                                <a:lnTo>
                                  <a:pt x="1522" y="794"/>
                                </a:lnTo>
                                <a:lnTo>
                                  <a:pt x="1522" y="797"/>
                                </a:lnTo>
                                <a:lnTo>
                                  <a:pt x="1523" y="801"/>
                                </a:lnTo>
                                <a:lnTo>
                                  <a:pt x="1523" y="805"/>
                                </a:lnTo>
                                <a:lnTo>
                                  <a:pt x="1523" y="809"/>
                                </a:lnTo>
                                <a:lnTo>
                                  <a:pt x="1523" y="812"/>
                                </a:lnTo>
                                <a:lnTo>
                                  <a:pt x="1523" y="816"/>
                                </a:lnTo>
                                <a:lnTo>
                                  <a:pt x="1523" y="819"/>
                                </a:lnTo>
                                <a:lnTo>
                                  <a:pt x="1526" y="821"/>
                                </a:lnTo>
                                <a:lnTo>
                                  <a:pt x="1528" y="824"/>
                                </a:lnTo>
                                <a:lnTo>
                                  <a:pt x="1530" y="827"/>
                                </a:lnTo>
                                <a:lnTo>
                                  <a:pt x="1533" y="831"/>
                                </a:lnTo>
                                <a:lnTo>
                                  <a:pt x="1534" y="833"/>
                                </a:lnTo>
                                <a:lnTo>
                                  <a:pt x="1536" y="835"/>
                                </a:lnTo>
                                <a:lnTo>
                                  <a:pt x="1537" y="838"/>
                                </a:lnTo>
                                <a:lnTo>
                                  <a:pt x="1538" y="840"/>
                                </a:lnTo>
                                <a:lnTo>
                                  <a:pt x="1539" y="843"/>
                                </a:lnTo>
                                <a:lnTo>
                                  <a:pt x="1540" y="845"/>
                                </a:lnTo>
                                <a:lnTo>
                                  <a:pt x="1540" y="847"/>
                                </a:lnTo>
                                <a:lnTo>
                                  <a:pt x="1541" y="849"/>
                                </a:lnTo>
                                <a:lnTo>
                                  <a:pt x="1541" y="851"/>
                                </a:lnTo>
                                <a:lnTo>
                                  <a:pt x="1541" y="853"/>
                                </a:lnTo>
                                <a:lnTo>
                                  <a:pt x="1541" y="855"/>
                                </a:lnTo>
                                <a:lnTo>
                                  <a:pt x="1540" y="857"/>
                                </a:lnTo>
                                <a:lnTo>
                                  <a:pt x="1540" y="858"/>
                                </a:lnTo>
                                <a:lnTo>
                                  <a:pt x="1539" y="860"/>
                                </a:lnTo>
                                <a:lnTo>
                                  <a:pt x="1538" y="863"/>
                                </a:lnTo>
                                <a:lnTo>
                                  <a:pt x="1536" y="867"/>
                                </a:lnTo>
                                <a:lnTo>
                                  <a:pt x="1534" y="870"/>
                                </a:lnTo>
                                <a:lnTo>
                                  <a:pt x="1531" y="874"/>
                                </a:lnTo>
                                <a:lnTo>
                                  <a:pt x="1529" y="877"/>
                                </a:lnTo>
                                <a:lnTo>
                                  <a:pt x="1526" y="880"/>
                                </a:lnTo>
                                <a:lnTo>
                                  <a:pt x="1523" y="882"/>
                                </a:lnTo>
                                <a:lnTo>
                                  <a:pt x="1523" y="884"/>
                                </a:lnTo>
                                <a:lnTo>
                                  <a:pt x="1524" y="885"/>
                                </a:lnTo>
                                <a:lnTo>
                                  <a:pt x="1524" y="887"/>
                                </a:lnTo>
                                <a:lnTo>
                                  <a:pt x="1525" y="889"/>
                                </a:lnTo>
                                <a:lnTo>
                                  <a:pt x="1526" y="891"/>
                                </a:lnTo>
                                <a:lnTo>
                                  <a:pt x="1527" y="893"/>
                                </a:lnTo>
                                <a:lnTo>
                                  <a:pt x="1528" y="894"/>
                                </a:lnTo>
                                <a:lnTo>
                                  <a:pt x="1530" y="896"/>
                                </a:lnTo>
                                <a:lnTo>
                                  <a:pt x="1533" y="901"/>
                                </a:lnTo>
                                <a:lnTo>
                                  <a:pt x="1537" y="905"/>
                                </a:lnTo>
                                <a:lnTo>
                                  <a:pt x="1540" y="909"/>
                                </a:lnTo>
                                <a:lnTo>
                                  <a:pt x="1544" y="914"/>
                                </a:lnTo>
                                <a:lnTo>
                                  <a:pt x="1548" y="919"/>
                                </a:lnTo>
                                <a:lnTo>
                                  <a:pt x="1551" y="921"/>
                                </a:lnTo>
                                <a:lnTo>
                                  <a:pt x="1552" y="923"/>
                                </a:lnTo>
                                <a:lnTo>
                                  <a:pt x="1553" y="925"/>
                                </a:lnTo>
                                <a:lnTo>
                                  <a:pt x="1554" y="927"/>
                                </a:lnTo>
                                <a:lnTo>
                                  <a:pt x="1556" y="929"/>
                                </a:lnTo>
                                <a:lnTo>
                                  <a:pt x="1557" y="931"/>
                                </a:lnTo>
                                <a:lnTo>
                                  <a:pt x="1557" y="933"/>
                                </a:lnTo>
                                <a:lnTo>
                                  <a:pt x="1558" y="935"/>
                                </a:lnTo>
                                <a:lnTo>
                                  <a:pt x="1558" y="937"/>
                                </a:lnTo>
                                <a:lnTo>
                                  <a:pt x="1558" y="939"/>
                                </a:lnTo>
                                <a:lnTo>
                                  <a:pt x="1558" y="940"/>
                                </a:lnTo>
                                <a:lnTo>
                                  <a:pt x="1557" y="942"/>
                                </a:lnTo>
                                <a:lnTo>
                                  <a:pt x="1556" y="943"/>
                                </a:lnTo>
                                <a:lnTo>
                                  <a:pt x="1555" y="945"/>
                                </a:lnTo>
                                <a:lnTo>
                                  <a:pt x="1555" y="946"/>
                                </a:lnTo>
                                <a:lnTo>
                                  <a:pt x="1554" y="948"/>
                                </a:lnTo>
                                <a:lnTo>
                                  <a:pt x="1553" y="951"/>
                                </a:lnTo>
                                <a:lnTo>
                                  <a:pt x="1552" y="953"/>
                                </a:lnTo>
                                <a:lnTo>
                                  <a:pt x="1551" y="954"/>
                                </a:lnTo>
                                <a:lnTo>
                                  <a:pt x="1548" y="956"/>
                                </a:lnTo>
                                <a:lnTo>
                                  <a:pt x="1546" y="958"/>
                                </a:lnTo>
                                <a:lnTo>
                                  <a:pt x="1544" y="960"/>
                                </a:lnTo>
                                <a:lnTo>
                                  <a:pt x="1542" y="962"/>
                                </a:lnTo>
                                <a:lnTo>
                                  <a:pt x="1539" y="964"/>
                                </a:lnTo>
                                <a:lnTo>
                                  <a:pt x="1537" y="966"/>
                                </a:lnTo>
                                <a:lnTo>
                                  <a:pt x="1534" y="968"/>
                                </a:lnTo>
                                <a:lnTo>
                                  <a:pt x="1529" y="971"/>
                                </a:lnTo>
                                <a:lnTo>
                                  <a:pt x="1523" y="975"/>
                                </a:lnTo>
                                <a:lnTo>
                                  <a:pt x="1517" y="979"/>
                                </a:lnTo>
                                <a:lnTo>
                                  <a:pt x="1512" y="982"/>
                                </a:lnTo>
                                <a:lnTo>
                                  <a:pt x="1508" y="983"/>
                                </a:lnTo>
                                <a:lnTo>
                                  <a:pt x="1505" y="985"/>
                                </a:lnTo>
                                <a:lnTo>
                                  <a:pt x="1503" y="986"/>
                                </a:lnTo>
                                <a:lnTo>
                                  <a:pt x="1501" y="987"/>
                                </a:lnTo>
                                <a:lnTo>
                                  <a:pt x="1499" y="988"/>
                                </a:lnTo>
                                <a:lnTo>
                                  <a:pt x="1497" y="989"/>
                                </a:lnTo>
                                <a:lnTo>
                                  <a:pt x="1495" y="991"/>
                                </a:lnTo>
                                <a:lnTo>
                                  <a:pt x="1494" y="992"/>
                                </a:lnTo>
                                <a:lnTo>
                                  <a:pt x="1493" y="993"/>
                                </a:lnTo>
                                <a:lnTo>
                                  <a:pt x="1492" y="993"/>
                                </a:lnTo>
                                <a:lnTo>
                                  <a:pt x="1491" y="993"/>
                                </a:lnTo>
                                <a:lnTo>
                                  <a:pt x="1491" y="993"/>
                                </a:lnTo>
                                <a:lnTo>
                                  <a:pt x="1491" y="995"/>
                                </a:lnTo>
                                <a:lnTo>
                                  <a:pt x="1491" y="996"/>
                                </a:lnTo>
                                <a:lnTo>
                                  <a:pt x="1492" y="998"/>
                                </a:lnTo>
                                <a:lnTo>
                                  <a:pt x="1492" y="999"/>
                                </a:lnTo>
                                <a:lnTo>
                                  <a:pt x="1493" y="1001"/>
                                </a:lnTo>
                                <a:lnTo>
                                  <a:pt x="1494" y="1002"/>
                                </a:lnTo>
                                <a:lnTo>
                                  <a:pt x="1495" y="1004"/>
                                </a:lnTo>
                                <a:lnTo>
                                  <a:pt x="1496" y="1005"/>
                                </a:lnTo>
                                <a:lnTo>
                                  <a:pt x="1499" y="1008"/>
                                </a:lnTo>
                                <a:lnTo>
                                  <a:pt x="1502" y="1011"/>
                                </a:lnTo>
                                <a:lnTo>
                                  <a:pt x="1505" y="1014"/>
                                </a:lnTo>
                                <a:lnTo>
                                  <a:pt x="1509" y="1017"/>
                                </a:lnTo>
                                <a:lnTo>
                                  <a:pt x="1513" y="1019"/>
                                </a:lnTo>
                                <a:lnTo>
                                  <a:pt x="1517" y="1022"/>
                                </a:lnTo>
                                <a:lnTo>
                                  <a:pt x="1525" y="1028"/>
                                </a:lnTo>
                                <a:lnTo>
                                  <a:pt x="1528" y="1032"/>
                                </a:lnTo>
                                <a:lnTo>
                                  <a:pt x="1532" y="1035"/>
                                </a:lnTo>
                                <a:lnTo>
                                  <a:pt x="1536" y="1038"/>
                                </a:lnTo>
                                <a:lnTo>
                                  <a:pt x="1538" y="1041"/>
                                </a:lnTo>
                                <a:lnTo>
                                  <a:pt x="1540" y="1042"/>
                                </a:lnTo>
                                <a:lnTo>
                                  <a:pt x="1541" y="1043"/>
                                </a:lnTo>
                                <a:lnTo>
                                  <a:pt x="1542" y="1045"/>
                                </a:lnTo>
                                <a:lnTo>
                                  <a:pt x="1542" y="1047"/>
                                </a:lnTo>
                                <a:lnTo>
                                  <a:pt x="1543" y="1049"/>
                                </a:lnTo>
                                <a:lnTo>
                                  <a:pt x="1543" y="1051"/>
                                </a:lnTo>
                                <a:lnTo>
                                  <a:pt x="1543" y="1053"/>
                                </a:lnTo>
                                <a:lnTo>
                                  <a:pt x="1542" y="1054"/>
                                </a:lnTo>
                                <a:lnTo>
                                  <a:pt x="1542" y="1056"/>
                                </a:lnTo>
                                <a:lnTo>
                                  <a:pt x="1542" y="1058"/>
                                </a:lnTo>
                                <a:lnTo>
                                  <a:pt x="1541" y="1061"/>
                                </a:lnTo>
                                <a:lnTo>
                                  <a:pt x="1540" y="1063"/>
                                </a:lnTo>
                                <a:lnTo>
                                  <a:pt x="1538" y="1067"/>
                                </a:lnTo>
                                <a:lnTo>
                                  <a:pt x="1537" y="1072"/>
                                </a:lnTo>
                                <a:lnTo>
                                  <a:pt x="1534" y="1077"/>
                                </a:lnTo>
                                <a:lnTo>
                                  <a:pt x="1532" y="1081"/>
                                </a:lnTo>
                                <a:lnTo>
                                  <a:pt x="1530" y="1085"/>
                                </a:lnTo>
                                <a:lnTo>
                                  <a:pt x="1527" y="1089"/>
                                </a:lnTo>
                                <a:lnTo>
                                  <a:pt x="1526" y="1093"/>
                                </a:lnTo>
                                <a:lnTo>
                                  <a:pt x="1525" y="1095"/>
                                </a:lnTo>
                                <a:lnTo>
                                  <a:pt x="1524" y="1097"/>
                                </a:lnTo>
                                <a:lnTo>
                                  <a:pt x="1524" y="1098"/>
                                </a:lnTo>
                                <a:lnTo>
                                  <a:pt x="1523" y="1100"/>
                                </a:lnTo>
                                <a:lnTo>
                                  <a:pt x="1523" y="1102"/>
                                </a:lnTo>
                                <a:lnTo>
                                  <a:pt x="1523" y="1103"/>
                                </a:lnTo>
                                <a:lnTo>
                                  <a:pt x="1525" y="1106"/>
                                </a:lnTo>
                                <a:lnTo>
                                  <a:pt x="1526" y="1109"/>
                                </a:lnTo>
                                <a:lnTo>
                                  <a:pt x="1528" y="1113"/>
                                </a:lnTo>
                                <a:lnTo>
                                  <a:pt x="1530" y="1116"/>
                                </a:lnTo>
                                <a:lnTo>
                                  <a:pt x="1532" y="1118"/>
                                </a:lnTo>
                                <a:lnTo>
                                  <a:pt x="1535" y="1121"/>
                                </a:lnTo>
                                <a:lnTo>
                                  <a:pt x="1539" y="1127"/>
                                </a:lnTo>
                                <a:lnTo>
                                  <a:pt x="1545" y="1131"/>
                                </a:lnTo>
                                <a:lnTo>
                                  <a:pt x="1551" y="1136"/>
                                </a:lnTo>
                                <a:lnTo>
                                  <a:pt x="1557" y="1140"/>
                                </a:lnTo>
                                <a:lnTo>
                                  <a:pt x="1560" y="1142"/>
                                </a:lnTo>
                                <a:lnTo>
                                  <a:pt x="1563" y="1144"/>
                                </a:lnTo>
                                <a:lnTo>
                                  <a:pt x="1565" y="1146"/>
                                </a:lnTo>
                                <a:lnTo>
                                  <a:pt x="1568" y="1148"/>
                                </a:lnTo>
                                <a:lnTo>
                                  <a:pt x="1571" y="1149"/>
                                </a:lnTo>
                                <a:lnTo>
                                  <a:pt x="1574" y="1151"/>
                                </a:lnTo>
                                <a:lnTo>
                                  <a:pt x="1577" y="1153"/>
                                </a:lnTo>
                                <a:lnTo>
                                  <a:pt x="1579" y="1153"/>
                                </a:lnTo>
                                <a:lnTo>
                                  <a:pt x="1582" y="1154"/>
                                </a:lnTo>
                                <a:lnTo>
                                  <a:pt x="1585" y="1155"/>
                                </a:lnTo>
                                <a:lnTo>
                                  <a:pt x="1587" y="1155"/>
                                </a:lnTo>
                                <a:lnTo>
                                  <a:pt x="1589" y="1155"/>
                                </a:lnTo>
                                <a:lnTo>
                                  <a:pt x="1593" y="1155"/>
                                </a:lnTo>
                                <a:lnTo>
                                  <a:pt x="1595" y="1155"/>
                                </a:lnTo>
                                <a:lnTo>
                                  <a:pt x="1597" y="1154"/>
                                </a:lnTo>
                                <a:lnTo>
                                  <a:pt x="1599" y="1153"/>
                                </a:lnTo>
                                <a:lnTo>
                                  <a:pt x="1600" y="1153"/>
                                </a:lnTo>
                                <a:lnTo>
                                  <a:pt x="1602" y="1150"/>
                                </a:lnTo>
                                <a:lnTo>
                                  <a:pt x="1605" y="1149"/>
                                </a:lnTo>
                                <a:lnTo>
                                  <a:pt x="1608" y="1148"/>
                                </a:lnTo>
                                <a:lnTo>
                                  <a:pt x="1610" y="1147"/>
                                </a:lnTo>
                                <a:lnTo>
                                  <a:pt x="1612" y="1146"/>
                                </a:lnTo>
                                <a:lnTo>
                                  <a:pt x="1614" y="1145"/>
                                </a:lnTo>
                                <a:lnTo>
                                  <a:pt x="1616" y="1145"/>
                                </a:lnTo>
                                <a:lnTo>
                                  <a:pt x="1618" y="1144"/>
                                </a:lnTo>
                                <a:lnTo>
                                  <a:pt x="1620" y="1144"/>
                                </a:lnTo>
                                <a:lnTo>
                                  <a:pt x="1621" y="1144"/>
                                </a:lnTo>
                                <a:lnTo>
                                  <a:pt x="1623" y="1144"/>
                                </a:lnTo>
                                <a:lnTo>
                                  <a:pt x="1624" y="1145"/>
                                </a:lnTo>
                                <a:lnTo>
                                  <a:pt x="1624" y="1145"/>
                                </a:lnTo>
                                <a:lnTo>
                                  <a:pt x="1625" y="1146"/>
                                </a:lnTo>
                                <a:lnTo>
                                  <a:pt x="1626" y="1146"/>
                                </a:lnTo>
                                <a:lnTo>
                                  <a:pt x="1627" y="1147"/>
                                </a:lnTo>
                                <a:lnTo>
                                  <a:pt x="1627" y="1148"/>
                                </a:lnTo>
                                <a:lnTo>
                                  <a:pt x="1627" y="1150"/>
                                </a:lnTo>
                                <a:lnTo>
                                  <a:pt x="1628" y="1151"/>
                                </a:lnTo>
                                <a:lnTo>
                                  <a:pt x="1628" y="1153"/>
                                </a:lnTo>
                                <a:lnTo>
                                  <a:pt x="1628" y="1154"/>
                                </a:lnTo>
                                <a:lnTo>
                                  <a:pt x="1627" y="1156"/>
                                </a:lnTo>
                                <a:lnTo>
                                  <a:pt x="1627" y="1158"/>
                                </a:lnTo>
                                <a:lnTo>
                                  <a:pt x="1626" y="1162"/>
                                </a:lnTo>
                                <a:lnTo>
                                  <a:pt x="1624" y="1166"/>
                                </a:lnTo>
                                <a:lnTo>
                                  <a:pt x="1623" y="1171"/>
                                </a:lnTo>
                                <a:lnTo>
                                  <a:pt x="1620" y="1177"/>
                                </a:lnTo>
                                <a:lnTo>
                                  <a:pt x="1618" y="1182"/>
                                </a:lnTo>
                                <a:lnTo>
                                  <a:pt x="1612" y="1190"/>
                                </a:lnTo>
                                <a:lnTo>
                                  <a:pt x="1605" y="1200"/>
                                </a:lnTo>
                                <a:lnTo>
                                  <a:pt x="1599" y="1207"/>
                                </a:lnTo>
                                <a:lnTo>
                                  <a:pt x="1592" y="1215"/>
                                </a:lnTo>
                                <a:lnTo>
                                  <a:pt x="1584" y="1222"/>
                                </a:lnTo>
                                <a:lnTo>
                                  <a:pt x="1576" y="1229"/>
                                </a:lnTo>
                                <a:lnTo>
                                  <a:pt x="1569" y="1237"/>
                                </a:lnTo>
                                <a:lnTo>
                                  <a:pt x="1561" y="1244"/>
                                </a:lnTo>
                                <a:lnTo>
                                  <a:pt x="1552" y="1250"/>
                                </a:lnTo>
                                <a:lnTo>
                                  <a:pt x="1543" y="1256"/>
                                </a:lnTo>
                                <a:lnTo>
                                  <a:pt x="1535" y="1263"/>
                                </a:lnTo>
                                <a:lnTo>
                                  <a:pt x="1526" y="1268"/>
                                </a:lnTo>
                                <a:lnTo>
                                  <a:pt x="1509" y="1281"/>
                                </a:lnTo>
                                <a:lnTo>
                                  <a:pt x="1491" y="1293"/>
                                </a:lnTo>
                                <a:lnTo>
                                  <a:pt x="1491" y="1295"/>
                                </a:lnTo>
                                <a:lnTo>
                                  <a:pt x="1491" y="1298"/>
                                </a:lnTo>
                                <a:lnTo>
                                  <a:pt x="1491" y="1300"/>
                                </a:lnTo>
                                <a:lnTo>
                                  <a:pt x="1491" y="1301"/>
                                </a:lnTo>
                                <a:lnTo>
                                  <a:pt x="1491" y="1303"/>
                                </a:lnTo>
                                <a:lnTo>
                                  <a:pt x="1491" y="1304"/>
                                </a:lnTo>
                                <a:lnTo>
                                  <a:pt x="1491" y="1305"/>
                                </a:lnTo>
                                <a:lnTo>
                                  <a:pt x="1491" y="1306"/>
                                </a:lnTo>
                                <a:lnTo>
                                  <a:pt x="1491" y="1307"/>
                                </a:lnTo>
                                <a:lnTo>
                                  <a:pt x="1491" y="1307"/>
                                </a:lnTo>
                                <a:lnTo>
                                  <a:pt x="1491" y="1308"/>
                                </a:lnTo>
                                <a:lnTo>
                                  <a:pt x="1491" y="1308"/>
                                </a:lnTo>
                                <a:lnTo>
                                  <a:pt x="1488" y="1308"/>
                                </a:lnTo>
                                <a:lnTo>
                                  <a:pt x="1485" y="1309"/>
                                </a:lnTo>
                                <a:lnTo>
                                  <a:pt x="1482" y="1310"/>
                                </a:lnTo>
                                <a:lnTo>
                                  <a:pt x="1479" y="1311"/>
                                </a:lnTo>
                                <a:lnTo>
                                  <a:pt x="1477" y="1312"/>
                                </a:lnTo>
                                <a:lnTo>
                                  <a:pt x="1474" y="1313"/>
                                </a:lnTo>
                                <a:lnTo>
                                  <a:pt x="1467" y="1317"/>
                                </a:lnTo>
                                <a:lnTo>
                                  <a:pt x="1461" y="1320"/>
                                </a:lnTo>
                                <a:lnTo>
                                  <a:pt x="1458" y="1321"/>
                                </a:lnTo>
                                <a:lnTo>
                                  <a:pt x="1455" y="1322"/>
                                </a:lnTo>
                                <a:lnTo>
                                  <a:pt x="1452" y="1323"/>
                                </a:lnTo>
                                <a:lnTo>
                                  <a:pt x="1450" y="1324"/>
                                </a:lnTo>
                                <a:lnTo>
                                  <a:pt x="1447" y="1325"/>
                                </a:lnTo>
                                <a:lnTo>
                                  <a:pt x="1444" y="1325"/>
                                </a:lnTo>
                                <a:lnTo>
                                  <a:pt x="1441" y="1325"/>
                                </a:lnTo>
                                <a:lnTo>
                                  <a:pt x="1439" y="1325"/>
                                </a:lnTo>
                                <a:lnTo>
                                  <a:pt x="1437" y="1325"/>
                                </a:lnTo>
                                <a:lnTo>
                                  <a:pt x="1435" y="1325"/>
                                </a:lnTo>
                                <a:lnTo>
                                  <a:pt x="1433" y="1325"/>
                                </a:lnTo>
                                <a:lnTo>
                                  <a:pt x="1431" y="1325"/>
                                </a:lnTo>
                                <a:lnTo>
                                  <a:pt x="1427" y="1325"/>
                                </a:lnTo>
                                <a:lnTo>
                                  <a:pt x="1425" y="1325"/>
                                </a:lnTo>
                                <a:lnTo>
                                  <a:pt x="1423" y="1325"/>
                                </a:lnTo>
                                <a:lnTo>
                                  <a:pt x="1421" y="1325"/>
                                </a:lnTo>
                                <a:lnTo>
                                  <a:pt x="1419" y="1325"/>
                                </a:lnTo>
                                <a:lnTo>
                                  <a:pt x="1417" y="1325"/>
                                </a:lnTo>
                                <a:lnTo>
                                  <a:pt x="1415" y="1325"/>
                                </a:lnTo>
                                <a:lnTo>
                                  <a:pt x="1412" y="1325"/>
                                </a:lnTo>
                                <a:lnTo>
                                  <a:pt x="1412" y="1325"/>
                                </a:lnTo>
                                <a:lnTo>
                                  <a:pt x="1411" y="1325"/>
                                </a:lnTo>
                                <a:lnTo>
                                  <a:pt x="1411" y="1325"/>
                                </a:lnTo>
                                <a:lnTo>
                                  <a:pt x="1410" y="1325"/>
                                </a:lnTo>
                                <a:lnTo>
                                  <a:pt x="1408" y="1325"/>
                                </a:lnTo>
                                <a:lnTo>
                                  <a:pt x="1407" y="1325"/>
                                </a:lnTo>
                                <a:lnTo>
                                  <a:pt x="1404" y="1325"/>
                                </a:lnTo>
                                <a:lnTo>
                                  <a:pt x="1402" y="1325"/>
                                </a:lnTo>
                                <a:lnTo>
                                  <a:pt x="1400" y="1325"/>
                                </a:lnTo>
                                <a:lnTo>
                                  <a:pt x="1399" y="1325"/>
                                </a:lnTo>
                                <a:lnTo>
                                  <a:pt x="1398" y="1325"/>
                                </a:lnTo>
                                <a:lnTo>
                                  <a:pt x="1397" y="1325"/>
                                </a:lnTo>
                                <a:lnTo>
                                  <a:pt x="1397" y="1325"/>
                                </a:lnTo>
                                <a:lnTo>
                                  <a:pt x="1391" y="1325"/>
                                </a:lnTo>
                                <a:lnTo>
                                  <a:pt x="1384" y="1325"/>
                                </a:lnTo>
                                <a:lnTo>
                                  <a:pt x="1381" y="1324"/>
                                </a:lnTo>
                                <a:lnTo>
                                  <a:pt x="1378" y="1324"/>
                                </a:lnTo>
                                <a:lnTo>
                                  <a:pt x="1375" y="1323"/>
                                </a:lnTo>
                                <a:lnTo>
                                  <a:pt x="1372" y="1323"/>
                                </a:lnTo>
                                <a:lnTo>
                                  <a:pt x="1369" y="1322"/>
                                </a:lnTo>
                                <a:lnTo>
                                  <a:pt x="1366" y="1321"/>
                                </a:lnTo>
                                <a:lnTo>
                                  <a:pt x="1364" y="1320"/>
                                </a:lnTo>
                                <a:lnTo>
                                  <a:pt x="1361" y="1318"/>
                                </a:lnTo>
                                <a:lnTo>
                                  <a:pt x="1358" y="1316"/>
                                </a:lnTo>
                                <a:lnTo>
                                  <a:pt x="1355" y="1313"/>
                                </a:lnTo>
                                <a:lnTo>
                                  <a:pt x="1352" y="1311"/>
                                </a:lnTo>
                                <a:lnTo>
                                  <a:pt x="1348" y="1308"/>
                                </a:lnTo>
                                <a:lnTo>
                                  <a:pt x="1348" y="1308"/>
                                </a:lnTo>
                                <a:lnTo>
                                  <a:pt x="1347" y="1308"/>
                                </a:lnTo>
                                <a:lnTo>
                                  <a:pt x="1345" y="1308"/>
                                </a:lnTo>
                                <a:lnTo>
                                  <a:pt x="1344" y="1308"/>
                                </a:lnTo>
                                <a:lnTo>
                                  <a:pt x="1342" y="1308"/>
                                </a:lnTo>
                                <a:lnTo>
                                  <a:pt x="1341" y="1308"/>
                                </a:lnTo>
                                <a:lnTo>
                                  <a:pt x="1339" y="1308"/>
                                </a:lnTo>
                                <a:lnTo>
                                  <a:pt x="1336" y="1308"/>
                                </a:lnTo>
                                <a:lnTo>
                                  <a:pt x="1334" y="1308"/>
                                </a:lnTo>
                                <a:lnTo>
                                  <a:pt x="1331" y="1308"/>
                                </a:lnTo>
                                <a:lnTo>
                                  <a:pt x="1329" y="1308"/>
                                </a:lnTo>
                                <a:lnTo>
                                  <a:pt x="1323" y="1308"/>
                                </a:lnTo>
                                <a:lnTo>
                                  <a:pt x="1317" y="1308"/>
                                </a:lnTo>
                                <a:lnTo>
                                  <a:pt x="1317" y="1305"/>
                                </a:lnTo>
                                <a:lnTo>
                                  <a:pt x="1317" y="1303"/>
                                </a:lnTo>
                                <a:lnTo>
                                  <a:pt x="1317" y="1300"/>
                                </a:lnTo>
                                <a:lnTo>
                                  <a:pt x="1317" y="1298"/>
                                </a:lnTo>
                                <a:lnTo>
                                  <a:pt x="1317" y="1296"/>
                                </a:lnTo>
                                <a:lnTo>
                                  <a:pt x="1316" y="1294"/>
                                </a:lnTo>
                                <a:lnTo>
                                  <a:pt x="1316" y="1292"/>
                                </a:lnTo>
                                <a:lnTo>
                                  <a:pt x="1315" y="1290"/>
                                </a:lnTo>
                                <a:lnTo>
                                  <a:pt x="1315" y="1289"/>
                                </a:lnTo>
                                <a:lnTo>
                                  <a:pt x="1314" y="1288"/>
                                </a:lnTo>
                                <a:lnTo>
                                  <a:pt x="1313" y="1286"/>
                                </a:lnTo>
                                <a:lnTo>
                                  <a:pt x="1313" y="1285"/>
                                </a:lnTo>
                                <a:lnTo>
                                  <a:pt x="1311" y="1283"/>
                                </a:lnTo>
                                <a:lnTo>
                                  <a:pt x="1310" y="1281"/>
                                </a:lnTo>
                                <a:lnTo>
                                  <a:pt x="1307" y="1280"/>
                                </a:lnTo>
                                <a:lnTo>
                                  <a:pt x="1306" y="1279"/>
                                </a:lnTo>
                                <a:lnTo>
                                  <a:pt x="1304" y="1278"/>
                                </a:lnTo>
                                <a:lnTo>
                                  <a:pt x="1304" y="1278"/>
                                </a:lnTo>
                                <a:lnTo>
                                  <a:pt x="1302" y="1277"/>
                                </a:lnTo>
                                <a:lnTo>
                                  <a:pt x="1302" y="1277"/>
                                </a:lnTo>
                                <a:lnTo>
                                  <a:pt x="1301" y="1277"/>
                                </a:lnTo>
                                <a:lnTo>
                                  <a:pt x="1295" y="1277"/>
                                </a:lnTo>
                                <a:lnTo>
                                  <a:pt x="1290" y="1277"/>
                                </a:lnTo>
                                <a:lnTo>
                                  <a:pt x="1287" y="1277"/>
                                </a:lnTo>
                                <a:lnTo>
                                  <a:pt x="1286" y="1277"/>
                                </a:lnTo>
                                <a:lnTo>
                                  <a:pt x="1286" y="1275"/>
                                </a:lnTo>
                                <a:lnTo>
                                  <a:pt x="1285" y="1271"/>
                                </a:lnTo>
                                <a:lnTo>
                                  <a:pt x="1285" y="1269"/>
                                </a:lnTo>
                                <a:lnTo>
                                  <a:pt x="1285" y="1267"/>
                                </a:lnTo>
                                <a:lnTo>
                                  <a:pt x="1285" y="1266"/>
                                </a:lnTo>
                                <a:lnTo>
                                  <a:pt x="1285" y="1265"/>
                                </a:lnTo>
                                <a:lnTo>
                                  <a:pt x="1284" y="1263"/>
                                </a:lnTo>
                                <a:lnTo>
                                  <a:pt x="1283" y="1263"/>
                                </a:lnTo>
                                <a:lnTo>
                                  <a:pt x="1283" y="1262"/>
                                </a:lnTo>
                                <a:lnTo>
                                  <a:pt x="1282" y="1262"/>
                                </a:lnTo>
                                <a:lnTo>
                                  <a:pt x="1280" y="1262"/>
                                </a:lnTo>
                                <a:lnTo>
                                  <a:pt x="1279" y="1261"/>
                                </a:lnTo>
                                <a:lnTo>
                                  <a:pt x="1277" y="1261"/>
                                </a:lnTo>
                                <a:lnTo>
                                  <a:pt x="1275" y="1261"/>
                                </a:lnTo>
                                <a:lnTo>
                                  <a:pt x="1273" y="1261"/>
                                </a:lnTo>
                                <a:lnTo>
                                  <a:pt x="1274" y="1262"/>
                                </a:lnTo>
                                <a:lnTo>
                                  <a:pt x="1274" y="1262"/>
                                </a:lnTo>
                                <a:lnTo>
                                  <a:pt x="1275" y="1262"/>
                                </a:lnTo>
                                <a:lnTo>
                                  <a:pt x="1276" y="1263"/>
                                </a:lnTo>
                                <a:lnTo>
                                  <a:pt x="1276" y="1263"/>
                                </a:lnTo>
                                <a:lnTo>
                                  <a:pt x="1276" y="1263"/>
                                </a:lnTo>
                                <a:lnTo>
                                  <a:pt x="1277" y="1264"/>
                                </a:lnTo>
                                <a:lnTo>
                                  <a:pt x="1277" y="1264"/>
                                </a:lnTo>
                                <a:lnTo>
                                  <a:pt x="1276" y="1265"/>
                                </a:lnTo>
                                <a:lnTo>
                                  <a:pt x="1276" y="1266"/>
                                </a:lnTo>
                                <a:lnTo>
                                  <a:pt x="1275" y="1267"/>
                                </a:lnTo>
                                <a:lnTo>
                                  <a:pt x="1274" y="1269"/>
                                </a:lnTo>
                                <a:lnTo>
                                  <a:pt x="1272" y="1270"/>
                                </a:lnTo>
                                <a:lnTo>
                                  <a:pt x="1270" y="1272"/>
                                </a:lnTo>
                                <a:lnTo>
                                  <a:pt x="1267" y="1274"/>
                                </a:lnTo>
                                <a:lnTo>
                                  <a:pt x="1265" y="1275"/>
                                </a:lnTo>
                                <a:lnTo>
                                  <a:pt x="1262" y="1276"/>
                                </a:lnTo>
                                <a:lnTo>
                                  <a:pt x="1259" y="1276"/>
                                </a:lnTo>
                                <a:lnTo>
                                  <a:pt x="1256" y="1277"/>
                                </a:lnTo>
                                <a:lnTo>
                                  <a:pt x="1254" y="1277"/>
                                </a:lnTo>
                                <a:lnTo>
                                  <a:pt x="1251" y="1277"/>
                                </a:lnTo>
                                <a:lnTo>
                                  <a:pt x="1248" y="1277"/>
                                </a:lnTo>
                                <a:lnTo>
                                  <a:pt x="1246" y="1277"/>
                                </a:lnTo>
                                <a:lnTo>
                                  <a:pt x="1244" y="1277"/>
                                </a:lnTo>
                                <a:lnTo>
                                  <a:pt x="1243" y="1276"/>
                                </a:lnTo>
                                <a:lnTo>
                                  <a:pt x="1241" y="1276"/>
                                </a:lnTo>
                                <a:lnTo>
                                  <a:pt x="1240" y="1275"/>
                                </a:lnTo>
                                <a:lnTo>
                                  <a:pt x="1238" y="1274"/>
                                </a:lnTo>
                                <a:lnTo>
                                  <a:pt x="1237" y="1271"/>
                                </a:lnTo>
                                <a:lnTo>
                                  <a:pt x="1235" y="1269"/>
                                </a:lnTo>
                                <a:lnTo>
                                  <a:pt x="1234" y="1268"/>
                                </a:lnTo>
                                <a:lnTo>
                                  <a:pt x="1234" y="1266"/>
                                </a:lnTo>
                                <a:lnTo>
                                  <a:pt x="1233" y="1265"/>
                                </a:lnTo>
                                <a:lnTo>
                                  <a:pt x="1232" y="1263"/>
                                </a:lnTo>
                                <a:lnTo>
                                  <a:pt x="1231" y="1262"/>
                                </a:lnTo>
                                <a:lnTo>
                                  <a:pt x="1230" y="1260"/>
                                </a:lnTo>
                                <a:lnTo>
                                  <a:pt x="1229" y="1258"/>
                                </a:lnTo>
                                <a:lnTo>
                                  <a:pt x="1227" y="1256"/>
                                </a:lnTo>
                                <a:lnTo>
                                  <a:pt x="1226" y="1253"/>
                                </a:lnTo>
                                <a:lnTo>
                                  <a:pt x="1224" y="1251"/>
                                </a:lnTo>
                                <a:lnTo>
                                  <a:pt x="1223" y="1249"/>
                                </a:lnTo>
                                <a:lnTo>
                                  <a:pt x="1222" y="1246"/>
                                </a:lnTo>
                                <a:lnTo>
                                  <a:pt x="1223" y="1250"/>
                                </a:lnTo>
                                <a:lnTo>
                                  <a:pt x="1224" y="1253"/>
                                </a:lnTo>
                                <a:lnTo>
                                  <a:pt x="1225" y="1257"/>
                                </a:lnTo>
                                <a:lnTo>
                                  <a:pt x="1226" y="1260"/>
                                </a:lnTo>
                                <a:lnTo>
                                  <a:pt x="1227" y="1262"/>
                                </a:lnTo>
                                <a:lnTo>
                                  <a:pt x="1227" y="1264"/>
                                </a:lnTo>
                                <a:lnTo>
                                  <a:pt x="1229" y="1266"/>
                                </a:lnTo>
                                <a:lnTo>
                                  <a:pt x="1229" y="1267"/>
                                </a:lnTo>
                                <a:lnTo>
                                  <a:pt x="1229" y="1269"/>
                                </a:lnTo>
                                <a:lnTo>
                                  <a:pt x="1229" y="1270"/>
                                </a:lnTo>
                                <a:lnTo>
                                  <a:pt x="1227" y="1270"/>
                                </a:lnTo>
                                <a:lnTo>
                                  <a:pt x="1227" y="1271"/>
                                </a:lnTo>
                                <a:lnTo>
                                  <a:pt x="1226" y="1271"/>
                                </a:lnTo>
                                <a:lnTo>
                                  <a:pt x="1226" y="1271"/>
                                </a:lnTo>
                                <a:lnTo>
                                  <a:pt x="1225" y="1271"/>
                                </a:lnTo>
                                <a:lnTo>
                                  <a:pt x="1224" y="1271"/>
                                </a:lnTo>
                                <a:lnTo>
                                  <a:pt x="1222" y="1270"/>
                                </a:lnTo>
                                <a:lnTo>
                                  <a:pt x="1221" y="1270"/>
                                </a:lnTo>
                                <a:lnTo>
                                  <a:pt x="1220" y="1269"/>
                                </a:lnTo>
                                <a:lnTo>
                                  <a:pt x="1218" y="1268"/>
                                </a:lnTo>
                                <a:lnTo>
                                  <a:pt x="1217" y="1267"/>
                                </a:lnTo>
                                <a:lnTo>
                                  <a:pt x="1215" y="1267"/>
                                </a:lnTo>
                                <a:lnTo>
                                  <a:pt x="1211" y="1265"/>
                                </a:lnTo>
                                <a:lnTo>
                                  <a:pt x="1206" y="1263"/>
                                </a:lnTo>
                                <a:lnTo>
                                  <a:pt x="1202" y="1262"/>
                                </a:lnTo>
                                <a:lnTo>
                                  <a:pt x="1199" y="1262"/>
                                </a:lnTo>
                                <a:lnTo>
                                  <a:pt x="1196" y="1261"/>
                                </a:lnTo>
                                <a:lnTo>
                                  <a:pt x="1194" y="1261"/>
                                </a:lnTo>
                                <a:lnTo>
                                  <a:pt x="1191" y="1261"/>
                                </a:lnTo>
                                <a:lnTo>
                                  <a:pt x="1187" y="1261"/>
                                </a:lnTo>
                                <a:lnTo>
                                  <a:pt x="1184" y="1260"/>
                                </a:lnTo>
                                <a:lnTo>
                                  <a:pt x="1181" y="1260"/>
                                </a:lnTo>
                                <a:lnTo>
                                  <a:pt x="1178" y="1259"/>
                                </a:lnTo>
                                <a:lnTo>
                                  <a:pt x="1175" y="1257"/>
                                </a:lnTo>
                                <a:lnTo>
                                  <a:pt x="1172" y="1256"/>
                                </a:lnTo>
                                <a:lnTo>
                                  <a:pt x="1167" y="1253"/>
                                </a:lnTo>
                                <a:lnTo>
                                  <a:pt x="1161" y="1251"/>
                                </a:lnTo>
                                <a:lnTo>
                                  <a:pt x="1158" y="1249"/>
                                </a:lnTo>
                                <a:lnTo>
                                  <a:pt x="1155" y="1248"/>
                                </a:lnTo>
                                <a:lnTo>
                                  <a:pt x="1152" y="1247"/>
                                </a:lnTo>
                                <a:lnTo>
                                  <a:pt x="1149" y="1246"/>
                                </a:lnTo>
                                <a:lnTo>
                                  <a:pt x="1145" y="1246"/>
                                </a:lnTo>
                                <a:lnTo>
                                  <a:pt x="1143" y="1246"/>
                                </a:lnTo>
                                <a:lnTo>
                                  <a:pt x="1140" y="1246"/>
                                </a:lnTo>
                                <a:lnTo>
                                  <a:pt x="1137" y="1246"/>
                                </a:lnTo>
                                <a:lnTo>
                                  <a:pt x="1134" y="1246"/>
                                </a:lnTo>
                                <a:lnTo>
                                  <a:pt x="1131" y="1247"/>
                                </a:lnTo>
                                <a:lnTo>
                                  <a:pt x="1129" y="1248"/>
                                </a:lnTo>
                                <a:lnTo>
                                  <a:pt x="1127" y="1249"/>
                                </a:lnTo>
                                <a:lnTo>
                                  <a:pt x="1122" y="1251"/>
                                </a:lnTo>
                                <a:lnTo>
                                  <a:pt x="1117" y="1253"/>
                                </a:lnTo>
                                <a:lnTo>
                                  <a:pt x="1113" y="1255"/>
                                </a:lnTo>
                                <a:lnTo>
                                  <a:pt x="1108" y="1258"/>
                                </a:lnTo>
                                <a:lnTo>
                                  <a:pt x="1103" y="1261"/>
                                </a:lnTo>
                                <a:lnTo>
                                  <a:pt x="1099" y="1264"/>
                                </a:lnTo>
                                <a:lnTo>
                                  <a:pt x="1094" y="1267"/>
                                </a:lnTo>
                                <a:lnTo>
                                  <a:pt x="1090" y="1269"/>
                                </a:lnTo>
                                <a:lnTo>
                                  <a:pt x="1085" y="1272"/>
                                </a:lnTo>
                                <a:lnTo>
                                  <a:pt x="1080" y="1275"/>
                                </a:lnTo>
                                <a:lnTo>
                                  <a:pt x="1078" y="1276"/>
                                </a:lnTo>
                                <a:lnTo>
                                  <a:pt x="1075" y="1276"/>
                                </a:lnTo>
                                <a:lnTo>
                                  <a:pt x="1073" y="1276"/>
                                </a:lnTo>
                                <a:lnTo>
                                  <a:pt x="1070" y="1277"/>
                                </a:lnTo>
                                <a:lnTo>
                                  <a:pt x="1066" y="1277"/>
                                </a:lnTo>
                                <a:lnTo>
                                  <a:pt x="1063" y="1277"/>
                                </a:lnTo>
                                <a:lnTo>
                                  <a:pt x="1062" y="1279"/>
                                </a:lnTo>
                                <a:lnTo>
                                  <a:pt x="1060" y="1280"/>
                                </a:lnTo>
                                <a:lnTo>
                                  <a:pt x="1058" y="1282"/>
                                </a:lnTo>
                                <a:lnTo>
                                  <a:pt x="1056" y="1283"/>
                                </a:lnTo>
                                <a:lnTo>
                                  <a:pt x="1054" y="1285"/>
                                </a:lnTo>
                                <a:lnTo>
                                  <a:pt x="1052" y="1286"/>
                                </a:lnTo>
                                <a:lnTo>
                                  <a:pt x="1047" y="1289"/>
                                </a:lnTo>
                                <a:lnTo>
                                  <a:pt x="1042" y="1292"/>
                                </a:lnTo>
                                <a:lnTo>
                                  <a:pt x="1037" y="1296"/>
                                </a:lnTo>
                                <a:lnTo>
                                  <a:pt x="1032" y="1299"/>
                                </a:lnTo>
                                <a:lnTo>
                                  <a:pt x="1026" y="1302"/>
                                </a:lnTo>
                                <a:lnTo>
                                  <a:pt x="1020" y="1306"/>
                                </a:lnTo>
                                <a:lnTo>
                                  <a:pt x="1016" y="1310"/>
                                </a:lnTo>
                                <a:lnTo>
                                  <a:pt x="1014" y="1312"/>
                                </a:lnTo>
                                <a:lnTo>
                                  <a:pt x="1012" y="1315"/>
                                </a:lnTo>
                                <a:lnTo>
                                  <a:pt x="1010" y="1317"/>
                                </a:lnTo>
                                <a:lnTo>
                                  <a:pt x="1008" y="1319"/>
                                </a:lnTo>
                                <a:lnTo>
                                  <a:pt x="1007" y="1322"/>
                                </a:lnTo>
                                <a:lnTo>
                                  <a:pt x="1005" y="1324"/>
                                </a:lnTo>
                                <a:lnTo>
                                  <a:pt x="1004" y="1326"/>
                                </a:lnTo>
                                <a:lnTo>
                                  <a:pt x="1003" y="1329"/>
                                </a:lnTo>
                                <a:lnTo>
                                  <a:pt x="1002" y="1332"/>
                                </a:lnTo>
                                <a:lnTo>
                                  <a:pt x="1001" y="1334"/>
                                </a:lnTo>
                                <a:lnTo>
                                  <a:pt x="1001" y="1337"/>
                                </a:lnTo>
                                <a:lnTo>
                                  <a:pt x="1001" y="1340"/>
                                </a:lnTo>
                                <a:lnTo>
                                  <a:pt x="1001" y="1340"/>
                                </a:lnTo>
                                <a:lnTo>
                                  <a:pt x="1001" y="1341"/>
                                </a:lnTo>
                                <a:lnTo>
                                  <a:pt x="1001" y="1341"/>
                                </a:lnTo>
                                <a:lnTo>
                                  <a:pt x="1001" y="1342"/>
                                </a:lnTo>
                                <a:lnTo>
                                  <a:pt x="1001" y="1343"/>
                                </a:lnTo>
                                <a:lnTo>
                                  <a:pt x="1001" y="1344"/>
                                </a:lnTo>
                                <a:lnTo>
                                  <a:pt x="1001" y="1345"/>
                                </a:lnTo>
                                <a:lnTo>
                                  <a:pt x="1001" y="1347"/>
                                </a:lnTo>
                                <a:lnTo>
                                  <a:pt x="1001" y="1348"/>
                                </a:lnTo>
                                <a:lnTo>
                                  <a:pt x="1001" y="1350"/>
                                </a:lnTo>
                                <a:lnTo>
                                  <a:pt x="1001" y="1353"/>
                                </a:lnTo>
                                <a:lnTo>
                                  <a:pt x="1001" y="1356"/>
                                </a:lnTo>
                                <a:lnTo>
                                  <a:pt x="998" y="1357"/>
                                </a:lnTo>
                                <a:lnTo>
                                  <a:pt x="996" y="1357"/>
                                </a:lnTo>
                                <a:lnTo>
                                  <a:pt x="994" y="1358"/>
                                </a:lnTo>
                                <a:lnTo>
                                  <a:pt x="992" y="1359"/>
                                </a:lnTo>
                                <a:lnTo>
                                  <a:pt x="991" y="1360"/>
                                </a:lnTo>
                                <a:lnTo>
                                  <a:pt x="990" y="1361"/>
                                </a:lnTo>
                                <a:lnTo>
                                  <a:pt x="989" y="1362"/>
                                </a:lnTo>
                                <a:lnTo>
                                  <a:pt x="989" y="1364"/>
                                </a:lnTo>
                                <a:lnTo>
                                  <a:pt x="989" y="1365"/>
                                </a:lnTo>
                                <a:lnTo>
                                  <a:pt x="990" y="1367"/>
                                </a:lnTo>
                                <a:lnTo>
                                  <a:pt x="991" y="1368"/>
                                </a:lnTo>
                                <a:lnTo>
                                  <a:pt x="992" y="1369"/>
                                </a:lnTo>
                                <a:lnTo>
                                  <a:pt x="994" y="1370"/>
                                </a:lnTo>
                                <a:lnTo>
                                  <a:pt x="996" y="1371"/>
                                </a:lnTo>
                                <a:lnTo>
                                  <a:pt x="998" y="1372"/>
                                </a:lnTo>
                                <a:lnTo>
                                  <a:pt x="1001" y="1372"/>
                                </a:lnTo>
                                <a:lnTo>
                                  <a:pt x="1001" y="1374"/>
                                </a:lnTo>
                                <a:lnTo>
                                  <a:pt x="1001" y="1377"/>
                                </a:lnTo>
                                <a:lnTo>
                                  <a:pt x="1001" y="1380"/>
                                </a:lnTo>
                                <a:lnTo>
                                  <a:pt x="1001" y="1382"/>
                                </a:lnTo>
                                <a:lnTo>
                                  <a:pt x="1001" y="1384"/>
                                </a:lnTo>
                                <a:lnTo>
                                  <a:pt x="1001" y="1386"/>
                                </a:lnTo>
                                <a:lnTo>
                                  <a:pt x="1001" y="1390"/>
                                </a:lnTo>
                                <a:lnTo>
                                  <a:pt x="1001" y="1394"/>
                                </a:lnTo>
                                <a:lnTo>
                                  <a:pt x="1001" y="1398"/>
                                </a:lnTo>
                                <a:lnTo>
                                  <a:pt x="1002" y="1400"/>
                                </a:lnTo>
                                <a:lnTo>
                                  <a:pt x="1003" y="1403"/>
                                </a:lnTo>
                                <a:lnTo>
                                  <a:pt x="1003" y="1407"/>
                                </a:lnTo>
                                <a:lnTo>
                                  <a:pt x="1004" y="1410"/>
                                </a:lnTo>
                                <a:lnTo>
                                  <a:pt x="1006" y="1412"/>
                                </a:lnTo>
                                <a:lnTo>
                                  <a:pt x="1007" y="1416"/>
                                </a:lnTo>
                                <a:lnTo>
                                  <a:pt x="1009" y="1420"/>
                                </a:lnTo>
                                <a:lnTo>
                                  <a:pt x="1010" y="1422"/>
                                </a:lnTo>
                                <a:lnTo>
                                  <a:pt x="1011" y="1424"/>
                                </a:lnTo>
                                <a:lnTo>
                                  <a:pt x="1012" y="1426"/>
                                </a:lnTo>
                                <a:lnTo>
                                  <a:pt x="1013" y="1429"/>
                                </a:lnTo>
                                <a:lnTo>
                                  <a:pt x="1015" y="1432"/>
                                </a:lnTo>
                                <a:lnTo>
                                  <a:pt x="1016" y="1434"/>
                                </a:lnTo>
                                <a:lnTo>
                                  <a:pt x="1013" y="1434"/>
                                </a:lnTo>
                                <a:lnTo>
                                  <a:pt x="1011" y="1434"/>
                                </a:lnTo>
                                <a:lnTo>
                                  <a:pt x="1009" y="1434"/>
                                </a:lnTo>
                                <a:lnTo>
                                  <a:pt x="1007" y="1434"/>
                                </a:lnTo>
                                <a:lnTo>
                                  <a:pt x="1005" y="1434"/>
                                </a:lnTo>
                                <a:lnTo>
                                  <a:pt x="1004" y="1434"/>
                                </a:lnTo>
                                <a:lnTo>
                                  <a:pt x="1001" y="1434"/>
                                </a:lnTo>
                                <a:lnTo>
                                  <a:pt x="997" y="1434"/>
                                </a:lnTo>
                                <a:lnTo>
                                  <a:pt x="996" y="1434"/>
                                </a:lnTo>
                                <a:lnTo>
                                  <a:pt x="995" y="1434"/>
                                </a:lnTo>
                                <a:lnTo>
                                  <a:pt x="993" y="1434"/>
                                </a:lnTo>
                                <a:lnTo>
                                  <a:pt x="990" y="1434"/>
                                </a:lnTo>
                                <a:lnTo>
                                  <a:pt x="988" y="1434"/>
                                </a:lnTo>
                                <a:lnTo>
                                  <a:pt x="984" y="1434"/>
                                </a:lnTo>
                                <a:lnTo>
                                  <a:pt x="981" y="1434"/>
                                </a:lnTo>
                                <a:lnTo>
                                  <a:pt x="978" y="1436"/>
                                </a:lnTo>
                                <a:lnTo>
                                  <a:pt x="975" y="1436"/>
                                </a:lnTo>
                                <a:lnTo>
                                  <a:pt x="972" y="1438"/>
                                </a:lnTo>
                                <a:lnTo>
                                  <a:pt x="970" y="1439"/>
                                </a:lnTo>
                                <a:lnTo>
                                  <a:pt x="967" y="1440"/>
                                </a:lnTo>
                                <a:lnTo>
                                  <a:pt x="961" y="1443"/>
                                </a:lnTo>
                                <a:lnTo>
                                  <a:pt x="955" y="1446"/>
                                </a:lnTo>
                                <a:lnTo>
                                  <a:pt x="952" y="1447"/>
                                </a:lnTo>
                                <a:lnTo>
                                  <a:pt x="949" y="1448"/>
                                </a:lnTo>
                                <a:lnTo>
                                  <a:pt x="947" y="1449"/>
                                </a:lnTo>
                                <a:lnTo>
                                  <a:pt x="943" y="1450"/>
                                </a:lnTo>
                                <a:lnTo>
                                  <a:pt x="940" y="1450"/>
                                </a:lnTo>
                                <a:lnTo>
                                  <a:pt x="937" y="1451"/>
                                </a:lnTo>
                                <a:lnTo>
                                  <a:pt x="936" y="1451"/>
                                </a:lnTo>
                                <a:lnTo>
                                  <a:pt x="935" y="1451"/>
                                </a:lnTo>
                                <a:lnTo>
                                  <a:pt x="934" y="1451"/>
                                </a:lnTo>
                                <a:lnTo>
                                  <a:pt x="933" y="1451"/>
                                </a:lnTo>
                                <a:lnTo>
                                  <a:pt x="931" y="1451"/>
                                </a:lnTo>
                                <a:lnTo>
                                  <a:pt x="929" y="1451"/>
                                </a:lnTo>
                                <a:lnTo>
                                  <a:pt x="927" y="1451"/>
                                </a:lnTo>
                                <a:lnTo>
                                  <a:pt x="925" y="1451"/>
                                </a:lnTo>
                                <a:lnTo>
                                  <a:pt x="922" y="1451"/>
                                </a:lnTo>
                                <a:lnTo>
                                  <a:pt x="920" y="1451"/>
                                </a:lnTo>
                                <a:lnTo>
                                  <a:pt x="917" y="1451"/>
                                </a:lnTo>
                                <a:lnTo>
                                  <a:pt x="912" y="1451"/>
                                </a:lnTo>
                                <a:lnTo>
                                  <a:pt x="905" y="1451"/>
                                </a:lnTo>
                                <a:lnTo>
                                  <a:pt x="902" y="1448"/>
                                </a:lnTo>
                                <a:lnTo>
                                  <a:pt x="900" y="1446"/>
                                </a:lnTo>
                                <a:lnTo>
                                  <a:pt x="898" y="1444"/>
                                </a:lnTo>
                                <a:lnTo>
                                  <a:pt x="896" y="1442"/>
                                </a:lnTo>
                                <a:lnTo>
                                  <a:pt x="894" y="1441"/>
                                </a:lnTo>
                                <a:lnTo>
                                  <a:pt x="893" y="1440"/>
                                </a:lnTo>
                                <a:lnTo>
                                  <a:pt x="891" y="1439"/>
                                </a:lnTo>
                                <a:lnTo>
                                  <a:pt x="890" y="1439"/>
                                </a:lnTo>
                                <a:lnTo>
                                  <a:pt x="888" y="1439"/>
                                </a:lnTo>
                                <a:lnTo>
                                  <a:pt x="886" y="1440"/>
                                </a:lnTo>
                                <a:lnTo>
                                  <a:pt x="885" y="1441"/>
                                </a:lnTo>
                                <a:lnTo>
                                  <a:pt x="883" y="1442"/>
                                </a:lnTo>
                                <a:lnTo>
                                  <a:pt x="881" y="1444"/>
                                </a:lnTo>
                                <a:lnTo>
                                  <a:pt x="879" y="1446"/>
                                </a:lnTo>
                                <a:lnTo>
                                  <a:pt x="877" y="1448"/>
                                </a:lnTo>
                                <a:lnTo>
                                  <a:pt x="877" y="1451"/>
                                </a:lnTo>
                                <a:lnTo>
                                  <a:pt x="876" y="1451"/>
                                </a:lnTo>
                                <a:lnTo>
                                  <a:pt x="876" y="1451"/>
                                </a:lnTo>
                                <a:lnTo>
                                  <a:pt x="875" y="1451"/>
                                </a:lnTo>
                                <a:lnTo>
                                  <a:pt x="874" y="1451"/>
                                </a:lnTo>
                                <a:lnTo>
                                  <a:pt x="873" y="1451"/>
                                </a:lnTo>
                                <a:lnTo>
                                  <a:pt x="872" y="1451"/>
                                </a:lnTo>
                                <a:lnTo>
                                  <a:pt x="869" y="1451"/>
                                </a:lnTo>
                                <a:lnTo>
                                  <a:pt x="866" y="1451"/>
                                </a:lnTo>
                                <a:lnTo>
                                  <a:pt x="864" y="1451"/>
                                </a:lnTo>
                                <a:lnTo>
                                  <a:pt x="862" y="1451"/>
                                </a:lnTo>
                                <a:lnTo>
                                  <a:pt x="861" y="1451"/>
                                </a:lnTo>
                                <a:lnTo>
                                  <a:pt x="860" y="1451"/>
                                </a:lnTo>
                                <a:lnTo>
                                  <a:pt x="860" y="1451"/>
                                </a:lnTo>
                                <a:lnTo>
                                  <a:pt x="860" y="1450"/>
                                </a:lnTo>
                                <a:lnTo>
                                  <a:pt x="860" y="1450"/>
                                </a:lnTo>
                                <a:lnTo>
                                  <a:pt x="860" y="1449"/>
                                </a:lnTo>
                                <a:lnTo>
                                  <a:pt x="860" y="1449"/>
                                </a:lnTo>
                                <a:lnTo>
                                  <a:pt x="860" y="1448"/>
                                </a:lnTo>
                                <a:lnTo>
                                  <a:pt x="860" y="1447"/>
                                </a:lnTo>
                                <a:lnTo>
                                  <a:pt x="860" y="1446"/>
                                </a:lnTo>
                                <a:lnTo>
                                  <a:pt x="860" y="1444"/>
                                </a:lnTo>
                                <a:lnTo>
                                  <a:pt x="860" y="1442"/>
                                </a:lnTo>
                                <a:lnTo>
                                  <a:pt x="860" y="1442"/>
                                </a:lnTo>
                                <a:lnTo>
                                  <a:pt x="858" y="1440"/>
                                </a:lnTo>
                                <a:lnTo>
                                  <a:pt x="855" y="1438"/>
                                </a:lnTo>
                                <a:lnTo>
                                  <a:pt x="852" y="1436"/>
                                </a:lnTo>
                                <a:lnTo>
                                  <a:pt x="850" y="1434"/>
                                </a:lnTo>
                                <a:lnTo>
                                  <a:pt x="849" y="1434"/>
                                </a:lnTo>
                                <a:lnTo>
                                  <a:pt x="847" y="1434"/>
                                </a:lnTo>
                                <a:lnTo>
                                  <a:pt x="845" y="1434"/>
                                </a:lnTo>
                                <a:lnTo>
                                  <a:pt x="842" y="1434"/>
                                </a:lnTo>
                                <a:lnTo>
                                  <a:pt x="839" y="1434"/>
                                </a:lnTo>
                                <a:lnTo>
                                  <a:pt x="837" y="1433"/>
                                </a:lnTo>
                                <a:lnTo>
                                  <a:pt x="835" y="1432"/>
                                </a:lnTo>
                                <a:lnTo>
                                  <a:pt x="834" y="1431"/>
                                </a:lnTo>
                                <a:lnTo>
                                  <a:pt x="832" y="1429"/>
                                </a:lnTo>
                                <a:lnTo>
                                  <a:pt x="829" y="1427"/>
                                </a:lnTo>
                                <a:lnTo>
                                  <a:pt x="826" y="1424"/>
                                </a:lnTo>
                                <a:lnTo>
                                  <a:pt x="826" y="1424"/>
                                </a:lnTo>
                                <a:lnTo>
                                  <a:pt x="826" y="1425"/>
                                </a:lnTo>
                                <a:lnTo>
                                  <a:pt x="824" y="1425"/>
                                </a:lnTo>
                                <a:lnTo>
                                  <a:pt x="824" y="1425"/>
                                </a:lnTo>
                                <a:lnTo>
                                  <a:pt x="823" y="1425"/>
                                </a:lnTo>
                                <a:lnTo>
                                  <a:pt x="823" y="1425"/>
                                </a:lnTo>
                                <a:lnTo>
                                  <a:pt x="822" y="1425"/>
                                </a:lnTo>
                                <a:lnTo>
                                  <a:pt x="820" y="1426"/>
                                </a:lnTo>
                                <a:lnTo>
                                  <a:pt x="817" y="1427"/>
                                </a:lnTo>
                                <a:lnTo>
                                  <a:pt x="815" y="1428"/>
                                </a:lnTo>
                                <a:lnTo>
                                  <a:pt x="812" y="1429"/>
                                </a:lnTo>
                                <a:lnTo>
                                  <a:pt x="811" y="1430"/>
                                </a:lnTo>
                                <a:lnTo>
                                  <a:pt x="811" y="1431"/>
                                </a:lnTo>
                                <a:lnTo>
                                  <a:pt x="810" y="1433"/>
                                </a:lnTo>
                                <a:lnTo>
                                  <a:pt x="809" y="1434"/>
                                </a:lnTo>
                                <a:lnTo>
                                  <a:pt x="808" y="1437"/>
                                </a:lnTo>
                                <a:lnTo>
                                  <a:pt x="806" y="1438"/>
                                </a:lnTo>
                                <a:lnTo>
                                  <a:pt x="805" y="1440"/>
                                </a:lnTo>
                                <a:lnTo>
                                  <a:pt x="803" y="1440"/>
                                </a:lnTo>
                                <a:lnTo>
                                  <a:pt x="801" y="1441"/>
                                </a:lnTo>
                                <a:lnTo>
                                  <a:pt x="799" y="1442"/>
                                </a:lnTo>
                                <a:lnTo>
                                  <a:pt x="797" y="1442"/>
                                </a:lnTo>
                                <a:lnTo>
                                  <a:pt x="794" y="1442"/>
                                </a:lnTo>
                                <a:lnTo>
                                  <a:pt x="789" y="1442"/>
                                </a:lnTo>
                                <a:lnTo>
                                  <a:pt x="784" y="1443"/>
                                </a:lnTo>
                                <a:lnTo>
                                  <a:pt x="784" y="1440"/>
                                </a:lnTo>
                                <a:lnTo>
                                  <a:pt x="784" y="1437"/>
                                </a:lnTo>
                                <a:lnTo>
                                  <a:pt x="784" y="1434"/>
                                </a:lnTo>
                                <a:lnTo>
                                  <a:pt x="784" y="1432"/>
                                </a:lnTo>
                                <a:lnTo>
                                  <a:pt x="784" y="1430"/>
                                </a:lnTo>
                                <a:lnTo>
                                  <a:pt x="784" y="1428"/>
                                </a:lnTo>
                                <a:lnTo>
                                  <a:pt x="784" y="1425"/>
                                </a:lnTo>
                                <a:lnTo>
                                  <a:pt x="784" y="1422"/>
                                </a:lnTo>
                                <a:lnTo>
                                  <a:pt x="784" y="1422"/>
                                </a:lnTo>
                                <a:lnTo>
                                  <a:pt x="784" y="1421"/>
                                </a:lnTo>
                                <a:lnTo>
                                  <a:pt x="784" y="1419"/>
                                </a:lnTo>
                                <a:lnTo>
                                  <a:pt x="784" y="1417"/>
                                </a:lnTo>
                                <a:lnTo>
                                  <a:pt x="784" y="1415"/>
                                </a:lnTo>
                                <a:lnTo>
                                  <a:pt x="784" y="1414"/>
                                </a:lnTo>
                                <a:lnTo>
                                  <a:pt x="784" y="1412"/>
                                </a:lnTo>
                                <a:lnTo>
                                  <a:pt x="784" y="1410"/>
                                </a:lnTo>
                                <a:lnTo>
                                  <a:pt x="784" y="1409"/>
                                </a:lnTo>
                                <a:lnTo>
                                  <a:pt x="786" y="1408"/>
                                </a:lnTo>
                                <a:lnTo>
                                  <a:pt x="787" y="1407"/>
                                </a:lnTo>
                                <a:lnTo>
                                  <a:pt x="788" y="1406"/>
                                </a:lnTo>
                                <a:lnTo>
                                  <a:pt x="789" y="1405"/>
                                </a:lnTo>
                                <a:lnTo>
                                  <a:pt x="791" y="1404"/>
                                </a:lnTo>
                                <a:lnTo>
                                  <a:pt x="789" y="1404"/>
                                </a:lnTo>
                                <a:lnTo>
                                  <a:pt x="787" y="1404"/>
                                </a:lnTo>
                                <a:lnTo>
                                  <a:pt x="786" y="1404"/>
                                </a:lnTo>
                                <a:lnTo>
                                  <a:pt x="784" y="1404"/>
                                </a:lnTo>
                                <a:lnTo>
                                  <a:pt x="784" y="1404"/>
                                </a:lnTo>
                                <a:lnTo>
                                  <a:pt x="783" y="1404"/>
                                </a:lnTo>
                                <a:lnTo>
                                  <a:pt x="782" y="1404"/>
                                </a:lnTo>
                                <a:lnTo>
                                  <a:pt x="781" y="1404"/>
                                </a:lnTo>
                                <a:lnTo>
                                  <a:pt x="781" y="1404"/>
                                </a:lnTo>
                                <a:lnTo>
                                  <a:pt x="780" y="1404"/>
                                </a:lnTo>
                                <a:lnTo>
                                  <a:pt x="779" y="1404"/>
                                </a:lnTo>
                                <a:lnTo>
                                  <a:pt x="778" y="1402"/>
                                </a:lnTo>
                                <a:lnTo>
                                  <a:pt x="778" y="1401"/>
                                </a:lnTo>
                                <a:lnTo>
                                  <a:pt x="778" y="1399"/>
                                </a:lnTo>
                                <a:lnTo>
                                  <a:pt x="777" y="1398"/>
                                </a:lnTo>
                                <a:lnTo>
                                  <a:pt x="776" y="1398"/>
                                </a:lnTo>
                                <a:lnTo>
                                  <a:pt x="775" y="1397"/>
                                </a:lnTo>
                                <a:lnTo>
                                  <a:pt x="774" y="1396"/>
                                </a:lnTo>
                                <a:lnTo>
                                  <a:pt x="774" y="1394"/>
                                </a:lnTo>
                                <a:lnTo>
                                  <a:pt x="771" y="1392"/>
                                </a:lnTo>
                                <a:lnTo>
                                  <a:pt x="768" y="1391"/>
                                </a:lnTo>
                                <a:lnTo>
                                  <a:pt x="765" y="1390"/>
                                </a:lnTo>
                                <a:lnTo>
                                  <a:pt x="761" y="1389"/>
                                </a:lnTo>
                                <a:lnTo>
                                  <a:pt x="758" y="1388"/>
                                </a:lnTo>
                                <a:lnTo>
                                  <a:pt x="754" y="1388"/>
                                </a:lnTo>
                                <a:lnTo>
                                  <a:pt x="750" y="1387"/>
                                </a:lnTo>
                                <a:lnTo>
                                  <a:pt x="749" y="1387"/>
                                </a:lnTo>
                                <a:lnTo>
                                  <a:pt x="746" y="1387"/>
                                </a:lnTo>
                                <a:lnTo>
                                  <a:pt x="741" y="1387"/>
                                </a:lnTo>
                                <a:lnTo>
                                  <a:pt x="737" y="1387"/>
                                </a:lnTo>
                                <a:lnTo>
                                  <a:pt x="734" y="1387"/>
                                </a:lnTo>
                                <a:lnTo>
                                  <a:pt x="731" y="1387"/>
                                </a:lnTo>
                                <a:lnTo>
                                  <a:pt x="730" y="1385"/>
                                </a:lnTo>
                                <a:lnTo>
                                  <a:pt x="728" y="1384"/>
                                </a:lnTo>
                                <a:lnTo>
                                  <a:pt x="726" y="1383"/>
                                </a:lnTo>
                                <a:lnTo>
                                  <a:pt x="724" y="1381"/>
                                </a:lnTo>
                                <a:lnTo>
                                  <a:pt x="722" y="1380"/>
                                </a:lnTo>
                                <a:lnTo>
                                  <a:pt x="720" y="1379"/>
                                </a:lnTo>
                                <a:lnTo>
                                  <a:pt x="715" y="1376"/>
                                </a:lnTo>
                                <a:lnTo>
                                  <a:pt x="710" y="1374"/>
                                </a:lnTo>
                                <a:lnTo>
                                  <a:pt x="708" y="1373"/>
                                </a:lnTo>
                                <a:lnTo>
                                  <a:pt x="707" y="1373"/>
                                </a:lnTo>
                                <a:lnTo>
                                  <a:pt x="703" y="1373"/>
                                </a:lnTo>
                                <a:lnTo>
                                  <a:pt x="700" y="1372"/>
                                </a:lnTo>
                                <a:lnTo>
                                  <a:pt x="696" y="1372"/>
                                </a:lnTo>
                                <a:lnTo>
                                  <a:pt x="690" y="1372"/>
                                </a:lnTo>
                                <a:lnTo>
                                  <a:pt x="685" y="1372"/>
                                </a:lnTo>
                                <a:lnTo>
                                  <a:pt x="686" y="1369"/>
                                </a:lnTo>
                                <a:lnTo>
                                  <a:pt x="684" y="1370"/>
                                </a:lnTo>
                                <a:lnTo>
                                  <a:pt x="682" y="1370"/>
                                </a:lnTo>
                                <a:lnTo>
                                  <a:pt x="680" y="1370"/>
                                </a:lnTo>
                                <a:lnTo>
                                  <a:pt x="678" y="1371"/>
                                </a:lnTo>
                                <a:lnTo>
                                  <a:pt x="676" y="1372"/>
                                </a:lnTo>
                                <a:lnTo>
                                  <a:pt x="674" y="1373"/>
                                </a:lnTo>
                                <a:lnTo>
                                  <a:pt x="673" y="1374"/>
                                </a:lnTo>
                                <a:lnTo>
                                  <a:pt x="672" y="1376"/>
                                </a:lnTo>
                                <a:lnTo>
                                  <a:pt x="670" y="1378"/>
                                </a:lnTo>
                                <a:lnTo>
                                  <a:pt x="670" y="1380"/>
                                </a:lnTo>
                                <a:lnTo>
                                  <a:pt x="669" y="1382"/>
                                </a:lnTo>
                                <a:lnTo>
                                  <a:pt x="669" y="1385"/>
                                </a:lnTo>
                                <a:lnTo>
                                  <a:pt x="668" y="1387"/>
                                </a:lnTo>
                                <a:lnTo>
                                  <a:pt x="665" y="1387"/>
                                </a:lnTo>
                                <a:lnTo>
                                  <a:pt x="661" y="1387"/>
                                </a:lnTo>
                                <a:lnTo>
                                  <a:pt x="657" y="1387"/>
                                </a:lnTo>
                                <a:lnTo>
                                  <a:pt x="653" y="1387"/>
                                </a:lnTo>
                                <a:lnTo>
                                  <a:pt x="650" y="1387"/>
                                </a:lnTo>
                                <a:lnTo>
                                  <a:pt x="645" y="1387"/>
                                </a:lnTo>
                                <a:lnTo>
                                  <a:pt x="637" y="1387"/>
                                </a:lnTo>
                                <a:lnTo>
                                  <a:pt x="628" y="1387"/>
                                </a:lnTo>
                                <a:lnTo>
                                  <a:pt x="623" y="1387"/>
                                </a:lnTo>
                                <a:lnTo>
                                  <a:pt x="619" y="1387"/>
                                </a:lnTo>
                                <a:lnTo>
                                  <a:pt x="615" y="1387"/>
                                </a:lnTo>
                                <a:lnTo>
                                  <a:pt x="611" y="1387"/>
                                </a:lnTo>
                                <a:lnTo>
                                  <a:pt x="608" y="1387"/>
                                </a:lnTo>
                                <a:lnTo>
                                  <a:pt x="605" y="1387"/>
                                </a:lnTo>
                                <a:lnTo>
                                  <a:pt x="599" y="1387"/>
                                </a:lnTo>
                                <a:lnTo>
                                  <a:pt x="593" y="1387"/>
                                </a:lnTo>
                                <a:lnTo>
                                  <a:pt x="591" y="1387"/>
                                </a:lnTo>
                                <a:lnTo>
                                  <a:pt x="588" y="1387"/>
                                </a:lnTo>
                                <a:lnTo>
                                  <a:pt x="586" y="1387"/>
                                </a:lnTo>
                                <a:lnTo>
                                  <a:pt x="583" y="1387"/>
                                </a:lnTo>
                                <a:lnTo>
                                  <a:pt x="580" y="1387"/>
                                </a:lnTo>
                                <a:lnTo>
                                  <a:pt x="578" y="1387"/>
                                </a:lnTo>
                                <a:lnTo>
                                  <a:pt x="577" y="1387"/>
                                </a:lnTo>
                                <a:lnTo>
                                  <a:pt x="576" y="1387"/>
                                </a:lnTo>
                                <a:lnTo>
                                  <a:pt x="575" y="1387"/>
                                </a:lnTo>
                                <a:lnTo>
                                  <a:pt x="574" y="1387"/>
                                </a:lnTo>
                                <a:lnTo>
                                  <a:pt x="573" y="1387"/>
                                </a:lnTo>
                                <a:lnTo>
                                  <a:pt x="570" y="1385"/>
                                </a:lnTo>
                                <a:lnTo>
                                  <a:pt x="568" y="1382"/>
                                </a:lnTo>
                                <a:lnTo>
                                  <a:pt x="565" y="1380"/>
                                </a:lnTo>
                                <a:lnTo>
                                  <a:pt x="564" y="1378"/>
                                </a:lnTo>
                                <a:lnTo>
                                  <a:pt x="562" y="1377"/>
                                </a:lnTo>
                                <a:lnTo>
                                  <a:pt x="560" y="1375"/>
                                </a:lnTo>
                                <a:lnTo>
                                  <a:pt x="559" y="1374"/>
                                </a:lnTo>
                                <a:lnTo>
                                  <a:pt x="557" y="1373"/>
                                </a:lnTo>
                                <a:lnTo>
                                  <a:pt x="556" y="1373"/>
                                </a:lnTo>
                                <a:lnTo>
                                  <a:pt x="554" y="1373"/>
                                </a:lnTo>
                                <a:lnTo>
                                  <a:pt x="553" y="1372"/>
                                </a:lnTo>
                                <a:lnTo>
                                  <a:pt x="551" y="1372"/>
                                </a:lnTo>
                                <a:lnTo>
                                  <a:pt x="549" y="1372"/>
                                </a:lnTo>
                                <a:lnTo>
                                  <a:pt x="547" y="1372"/>
                                </a:lnTo>
                                <a:lnTo>
                                  <a:pt x="545" y="1372"/>
                                </a:lnTo>
                                <a:lnTo>
                                  <a:pt x="541" y="1372"/>
                                </a:lnTo>
                                <a:lnTo>
                                  <a:pt x="540" y="1372"/>
                                </a:lnTo>
                                <a:lnTo>
                                  <a:pt x="540" y="1372"/>
                                </a:lnTo>
                                <a:lnTo>
                                  <a:pt x="540" y="1372"/>
                                </a:lnTo>
                                <a:lnTo>
                                  <a:pt x="539" y="1372"/>
                                </a:lnTo>
                                <a:lnTo>
                                  <a:pt x="538" y="1372"/>
                                </a:lnTo>
                                <a:lnTo>
                                  <a:pt x="537" y="1372"/>
                                </a:lnTo>
                                <a:lnTo>
                                  <a:pt x="536" y="1372"/>
                                </a:lnTo>
                                <a:lnTo>
                                  <a:pt x="535" y="1372"/>
                                </a:lnTo>
                                <a:lnTo>
                                  <a:pt x="533" y="1372"/>
                                </a:lnTo>
                                <a:lnTo>
                                  <a:pt x="531" y="1372"/>
                                </a:lnTo>
                                <a:lnTo>
                                  <a:pt x="528" y="1372"/>
                                </a:lnTo>
                                <a:lnTo>
                                  <a:pt x="526" y="1372"/>
                                </a:lnTo>
                                <a:lnTo>
                                  <a:pt x="524" y="1372"/>
                                </a:lnTo>
                                <a:lnTo>
                                  <a:pt x="522" y="1371"/>
                                </a:lnTo>
                                <a:lnTo>
                                  <a:pt x="519" y="1370"/>
                                </a:lnTo>
                                <a:lnTo>
                                  <a:pt x="516" y="1369"/>
                                </a:lnTo>
                                <a:lnTo>
                                  <a:pt x="513" y="1368"/>
                                </a:lnTo>
                                <a:lnTo>
                                  <a:pt x="510" y="1366"/>
                                </a:lnTo>
                                <a:lnTo>
                                  <a:pt x="506" y="1364"/>
                                </a:lnTo>
                                <a:lnTo>
                                  <a:pt x="501" y="1362"/>
                                </a:lnTo>
                                <a:lnTo>
                                  <a:pt x="497" y="1361"/>
                                </a:lnTo>
                                <a:lnTo>
                                  <a:pt x="492" y="1358"/>
                                </a:lnTo>
                                <a:lnTo>
                                  <a:pt x="488" y="1356"/>
                                </a:lnTo>
                                <a:lnTo>
                                  <a:pt x="483" y="1353"/>
                                </a:lnTo>
                                <a:lnTo>
                                  <a:pt x="473" y="1348"/>
                                </a:lnTo>
                                <a:lnTo>
                                  <a:pt x="462" y="1344"/>
                                </a:lnTo>
                                <a:lnTo>
                                  <a:pt x="457" y="1342"/>
                                </a:lnTo>
                                <a:lnTo>
                                  <a:pt x="452" y="1340"/>
                                </a:lnTo>
                                <a:lnTo>
                                  <a:pt x="447" y="1338"/>
                                </a:lnTo>
                                <a:lnTo>
                                  <a:pt x="442" y="1336"/>
                                </a:lnTo>
                                <a:lnTo>
                                  <a:pt x="437" y="1335"/>
                                </a:lnTo>
                                <a:lnTo>
                                  <a:pt x="432" y="1334"/>
                                </a:lnTo>
                                <a:lnTo>
                                  <a:pt x="428" y="1333"/>
                                </a:lnTo>
                                <a:lnTo>
                                  <a:pt x="424" y="1332"/>
                                </a:lnTo>
                                <a:lnTo>
                                  <a:pt x="419" y="1331"/>
                                </a:lnTo>
                                <a:lnTo>
                                  <a:pt x="415" y="1331"/>
                                </a:lnTo>
                                <a:lnTo>
                                  <a:pt x="411" y="1332"/>
                                </a:lnTo>
                                <a:lnTo>
                                  <a:pt x="408" y="1332"/>
                                </a:lnTo>
                                <a:lnTo>
                                  <a:pt x="405" y="1334"/>
                                </a:lnTo>
                                <a:lnTo>
                                  <a:pt x="404" y="1334"/>
                                </a:lnTo>
                                <a:lnTo>
                                  <a:pt x="403" y="1335"/>
                                </a:lnTo>
                                <a:lnTo>
                                  <a:pt x="402" y="1336"/>
                                </a:lnTo>
                                <a:lnTo>
                                  <a:pt x="401" y="1337"/>
                                </a:lnTo>
                                <a:lnTo>
                                  <a:pt x="400" y="1338"/>
                                </a:lnTo>
                                <a:lnTo>
                                  <a:pt x="399" y="1340"/>
                                </a:lnTo>
                                <a:lnTo>
                                  <a:pt x="398" y="1338"/>
                                </a:lnTo>
                                <a:lnTo>
                                  <a:pt x="396" y="1337"/>
                                </a:lnTo>
                                <a:lnTo>
                                  <a:pt x="395" y="1336"/>
                                </a:lnTo>
                                <a:lnTo>
                                  <a:pt x="395" y="1334"/>
                                </a:lnTo>
                                <a:lnTo>
                                  <a:pt x="394" y="1333"/>
                                </a:lnTo>
                                <a:lnTo>
                                  <a:pt x="393" y="1331"/>
                                </a:lnTo>
                                <a:lnTo>
                                  <a:pt x="393" y="1330"/>
                                </a:lnTo>
                                <a:lnTo>
                                  <a:pt x="393" y="1329"/>
                                </a:lnTo>
                                <a:lnTo>
                                  <a:pt x="392" y="1326"/>
                                </a:lnTo>
                                <a:lnTo>
                                  <a:pt x="393" y="1324"/>
                                </a:lnTo>
                                <a:lnTo>
                                  <a:pt x="393" y="1321"/>
                                </a:lnTo>
                                <a:lnTo>
                                  <a:pt x="393" y="1319"/>
                                </a:lnTo>
                                <a:lnTo>
                                  <a:pt x="394" y="1317"/>
                                </a:lnTo>
                                <a:lnTo>
                                  <a:pt x="395" y="1315"/>
                                </a:lnTo>
                                <a:lnTo>
                                  <a:pt x="396" y="1312"/>
                                </a:lnTo>
                                <a:lnTo>
                                  <a:pt x="397" y="1311"/>
                                </a:lnTo>
                                <a:lnTo>
                                  <a:pt x="398" y="1310"/>
                                </a:lnTo>
                                <a:lnTo>
                                  <a:pt x="398" y="1309"/>
                                </a:lnTo>
                                <a:lnTo>
                                  <a:pt x="399" y="1308"/>
                                </a:lnTo>
                                <a:lnTo>
                                  <a:pt x="399" y="1308"/>
                                </a:lnTo>
                                <a:lnTo>
                                  <a:pt x="399" y="1307"/>
                                </a:lnTo>
                                <a:lnTo>
                                  <a:pt x="399" y="1305"/>
                                </a:lnTo>
                                <a:lnTo>
                                  <a:pt x="398" y="1304"/>
                                </a:lnTo>
                                <a:lnTo>
                                  <a:pt x="397" y="1303"/>
                                </a:lnTo>
                                <a:lnTo>
                                  <a:pt x="396" y="1302"/>
                                </a:lnTo>
                                <a:lnTo>
                                  <a:pt x="395" y="1301"/>
                                </a:lnTo>
                                <a:lnTo>
                                  <a:pt x="393" y="1300"/>
                                </a:lnTo>
                                <a:lnTo>
                                  <a:pt x="392" y="1299"/>
                                </a:lnTo>
                                <a:lnTo>
                                  <a:pt x="390" y="1298"/>
                                </a:lnTo>
                                <a:lnTo>
                                  <a:pt x="388" y="1297"/>
                                </a:lnTo>
                                <a:lnTo>
                                  <a:pt x="384" y="1296"/>
                                </a:lnTo>
                                <a:lnTo>
                                  <a:pt x="380" y="1294"/>
                                </a:lnTo>
                                <a:lnTo>
                                  <a:pt x="375" y="1293"/>
                                </a:lnTo>
                                <a:lnTo>
                                  <a:pt x="371" y="1291"/>
                                </a:lnTo>
                                <a:lnTo>
                                  <a:pt x="367" y="1290"/>
                                </a:lnTo>
                                <a:lnTo>
                                  <a:pt x="363" y="1288"/>
                                </a:lnTo>
                                <a:lnTo>
                                  <a:pt x="361" y="1288"/>
                                </a:lnTo>
                                <a:lnTo>
                                  <a:pt x="359" y="1287"/>
                                </a:lnTo>
                                <a:lnTo>
                                  <a:pt x="357" y="1286"/>
                                </a:lnTo>
                                <a:lnTo>
                                  <a:pt x="356" y="1285"/>
                                </a:lnTo>
                                <a:lnTo>
                                  <a:pt x="355" y="1284"/>
                                </a:lnTo>
                                <a:lnTo>
                                  <a:pt x="354" y="1282"/>
                                </a:lnTo>
                                <a:lnTo>
                                  <a:pt x="353" y="1281"/>
                                </a:lnTo>
                                <a:lnTo>
                                  <a:pt x="352" y="1280"/>
                                </a:lnTo>
                                <a:lnTo>
                                  <a:pt x="352" y="1279"/>
                                </a:lnTo>
                                <a:lnTo>
                                  <a:pt x="352" y="1277"/>
                                </a:lnTo>
                                <a:lnTo>
                                  <a:pt x="356" y="1276"/>
                                </a:lnTo>
                                <a:lnTo>
                                  <a:pt x="360" y="1274"/>
                                </a:lnTo>
                                <a:lnTo>
                                  <a:pt x="364" y="1271"/>
                                </a:lnTo>
                                <a:lnTo>
                                  <a:pt x="367" y="1268"/>
                                </a:lnTo>
                                <a:lnTo>
                                  <a:pt x="370" y="1265"/>
                                </a:lnTo>
                                <a:lnTo>
                                  <a:pt x="373" y="1262"/>
                                </a:lnTo>
                                <a:lnTo>
                                  <a:pt x="376" y="1258"/>
                                </a:lnTo>
                                <a:lnTo>
                                  <a:pt x="379" y="1255"/>
                                </a:lnTo>
                                <a:lnTo>
                                  <a:pt x="381" y="1251"/>
                                </a:lnTo>
                                <a:lnTo>
                                  <a:pt x="384" y="1247"/>
                                </a:lnTo>
                                <a:lnTo>
                                  <a:pt x="387" y="1242"/>
                                </a:lnTo>
                                <a:lnTo>
                                  <a:pt x="389" y="1238"/>
                                </a:lnTo>
                                <a:lnTo>
                                  <a:pt x="391" y="1232"/>
                                </a:lnTo>
                                <a:lnTo>
                                  <a:pt x="392" y="1227"/>
                                </a:lnTo>
                                <a:lnTo>
                                  <a:pt x="394" y="1223"/>
                                </a:lnTo>
                                <a:lnTo>
                                  <a:pt x="395" y="1217"/>
                                </a:lnTo>
                                <a:lnTo>
                                  <a:pt x="398" y="1207"/>
                                </a:lnTo>
                                <a:lnTo>
                                  <a:pt x="400" y="1197"/>
                                </a:lnTo>
                                <a:lnTo>
                                  <a:pt x="403" y="1185"/>
                                </a:lnTo>
                                <a:lnTo>
                                  <a:pt x="405" y="1175"/>
                                </a:lnTo>
                                <a:lnTo>
                                  <a:pt x="407" y="1165"/>
                                </a:lnTo>
                                <a:lnTo>
                                  <a:pt x="409" y="1154"/>
                                </a:lnTo>
                                <a:lnTo>
                                  <a:pt x="411" y="1149"/>
                                </a:lnTo>
                                <a:lnTo>
                                  <a:pt x="412" y="1144"/>
                                </a:lnTo>
                                <a:lnTo>
                                  <a:pt x="413" y="1139"/>
                                </a:lnTo>
                                <a:lnTo>
                                  <a:pt x="415" y="1135"/>
                                </a:lnTo>
                                <a:lnTo>
                                  <a:pt x="415" y="1132"/>
                                </a:lnTo>
                                <a:lnTo>
                                  <a:pt x="415" y="1128"/>
                                </a:lnTo>
                                <a:lnTo>
                                  <a:pt x="416" y="1125"/>
                                </a:lnTo>
                                <a:lnTo>
                                  <a:pt x="417" y="1121"/>
                                </a:lnTo>
                                <a:lnTo>
                                  <a:pt x="418" y="1117"/>
                                </a:lnTo>
                                <a:lnTo>
                                  <a:pt x="420" y="1113"/>
                                </a:lnTo>
                                <a:lnTo>
                                  <a:pt x="422" y="1107"/>
                                </a:lnTo>
                                <a:lnTo>
                                  <a:pt x="425" y="1103"/>
                                </a:lnTo>
                                <a:lnTo>
                                  <a:pt x="428" y="1099"/>
                                </a:lnTo>
                                <a:lnTo>
                                  <a:pt x="430" y="1094"/>
                                </a:lnTo>
                                <a:lnTo>
                                  <a:pt x="432" y="1090"/>
                                </a:lnTo>
                                <a:lnTo>
                                  <a:pt x="435" y="1086"/>
                                </a:lnTo>
                                <a:lnTo>
                                  <a:pt x="438" y="1082"/>
                                </a:lnTo>
                                <a:lnTo>
                                  <a:pt x="441" y="1079"/>
                                </a:lnTo>
                                <a:lnTo>
                                  <a:pt x="443" y="1075"/>
                                </a:lnTo>
                                <a:lnTo>
                                  <a:pt x="446" y="1072"/>
                                </a:lnTo>
                                <a:lnTo>
                                  <a:pt x="448" y="1070"/>
                                </a:lnTo>
                                <a:lnTo>
                                  <a:pt x="449" y="1068"/>
                                </a:lnTo>
                                <a:lnTo>
                                  <a:pt x="450" y="1067"/>
                                </a:lnTo>
                                <a:lnTo>
                                  <a:pt x="450" y="1066"/>
                                </a:lnTo>
                                <a:lnTo>
                                  <a:pt x="451" y="1064"/>
                                </a:lnTo>
                                <a:lnTo>
                                  <a:pt x="451" y="1063"/>
                                </a:lnTo>
                                <a:lnTo>
                                  <a:pt x="451" y="1062"/>
                                </a:lnTo>
                                <a:lnTo>
                                  <a:pt x="451" y="1060"/>
                                </a:lnTo>
                                <a:lnTo>
                                  <a:pt x="450" y="1059"/>
                                </a:lnTo>
                                <a:lnTo>
                                  <a:pt x="450" y="1058"/>
                                </a:lnTo>
                                <a:lnTo>
                                  <a:pt x="449" y="1057"/>
                                </a:lnTo>
                                <a:lnTo>
                                  <a:pt x="448" y="1056"/>
                                </a:lnTo>
                                <a:lnTo>
                                  <a:pt x="446" y="1055"/>
                                </a:lnTo>
                                <a:lnTo>
                                  <a:pt x="445" y="1054"/>
                                </a:lnTo>
                                <a:lnTo>
                                  <a:pt x="444" y="1054"/>
                                </a:lnTo>
                                <a:lnTo>
                                  <a:pt x="443" y="1054"/>
                                </a:lnTo>
                                <a:lnTo>
                                  <a:pt x="442" y="1054"/>
                                </a:lnTo>
                                <a:lnTo>
                                  <a:pt x="441" y="1054"/>
                                </a:lnTo>
                                <a:lnTo>
                                  <a:pt x="440" y="1054"/>
                                </a:lnTo>
                                <a:lnTo>
                                  <a:pt x="439" y="1054"/>
                                </a:lnTo>
                                <a:lnTo>
                                  <a:pt x="438" y="1054"/>
                                </a:lnTo>
                                <a:lnTo>
                                  <a:pt x="437" y="1055"/>
                                </a:lnTo>
                                <a:lnTo>
                                  <a:pt x="436" y="1056"/>
                                </a:lnTo>
                                <a:lnTo>
                                  <a:pt x="435" y="1057"/>
                                </a:lnTo>
                                <a:lnTo>
                                  <a:pt x="434" y="1058"/>
                                </a:lnTo>
                                <a:lnTo>
                                  <a:pt x="433" y="1060"/>
                                </a:lnTo>
                                <a:lnTo>
                                  <a:pt x="432" y="1062"/>
                                </a:lnTo>
                                <a:lnTo>
                                  <a:pt x="432" y="1064"/>
                                </a:lnTo>
                                <a:lnTo>
                                  <a:pt x="431" y="1066"/>
                                </a:lnTo>
                                <a:lnTo>
                                  <a:pt x="431" y="1068"/>
                                </a:lnTo>
                                <a:lnTo>
                                  <a:pt x="431" y="1062"/>
                                </a:lnTo>
                                <a:lnTo>
                                  <a:pt x="431" y="1053"/>
                                </a:lnTo>
                                <a:lnTo>
                                  <a:pt x="431" y="1044"/>
                                </a:lnTo>
                                <a:lnTo>
                                  <a:pt x="431" y="1034"/>
                                </a:lnTo>
                                <a:lnTo>
                                  <a:pt x="432" y="1023"/>
                                </a:lnTo>
                                <a:lnTo>
                                  <a:pt x="432" y="1013"/>
                                </a:lnTo>
                                <a:lnTo>
                                  <a:pt x="433" y="1003"/>
                                </a:lnTo>
                                <a:lnTo>
                                  <a:pt x="435" y="993"/>
                                </a:lnTo>
                                <a:lnTo>
                                  <a:pt x="436" y="982"/>
                                </a:lnTo>
                                <a:lnTo>
                                  <a:pt x="439" y="972"/>
                                </a:lnTo>
                                <a:lnTo>
                                  <a:pt x="440" y="967"/>
                                </a:lnTo>
                                <a:lnTo>
                                  <a:pt x="441" y="962"/>
                                </a:lnTo>
                                <a:lnTo>
                                  <a:pt x="442" y="957"/>
                                </a:lnTo>
                                <a:lnTo>
                                  <a:pt x="444" y="952"/>
                                </a:lnTo>
                                <a:lnTo>
                                  <a:pt x="446" y="946"/>
                                </a:lnTo>
                                <a:lnTo>
                                  <a:pt x="447" y="942"/>
                                </a:lnTo>
                                <a:lnTo>
                                  <a:pt x="450" y="937"/>
                                </a:lnTo>
                                <a:lnTo>
                                  <a:pt x="452" y="932"/>
                                </a:lnTo>
                                <a:lnTo>
                                  <a:pt x="454" y="928"/>
                                </a:lnTo>
                                <a:lnTo>
                                  <a:pt x="456" y="923"/>
                                </a:lnTo>
                                <a:lnTo>
                                  <a:pt x="459" y="919"/>
                                </a:lnTo>
                                <a:lnTo>
                                  <a:pt x="462" y="914"/>
                                </a:lnTo>
                                <a:lnTo>
                                  <a:pt x="486" y="937"/>
                                </a:lnTo>
                                <a:lnTo>
                                  <a:pt x="508" y="959"/>
                                </a:lnTo>
                                <a:lnTo>
                                  <a:pt x="507" y="956"/>
                                </a:lnTo>
                                <a:lnTo>
                                  <a:pt x="506" y="952"/>
                                </a:lnTo>
                                <a:lnTo>
                                  <a:pt x="504" y="947"/>
                                </a:lnTo>
                                <a:lnTo>
                                  <a:pt x="502" y="943"/>
                                </a:lnTo>
                                <a:lnTo>
                                  <a:pt x="500" y="939"/>
                                </a:lnTo>
                                <a:lnTo>
                                  <a:pt x="497" y="936"/>
                                </a:lnTo>
                                <a:lnTo>
                                  <a:pt x="495" y="932"/>
                                </a:lnTo>
                                <a:lnTo>
                                  <a:pt x="492" y="929"/>
                                </a:lnTo>
                                <a:lnTo>
                                  <a:pt x="490" y="926"/>
                                </a:lnTo>
                                <a:lnTo>
                                  <a:pt x="484" y="920"/>
                                </a:lnTo>
                                <a:lnTo>
                                  <a:pt x="479" y="914"/>
                                </a:lnTo>
                                <a:lnTo>
                                  <a:pt x="475" y="911"/>
                                </a:lnTo>
                                <a:lnTo>
                                  <a:pt x="473" y="908"/>
                                </a:lnTo>
                                <a:lnTo>
                                  <a:pt x="470" y="906"/>
                                </a:lnTo>
                                <a:lnTo>
                                  <a:pt x="467" y="904"/>
                                </a:lnTo>
                                <a:lnTo>
                                  <a:pt x="464" y="902"/>
                                </a:lnTo>
                                <a:lnTo>
                                  <a:pt x="461" y="901"/>
                                </a:lnTo>
                                <a:lnTo>
                                  <a:pt x="458" y="899"/>
                                </a:lnTo>
                                <a:lnTo>
                                  <a:pt x="456" y="898"/>
                                </a:lnTo>
                                <a:lnTo>
                                  <a:pt x="454" y="896"/>
                                </a:lnTo>
                                <a:lnTo>
                                  <a:pt x="452" y="895"/>
                                </a:lnTo>
                                <a:lnTo>
                                  <a:pt x="451" y="894"/>
                                </a:lnTo>
                                <a:lnTo>
                                  <a:pt x="449" y="892"/>
                                </a:lnTo>
                                <a:lnTo>
                                  <a:pt x="448" y="890"/>
                                </a:lnTo>
                                <a:lnTo>
                                  <a:pt x="447" y="888"/>
                                </a:lnTo>
                                <a:lnTo>
                                  <a:pt x="447" y="885"/>
                                </a:lnTo>
                                <a:lnTo>
                                  <a:pt x="446" y="882"/>
                                </a:lnTo>
                                <a:lnTo>
                                  <a:pt x="445" y="881"/>
                                </a:lnTo>
                                <a:lnTo>
                                  <a:pt x="444" y="880"/>
                                </a:lnTo>
                                <a:lnTo>
                                  <a:pt x="443" y="879"/>
                                </a:lnTo>
                                <a:lnTo>
                                  <a:pt x="442" y="878"/>
                                </a:lnTo>
                                <a:lnTo>
                                  <a:pt x="442" y="877"/>
                                </a:lnTo>
                                <a:lnTo>
                                  <a:pt x="442" y="877"/>
                                </a:lnTo>
                                <a:lnTo>
                                  <a:pt x="442" y="876"/>
                                </a:lnTo>
                                <a:lnTo>
                                  <a:pt x="442" y="876"/>
                                </a:lnTo>
                                <a:lnTo>
                                  <a:pt x="443" y="876"/>
                                </a:lnTo>
                                <a:lnTo>
                                  <a:pt x="443" y="876"/>
                                </a:lnTo>
                                <a:lnTo>
                                  <a:pt x="444" y="876"/>
                                </a:lnTo>
                                <a:lnTo>
                                  <a:pt x="445" y="876"/>
                                </a:lnTo>
                                <a:lnTo>
                                  <a:pt x="446" y="876"/>
                                </a:lnTo>
                                <a:lnTo>
                                  <a:pt x="448" y="876"/>
                                </a:lnTo>
                                <a:lnTo>
                                  <a:pt x="450" y="877"/>
                                </a:lnTo>
                                <a:lnTo>
                                  <a:pt x="454" y="878"/>
                                </a:lnTo>
                                <a:lnTo>
                                  <a:pt x="457" y="879"/>
                                </a:lnTo>
                                <a:lnTo>
                                  <a:pt x="460" y="880"/>
                                </a:lnTo>
                                <a:lnTo>
                                  <a:pt x="465" y="880"/>
                                </a:lnTo>
                                <a:lnTo>
                                  <a:pt x="468" y="881"/>
                                </a:lnTo>
                                <a:lnTo>
                                  <a:pt x="472" y="882"/>
                                </a:lnTo>
                                <a:lnTo>
                                  <a:pt x="475" y="882"/>
                                </a:lnTo>
                                <a:lnTo>
                                  <a:pt x="477" y="882"/>
                                </a:lnTo>
                                <a:lnTo>
                                  <a:pt x="475" y="882"/>
                                </a:lnTo>
                                <a:lnTo>
                                  <a:pt x="474" y="881"/>
                                </a:lnTo>
                                <a:lnTo>
                                  <a:pt x="473" y="879"/>
                                </a:lnTo>
                                <a:lnTo>
                                  <a:pt x="471" y="877"/>
                                </a:lnTo>
                                <a:lnTo>
                                  <a:pt x="470" y="875"/>
                                </a:lnTo>
                                <a:lnTo>
                                  <a:pt x="468" y="873"/>
                                </a:lnTo>
                                <a:lnTo>
                                  <a:pt x="467" y="870"/>
                                </a:lnTo>
                                <a:lnTo>
                                  <a:pt x="466" y="866"/>
                                </a:lnTo>
                                <a:lnTo>
                                  <a:pt x="465" y="863"/>
                                </a:lnTo>
                                <a:lnTo>
                                  <a:pt x="464" y="860"/>
                                </a:lnTo>
                                <a:lnTo>
                                  <a:pt x="462" y="857"/>
                                </a:lnTo>
                                <a:lnTo>
                                  <a:pt x="461" y="853"/>
                                </a:lnTo>
                                <a:lnTo>
                                  <a:pt x="460" y="849"/>
                                </a:lnTo>
                                <a:lnTo>
                                  <a:pt x="458" y="841"/>
                                </a:lnTo>
                                <a:lnTo>
                                  <a:pt x="457" y="833"/>
                                </a:lnTo>
                                <a:lnTo>
                                  <a:pt x="456" y="824"/>
                                </a:lnTo>
                                <a:lnTo>
                                  <a:pt x="455" y="820"/>
                                </a:lnTo>
                                <a:lnTo>
                                  <a:pt x="455" y="816"/>
                                </a:lnTo>
                                <a:lnTo>
                                  <a:pt x="455" y="813"/>
                                </a:lnTo>
                                <a:lnTo>
                                  <a:pt x="455" y="809"/>
                                </a:lnTo>
                                <a:lnTo>
                                  <a:pt x="456" y="806"/>
                                </a:lnTo>
                                <a:lnTo>
                                  <a:pt x="456" y="802"/>
                                </a:lnTo>
                                <a:lnTo>
                                  <a:pt x="457" y="799"/>
                                </a:lnTo>
                                <a:lnTo>
                                  <a:pt x="457" y="797"/>
                                </a:lnTo>
                                <a:lnTo>
                                  <a:pt x="458" y="794"/>
                                </a:lnTo>
                                <a:lnTo>
                                  <a:pt x="459" y="792"/>
                                </a:lnTo>
                                <a:lnTo>
                                  <a:pt x="460" y="790"/>
                                </a:lnTo>
                                <a:lnTo>
                                  <a:pt x="462" y="787"/>
                                </a:lnTo>
                                <a:lnTo>
                                  <a:pt x="460" y="789"/>
                                </a:lnTo>
                                <a:lnTo>
                                  <a:pt x="458" y="790"/>
                                </a:lnTo>
                                <a:lnTo>
                                  <a:pt x="456" y="791"/>
                                </a:lnTo>
                                <a:lnTo>
                                  <a:pt x="454" y="792"/>
                                </a:lnTo>
                                <a:lnTo>
                                  <a:pt x="452" y="792"/>
                                </a:lnTo>
                                <a:lnTo>
                                  <a:pt x="449" y="792"/>
                                </a:lnTo>
                                <a:lnTo>
                                  <a:pt x="446" y="792"/>
                                </a:lnTo>
                                <a:lnTo>
                                  <a:pt x="443" y="792"/>
                                </a:lnTo>
                                <a:lnTo>
                                  <a:pt x="440" y="792"/>
                                </a:lnTo>
                                <a:lnTo>
                                  <a:pt x="437" y="791"/>
                                </a:lnTo>
                                <a:lnTo>
                                  <a:pt x="434" y="790"/>
                                </a:lnTo>
                                <a:lnTo>
                                  <a:pt x="430" y="789"/>
                                </a:lnTo>
                                <a:lnTo>
                                  <a:pt x="427" y="787"/>
                                </a:lnTo>
                                <a:lnTo>
                                  <a:pt x="424" y="786"/>
                                </a:lnTo>
                                <a:lnTo>
                                  <a:pt x="417" y="783"/>
                                </a:lnTo>
                                <a:lnTo>
                                  <a:pt x="410" y="780"/>
                                </a:lnTo>
                                <a:lnTo>
                                  <a:pt x="407" y="779"/>
                                </a:lnTo>
                                <a:lnTo>
                                  <a:pt x="404" y="777"/>
                                </a:lnTo>
                                <a:lnTo>
                                  <a:pt x="401" y="775"/>
                                </a:lnTo>
                                <a:lnTo>
                                  <a:pt x="398" y="773"/>
                                </a:lnTo>
                                <a:lnTo>
                                  <a:pt x="396" y="772"/>
                                </a:lnTo>
                                <a:lnTo>
                                  <a:pt x="393" y="770"/>
                                </a:lnTo>
                                <a:lnTo>
                                  <a:pt x="392" y="768"/>
                                </a:lnTo>
                                <a:lnTo>
                                  <a:pt x="390" y="766"/>
                                </a:lnTo>
                                <a:lnTo>
                                  <a:pt x="388" y="764"/>
                                </a:lnTo>
                                <a:lnTo>
                                  <a:pt x="386" y="763"/>
                                </a:lnTo>
                                <a:lnTo>
                                  <a:pt x="385" y="761"/>
                                </a:lnTo>
                                <a:lnTo>
                                  <a:pt x="384" y="760"/>
                                </a:lnTo>
                                <a:lnTo>
                                  <a:pt x="384" y="758"/>
                                </a:lnTo>
                                <a:lnTo>
                                  <a:pt x="384" y="756"/>
                                </a:lnTo>
                                <a:lnTo>
                                  <a:pt x="381" y="753"/>
                                </a:lnTo>
                                <a:lnTo>
                                  <a:pt x="380" y="751"/>
                                </a:lnTo>
                                <a:lnTo>
                                  <a:pt x="378" y="747"/>
                                </a:lnTo>
                                <a:lnTo>
                                  <a:pt x="377" y="745"/>
                                </a:lnTo>
                                <a:lnTo>
                                  <a:pt x="375" y="743"/>
                                </a:lnTo>
                                <a:lnTo>
                                  <a:pt x="374" y="741"/>
                                </a:lnTo>
                                <a:lnTo>
                                  <a:pt x="371" y="737"/>
                                </a:lnTo>
                                <a:lnTo>
                                  <a:pt x="368" y="734"/>
                                </a:lnTo>
                                <a:lnTo>
                                  <a:pt x="365" y="731"/>
                                </a:lnTo>
                                <a:lnTo>
                                  <a:pt x="362" y="727"/>
                                </a:lnTo>
                                <a:lnTo>
                                  <a:pt x="359" y="724"/>
                                </a:lnTo>
                                <a:lnTo>
                                  <a:pt x="356" y="722"/>
                                </a:lnTo>
                                <a:lnTo>
                                  <a:pt x="354" y="719"/>
                                </a:lnTo>
                                <a:lnTo>
                                  <a:pt x="351" y="715"/>
                                </a:lnTo>
                                <a:lnTo>
                                  <a:pt x="348" y="712"/>
                                </a:lnTo>
                                <a:lnTo>
                                  <a:pt x="345" y="708"/>
                                </a:lnTo>
                                <a:lnTo>
                                  <a:pt x="343" y="705"/>
                                </a:lnTo>
                                <a:lnTo>
                                  <a:pt x="341" y="703"/>
                                </a:lnTo>
                                <a:lnTo>
                                  <a:pt x="340" y="701"/>
                                </a:lnTo>
                                <a:lnTo>
                                  <a:pt x="338" y="698"/>
                                </a:lnTo>
                                <a:lnTo>
                                  <a:pt x="337" y="696"/>
                                </a:lnTo>
                                <a:lnTo>
                                  <a:pt x="336" y="694"/>
                                </a:lnTo>
                                <a:lnTo>
                                  <a:pt x="336" y="696"/>
                                </a:lnTo>
                                <a:lnTo>
                                  <a:pt x="335" y="696"/>
                                </a:lnTo>
                                <a:lnTo>
                                  <a:pt x="335" y="695"/>
                                </a:lnTo>
                                <a:lnTo>
                                  <a:pt x="334" y="695"/>
                                </a:lnTo>
                                <a:lnTo>
                                  <a:pt x="333" y="694"/>
                                </a:lnTo>
                                <a:lnTo>
                                  <a:pt x="332" y="693"/>
                                </a:lnTo>
                                <a:lnTo>
                                  <a:pt x="331" y="692"/>
                                </a:lnTo>
                                <a:lnTo>
                                  <a:pt x="330" y="690"/>
                                </a:lnTo>
                                <a:lnTo>
                                  <a:pt x="329" y="689"/>
                                </a:lnTo>
                                <a:lnTo>
                                  <a:pt x="327" y="687"/>
                                </a:lnTo>
                                <a:lnTo>
                                  <a:pt x="325" y="685"/>
                                </a:lnTo>
                                <a:lnTo>
                                  <a:pt x="322" y="683"/>
                                </a:lnTo>
                                <a:lnTo>
                                  <a:pt x="319" y="680"/>
                                </a:lnTo>
                                <a:lnTo>
                                  <a:pt x="322" y="680"/>
                                </a:lnTo>
                                <a:lnTo>
                                  <a:pt x="325" y="680"/>
                                </a:lnTo>
                                <a:lnTo>
                                  <a:pt x="327" y="680"/>
                                </a:lnTo>
                                <a:lnTo>
                                  <a:pt x="329" y="680"/>
                                </a:lnTo>
                                <a:lnTo>
                                  <a:pt x="330" y="680"/>
                                </a:lnTo>
                                <a:lnTo>
                                  <a:pt x="331" y="680"/>
                                </a:lnTo>
                                <a:lnTo>
                                  <a:pt x="332" y="681"/>
                                </a:lnTo>
                                <a:lnTo>
                                  <a:pt x="333" y="682"/>
                                </a:lnTo>
                                <a:lnTo>
                                  <a:pt x="334" y="683"/>
                                </a:lnTo>
                                <a:lnTo>
                                  <a:pt x="335" y="684"/>
                                </a:lnTo>
                                <a:lnTo>
                                  <a:pt x="335" y="685"/>
                                </a:lnTo>
                                <a:lnTo>
                                  <a:pt x="335" y="686"/>
                                </a:lnTo>
                                <a:lnTo>
                                  <a:pt x="335" y="688"/>
                                </a:lnTo>
                                <a:lnTo>
                                  <a:pt x="335" y="690"/>
                                </a:lnTo>
                                <a:lnTo>
                                  <a:pt x="335" y="691"/>
                                </a:lnTo>
                                <a:lnTo>
                                  <a:pt x="336" y="690"/>
                                </a:lnTo>
                                <a:lnTo>
                                  <a:pt x="336" y="688"/>
                                </a:lnTo>
                                <a:lnTo>
                                  <a:pt x="337" y="687"/>
                                </a:lnTo>
                                <a:lnTo>
                                  <a:pt x="338" y="684"/>
                                </a:lnTo>
                                <a:lnTo>
                                  <a:pt x="340" y="681"/>
                                </a:lnTo>
                                <a:lnTo>
                                  <a:pt x="341" y="679"/>
                                </a:lnTo>
                                <a:lnTo>
                                  <a:pt x="343" y="676"/>
                                </a:lnTo>
                                <a:lnTo>
                                  <a:pt x="345" y="674"/>
                                </a:lnTo>
                                <a:lnTo>
                                  <a:pt x="345" y="673"/>
                                </a:lnTo>
                                <a:lnTo>
                                  <a:pt x="346" y="672"/>
                                </a:lnTo>
                                <a:lnTo>
                                  <a:pt x="346" y="671"/>
                                </a:lnTo>
                                <a:lnTo>
                                  <a:pt x="346" y="670"/>
                                </a:lnTo>
                                <a:lnTo>
                                  <a:pt x="346" y="669"/>
                                </a:lnTo>
                                <a:lnTo>
                                  <a:pt x="346" y="668"/>
                                </a:lnTo>
                                <a:lnTo>
                                  <a:pt x="346" y="666"/>
                                </a:lnTo>
                                <a:lnTo>
                                  <a:pt x="345" y="665"/>
                                </a:lnTo>
                                <a:lnTo>
                                  <a:pt x="344" y="664"/>
                                </a:lnTo>
                                <a:lnTo>
                                  <a:pt x="343" y="663"/>
                                </a:lnTo>
                                <a:lnTo>
                                  <a:pt x="340" y="663"/>
                                </a:lnTo>
                                <a:lnTo>
                                  <a:pt x="339" y="662"/>
                                </a:lnTo>
                                <a:lnTo>
                                  <a:pt x="336" y="662"/>
                                </a:lnTo>
                                <a:lnTo>
                                  <a:pt x="334" y="661"/>
                                </a:lnTo>
                                <a:lnTo>
                                  <a:pt x="331" y="661"/>
                                </a:lnTo>
                                <a:lnTo>
                                  <a:pt x="328" y="661"/>
                                </a:lnTo>
                                <a:lnTo>
                                  <a:pt x="324" y="661"/>
                                </a:lnTo>
                                <a:lnTo>
                                  <a:pt x="320" y="661"/>
                                </a:lnTo>
                                <a:lnTo>
                                  <a:pt x="323" y="658"/>
                                </a:lnTo>
                                <a:lnTo>
                                  <a:pt x="325" y="655"/>
                                </a:lnTo>
                                <a:lnTo>
                                  <a:pt x="327" y="652"/>
                                </a:lnTo>
                                <a:lnTo>
                                  <a:pt x="329" y="649"/>
                                </a:lnTo>
                                <a:lnTo>
                                  <a:pt x="330" y="647"/>
                                </a:lnTo>
                                <a:lnTo>
                                  <a:pt x="331" y="644"/>
                                </a:lnTo>
                                <a:lnTo>
                                  <a:pt x="332" y="642"/>
                                </a:lnTo>
                                <a:lnTo>
                                  <a:pt x="333" y="640"/>
                                </a:lnTo>
                                <a:lnTo>
                                  <a:pt x="334" y="637"/>
                                </a:lnTo>
                                <a:lnTo>
                                  <a:pt x="334" y="636"/>
                                </a:lnTo>
                                <a:lnTo>
                                  <a:pt x="335" y="634"/>
                                </a:lnTo>
                                <a:lnTo>
                                  <a:pt x="335" y="633"/>
                                </a:lnTo>
                                <a:lnTo>
                                  <a:pt x="335" y="632"/>
                                </a:lnTo>
                                <a:lnTo>
                                  <a:pt x="335" y="631"/>
                                </a:lnTo>
                                <a:lnTo>
                                  <a:pt x="335" y="630"/>
                                </a:lnTo>
                                <a:lnTo>
                                  <a:pt x="337" y="629"/>
                                </a:lnTo>
                                <a:lnTo>
                                  <a:pt x="337" y="629"/>
                                </a:lnTo>
                                <a:lnTo>
                                  <a:pt x="336" y="629"/>
                                </a:lnTo>
                                <a:lnTo>
                                  <a:pt x="331" y="630"/>
                                </a:lnTo>
                                <a:lnTo>
                                  <a:pt x="326" y="630"/>
                                </a:lnTo>
                                <a:lnTo>
                                  <a:pt x="320" y="630"/>
                                </a:lnTo>
                                <a:lnTo>
                                  <a:pt x="317" y="630"/>
                                </a:lnTo>
                                <a:lnTo>
                                  <a:pt x="314" y="629"/>
                                </a:lnTo>
                                <a:lnTo>
                                  <a:pt x="310" y="629"/>
                                </a:lnTo>
                                <a:lnTo>
                                  <a:pt x="306" y="628"/>
                                </a:lnTo>
                                <a:lnTo>
                                  <a:pt x="303" y="625"/>
                                </a:lnTo>
                                <a:lnTo>
                                  <a:pt x="299" y="624"/>
                                </a:lnTo>
                                <a:lnTo>
                                  <a:pt x="296" y="623"/>
                                </a:lnTo>
                                <a:lnTo>
                                  <a:pt x="295" y="622"/>
                                </a:lnTo>
                                <a:lnTo>
                                  <a:pt x="294" y="622"/>
                                </a:lnTo>
                                <a:lnTo>
                                  <a:pt x="293" y="621"/>
                                </a:lnTo>
                                <a:lnTo>
                                  <a:pt x="292" y="620"/>
                                </a:lnTo>
                                <a:lnTo>
                                  <a:pt x="291" y="619"/>
                                </a:lnTo>
                                <a:lnTo>
                                  <a:pt x="291" y="619"/>
                                </a:lnTo>
                                <a:lnTo>
                                  <a:pt x="291" y="618"/>
                                </a:lnTo>
                                <a:lnTo>
                                  <a:pt x="290" y="617"/>
                                </a:lnTo>
                                <a:lnTo>
                                  <a:pt x="290" y="617"/>
                                </a:lnTo>
                                <a:lnTo>
                                  <a:pt x="291" y="616"/>
                                </a:lnTo>
                                <a:lnTo>
                                  <a:pt x="291" y="616"/>
                                </a:lnTo>
                                <a:lnTo>
                                  <a:pt x="292" y="615"/>
                                </a:lnTo>
                                <a:lnTo>
                                  <a:pt x="293" y="615"/>
                                </a:lnTo>
                                <a:lnTo>
                                  <a:pt x="294" y="614"/>
                                </a:lnTo>
                                <a:lnTo>
                                  <a:pt x="296" y="614"/>
                                </a:lnTo>
                                <a:lnTo>
                                  <a:pt x="298" y="614"/>
                                </a:lnTo>
                                <a:lnTo>
                                  <a:pt x="301" y="614"/>
                                </a:lnTo>
                                <a:lnTo>
                                  <a:pt x="305" y="614"/>
                                </a:lnTo>
                                <a:lnTo>
                                  <a:pt x="303" y="612"/>
                                </a:lnTo>
                                <a:lnTo>
                                  <a:pt x="301" y="611"/>
                                </a:lnTo>
                                <a:lnTo>
                                  <a:pt x="300" y="610"/>
                                </a:lnTo>
                                <a:lnTo>
                                  <a:pt x="299" y="609"/>
                                </a:lnTo>
                                <a:lnTo>
                                  <a:pt x="298" y="608"/>
                                </a:lnTo>
                                <a:lnTo>
                                  <a:pt x="298" y="607"/>
                                </a:lnTo>
                                <a:lnTo>
                                  <a:pt x="297" y="606"/>
                                </a:lnTo>
                                <a:lnTo>
                                  <a:pt x="297" y="605"/>
                                </a:lnTo>
                                <a:lnTo>
                                  <a:pt x="296" y="603"/>
                                </a:lnTo>
                                <a:lnTo>
                                  <a:pt x="297" y="602"/>
                                </a:lnTo>
                                <a:lnTo>
                                  <a:pt x="297" y="601"/>
                                </a:lnTo>
                                <a:lnTo>
                                  <a:pt x="298" y="600"/>
                                </a:lnTo>
                                <a:lnTo>
                                  <a:pt x="298" y="600"/>
                                </a:lnTo>
                                <a:lnTo>
                                  <a:pt x="299" y="599"/>
                                </a:lnTo>
                                <a:lnTo>
                                  <a:pt x="300" y="599"/>
                                </a:lnTo>
                                <a:lnTo>
                                  <a:pt x="301" y="599"/>
                                </a:lnTo>
                                <a:lnTo>
                                  <a:pt x="303" y="599"/>
                                </a:lnTo>
                                <a:lnTo>
                                  <a:pt x="304" y="599"/>
                                </a:lnTo>
                                <a:lnTo>
                                  <a:pt x="304" y="599"/>
                                </a:lnTo>
                                <a:lnTo>
                                  <a:pt x="305" y="599"/>
                                </a:lnTo>
                                <a:lnTo>
                                  <a:pt x="305" y="597"/>
                                </a:lnTo>
                                <a:lnTo>
                                  <a:pt x="304" y="596"/>
                                </a:lnTo>
                                <a:lnTo>
                                  <a:pt x="304" y="595"/>
                                </a:lnTo>
                                <a:lnTo>
                                  <a:pt x="304" y="594"/>
                                </a:lnTo>
                                <a:lnTo>
                                  <a:pt x="304" y="593"/>
                                </a:lnTo>
                                <a:lnTo>
                                  <a:pt x="303" y="593"/>
                                </a:lnTo>
                                <a:lnTo>
                                  <a:pt x="303" y="592"/>
                                </a:lnTo>
                                <a:lnTo>
                                  <a:pt x="301" y="592"/>
                                </a:lnTo>
                                <a:lnTo>
                                  <a:pt x="300" y="591"/>
                                </a:lnTo>
                                <a:lnTo>
                                  <a:pt x="299" y="591"/>
                                </a:lnTo>
                                <a:lnTo>
                                  <a:pt x="297" y="592"/>
                                </a:lnTo>
                                <a:lnTo>
                                  <a:pt x="296" y="593"/>
                                </a:lnTo>
                                <a:lnTo>
                                  <a:pt x="294" y="593"/>
                                </a:lnTo>
                                <a:lnTo>
                                  <a:pt x="293" y="594"/>
                                </a:lnTo>
                                <a:lnTo>
                                  <a:pt x="292" y="595"/>
                                </a:lnTo>
                                <a:lnTo>
                                  <a:pt x="291" y="596"/>
                                </a:lnTo>
                                <a:lnTo>
                                  <a:pt x="289" y="597"/>
                                </a:lnTo>
                                <a:lnTo>
                                  <a:pt x="289" y="598"/>
                                </a:lnTo>
                                <a:lnTo>
                                  <a:pt x="288" y="598"/>
                                </a:lnTo>
                                <a:lnTo>
                                  <a:pt x="288" y="599"/>
                                </a:lnTo>
                                <a:lnTo>
                                  <a:pt x="282" y="598"/>
                                </a:lnTo>
                                <a:lnTo>
                                  <a:pt x="276" y="598"/>
                                </a:lnTo>
                                <a:lnTo>
                                  <a:pt x="273" y="598"/>
                                </a:lnTo>
                                <a:lnTo>
                                  <a:pt x="270" y="598"/>
                                </a:lnTo>
                                <a:lnTo>
                                  <a:pt x="268" y="597"/>
                                </a:lnTo>
                                <a:lnTo>
                                  <a:pt x="265" y="597"/>
                                </a:lnTo>
                                <a:lnTo>
                                  <a:pt x="261" y="596"/>
                                </a:lnTo>
                                <a:lnTo>
                                  <a:pt x="258" y="595"/>
                                </a:lnTo>
                                <a:lnTo>
                                  <a:pt x="255" y="593"/>
                                </a:lnTo>
                                <a:lnTo>
                                  <a:pt x="252" y="592"/>
                                </a:lnTo>
                                <a:lnTo>
                                  <a:pt x="249" y="590"/>
                                </a:lnTo>
                                <a:lnTo>
                                  <a:pt x="246" y="588"/>
                                </a:lnTo>
                                <a:lnTo>
                                  <a:pt x="244" y="585"/>
                                </a:lnTo>
                                <a:lnTo>
                                  <a:pt x="241" y="582"/>
                                </a:lnTo>
                                <a:lnTo>
                                  <a:pt x="241" y="582"/>
                                </a:lnTo>
                                <a:lnTo>
                                  <a:pt x="242" y="582"/>
                                </a:lnTo>
                                <a:lnTo>
                                  <a:pt x="244" y="582"/>
                                </a:lnTo>
                                <a:lnTo>
                                  <a:pt x="244" y="582"/>
                                </a:lnTo>
                                <a:lnTo>
                                  <a:pt x="246" y="582"/>
                                </a:lnTo>
                                <a:lnTo>
                                  <a:pt x="248" y="582"/>
                                </a:lnTo>
                                <a:lnTo>
                                  <a:pt x="250" y="582"/>
                                </a:lnTo>
                                <a:lnTo>
                                  <a:pt x="253" y="582"/>
                                </a:lnTo>
                                <a:lnTo>
                                  <a:pt x="255" y="582"/>
                                </a:lnTo>
                                <a:lnTo>
                                  <a:pt x="257" y="582"/>
                                </a:lnTo>
                                <a:lnTo>
                                  <a:pt x="260" y="582"/>
                                </a:lnTo>
                                <a:lnTo>
                                  <a:pt x="267" y="582"/>
                                </a:lnTo>
                                <a:lnTo>
                                  <a:pt x="273" y="582"/>
                                </a:lnTo>
                                <a:lnTo>
                                  <a:pt x="271" y="581"/>
                                </a:lnTo>
                                <a:lnTo>
                                  <a:pt x="269" y="579"/>
                                </a:lnTo>
                                <a:lnTo>
                                  <a:pt x="268" y="578"/>
                                </a:lnTo>
                                <a:lnTo>
                                  <a:pt x="266" y="577"/>
                                </a:lnTo>
                                <a:lnTo>
                                  <a:pt x="263" y="576"/>
                                </a:lnTo>
                                <a:lnTo>
                                  <a:pt x="260" y="575"/>
                                </a:lnTo>
                                <a:lnTo>
                                  <a:pt x="256" y="574"/>
                                </a:lnTo>
                                <a:lnTo>
                                  <a:pt x="250" y="573"/>
                                </a:lnTo>
                                <a:lnTo>
                                  <a:pt x="248" y="572"/>
                                </a:lnTo>
                                <a:lnTo>
                                  <a:pt x="245" y="572"/>
                                </a:lnTo>
                                <a:lnTo>
                                  <a:pt x="243" y="572"/>
                                </a:lnTo>
                                <a:lnTo>
                                  <a:pt x="240" y="572"/>
                                </a:lnTo>
                                <a:lnTo>
                                  <a:pt x="237" y="572"/>
                                </a:lnTo>
                                <a:lnTo>
                                  <a:pt x="235" y="573"/>
                                </a:lnTo>
                                <a:lnTo>
                                  <a:pt x="232" y="573"/>
                                </a:lnTo>
                                <a:lnTo>
                                  <a:pt x="230" y="574"/>
                                </a:lnTo>
                                <a:lnTo>
                                  <a:pt x="228" y="574"/>
                                </a:lnTo>
                                <a:lnTo>
                                  <a:pt x="225" y="575"/>
                                </a:lnTo>
                                <a:lnTo>
                                  <a:pt x="223" y="576"/>
                                </a:lnTo>
                                <a:lnTo>
                                  <a:pt x="220" y="577"/>
                                </a:lnTo>
                                <a:lnTo>
                                  <a:pt x="218" y="578"/>
                                </a:lnTo>
                                <a:lnTo>
                                  <a:pt x="216" y="580"/>
                                </a:lnTo>
                                <a:lnTo>
                                  <a:pt x="215" y="581"/>
                                </a:lnTo>
                                <a:lnTo>
                                  <a:pt x="213" y="583"/>
                                </a:lnTo>
                                <a:lnTo>
                                  <a:pt x="212" y="585"/>
                                </a:lnTo>
                                <a:lnTo>
                                  <a:pt x="211" y="588"/>
                                </a:lnTo>
                                <a:lnTo>
                                  <a:pt x="210" y="590"/>
                                </a:lnTo>
                                <a:lnTo>
                                  <a:pt x="209" y="593"/>
                                </a:lnTo>
                                <a:lnTo>
                                  <a:pt x="209" y="596"/>
                                </a:lnTo>
                                <a:lnTo>
                                  <a:pt x="209" y="599"/>
                                </a:lnTo>
                                <a:lnTo>
                                  <a:pt x="208" y="596"/>
                                </a:lnTo>
                                <a:lnTo>
                                  <a:pt x="208" y="593"/>
                                </a:lnTo>
                                <a:lnTo>
                                  <a:pt x="207" y="590"/>
                                </a:lnTo>
                                <a:lnTo>
                                  <a:pt x="207" y="587"/>
                                </a:lnTo>
                                <a:lnTo>
                                  <a:pt x="205" y="580"/>
                                </a:lnTo>
                                <a:lnTo>
                                  <a:pt x="204" y="577"/>
                                </a:lnTo>
                                <a:lnTo>
                                  <a:pt x="203" y="574"/>
                                </a:lnTo>
                                <a:lnTo>
                                  <a:pt x="202" y="571"/>
                                </a:lnTo>
                                <a:lnTo>
                                  <a:pt x="202" y="568"/>
                                </a:lnTo>
                                <a:lnTo>
                                  <a:pt x="202" y="565"/>
                                </a:lnTo>
                                <a:lnTo>
                                  <a:pt x="202" y="563"/>
                                </a:lnTo>
                                <a:lnTo>
                                  <a:pt x="203" y="561"/>
                                </a:lnTo>
                                <a:lnTo>
                                  <a:pt x="203" y="561"/>
                                </a:lnTo>
                                <a:lnTo>
                                  <a:pt x="202" y="561"/>
                                </a:lnTo>
                                <a:lnTo>
                                  <a:pt x="200" y="562"/>
                                </a:lnTo>
                                <a:lnTo>
                                  <a:pt x="197" y="563"/>
                                </a:lnTo>
                                <a:lnTo>
                                  <a:pt x="195" y="563"/>
                                </a:lnTo>
                                <a:lnTo>
                                  <a:pt x="193" y="563"/>
                                </a:lnTo>
                                <a:lnTo>
                                  <a:pt x="192" y="562"/>
                                </a:lnTo>
                                <a:lnTo>
                                  <a:pt x="191" y="562"/>
                                </a:lnTo>
                                <a:lnTo>
                                  <a:pt x="190" y="561"/>
                                </a:lnTo>
                                <a:lnTo>
                                  <a:pt x="190" y="561"/>
                                </a:lnTo>
                                <a:lnTo>
                                  <a:pt x="189" y="560"/>
                                </a:lnTo>
                                <a:lnTo>
                                  <a:pt x="189" y="559"/>
                                </a:lnTo>
                                <a:lnTo>
                                  <a:pt x="189" y="558"/>
                                </a:lnTo>
                                <a:lnTo>
                                  <a:pt x="189" y="557"/>
                                </a:lnTo>
                                <a:lnTo>
                                  <a:pt x="190" y="556"/>
                                </a:lnTo>
                                <a:lnTo>
                                  <a:pt x="190" y="555"/>
                                </a:lnTo>
                                <a:lnTo>
                                  <a:pt x="191" y="554"/>
                                </a:lnTo>
                                <a:lnTo>
                                  <a:pt x="192" y="552"/>
                                </a:lnTo>
                                <a:lnTo>
                                  <a:pt x="190" y="554"/>
                                </a:lnTo>
                                <a:lnTo>
                                  <a:pt x="189" y="555"/>
                                </a:lnTo>
                                <a:lnTo>
                                  <a:pt x="187" y="556"/>
                                </a:lnTo>
                                <a:lnTo>
                                  <a:pt x="185" y="556"/>
                                </a:lnTo>
                                <a:lnTo>
                                  <a:pt x="183" y="557"/>
                                </a:lnTo>
                                <a:lnTo>
                                  <a:pt x="182" y="557"/>
                                </a:lnTo>
                                <a:lnTo>
                                  <a:pt x="179" y="558"/>
                                </a:lnTo>
                                <a:lnTo>
                                  <a:pt x="174" y="558"/>
                                </a:lnTo>
                                <a:lnTo>
                                  <a:pt x="170" y="558"/>
                                </a:lnTo>
                                <a:lnTo>
                                  <a:pt x="166" y="558"/>
                                </a:lnTo>
                                <a:lnTo>
                                  <a:pt x="161" y="557"/>
                                </a:lnTo>
                                <a:lnTo>
                                  <a:pt x="157" y="556"/>
                                </a:lnTo>
                                <a:lnTo>
                                  <a:pt x="153" y="555"/>
                                </a:lnTo>
                                <a:lnTo>
                                  <a:pt x="149" y="554"/>
                                </a:lnTo>
                                <a:lnTo>
                                  <a:pt x="145" y="553"/>
                                </a:lnTo>
                                <a:lnTo>
                                  <a:pt x="140" y="552"/>
                                </a:lnTo>
                                <a:lnTo>
                                  <a:pt x="136" y="552"/>
                                </a:lnTo>
                                <a:lnTo>
                                  <a:pt x="133" y="551"/>
                                </a:lnTo>
                                <a:lnTo>
                                  <a:pt x="130" y="551"/>
                                </a:lnTo>
                                <a:lnTo>
                                  <a:pt x="124" y="548"/>
                                </a:lnTo>
                                <a:lnTo>
                                  <a:pt x="119" y="544"/>
                                </a:lnTo>
                                <a:lnTo>
                                  <a:pt x="114" y="542"/>
                                </a:lnTo>
                                <a:lnTo>
                                  <a:pt x="109" y="539"/>
                                </a:lnTo>
                                <a:lnTo>
                                  <a:pt x="105" y="537"/>
                                </a:lnTo>
                                <a:lnTo>
                                  <a:pt x="100" y="535"/>
                                </a:lnTo>
                                <a:lnTo>
                                  <a:pt x="96" y="534"/>
                                </a:lnTo>
                                <a:lnTo>
                                  <a:pt x="94" y="533"/>
                                </a:lnTo>
                                <a:lnTo>
                                  <a:pt x="92" y="533"/>
                                </a:lnTo>
                                <a:lnTo>
                                  <a:pt x="90" y="533"/>
                                </a:lnTo>
                                <a:lnTo>
                                  <a:pt x="88" y="532"/>
                                </a:lnTo>
                                <a:lnTo>
                                  <a:pt x="87" y="532"/>
                                </a:lnTo>
                                <a:lnTo>
                                  <a:pt x="85" y="533"/>
                                </a:lnTo>
                                <a:lnTo>
                                  <a:pt x="84" y="533"/>
                                </a:lnTo>
                                <a:lnTo>
                                  <a:pt x="82" y="533"/>
                                </a:lnTo>
                                <a:lnTo>
                                  <a:pt x="80" y="534"/>
                                </a:lnTo>
                                <a:lnTo>
                                  <a:pt x="79" y="535"/>
                                </a:lnTo>
                                <a:lnTo>
                                  <a:pt x="77" y="536"/>
                                </a:lnTo>
                                <a:lnTo>
                                  <a:pt x="76" y="538"/>
                                </a:lnTo>
                                <a:lnTo>
                                  <a:pt x="74" y="539"/>
                                </a:lnTo>
                                <a:lnTo>
                                  <a:pt x="73" y="541"/>
                                </a:lnTo>
                                <a:lnTo>
                                  <a:pt x="72" y="543"/>
                                </a:lnTo>
                                <a:lnTo>
                                  <a:pt x="70" y="545"/>
                                </a:lnTo>
                                <a:lnTo>
                                  <a:pt x="69" y="549"/>
                                </a:lnTo>
                                <a:lnTo>
                                  <a:pt x="67" y="551"/>
                                </a:lnTo>
                                <a:lnTo>
                                  <a:pt x="64" y="545"/>
                                </a:lnTo>
                                <a:lnTo>
                                  <a:pt x="61" y="539"/>
                                </a:lnTo>
                                <a:lnTo>
                                  <a:pt x="57" y="535"/>
                                </a:lnTo>
                                <a:lnTo>
                                  <a:pt x="54" y="530"/>
                                </a:lnTo>
                                <a:lnTo>
                                  <a:pt x="51" y="526"/>
                                </a:lnTo>
                                <a:lnTo>
                                  <a:pt x="48" y="522"/>
                                </a:lnTo>
                                <a:lnTo>
                                  <a:pt x="45" y="519"/>
                                </a:lnTo>
                                <a:lnTo>
                                  <a:pt x="41" y="515"/>
                                </a:lnTo>
                                <a:lnTo>
                                  <a:pt x="37" y="513"/>
                                </a:lnTo>
                                <a:lnTo>
                                  <a:pt x="33" y="511"/>
                                </a:lnTo>
                                <a:lnTo>
                                  <a:pt x="29" y="508"/>
                                </a:lnTo>
                                <a:lnTo>
                                  <a:pt x="24" y="507"/>
                                </a:lnTo>
                                <a:lnTo>
                                  <a:pt x="19" y="504"/>
                                </a:lnTo>
                                <a:lnTo>
                                  <a:pt x="14" y="504"/>
                                </a:lnTo>
                                <a:lnTo>
                                  <a:pt x="9" y="503"/>
                                </a:lnTo>
                                <a:lnTo>
                                  <a:pt x="3" y="503"/>
                                </a:lnTo>
                                <a:lnTo>
                                  <a:pt x="6" y="500"/>
                                </a:lnTo>
                                <a:lnTo>
                                  <a:pt x="9" y="498"/>
                                </a:lnTo>
                                <a:lnTo>
                                  <a:pt x="12" y="496"/>
                                </a:lnTo>
                                <a:lnTo>
                                  <a:pt x="15" y="494"/>
                                </a:lnTo>
                                <a:lnTo>
                                  <a:pt x="18" y="492"/>
                                </a:lnTo>
                                <a:lnTo>
                                  <a:pt x="23" y="491"/>
                                </a:lnTo>
                                <a:lnTo>
                                  <a:pt x="26" y="490"/>
                                </a:lnTo>
                                <a:lnTo>
                                  <a:pt x="29" y="489"/>
                                </a:lnTo>
                                <a:lnTo>
                                  <a:pt x="33" y="489"/>
                                </a:lnTo>
                                <a:lnTo>
                                  <a:pt x="37" y="489"/>
                                </a:lnTo>
                                <a:lnTo>
                                  <a:pt x="41" y="488"/>
                                </a:lnTo>
                                <a:lnTo>
                                  <a:pt x="46" y="488"/>
                                </a:lnTo>
                                <a:lnTo>
                                  <a:pt x="50" y="488"/>
                                </a:lnTo>
                                <a:lnTo>
                                  <a:pt x="55" y="488"/>
                                </a:lnTo>
                                <a:lnTo>
                                  <a:pt x="61" y="488"/>
                                </a:lnTo>
                                <a:lnTo>
                                  <a:pt x="67" y="488"/>
                                </a:lnTo>
                                <a:lnTo>
                                  <a:pt x="67" y="485"/>
                                </a:lnTo>
                                <a:lnTo>
                                  <a:pt x="67" y="482"/>
                                </a:lnTo>
                                <a:lnTo>
                                  <a:pt x="66" y="480"/>
                                </a:lnTo>
                                <a:lnTo>
                                  <a:pt x="66" y="479"/>
                                </a:lnTo>
                                <a:lnTo>
                                  <a:pt x="65" y="477"/>
                                </a:lnTo>
                                <a:lnTo>
                                  <a:pt x="64" y="476"/>
                                </a:lnTo>
                                <a:lnTo>
                                  <a:pt x="63" y="475"/>
                                </a:lnTo>
                                <a:lnTo>
                                  <a:pt x="62" y="474"/>
                                </a:lnTo>
                                <a:lnTo>
                                  <a:pt x="59" y="474"/>
                                </a:lnTo>
                                <a:lnTo>
                                  <a:pt x="59" y="473"/>
                                </a:lnTo>
                                <a:lnTo>
                                  <a:pt x="57" y="473"/>
                                </a:lnTo>
                                <a:lnTo>
                                  <a:pt x="55" y="473"/>
                                </a:lnTo>
                                <a:lnTo>
                                  <a:pt x="52" y="472"/>
                                </a:lnTo>
                                <a:lnTo>
                                  <a:pt x="48" y="472"/>
                                </a:lnTo>
                                <a:lnTo>
                                  <a:pt x="45" y="472"/>
                                </a:lnTo>
                                <a:lnTo>
                                  <a:pt x="41" y="472"/>
                                </a:lnTo>
                                <a:lnTo>
                                  <a:pt x="39" y="472"/>
                                </a:lnTo>
                                <a:lnTo>
                                  <a:pt x="37" y="471"/>
                                </a:lnTo>
                                <a:lnTo>
                                  <a:pt x="35" y="471"/>
                                </a:lnTo>
                                <a:lnTo>
                                  <a:pt x="34" y="470"/>
                                </a:lnTo>
                                <a:lnTo>
                                  <a:pt x="32" y="469"/>
                                </a:lnTo>
                                <a:lnTo>
                                  <a:pt x="30" y="468"/>
                                </a:lnTo>
                                <a:lnTo>
                                  <a:pt x="28" y="467"/>
                                </a:lnTo>
                                <a:lnTo>
                                  <a:pt x="26" y="466"/>
                                </a:lnTo>
                                <a:lnTo>
                                  <a:pt x="24" y="463"/>
                                </a:lnTo>
                                <a:lnTo>
                                  <a:pt x="23" y="461"/>
                                </a:lnTo>
                                <a:lnTo>
                                  <a:pt x="21" y="459"/>
                                </a:lnTo>
                                <a:lnTo>
                                  <a:pt x="19" y="456"/>
                                </a:lnTo>
                                <a:lnTo>
                                  <a:pt x="23" y="456"/>
                                </a:lnTo>
                                <a:lnTo>
                                  <a:pt x="23" y="456"/>
                                </a:lnTo>
                                <a:lnTo>
                                  <a:pt x="21" y="455"/>
                                </a:lnTo>
                                <a:lnTo>
                                  <a:pt x="18" y="455"/>
                                </a:lnTo>
                                <a:lnTo>
                                  <a:pt x="15" y="454"/>
                                </a:lnTo>
                                <a:lnTo>
                                  <a:pt x="13" y="454"/>
                                </a:lnTo>
                                <a:lnTo>
                                  <a:pt x="11" y="453"/>
                                </a:lnTo>
                                <a:lnTo>
                                  <a:pt x="9" y="452"/>
                                </a:lnTo>
                                <a:lnTo>
                                  <a:pt x="7" y="451"/>
                                </a:lnTo>
                                <a:lnTo>
                                  <a:pt x="6" y="449"/>
                                </a:lnTo>
                                <a:lnTo>
                                  <a:pt x="5" y="448"/>
                                </a:lnTo>
                                <a:lnTo>
                                  <a:pt x="4" y="445"/>
                                </a:lnTo>
                                <a:lnTo>
                                  <a:pt x="3" y="443"/>
                                </a:lnTo>
                                <a:lnTo>
                                  <a:pt x="3" y="440"/>
                                </a:lnTo>
                                <a:lnTo>
                                  <a:pt x="2" y="439"/>
                                </a:lnTo>
                                <a:lnTo>
                                  <a:pt x="1" y="438"/>
                                </a:lnTo>
                                <a:lnTo>
                                  <a:pt x="0" y="436"/>
                                </a:lnTo>
                                <a:lnTo>
                                  <a:pt x="0" y="435"/>
                                </a:lnTo>
                                <a:lnTo>
                                  <a:pt x="0" y="433"/>
                                </a:lnTo>
                                <a:lnTo>
                                  <a:pt x="0" y="432"/>
                                </a:lnTo>
                                <a:lnTo>
                                  <a:pt x="1" y="430"/>
                                </a:lnTo>
                                <a:lnTo>
                                  <a:pt x="2" y="429"/>
                                </a:lnTo>
                                <a:lnTo>
                                  <a:pt x="3" y="428"/>
                                </a:lnTo>
                                <a:lnTo>
                                  <a:pt x="4" y="427"/>
                                </a:lnTo>
                                <a:lnTo>
                                  <a:pt x="5" y="425"/>
                                </a:lnTo>
                                <a:lnTo>
                                  <a:pt x="7" y="423"/>
                                </a:lnTo>
                                <a:lnTo>
                                  <a:pt x="9" y="422"/>
                                </a:lnTo>
                                <a:lnTo>
                                  <a:pt x="10" y="420"/>
                                </a:lnTo>
                                <a:lnTo>
                                  <a:pt x="12" y="419"/>
                                </a:lnTo>
                                <a:lnTo>
                                  <a:pt x="15" y="418"/>
                                </a:lnTo>
                                <a:lnTo>
                                  <a:pt x="19" y="416"/>
                                </a:lnTo>
                                <a:lnTo>
                                  <a:pt x="25" y="415"/>
                                </a:lnTo>
                                <a:lnTo>
                                  <a:pt x="30" y="413"/>
                                </a:lnTo>
                                <a:lnTo>
                                  <a:pt x="35" y="411"/>
                                </a:lnTo>
                                <a:lnTo>
                                  <a:pt x="39" y="410"/>
                                </a:lnTo>
                                <a:lnTo>
                                  <a:pt x="44" y="409"/>
                                </a:lnTo>
                                <a:lnTo>
                                  <a:pt x="46" y="409"/>
                                </a:lnTo>
                                <a:lnTo>
                                  <a:pt x="47" y="409"/>
                                </a:lnTo>
                                <a:lnTo>
                                  <a:pt x="49" y="409"/>
                                </a:lnTo>
                                <a:lnTo>
                                  <a:pt x="50" y="409"/>
                                </a:lnTo>
                                <a:lnTo>
                                  <a:pt x="56" y="406"/>
                                </a:lnTo>
                                <a:lnTo>
                                  <a:pt x="62" y="403"/>
                                </a:lnTo>
                                <a:lnTo>
                                  <a:pt x="67" y="402"/>
                                </a:lnTo>
                                <a:lnTo>
                                  <a:pt x="72" y="400"/>
                                </a:lnTo>
                                <a:lnTo>
                                  <a:pt x="77" y="398"/>
                                </a:lnTo>
                                <a:lnTo>
                                  <a:pt x="81" y="397"/>
                                </a:lnTo>
                                <a:lnTo>
                                  <a:pt x="86" y="396"/>
                                </a:lnTo>
                                <a:lnTo>
                                  <a:pt x="90" y="395"/>
                                </a:lnTo>
                                <a:lnTo>
                                  <a:pt x="95" y="394"/>
                                </a:lnTo>
                                <a:lnTo>
                                  <a:pt x="99" y="394"/>
                                </a:lnTo>
                                <a:lnTo>
                                  <a:pt x="104" y="394"/>
                                </a:lnTo>
                                <a:lnTo>
                                  <a:pt x="109" y="393"/>
                                </a:lnTo>
                                <a:lnTo>
                                  <a:pt x="114" y="393"/>
                                </a:lnTo>
                                <a:lnTo>
                                  <a:pt x="119" y="393"/>
                                </a:lnTo>
                                <a:lnTo>
                                  <a:pt x="124" y="393"/>
                                </a:lnTo>
                                <a:lnTo>
                                  <a:pt x="130" y="393"/>
                                </a:lnTo>
                                <a:lnTo>
                                  <a:pt x="135" y="393"/>
                                </a:lnTo>
                                <a:lnTo>
                                  <a:pt x="142" y="393"/>
                                </a:lnTo>
                                <a:lnTo>
                                  <a:pt x="145" y="393"/>
                                </a:lnTo>
                                <a:lnTo>
                                  <a:pt x="148" y="392"/>
                                </a:lnTo>
                                <a:lnTo>
                                  <a:pt x="151" y="392"/>
                                </a:lnTo>
                                <a:lnTo>
                                  <a:pt x="154" y="391"/>
                                </a:lnTo>
                                <a:lnTo>
                                  <a:pt x="157" y="391"/>
                                </a:lnTo>
                                <a:lnTo>
                                  <a:pt x="159" y="390"/>
                                </a:lnTo>
                                <a:lnTo>
                                  <a:pt x="162" y="388"/>
                                </a:lnTo>
                                <a:lnTo>
                                  <a:pt x="165" y="387"/>
                                </a:lnTo>
                                <a:lnTo>
                                  <a:pt x="168" y="385"/>
                                </a:lnTo>
                                <a:lnTo>
                                  <a:pt x="171" y="382"/>
                                </a:lnTo>
                                <a:lnTo>
                                  <a:pt x="174" y="379"/>
                                </a:lnTo>
                                <a:lnTo>
                                  <a:pt x="177" y="377"/>
                                </a:lnTo>
                                <a:lnTo>
                                  <a:pt x="180" y="377"/>
                                </a:lnTo>
                                <a:lnTo>
                                  <a:pt x="184" y="376"/>
                                </a:lnTo>
                                <a:lnTo>
                                  <a:pt x="187" y="376"/>
                                </a:lnTo>
                                <a:lnTo>
                                  <a:pt x="190" y="375"/>
                                </a:lnTo>
                                <a:lnTo>
                                  <a:pt x="193" y="373"/>
                                </a:lnTo>
                                <a:lnTo>
                                  <a:pt x="195" y="372"/>
                                </a:lnTo>
                                <a:lnTo>
                                  <a:pt x="201" y="369"/>
                                </a:lnTo>
                                <a:lnTo>
                                  <a:pt x="207" y="366"/>
                                </a:lnTo>
                                <a:lnTo>
                                  <a:pt x="210" y="365"/>
                                </a:lnTo>
                                <a:lnTo>
                                  <a:pt x="213" y="364"/>
                                </a:lnTo>
                                <a:lnTo>
                                  <a:pt x="216" y="363"/>
                                </a:lnTo>
                                <a:lnTo>
                                  <a:pt x="219" y="362"/>
                                </a:lnTo>
                                <a:lnTo>
                                  <a:pt x="222" y="362"/>
                                </a:lnTo>
                                <a:lnTo>
                                  <a:pt x="225" y="362"/>
                                </a:lnTo>
                                <a:lnTo>
                                  <a:pt x="225" y="363"/>
                                </a:lnTo>
                                <a:lnTo>
                                  <a:pt x="226" y="365"/>
                                </a:lnTo>
                                <a:lnTo>
                                  <a:pt x="226" y="366"/>
                                </a:lnTo>
                                <a:lnTo>
                                  <a:pt x="227" y="368"/>
                                </a:lnTo>
                                <a:lnTo>
                                  <a:pt x="228" y="371"/>
                                </a:lnTo>
                                <a:lnTo>
                                  <a:pt x="230" y="373"/>
                                </a:lnTo>
                                <a:lnTo>
                                  <a:pt x="231" y="375"/>
                                </a:lnTo>
                                <a:lnTo>
                                  <a:pt x="233" y="378"/>
                                </a:lnTo>
                                <a:lnTo>
                                  <a:pt x="234" y="380"/>
                                </a:lnTo>
                                <a:lnTo>
                                  <a:pt x="236" y="382"/>
                                </a:lnTo>
                                <a:lnTo>
                                  <a:pt x="239" y="386"/>
                                </a:lnTo>
                                <a:lnTo>
                                  <a:pt x="241" y="389"/>
                                </a:lnTo>
                                <a:lnTo>
                                  <a:pt x="245" y="394"/>
                                </a:lnTo>
                                <a:lnTo>
                                  <a:pt x="250" y="399"/>
                                </a:lnTo>
                                <a:lnTo>
                                  <a:pt x="256" y="404"/>
                                </a:lnTo>
                                <a:lnTo>
                                  <a:pt x="261" y="409"/>
                                </a:lnTo>
                                <a:lnTo>
                                  <a:pt x="264" y="411"/>
                                </a:lnTo>
                                <a:lnTo>
                                  <a:pt x="267" y="413"/>
                                </a:lnTo>
                                <a:lnTo>
                                  <a:pt x="269" y="415"/>
                                </a:lnTo>
                                <a:lnTo>
                                  <a:pt x="272" y="416"/>
                                </a:lnTo>
                                <a:lnTo>
                                  <a:pt x="274" y="418"/>
                                </a:lnTo>
                                <a:lnTo>
                                  <a:pt x="277" y="420"/>
                                </a:lnTo>
                                <a:lnTo>
                                  <a:pt x="279" y="421"/>
                                </a:lnTo>
                                <a:lnTo>
                                  <a:pt x="281" y="422"/>
                                </a:lnTo>
                                <a:lnTo>
                                  <a:pt x="283" y="423"/>
                                </a:lnTo>
                                <a:lnTo>
                                  <a:pt x="285" y="425"/>
                                </a:lnTo>
                                <a:lnTo>
                                  <a:pt x="286" y="425"/>
                                </a:lnTo>
                                <a:lnTo>
                                  <a:pt x="288" y="425"/>
                                </a:lnTo>
                                <a:lnTo>
                                  <a:pt x="288" y="421"/>
                                </a:lnTo>
                                <a:lnTo>
                                  <a:pt x="289" y="419"/>
                                </a:lnTo>
                                <a:lnTo>
                                  <a:pt x="289" y="417"/>
                                </a:lnTo>
                                <a:lnTo>
                                  <a:pt x="291" y="415"/>
                                </a:lnTo>
                                <a:lnTo>
                                  <a:pt x="292" y="414"/>
                                </a:lnTo>
                                <a:lnTo>
                                  <a:pt x="293" y="413"/>
                                </a:lnTo>
                                <a:lnTo>
                                  <a:pt x="294" y="411"/>
                                </a:lnTo>
                                <a:lnTo>
                                  <a:pt x="296" y="411"/>
                                </a:lnTo>
                                <a:lnTo>
                                  <a:pt x="297" y="410"/>
                                </a:lnTo>
                                <a:lnTo>
                                  <a:pt x="299" y="409"/>
                                </a:lnTo>
                                <a:lnTo>
                                  <a:pt x="300" y="409"/>
                                </a:lnTo>
                                <a:lnTo>
                                  <a:pt x="301" y="409"/>
                                </a:lnTo>
                                <a:lnTo>
                                  <a:pt x="303" y="409"/>
                                </a:lnTo>
                                <a:lnTo>
                                  <a:pt x="304" y="409"/>
                                </a:lnTo>
                                <a:lnTo>
                                  <a:pt x="304" y="409"/>
                                </a:lnTo>
                                <a:lnTo>
                                  <a:pt x="305" y="409"/>
                                </a:lnTo>
                                <a:lnTo>
                                  <a:pt x="307" y="407"/>
                                </a:lnTo>
                                <a:lnTo>
                                  <a:pt x="310" y="406"/>
                                </a:lnTo>
                                <a:lnTo>
                                  <a:pt x="312" y="405"/>
                                </a:lnTo>
                                <a:lnTo>
                                  <a:pt x="315" y="404"/>
                                </a:lnTo>
                                <a:lnTo>
                                  <a:pt x="317" y="403"/>
                                </a:lnTo>
                                <a:lnTo>
                                  <a:pt x="319" y="403"/>
                                </a:lnTo>
                                <a:lnTo>
                                  <a:pt x="320" y="403"/>
                                </a:lnTo>
                                <a:lnTo>
                                  <a:pt x="322" y="402"/>
                                </a:lnTo>
                                <a:lnTo>
                                  <a:pt x="324" y="402"/>
                                </a:lnTo>
                                <a:lnTo>
                                  <a:pt x="325" y="402"/>
                                </a:lnTo>
                                <a:lnTo>
                                  <a:pt x="327" y="402"/>
                                </a:lnTo>
                                <a:lnTo>
                                  <a:pt x="328" y="402"/>
                                </a:lnTo>
                                <a:lnTo>
                                  <a:pt x="330" y="402"/>
                                </a:lnTo>
                                <a:lnTo>
                                  <a:pt x="331" y="403"/>
                                </a:lnTo>
                                <a:lnTo>
                                  <a:pt x="333" y="403"/>
                                </a:lnTo>
                                <a:lnTo>
                                  <a:pt x="334" y="404"/>
                                </a:lnTo>
                                <a:lnTo>
                                  <a:pt x="334" y="405"/>
                                </a:lnTo>
                                <a:lnTo>
                                  <a:pt x="335" y="406"/>
                                </a:lnTo>
                                <a:lnTo>
                                  <a:pt x="335" y="407"/>
                                </a:lnTo>
                                <a:lnTo>
                                  <a:pt x="335" y="408"/>
                                </a:lnTo>
                                <a:lnTo>
                                  <a:pt x="335" y="408"/>
                                </a:lnTo>
                                <a:lnTo>
                                  <a:pt x="335" y="409"/>
                                </a:lnTo>
                                <a:lnTo>
                                  <a:pt x="338" y="409"/>
                                </a:lnTo>
                                <a:lnTo>
                                  <a:pt x="341" y="409"/>
                                </a:lnTo>
                                <a:lnTo>
                                  <a:pt x="343" y="409"/>
                                </a:lnTo>
                                <a:lnTo>
                                  <a:pt x="345" y="409"/>
                                </a:lnTo>
                                <a:lnTo>
                                  <a:pt x="347" y="409"/>
                                </a:lnTo>
                                <a:lnTo>
                                  <a:pt x="348" y="409"/>
                                </a:lnTo>
                                <a:lnTo>
                                  <a:pt x="349" y="409"/>
                                </a:lnTo>
                                <a:lnTo>
                                  <a:pt x="350" y="409"/>
                                </a:lnTo>
                                <a:lnTo>
                                  <a:pt x="351" y="409"/>
                                </a:lnTo>
                                <a:lnTo>
                                  <a:pt x="351" y="409"/>
                                </a:lnTo>
                                <a:lnTo>
                                  <a:pt x="352" y="409"/>
                                </a:lnTo>
                                <a:lnTo>
                                  <a:pt x="355" y="409"/>
                                </a:lnTo>
                                <a:lnTo>
                                  <a:pt x="357" y="409"/>
                                </a:lnTo>
                                <a:lnTo>
                                  <a:pt x="359" y="409"/>
                                </a:lnTo>
                                <a:lnTo>
                                  <a:pt x="361" y="409"/>
                                </a:lnTo>
                                <a:lnTo>
                                  <a:pt x="362" y="409"/>
                                </a:lnTo>
                                <a:lnTo>
                                  <a:pt x="363" y="409"/>
                                </a:lnTo>
                                <a:lnTo>
                                  <a:pt x="365" y="410"/>
                                </a:lnTo>
                                <a:lnTo>
                                  <a:pt x="365" y="411"/>
                                </a:lnTo>
                                <a:lnTo>
                                  <a:pt x="366" y="411"/>
                                </a:lnTo>
                                <a:lnTo>
                                  <a:pt x="367" y="413"/>
                                </a:lnTo>
                                <a:lnTo>
                                  <a:pt x="367" y="414"/>
                                </a:lnTo>
                                <a:lnTo>
                                  <a:pt x="367" y="415"/>
                                </a:lnTo>
                                <a:lnTo>
                                  <a:pt x="367" y="417"/>
                                </a:lnTo>
                                <a:lnTo>
                                  <a:pt x="367" y="419"/>
                                </a:lnTo>
                                <a:lnTo>
                                  <a:pt x="367" y="421"/>
                                </a:lnTo>
                                <a:lnTo>
                                  <a:pt x="367" y="425"/>
                                </a:lnTo>
                                <a:lnTo>
                                  <a:pt x="368" y="425"/>
                                </a:lnTo>
                                <a:lnTo>
                                  <a:pt x="370" y="425"/>
                                </a:lnTo>
                                <a:lnTo>
                                  <a:pt x="371" y="425"/>
                                </a:lnTo>
                                <a:lnTo>
                                  <a:pt x="372" y="423"/>
                                </a:lnTo>
                                <a:lnTo>
                                  <a:pt x="372" y="423"/>
                                </a:lnTo>
                                <a:lnTo>
                                  <a:pt x="373" y="423"/>
                                </a:lnTo>
                                <a:lnTo>
                                  <a:pt x="373" y="422"/>
                                </a:lnTo>
                                <a:lnTo>
                                  <a:pt x="374" y="421"/>
                                </a:lnTo>
                                <a:lnTo>
                                  <a:pt x="374" y="420"/>
                                </a:lnTo>
                                <a:lnTo>
                                  <a:pt x="374" y="418"/>
                                </a:lnTo>
                                <a:lnTo>
                                  <a:pt x="374" y="416"/>
                                </a:lnTo>
                                <a:lnTo>
                                  <a:pt x="373" y="415"/>
                                </a:lnTo>
                                <a:lnTo>
                                  <a:pt x="372" y="412"/>
                                </a:lnTo>
                                <a:lnTo>
                                  <a:pt x="371" y="410"/>
                                </a:lnTo>
                                <a:lnTo>
                                  <a:pt x="370" y="407"/>
                                </a:lnTo>
                                <a:lnTo>
                                  <a:pt x="369" y="404"/>
                                </a:lnTo>
                                <a:lnTo>
                                  <a:pt x="368" y="402"/>
                                </a:lnTo>
                                <a:lnTo>
                                  <a:pt x="368" y="399"/>
                                </a:lnTo>
                                <a:lnTo>
                                  <a:pt x="367" y="396"/>
                                </a:lnTo>
                                <a:lnTo>
                                  <a:pt x="367" y="393"/>
                                </a:lnTo>
                                <a:lnTo>
                                  <a:pt x="370" y="393"/>
                                </a:lnTo>
                                <a:lnTo>
                                  <a:pt x="372" y="394"/>
                                </a:lnTo>
                                <a:lnTo>
                                  <a:pt x="374" y="394"/>
                                </a:lnTo>
                                <a:lnTo>
                                  <a:pt x="376" y="396"/>
                                </a:lnTo>
                                <a:lnTo>
                                  <a:pt x="378" y="397"/>
                                </a:lnTo>
                                <a:lnTo>
                                  <a:pt x="380" y="398"/>
                                </a:lnTo>
                                <a:lnTo>
                                  <a:pt x="384" y="401"/>
                                </a:lnTo>
                                <a:lnTo>
                                  <a:pt x="387" y="404"/>
                                </a:lnTo>
                                <a:lnTo>
                                  <a:pt x="388" y="405"/>
                                </a:lnTo>
                                <a:lnTo>
                                  <a:pt x="390" y="406"/>
                                </a:lnTo>
                                <a:lnTo>
                                  <a:pt x="392" y="407"/>
                                </a:lnTo>
                                <a:lnTo>
                                  <a:pt x="394" y="408"/>
                                </a:lnTo>
                                <a:lnTo>
                                  <a:pt x="396" y="408"/>
                                </a:lnTo>
                                <a:lnTo>
                                  <a:pt x="399" y="409"/>
                                </a:lnTo>
                                <a:lnTo>
                                  <a:pt x="422" y="409"/>
                                </a:lnTo>
                                <a:lnTo>
                                  <a:pt x="446" y="409"/>
                                </a:lnTo>
                                <a:lnTo>
                                  <a:pt x="444" y="407"/>
                                </a:lnTo>
                                <a:lnTo>
                                  <a:pt x="441" y="405"/>
                                </a:lnTo>
                                <a:lnTo>
                                  <a:pt x="439" y="403"/>
                                </a:lnTo>
                                <a:lnTo>
                                  <a:pt x="437" y="402"/>
                                </a:lnTo>
                                <a:lnTo>
                                  <a:pt x="435" y="399"/>
                                </a:lnTo>
                                <a:lnTo>
                                  <a:pt x="433" y="397"/>
                                </a:lnTo>
                                <a:lnTo>
                                  <a:pt x="432" y="394"/>
                                </a:lnTo>
                                <a:lnTo>
                                  <a:pt x="431" y="392"/>
                                </a:lnTo>
                                <a:lnTo>
                                  <a:pt x="430" y="390"/>
                                </a:lnTo>
                                <a:lnTo>
                                  <a:pt x="429" y="387"/>
                                </a:lnTo>
                                <a:lnTo>
                                  <a:pt x="429" y="383"/>
                                </a:lnTo>
                                <a:lnTo>
                                  <a:pt x="428" y="380"/>
                                </a:lnTo>
                                <a:lnTo>
                                  <a:pt x="428" y="377"/>
                                </a:lnTo>
                                <a:lnTo>
                                  <a:pt x="427" y="374"/>
                                </a:lnTo>
                                <a:lnTo>
                                  <a:pt x="427" y="367"/>
                                </a:lnTo>
                                <a:lnTo>
                                  <a:pt x="427" y="361"/>
                                </a:lnTo>
                                <a:lnTo>
                                  <a:pt x="428" y="354"/>
                                </a:lnTo>
                                <a:lnTo>
                                  <a:pt x="429" y="347"/>
                                </a:lnTo>
                                <a:lnTo>
                                  <a:pt x="429" y="340"/>
                                </a:lnTo>
                                <a:lnTo>
                                  <a:pt x="430" y="333"/>
                                </a:lnTo>
                                <a:lnTo>
                                  <a:pt x="430" y="327"/>
                                </a:lnTo>
                                <a:lnTo>
                                  <a:pt x="431" y="320"/>
                                </a:lnTo>
                                <a:lnTo>
                                  <a:pt x="431" y="314"/>
                                </a:lnTo>
                                <a:lnTo>
                                  <a:pt x="431" y="311"/>
                                </a:lnTo>
                                <a:lnTo>
                                  <a:pt x="430" y="308"/>
                                </a:lnTo>
                                <a:lnTo>
                                  <a:pt x="430" y="305"/>
                                </a:lnTo>
                                <a:lnTo>
                                  <a:pt x="428" y="302"/>
                                </a:lnTo>
                                <a:lnTo>
                                  <a:pt x="427" y="299"/>
                                </a:lnTo>
                                <a:lnTo>
                                  <a:pt x="425" y="297"/>
                                </a:lnTo>
                                <a:lnTo>
                                  <a:pt x="422" y="294"/>
                                </a:lnTo>
                                <a:lnTo>
                                  <a:pt x="420" y="292"/>
                                </a:lnTo>
                                <a:lnTo>
                                  <a:pt x="418" y="290"/>
                                </a:lnTo>
                                <a:lnTo>
                                  <a:pt x="416" y="288"/>
                                </a:lnTo>
                                <a:lnTo>
                                  <a:pt x="413" y="286"/>
                                </a:lnTo>
                                <a:lnTo>
                                  <a:pt x="410" y="285"/>
                                </a:lnTo>
                                <a:lnTo>
                                  <a:pt x="408" y="284"/>
                                </a:lnTo>
                                <a:lnTo>
                                  <a:pt x="405" y="283"/>
                                </a:lnTo>
                                <a:lnTo>
                                  <a:pt x="402" y="282"/>
                                </a:lnTo>
                                <a:lnTo>
                                  <a:pt x="399" y="282"/>
                                </a:lnTo>
                                <a:lnTo>
                                  <a:pt x="399" y="280"/>
                                </a:lnTo>
                                <a:lnTo>
                                  <a:pt x="399" y="276"/>
                                </a:lnTo>
                                <a:lnTo>
                                  <a:pt x="399" y="272"/>
                                </a:lnTo>
                                <a:lnTo>
                                  <a:pt x="399" y="268"/>
                                </a:lnTo>
                                <a:lnTo>
                                  <a:pt x="399" y="265"/>
                                </a:lnTo>
                                <a:lnTo>
                                  <a:pt x="398" y="259"/>
                                </a:lnTo>
                                <a:lnTo>
                                  <a:pt x="398" y="255"/>
                                </a:lnTo>
                                <a:lnTo>
                                  <a:pt x="397" y="251"/>
                                </a:lnTo>
                                <a:lnTo>
                                  <a:pt x="396" y="246"/>
                                </a:lnTo>
                                <a:lnTo>
                                  <a:pt x="395" y="242"/>
                                </a:lnTo>
                                <a:lnTo>
                                  <a:pt x="394" y="238"/>
                                </a:lnTo>
                                <a:lnTo>
                                  <a:pt x="393" y="234"/>
                                </a:lnTo>
                                <a:lnTo>
                                  <a:pt x="391" y="230"/>
                                </a:lnTo>
                                <a:lnTo>
                                  <a:pt x="389" y="226"/>
                                </a:lnTo>
                                <a:lnTo>
                                  <a:pt x="386" y="223"/>
                                </a:lnTo>
                                <a:lnTo>
                                  <a:pt x="384" y="219"/>
                                </a:lnTo>
                                <a:lnTo>
                                  <a:pt x="387" y="221"/>
                                </a:lnTo>
                                <a:lnTo>
                                  <a:pt x="390" y="225"/>
                                </a:lnTo>
                                <a:lnTo>
                                  <a:pt x="393" y="227"/>
                                </a:lnTo>
                                <a:lnTo>
                                  <a:pt x="395" y="229"/>
                                </a:lnTo>
                                <a:lnTo>
                                  <a:pt x="398" y="230"/>
                                </a:lnTo>
                                <a:lnTo>
                                  <a:pt x="401" y="232"/>
                                </a:lnTo>
                                <a:lnTo>
                                  <a:pt x="404" y="232"/>
                                </a:lnTo>
                                <a:lnTo>
                                  <a:pt x="407" y="233"/>
                                </a:lnTo>
                                <a:lnTo>
                                  <a:pt x="410" y="234"/>
                                </a:lnTo>
                                <a:lnTo>
                                  <a:pt x="413" y="234"/>
                                </a:lnTo>
                                <a:lnTo>
                                  <a:pt x="416" y="235"/>
                                </a:lnTo>
                                <a:lnTo>
                                  <a:pt x="418" y="235"/>
                                </a:lnTo>
                                <a:lnTo>
                                  <a:pt x="425" y="235"/>
                                </a:lnTo>
                                <a:lnTo>
                                  <a:pt x="431" y="235"/>
                                </a:lnTo>
                                <a:lnTo>
                                  <a:pt x="431" y="235"/>
                                </a:lnTo>
                                <a:lnTo>
                                  <a:pt x="432" y="235"/>
                                </a:lnTo>
                                <a:lnTo>
                                  <a:pt x="433" y="235"/>
                                </a:lnTo>
                                <a:lnTo>
                                  <a:pt x="435" y="235"/>
                                </a:lnTo>
                                <a:lnTo>
                                  <a:pt x="436" y="235"/>
                                </a:lnTo>
                                <a:lnTo>
                                  <a:pt x="439" y="235"/>
                                </a:lnTo>
                                <a:lnTo>
                                  <a:pt x="442" y="235"/>
                                </a:lnTo>
                                <a:lnTo>
                                  <a:pt x="443" y="235"/>
                                </a:lnTo>
                                <a:lnTo>
                                  <a:pt x="444" y="235"/>
                                </a:lnTo>
                                <a:lnTo>
                                  <a:pt x="445" y="235"/>
                                </a:lnTo>
                                <a:lnTo>
                                  <a:pt x="446" y="235"/>
                                </a:lnTo>
                                <a:lnTo>
                                  <a:pt x="446" y="235"/>
                                </a:lnTo>
                                <a:lnTo>
                                  <a:pt x="447" y="235"/>
                                </a:lnTo>
                                <a:lnTo>
                                  <a:pt x="447" y="235"/>
                                </a:lnTo>
                                <a:lnTo>
                                  <a:pt x="448" y="235"/>
                                </a:lnTo>
                                <a:lnTo>
                                  <a:pt x="449" y="235"/>
                                </a:lnTo>
                                <a:lnTo>
                                  <a:pt x="450" y="235"/>
                                </a:lnTo>
                                <a:lnTo>
                                  <a:pt x="451" y="235"/>
                                </a:lnTo>
                                <a:lnTo>
                                  <a:pt x="454" y="235"/>
                                </a:lnTo>
                                <a:lnTo>
                                  <a:pt x="457" y="235"/>
                                </a:lnTo>
                                <a:lnTo>
                                  <a:pt x="458" y="235"/>
                                </a:lnTo>
                                <a:lnTo>
                                  <a:pt x="459" y="235"/>
                                </a:lnTo>
                                <a:lnTo>
                                  <a:pt x="460" y="235"/>
                                </a:lnTo>
                                <a:lnTo>
                                  <a:pt x="461" y="235"/>
                                </a:lnTo>
                                <a:lnTo>
                                  <a:pt x="462" y="235"/>
                                </a:lnTo>
                                <a:lnTo>
                                  <a:pt x="466" y="235"/>
                                </a:lnTo>
                                <a:lnTo>
                                  <a:pt x="468" y="236"/>
                                </a:lnTo>
                                <a:lnTo>
                                  <a:pt x="470" y="236"/>
                                </a:lnTo>
                                <a:lnTo>
                                  <a:pt x="472" y="237"/>
                                </a:lnTo>
                                <a:lnTo>
                                  <a:pt x="473" y="237"/>
                                </a:lnTo>
                                <a:lnTo>
                                  <a:pt x="475" y="238"/>
                                </a:lnTo>
                                <a:lnTo>
                                  <a:pt x="476" y="239"/>
                                </a:lnTo>
                                <a:lnTo>
                                  <a:pt x="476" y="240"/>
                                </a:lnTo>
                                <a:lnTo>
                                  <a:pt x="477" y="242"/>
                                </a:lnTo>
                                <a:lnTo>
                                  <a:pt x="478" y="243"/>
                                </a:lnTo>
                                <a:lnTo>
                                  <a:pt x="478" y="244"/>
                                </a:lnTo>
                                <a:lnTo>
                                  <a:pt x="478" y="246"/>
                                </a:lnTo>
                                <a:lnTo>
                                  <a:pt x="478" y="249"/>
                                </a:lnTo>
                                <a:lnTo>
                                  <a:pt x="478" y="253"/>
                                </a:lnTo>
                                <a:lnTo>
                                  <a:pt x="478" y="256"/>
                                </a:lnTo>
                                <a:lnTo>
                                  <a:pt x="479" y="260"/>
                                </a:lnTo>
                                <a:lnTo>
                                  <a:pt x="479" y="262"/>
                                </a:lnTo>
                                <a:lnTo>
                                  <a:pt x="479" y="265"/>
                                </a:lnTo>
                                <a:lnTo>
                                  <a:pt x="479" y="267"/>
                                </a:lnTo>
                                <a:lnTo>
                                  <a:pt x="480" y="268"/>
                                </a:lnTo>
                                <a:lnTo>
                                  <a:pt x="481" y="270"/>
                                </a:lnTo>
                                <a:lnTo>
                                  <a:pt x="482" y="272"/>
                                </a:lnTo>
                                <a:lnTo>
                                  <a:pt x="483" y="274"/>
                                </a:lnTo>
                                <a:lnTo>
                                  <a:pt x="485" y="276"/>
                                </a:lnTo>
                                <a:lnTo>
                                  <a:pt x="487" y="278"/>
                                </a:lnTo>
                                <a:lnTo>
                                  <a:pt x="489" y="280"/>
                                </a:lnTo>
                                <a:lnTo>
                                  <a:pt x="491" y="281"/>
                                </a:lnTo>
                                <a:lnTo>
                                  <a:pt x="494" y="282"/>
                                </a:lnTo>
                                <a:lnTo>
                                  <a:pt x="494" y="282"/>
                                </a:lnTo>
                                <a:lnTo>
                                  <a:pt x="495" y="282"/>
                                </a:lnTo>
                                <a:lnTo>
                                  <a:pt x="496" y="282"/>
                                </a:lnTo>
                                <a:lnTo>
                                  <a:pt x="498" y="282"/>
                                </a:lnTo>
                                <a:lnTo>
                                  <a:pt x="499" y="282"/>
                                </a:lnTo>
                                <a:lnTo>
                                  <a:pt x="501" y="282"/>
                                </a:lnTo>
                                <a:lnTo>
                                  <a:pt x="504" y="282"/>
                                </a:lnTo>
                                <a:lnTo>
                                  <a:pt x="506" y="282"/>
                                </a:lnTo>
                                <a:lnTo>
                                  <a:pt x="509" y="282"/>
                                </a:lnTo>
                                <a:lnTo>
                                  <a:pt x="512" y="282"/>
                                </a:lnTo>
                                <a:lnTo>
                                  <a:pt x="514" y="282"/>
                                </a:lnTo>
                                <a:lnTo>
                                  <a:pt x="520" y="282"/>
                                </a:lnTo>
                                <a:lnTo>
                                  <a:pt x="526" y="282"/>
                                </a:lnTo>
                                <a:lnTo>
                                  <a:pt x="531" y="282"/>
                                </a:lnTo>
                                <a:lnTo>
                                  <a:pt x="538" y="283"/>
                                </a:lnTo>
                                <a:lnTo>
                                  <a:pt x="540" y="283"/>
                                </a:lnTo>
                                <a:lnTo>
                                  <a:pt x="545" y="283"/>
                                </a:lnTo>
                                <a:lnTo>
                                  <a:pt x="548" y="284"/>
                                </a:lnTo>
                                <a:lnTo>
                                  <a:pt x="552" y="284"/>
                                </a:lnTo>
                                <a:lnTo>
                                  <a:pt x="555" y="285"/>
                                </a:lnTo>
                                <a:lnTo>
                                  <a:pt x="559" y="286"/>
                                </a:lnTo>
                                <a:lnTo>
                                  <a:pt x="564" y="287"/>
                                </a:lnTo>
                                <a:lnTo>
                                  <a:pt x="568" y="289"/>
                                </a:lnTo>
                                <a:lnTo>
                                  <a:pt x="573" y="291"/>
                                </a:lnTo>
                                <a:lnTo>
                                  <a:pt x="577" y="292"/>
                                </a:lnTo>
                                <a:lnTo>
                                  <a:pt x="583" y="295"/>
                                </a:lnTo>
                                <a:lnTo>
                                  <a:pt x="590" y="298"/>
                                </a:lnTo>
                                <a:lnTo>
                                  <a:pt x="595" y="298"/>
                                </a:lnTo>
                                <a:lnTo>
                                  <a:pt x="601" y="298"/>
                                </a:lnTo>
                                <a:lnTo>
                                  <a:pt x="604" y="297"/>
                                </a:lnTo>
                                <a:lnTo>
                                  <a:pt x="607" y="297"/>
                                </a:lnTo>
                                <a:lnTo>
                                  <a:pt x="611" y="296"/>
                                </a:lnTo>
                                <a:lnTo>
                                  <a:pt x="614" y="296"/>
                                </a:lnTo>
                                <a:lnTo>
                                  <a:pt x="618" y="295"/>
                                </a:lnTo>
                                <a:lnTo>
                                  <a:pt x="622" y="294"/>
                                </a:lnTo>
                                <a:lnTo>
                                  <a:pt x="627" y="293"/>
                                </a:lnTo>
                                <a:lnTo>
                                  <a:pt x="631" y="292"/>
                                </a:lnTo>
                                <a:lnTo>
                                  <a:pt x="636" y="290"/>
                                </a:lnTo>
                                <a:lnTo>
                                  <a:pt x="641" y="288"/>
                                </a:lnTo>
                                <a:lnTo>
                                  <a:pt x="647" y="285"/>
                                </a:lnTo>
                                <a:lnTo>
                                  <a:pt x="652" y="282"/>
                                </a:lnTo>
                                <a:lnTo>
                                  <a:pt x="658" y="282"/>
                                </a:lnTo>
                                <a:lnTo>
                                  <a:pt x="663" y="282"/>
                                </a:lnTo>
                                <a:lnTo>
                                  <a:pt x="667" y="282"/>
                                </a:lnTo>
                                <a:lnTo>
                                  <a:pt x="670" y="281"/>
                                </a:lnTo>
                                <a:lnTo>
                                  <a:pt x="673" y="281"/>
                                </a:lnTo>
                                <a:lnTo>
                                  <a:pt x="676" y="280"/>
                                </a:lnTo>
                                <a:lnTo>
                                  <a:pt x="679" y="280"/>
                                </a:lnTo>
                                <a:lnTo>
                                  <a:pt x="682" y="279"/>
                                </a:lnTo>
                                <a:lnTo>
                                  <a:pt x="685" y="278"/>
                                </a:lnTo>
                                <a:lnTo>
                                  <a:pt x="688" y="276"/>
                                </a:lnTo>
                                <a:lnTo>
                                  <a:pt x="691" y="274"/>
                                </a:lnTo>
                                <a:lnTo>
                                  <a:pt x="694" y="272"/>
                                </a:lnTo>
                                <a:lnTo>
                                  <a:pt x="697" y="270"/>
                                </a:lnTo>
                                <a:lnTo>
                                  <a:pt x="700" y="267"/>
                                </a:lnTo>
                                <a:lnTo>
                                  <a:pt x="699" y="267"/>
                                </a:lnTo>
                                <a:lnTo>
                                  <a:pt x="699" y="267"/>
                                </a:lnTo>
                                <a:lnTo>
                                  <a:pt x="698" y="267"/>
                                </a:lnTo>
                                <a:lnTo>
                                  <a:pt x="697" y="267"/>
                                </a:lnTo>
                                <a:lnTo>
                                  <a:pt x="697" y="267"/>
                                </a:lnTo>
                                <a:lnTo>
                                  <a:pt x="696" y="267"/>
                                </a:lnTo>
                                <a:lnTo>
                                  <a:pt x="694" y="267"/>
                                </a:lnTo>
                                <a:lnTo>
                                  <a:pt x="692" y="267"/>
                                </a:lnTo>
                                <a:lnTo>
                                  <a:pt x="689" y="267"/>
                                </a:lnTo>
                                <a:lnTo>
                                  <a:pt x="686" y="267"/>
                                </a:lnTo>
                                <a:lnTo>
                                  <a:pt x="682" y="267"/>
                                </a:lnTo>
                                <a:lnTo>
                                  <a:pt x="678" y="267"/>
                                </a:lnTo>
                                <a:lnTo>
                                  <a:pt x="675" y="267"/>
                                </a:lnTo>
                                <a:lnTo>
                                  <a:pt x="667" y="267"/>
                                </a:lnTo>
                                <a:lnTo>
                                  <a:pt x="662" y="267"/>
                                </a:lnTo>
                                <a:lnTo>
                                  <a:pt x="659" y="267"/>
                                </a:lnTo>
                                <a:lnTo>
                                  <a:pt x="655" y="267"/>
                                </a:lnTo>
                                <a:lnTo>
                                  <a:pt x="652" y="267"/>
                                </a:lnTo>
                                <a:lnTo>
                                  <a:pt x="651" y="266"/>
                                </a:lnTo>
                                <a:lnTo>
                                  <a:pt x="650" y="264"/>
                                </a:lnTo>
                                <a:lnTo>
                                  <a:pt x="649" y="261"/>
                                </a:lnTo>
                                <a:lnTo>
                                  <a:pt x="649" y="260"/>
                                </a:lnTo>
                                <a:lnTo>
                                  <a:pt x="649" y="258"/>
                                </a:lnTo>
                                <a:lnTo>
                                  <a:pt x="649" y="256"/>
                                </a:lnTo>
                                <a:lnTo>
                                  <a:pt x="650" y="254"/>
                                </a:lnTo>
                                <a:lnTo>
                                  <a:pt x="651" y="252"/>
                                </a:lnTo>
                                <a:lnTo>
                                  <a:pt x="651" y="250"/>
                                </a:lnTo>
                                <a:lnTo>
                                  <a:pt x="653" y="248"/>
                                </a:lnTo>
                                <a:lnTo>
                                  <a:pt x="654" y="246"/>
                                </a:lnTo>
                                <a:lnTo>
                                  <a:pt x="656" y="244"/>
                                </a:lnTo>
                                <a:lnTo>
                                  <a:pt x="658" y="242"/>
                                </a:lnTo>
                                <a:lnTo>
                                  <a:pt x="660" y="240"/>
                                </a:lnTo>
                                <a:lnTo>
                                  <a:pt x="662" y="237"/>
                                </a:lnTo>
                                <a:lnTo>
                                  <a:pt x="663" y="235"/>
                                </a:lnTo>
                                <a:lnTo>
                                  <a:pt x="669" y="231"/>
                                </a:lnTo>
                                <a:lnTo>
                                  <a:pt x="674" y="227"/>
                                </a:lnTo>
                                <a:lnTo>
                                  <a:pt x="679" y="221"/>
                                </a:lnTo>
                                <a:lnTo>
                                  <a:pt x="684" y="218"/>
                                </a:lnTo>
                                <a:lnTo>
                                  <a:pt x="688" y="214"/>
                                </a:lnTo>
                                <a:lnTo>
                                  <a:pt x="692" y="210"/>
                                </a:lnTo>
                                <a:lnTo>
                                  <a:pt x="694" y="208"/>
                                </a:lnTo>
                                <a:lnTo>
                                  <a:pt x="696" y="207"/>
                                </a:lnTo>
                                <a:lnTo>
                                  <a:pt x="698" y="205"/>
                                </a:lnTo>
                                <a:lnTo>
                                  <a:pt x="700" y="204"/>
                                </a:lnTo>
                                <a:lnTo>
                                  <a:pt x="712" y="204"/>
                                </a:lnTo>
                                <a:lnTo>
                                  <a:pt x="724" y="203"/>
                                </a:lnTo>
                                <a:lnTo>
                                  <a:pt x="729" y="203"/>
                                </a:lnTo>
                                <a:lnTo>
                                  <a:pt x="735" y="203"/>
                                </a:lnTo>
                                <a:lnTo>
                                  <a:pt x="741" y="202"/>
                                </a:lnTo>
                                <a:lnTo>
                                  <a:pt x="748" y="202"/>
                                </a:lnTo>
                                <a:lnTo>
                                  <a:pt x="753" y="201"/>
                                </a:lnTo>
                                <a:lnTo>
                                  <a:pt x="759" y="200"/>
                                </a:lnTo>
                                <a:lnTo>
                                  <a:pt x="765" y="198"/>
                                </a:lnTo>
                                <a:lnTo>
                                  <a:pt x="771" y="197"/>
                                </a:lnTo>
                                <a:lnTo>
                                  <a:pt x="776" y="195"/>
                                </a:lnTo>
                                <a:lnTo>
                                  <a:pt x="782" y="193"/>
                                </a:lnTo>
                                <a:lnTo>
                                  <a:pt x="789" y="191"/>
                                </a:lnTo>
                                <a:lnTo>
                                  <a:pt x="795" y="188"/>
                                </a:lnTo>
                                <a:lnTo>
                                  <a:pt x="797" y="188"/>
                                </a:lnTo>
                                <a:lnTo>
                                  <a:pt x="798" y="187"/>
                                </a:lnTo>
                                <a:lnTo>
                                  <a:pt x="799" y="187"/>
                                </a:lnTo>
                                <a:lnTo>
                                  <a:pt x="801" y="186"/>
                                </a:lnTo>
                                <a:lnTo>
                                  <a:pt x="803" y="185"/>
                                </a:lnTo>
                                <a:lnTo>
                                  <a:pt x="805" y="184"/>
                                </a:lnTo>
                                <a:lnTo>
                                  <a:pt x="807" y="183"/>
                                </a:lnTo>
                                <a:lnTo>
                                  <a:pt x="809" y="180"/>
                                </a:lnTo>
                                <a:lnTo>
                                  <a:pt x="813" y="177"/>
                                </a:lnTo>
                                <a:lnTo>
                                  <a:pt x="817" y="173"/>
                                </a:lnTo>
                                <a:lnTo>
                                  <a:pt x="822" y="170"/>
                                </a:lnTo>
                                <a:lnTo>
                                  <a:pt x="827" y="166"/>
                                </a:lnTo>
                                <a:lnTo>
                                  <a:pt x="831" y="162"/>
                                </a:lnTo>
                                <a:lnTo>
                                  <a:pt x="833" y="161"/>
                                </a:lnTo>
                                <a:lnTo>
                                  <a:pt x="836" y="159"/>
                                </a:lnTo>
                                <a:lnTo>
                                  <a:pt x="837" y="158"/>
                                </a:lnTo>
                                <a:lnTo>
                                  <a:pt x="840" y="157"/>
                                </a:lnTo>
                                <a:lnTo>
                                  <a:pt x="842" y="156"/>
                                </a:lnTo>
                                <a:lnTo>
                                  <a:pt x="844" y="155"/>
                                </a:lnTo>
                                <a:lnTo>
                                  <a:pt x="846" y="154"/>
                                </a:lnTo>
                                <a:lnTo>
                                  <a:pt x="848" y="153"/>
                                </a:lnTo>
                                <a:lnTo>
                                  <a:pt x="849" y="153"/>
                                </a:lnTo>
                                <a:lnTo>
                                  <a:pt x="851" y="153"/>
                                </a:lnTo>
                                <a:lnTo>
                                  <a:pt x="853" y="154"/>
                                </a:lnTo>
                                <a:lnTo>
                                  <a:pt x="855" y="154"/>
                                </a:lnTo>
                                <a:lnTo>
                                  <a:pt x="856" y="155"/>
                                </a:lnTo>
                                <a:lnTo>
                                  <a:pt x="858" y="157"/>
                                </a:lnTo>
                                <a:lnTo>
                                  <a:pt x="856" y="155"/>
                                </a:lnTo>
                                <a:lnTo>
                                  <a:pt x="855" y="153"/>
                                </a:lnTo>
                                <a:lnTo>
                                  <a:pt x="854" y="150"/>
                                </a:lnTo>
                                <a:lnTo>
                                  <a:pt x="853" y="147"/>
                                </a:lnTo>
                                <a:lnTo>
                                  <a:pt x="853" y="144"/>
                                </a:lnTo>
                                <a:lnTo>
                                  <a:pt x="852" y="140"/>
                                </a:lnTo>
                                <a:lnTo>
                                  <a:pt x="852" y="136"/>
                                </a:lnTo>
                                <a:lnTo>
                                  <a:pt x="851" y="132"/>
                                </a:lnTo>
                                <a:lnTo>
                                  <a:pt x="851" y="127"/>
                                </a:lnTo>
                                <a:lnTo>
                                  <a:pt x="851" y="123"/>
                                </a:lnTo>
                                <a:lnTo>
                                  <a:pt x="851" y="119"/>
                                </a:lnTo>
                                <a:lnTo>
                                  <a:pt x="852" y="114"/>
                                </a:lnTo>
                                <a:lnTo>
                                  <a:pt x="853" y="104"/>
                                </a:lnTo>
                                <a:lnTo>
                                  <a:pt x="854" y="93"/>
                                </a:lnTo>
                                <a:lnTo>
                                  <a:pt x="856" y="83"/>
                                </a:lnTo>
                                <a:lnTo>
                                  <a:pt x="858" y="73"/>
                                </a:lnTo>
                                <a:lnTo>
                                  <a:pt x="859" y="68"/>
                                </a:lnTo>
                                <a:lnTo>
                                  <a:pt x="860" y="63"/>
                                </a:lnTo>
                                <a:lnTo>
                                  <a:pt x="861" y="58"/>
                                </a:lnTo>
                                <a:lnTo>
                                  <a:pt x="862" y="54"/>
                                </a:lnTo>
                                <a:lnTo>
                                  <a:pt x="863" y="50"/>
                                </a:lnTo>
                                <a:lnTo>
                                  <a:pt x="866" y="46"/>
                                </a:lnTo>
                                <a:lnTo>
                                  <a:pt x="867" y="42"/>
                                </a:lnTo>
                                <a:lnTo>
                                  <a:pt x="868" y="39"/>
                                </a:lnTo>
                                <a:lnTo>
                                  <a:pt x="870" y="36"/>
                                </a:lnTo>
                                <a:lnTo>
                                  <a:pt x="871" y="34"/>
                                </a:lnTo>
                                <a:lnTo>
                                  <a:pt x="873" y="32"/>
                                </a:lnTo>
                                <a:lnTo>
                                  <a:pt x="874" y="30"/>
                                </a:lnTo>
                                <a:lnTo>
                                  <a:pt x="876" y="29"/>
                                </a:lnTo>
                                <a:lnTo>
                                  <a:pt x="878" y="27"/>
                                </a:lnTo>
                                <a:lnTo>
                                  <a:pt x="880" y="25"/>
                                </a:lnTo>
                                <a:lnTo>
                                  <a:pt x="883" y="24"/>
                                </a:lnTo>
                                <a:lnTo>
                                  <a:pt x="885" y="22"/>
                                </a:lnTo>
                                <a:lnTo>
                                  <a:pt x="888" y="19"/>
                                </a:lnTo>
                                <a:lnTo>
                                  <a:pt x="892" y="18"/>
                                </a:lnTo>
                                <a:lnTo>
                                  <a:pt x="896" y="16"/>
                                </a:lnTo>
                                <a:lnTo>
                                  <a:pt x="899" y="14"/>
                                </a:lnTo>
                                <a:lnTo>
                                  <a:pt x="903" y="12"/>
                                </a:lnTo>
                                <a:lnTo>
                                  <a:pt x="908" y="11"/>
                                </a:lnTo>
                                <a:lnTo>
                                  <a:pt x="912" y="10"/>
                                </a:lnTo>
                                <a:lnTo>
                                  <a:pt x="921" y="7"/>
                                </a:lnTo>
                                <a:lnTo>
                                  <a:pt x="925" y="5"/>
                                </a:lnTo>
                                <a:lnTo>
                                  <a:pt x="929" y="4"/>
                                </a:lnTo>
                                <a:lnTo>
                                  <a:pt x="934" y="3"/>
                                </a:lnTo>
                                <a:lnTo>
                                  <a:pt x="938" y="2"/>
                                </a:lnTo>
                                <a:lnTo>
                                  <a:pt x="942" y="1"/>
                                </a:lnTo>
                                <a:lnTo>
                                  <a:pt x="947" y="1"/>
                                </a:lnTo>
                                <a:lnTo>
                                  <a:pt x="951" y="1"/>
                                </a:lnTo>
                                <a:lnTo>
                                  <a:pt x="955" y="0"/>
                                </a:lnTo>
                                <a:lnTo>
                                  <a:pt x="959" y="0"/>
                                </a:lnTo>
                                <a:lnTo>
                                  <a:pt x="963" y="1"/>
                                </a:lnTo>
                                <a:lnTo>
                                  <a:pt x="967" y="1"/>
                                </a:lnTo>
                                <a:lnTo>
                                  <a:pt x="970" y="2"/>
                                </a:lnTo>
                                <a:lnTo>
                                  <a:pt x="973" y="3"/>
                                </a:lnTo>
                                <a:lnTo>
                                  <a:pt x="976" y="5"/>
                                </a:lnTo>
                                <a:lnTo>
                                  <a:pt x="978" y="7"/>
                                </a:lnTo>
                                <a:lnTo>
                                  <a:pt x="981" y="9"/>
                                </a:lnTo>
                                <a:lnTo>
                                  <a:pt x="983" y="11"/>
                                </a:lnTo>
                                <a:lnTo>
                                  <a:pt x="984" y="14"/>
                                </a:lnTo>
                                <a:lnTo>
                                  <a:pt x="985" y="14"/>
                                </a:lnTo>
                                <a:lnTo>
                                  <a:pt x="987" y="14"/>
                                </a:lnTo>
                                <a:lnTo>
                                  <a:pt x="988" y="14"/>
                                </a:lnTo>
                                <a:lnTo>
                                  <a:pt x="989" y="15"/>
                                </a:lnTo>
                                <a:lnTo>
                                  <a:pt x="989" y="16"/>
                                </a:lnTo>
                                <a:lnTo>
                                  <a:pt x="990" y="17"/>
                                </a:lnTo>
                                <a:lnTo>
                                  <a:pt x="990" y="18"/>
                                </a:lnTo>
                                <a:lnTo>
                                  <a:pt x="990" y="19"/>
                                </a:lnTo>
                                <a:lnTo>
                                  <a:pt x="989" y="23"/>
                                </a:lnTo>
                                <a:lnTo>
                                  <a:pt x="989" y="25"/>
                                </a:lnTo>
                                <a:lnTo>
                                  <a:pt x="988" y="29"/>
                                </a:lnTo>
                                <a:lnTo>
                                  <a:pt x="987" y="32"/>
                                </a:lnTo>
                                <a:lnTo>
                                  <a:pt x="985" y="36"/>
                                </a:lnTo>
                                <a:lnTo>
                                  <a:pt x="985" y="38"/>
                                </a:lnTo>
                                <a:lnTo>
                                  <a:pt x="985" y="40"/>
                                </a:lnTo>
                                <a:lnTo>
                                  <a:pt x="985" y="42"/>
                                </a:lnTo>
                                <a:lnTo>
                                  <a:pt x="985" y="44"/>
                                </a:lnTo>
                                <a:lnTo>
                                  <a:pt x="987" y="46"/>
                                </a:lnTo>
                                <a:lnTo>
                                  <a:pt x="987" y="47"/>
                                </a:lnTo>
                                <a:lnTo>
                                  <a:pt x="988" y="49"/>
                                </a:lnTo>
                                <a:lnTo>
                                  <a:pt x="989" y="51"/>
                                </a:lnTo>
                                <a:lnTo>
                                  <a:pt x="990" y="53"/>
                                </a:lnTo>
                                <a:lnTo>
                                  <a:pt x="992" y="55"/>
                                </a:lnTo>
                                <a:lnTo>
                                  <a:pt x="994" y="56"/>
                                </a:lnTo>
                                <a:lnTo>
                                  <a:pt x="996" y="58"/>
                                </a:lnTo>
                                <a:lnTo>
                                  <a:pt x="998" y="59"/>
                                </a:lnTo>
                                <a:lnTo>
                                  <a:pt x="1001" y="62"/>
                                </a:lnTo>
                                <a:lnTo>
                                  <a:pt x="1003" y="62"/>
                                </a:lnTo>
                                <a:lnTo>
                                  <a:pt x="1006" y="62"/>
                                </a:lnTo>
                                <a:lnTo>
                                  <a:pt x="1008" y="62"/>
                                </a:lnTo>
                                <a:lnTo>
                                  <a:pt x="1011" y="62"/>
                                </a:lnTo>
                                <a:lnTo>
                                  <a:pt x="1013" y="62"/>
                                </a:lnTo>
                                <a:lnTo>
                                  <a:pt x="1015" y="62"/>
                                </a:lnTo>
                                <a:lnTo>
                                  <a:pt x="1017" y="62"/>
                                </a:lnTo>
                                <a:lnTo>
                                  <a:pt x="1019" y="62"/>
                                </a:lnTo>
                                <a:lnTo>
                                  <a:pt x="1020" y="62"/>
                                </a:lnTo>
                                <a:lnTo>
                                  <a:pt x="1021" y="62"/>
                                </a:lnTo>
                                <a:lnTo>
                                  <a:pt x="1023" y="62"/>
                                </a:lnTo>
                                <a:lnTo>
                                  <a:pt x="1024" y="62"/>
                                </a:lnTo>
                                <a:lnTo>
                                  <a:pt x="1026" y="62"/>
                                </a:lnTo>
                                <a:lnTo>
                                  <a:pt x="1029" y="62"/>
                                </a:lnTo>
                                <a:lnTo>
                                  <a:pt x="1030" y="62"/>
                                </a:lnTo>
                                <a:lnTo>
                                  <a:pt x="1031" y="62"/>
                                </a:lnTo>
                                <a:lnTo>
                                  <a:pt x="1032" y="62"/>
                                </a:lnTo>
                                <a:lnTo>
                                  <a:pt x="1032" y="62"/>
                                </a:lnTo>
                                <a:lnTo>
                                  <a:pt x="1033" y="62"/>
                                </a:lnTo>
                                <a:lnTo>
                                  <a:pt x="1033" y="62"/>
                                </a:lnTo>
                                <a:lnTo>
                                  <a:pt x="1034" y="62"/>
                                </a:lnTo>
                                <a:lnTo>
                                  <a:pt x="1035" y="62"/>
                                </a:lnTo>
                                <a:lnTo>
                                  <a:pt x="1036" y="62"/>
                                </a:lnTo>
                                <a:lnTo>
                                  <a:pt x="1037" y="62"/>
                                </a:lnTo>
                                <a:lnTo>
                                  <a:pt x="1040" y="62"/>
                                </a:lnTo>
                                <a:lnTo>
                                  <a:pt x="1043" y="62"/>
                                </a:lnTo>
                                <a:lnTo>
                                  <a:pt x="1045" y="62"/>
                                </a:lnTo>
                                <a:lnTo>
                                  <a:pt x="1045" y="62"/>
                                </a:lnTo>
                                <a:lnTo>
                                  <a:pt x="1046" y="62"/>
                                </a:lnTo>
                                <a:lnTo>
                                  <a:pt x="1047" y="62"/>
                                </a:lnTo>
                                <a:lnTo>
                                  <a:pt x="1048" y="62"/>
                                </a:lnTo>
                                <a:lnTo>
                                  <a:pt x="1051" y="63"/>
                                </a:lnTo>
                                <a:lnTo>
                                  <a:pt x="1053" y="65"/>
                                </a:lnTo>
                                <a:lnTo>
                                  <a:pt x="1056" y="66"/>
                                </a:lnTo>
                                <a:lnTo>
                                  <a:pt x="1057" y="68"/>
                                </a:lnTo>
                                <a:lnTo>
                                  <a:pt x="1059" y="69"/>
                                </a:lnTo>
                                <a:lnTo>
                                  <a:pt x="1061" y="71"/>
                                </a:lnTo>
                                <a:lnTo>
                                  <a:pt x="1062" y="72"/>
                                </a:lnTo>
                                <a:lnTo>
                                  <a:pt x="1064" y="73"/>
                                </a:lnTo>
                                <a:lnTo>
                                  <a:pt x="1065" y="74"/>
                                </a:lnTo>
                                <a:lnTo>
                                  <a:pt x="1066" y="76"/>
                                </a:lnTo>
                                <a:lnTo>
                                  <a:pt x="1068" y="77"/>
                                </a:lnTo>
                                <a:lnTo>
                                  <a:pt x="1068" y="78"/>
                                </a:lnTo>
                                <a:lnTo>
                                  <a:pt x="1070" y="81"/>
                                </a:lnTo>
                                <a:lnTo>
                                  <a:pt x="1070" y="83"/>
                                </a:lnTo>
                                <a:lnTo>
                                  <a:pt x="1071" y="85"/>
                                </a:lnTo>
                                <a:lnTo>
                                  <a:pt x="1071" y="87"/>
                                </a:lnTo>
                                <a:lnTo>
                                  <a:pt x="1072" y="89"/>
                                </a:lnTo>
                                <a:lnTo>
                                  <a:pt x="1073" y="90"/>
                                </a:lnTo>
                                <a:lnTo>
                                  <a:pt x="1074" y="91"/>
                                </a:lnTo>
                                <a:lnTo>
                                  <a:pt x="1075" y="92"/>
                                </a:lnTo>
                                <a:lnTo>
                                  <a:pt x="1075" y="92"/>
                                </a:lnTo>
                                <a:lnTo>
                                  <a:pt x="1076" y="92"/>
                                </a:lnTo>
                                <a:lnTo>
                                  <a:pt x="1077" y="93"/>
                                </a:lnTo>
                                <a:lnTo>
                                  <a:pt x="1079" y="93"/>
                                </a:lnTo>
                                <a:lnTo>
                                  <a:pt x="1080" y="93"/>
                                </a:lnTo>
                                <a:lnTo>
                                  <a:pt x="1082" y="94"/>
                                </a:lnTo>
                                <a:lnTo>
                                  <a:pt x="1085" y="96"/>
                                </a:lnTo>
                                <a:lnTo>
                                  <a:pt x="1088" y="96"/>
                                </a:lnTo>
                                <a:lnTo>
                                  <a:pt x="1091" y="97"/>
                                </a:lnTo>
                                <a:lnTo>
                                  <a:pt x="1093" y="98"/>
                                </a:lnTo>
                                <a:lnTo>
                                  <a:pt x="1095" y="99"/>
                                </a:lnTo>
                                <a:lnTo>
                                  <a:pt x="1100" y="100"/>
                                </a:lnTo>
                                <a:lnTo>
                                  <a:pt x="1104" y="100"/>
                                </a:lnTo>
                                <a:lnTo>
                                  <a:pt x="1109" y="102"/>
                                </a:lnTo>
                                <a:lnTo>
                                  <a:pt x="1112" y="103"/>
                                </a:lnTo>
                                <a:lnTo>
                                  <a:pt x="1116" y="103"/>
                                </a:lnTo>
                                <a:lnTo>
                                  <a:pt x="1118" y="104"/>
                                </a:lnTo>
                                <a:lnTo>
                                  <a:pt x="1120" y="105"/>
                                </a:lnTo>
                                <a:lnTo>
                                  <a:pt x="1121" y="106"/>
                                </a:lnTo>
                                <a:lnTo>
                                  <a:pt x="1122" y="107"/>
                                </a:lnTo>
                                <a:lnTo>
                                  <a:pt x="1123" y="108"/>
                                </a:lnTo>
                                <a:lnTo>
                                  <a:pt x="1124" y="109"/>
                                </a:lnTo>
                                <a:lnTo>
                                  <a:pt x="1125" y="110"/>
                                </a:lnTo>
                                <a:lnTo>
                                  <a:pt x="1125" y="111"/>
                                </a:lnTo>
                                <a:lnTo>
                                  <a:pt x="1126" y="113"/>
                                </a:lnTo>
                                <a:lnTo>
                                  <a:pt x="1126" y="115"/>
                                </a:lnTo>
                                <a:lnTo>
                                  <a:pt x="1127" y="117"/>
                                </a:lnTo>
                                <a:lnTo>
                                  <a:pt x="1127" y="119"/>
                                </a:lnTo>
                                <a:lnTo>
                                  <a:pt x="1127" y="122"/>
                                </a:lnTo>
                                <a:lnTo>
                                  <a:pt x="1127" y="124"/>
                                </a:lnTo>
                                <a:lnTo>
                                  <a:pt x="1151" y="124"/>
                                </a:lnTo>
                                <a:lnTo>
                                  <a:pt x="1174" y="124"/>
                                </a:lnTo>
                                <a:lnTo>
                                  <a:pt x="1177" y="126"/>
                                </a:lnTo>
                                <a:lnTo>
                                  <a:pt x="1180" y="128"/>
                                </a:lnTo>
                                <a:lnTo>
                                  <a:pt x="1182" y="129"/>
                                </a:lnTo>
                                <a:lnTo>
                                  <a:pt x="1184" y="131"/>
                                </a:lnTo>
                                <a:lnTo>
                                  <a:pt x="1186" y="133"/>
                                </a:lnTo>
                                <a:lnTo>
                                  <a:pt x="1187" y="134"/>
                                </a:lnTo>
                                <a:lnTo>
                                  <a:pt x="1190" y="136"/>
                                </a:lnTo>
                                <a:lnTo>
                                  <a:pt x="1191" y="138"/>
                                </a:lnTo>
                                <a:lnTo>
                                  <a:pt x="1192" y="140"/>
                                </a:lnTo>
                                <a:lnTo>
                                  <a:pt x="1193" y="144"/>
                                </a:lnTo>
                                <a:lnTo>
                                  <a:pt x="1194" y="146"/>
                                </a:lnTo>
                                <a:lnTo>
                                  <a:pt x="1194" y="147"/>
                                </a:lnTo>
                                <a:lnTo>
                                  <a:pt x="1194" y="150"/>
                                </a:lnTo>
                                <a:lnTo>
                                  <a:pt x="1194" y="152"/>
                                </a:lnTo>
                                <a:lnTo>
                                  <a:pt x="1195" y="156"/>
                                </a:lnTo>
                                <a:lnTo>
                                  <a:pt x="1194" y="160"/>
                                </a:lnTo>
                                <a:lnTo>
                                  <a:pt x="1194" y="165"/>
                                </a:lnTo>
                                <a:lnTo>
                                  <a:pt x="1194" y="169"/>
                                </a:lnTo>
                                <a:lnTo>
                                  <a:pt x="1193" y="173"/>
                                </a:lnTo>
                                <a:lnTo>
                                  <a:pt x="1192" y="177"/>
                                </a:lnTo>
                                <a:lnTo>
                                  <a:pt x="1192" y="181"/>
                                </a:lnTo>
                                <a:lnTo>
                                  <a:pt x="1191" y="185"/>
                                </a:lnTo>
                                <a:lnTo>
                                  <a:pt x="1191" y="188"/>
                                </a:lnTo>
                                <a:lnTo>
                                  <a:pt x="1214" y="188"/>
                                </a:lnTo>
                                <a:lnTo>
                                  <a:pt x="1238" y="188"/>
                                </a:lnTo>
                                <a:lnTo>
                                  <a:pt x="1241" y="185"/>
                                </a:lnTo>
                                <a:lnTo>
                                  <a:pt x="1243" y="183"/>
                                </a:lnTo>
                                <a:lnTo>
                                  <a:pt x="1245" y="179"/>
                                </a:lnTo>
                                <a:lnTo>
                                  <a:pt x="1247" y="176"/>
                                </a:lnTo>
                                <a:lnTo>
                                  <a:pt x="1249" y="173"/>
                                </a:lnTo>
                                <a:lnTo>
                                  <a:pt x="1251" y="170"/>
                                </a:lnTo>
                                <a:lnTo>
                                  <a:pt x="1252" y="168"/>
                                </a:lnTo>
                                <a:lnTo>
                                  <a:pt x="1254" y="166"/>
                                </a:lnTo>
                                <a:lnTo>
                                  <a:pt x="1255" y="164"/>
                                </a:lnTo>
                                <a:lnTo>
                                  <a:pt x="1256" y="162"/>
                                </a:lnTo>
                                <a:lnTo>
                                  <a:pt x="1258" y="160"/>
                                </a:lnTo>
                                <a:lnTo>
                                  <a:pt x="1260" y="159"/>
                                </a:lnTo>
                                <a:lnTo>
                                  <a:pt x="1262" y="158"/>
                                </a:lnTo>
                                <a:lnTo>
                                  <a:pt x="1264" y="157"/>
                                </a:lnTo>
                                <a:lnTo>
                                  <a:pt x="1267" y="157"/>
                                </a:lnTo>
                                <a:lnTo>
                                  <a:pt x="1270" y="157"/>
                                </a:lnTo>
                                <a:lnTo>
                                  <a:pt x="1270" y="157"/>
                                </a:lnTo>
                                <a:lnTo>
                                  <a:pt x="1270" y="158"/>
                                </a:lnTo>
                                <a:lnTo>
                                  <a:pt x="1270" y="158"/>
                                </a:lnTo>
                                <a:lnTo>
                                  <a:pt x="1270" y="159"/>
                                </a:lnTo>
                                <a:lnTo>
                                  <a:pt x="1270" y="160"/>
                                </a:lnTo>
                                <a:lnTo>
                                  <a:pt x="1270" y="162"/>
                                </a:lnTo>
                                <a:lnTo>
                                  <a:pt x="1270" y="164"/>
                                </a:lnTo>
                                <a:lnTo>
                                  <a:pt x="1270" y="165"/>
                                </a:lnTo>
                                <a:lnTo>
                                  <a:pt x="1270" y="167"/>
                                </a:lnTo>
                                <a:lnTo>
                                  <a:pt x="1271" y="171"/>
                                </a:lnTo>
                                <a:lnTo>
                                  <a:pt x="1271" y="175"/>
                                </a:lnTo>
                                <a:lnTo>
                                  <a:pt x="1272" y="180"/>
                                </a:lnTo>
                                <a:lnTo>
                                  <a:pt x="1273" y="185"/>
                                </a:lnTo>
                                <a:lnTo>
                                  <a:pt x="1274" y="189"/>
                                </a:lnTo>
                                <a:lnTo>
                                  <a:pt x="1275" y="193"/>
                                </a:lnTo>
                                <a:lnTo>
                                  <a:pt x="1276" y="195"/>
                                </a:lnTo>
                                <a:lnTo>
                                  <a:pt x="1277" y="196"/>
                                </a:lnTo>
                                <a:lnTo>
                                  <a:pt x="1278" y="198"/>
                                </a:lnTo>
                                <a:lnTo>
                                  <a:pt x="1279" y="199"/>
                                </a:lnTo>
                                <a:lnTo>
                                  <a:pt x="1280" y="200"/>
                                </a:lnTo>
                                <a:lnTo>
                                  <a:pt x="1280" y="202"/>
                                </a:lnTo>
                                <a:lnTo>
                                  <a:pt x="1281" y="202"/>
                                </a:lnTo>
                                <a:lnTo>
                                  <a:pt x="1283" y="203"/>
                                </a:lnTo>
                                <a:lnTo>
                                  <a:pt x="1284" y="203"/>
                                </a:lnTo>
                                <a:lnTo>
                                  <a:pt x="1286" y="204"/>
                                </a:lnTo>
                                <a:lnTo>
                                  <a:pt x="1287" y="205"/>
                                </a:lnTo>
                                <a:lnTo>
                                  <a:pt x="1289" y="207"/>
                                </a:lnTo>
                                <a:lnTo>
                                  <a:pt x="1291" y="208"/>
                                </a:lnTo>
                                <a:lnTo>
                                  <a:pt x="1292" y="209"/>
                                </a:lnTo>
                                <a:lnTo>
                                  <a:pt x="1295" y="211"/>
                                </a:lnTo>
                                <a:lnTo>
                                  <a:pt x="1297" y="212"/>
                                </a:lnTo>
                                <a:lnTo>
                                  <a:pt x="1302" y="215"/>
                                </a:lnTo>
                                <a:lnTo>
                                  <a:pt x="1307" y="219"/>
                                </a:lnTo>
                                <a:lnTo>
                                  <a:pt x="1313" y="221"/>
                                </a:lnTo>
                                <a:lnTo>
                                  <a:pt x="1318" y="226"/>
                                </a:lnTo>
                                <a:lnTo>
                                  <a:pt x="1323" y="230"/>
                                </a:lnTo>
                                <a:lnTo>
                                  <a:pt x="1328" y="233"/>
                                </a:lnTo>
                                <a:lnTo>
                                  <a:pt x="1333" y="237"/>
                                </a:lnTo>
                                <a:lnTo>
                                  <a:pt x="1335" y="239"/>
                                </a:lnTo>
                                <a:lnTo>
                                  <a:pt x="1337" y="241"/>
                                </a:lnTo>
                                <a:lnTo>
                                  <a:pt x="1339" y="244"/>
                                </a:lnTo>
                                <a:lnTo>
                                  <a:pt x="1341" y="245"/>
                                </a:lnTo>
                                <a:lnTo>
                                  <a:pt x="1342" y="248"/>
                                </a:lnTo>
                                <a:lnTo>
                                  <a:pt x="1344" y="250"/>
                                </a:lnTo>
                                <a:lnTo>
                                  <a:pt x="1345" y="253"/>
                                </a:lnTo>
                                <a:lnTo>
                                  <a:pt x="1346" y="255"/>
                                </a:lnTo>
                                <a:lnTo>
                                  <a:pt x="1347" y="258"/>
                                </a:lnTo>
                                <a:lnTo>
                                  <a:pt x="1348" y="260"/>
                                </a:lnTo>
                                <a:lnTo>
                                  <a:pt x="1348" y="264"/>
                                </a:lnTo>
                                <a:lnTo>
                                  <a:pt x="1348" y="267"/>
                                </a:lnTo>
                                <a:lnTo>
                                  <a:pt x="1350" y="266"/>
                                </a:lnTo>
                                <a:lnTo>
                                  <a:pt x="1350" y="265"/>
                                </a:lnTo>
                                <a:lnTo>
                                  <a:pt x="1350" y="265"/>
                                </a:lnTo>
                                <a:lnTo>
                                  <a:pt x="1352" y="264"/>
                                </a:lnTo>
                                <a:lnTo>
                                  <a:pt x="1353" y="262"/>
                                </a:lnTo>
                                <a:lnTo>
                                  <a:pt x="1355" y="261"/>
                                </a:lnTo>
                                <a:lnTo>
                                  <a:pt x="1358" y="260"/>
                                </a:lnTo>
                                <a:lnTo>
                                  <a:pt x="1361" y="260"/>
                                </a:lnTo>
                                <a:lnTo>
                                  <a:pt x="1364" y="260"/>
                                </a:lnTo>
                                <a:lnTo>
                                  <a:pt x="1367" y="259"/>
                                </a:lnTo>
                                <a:lnTo>
                                  <a:pt x="1371" y="259"/>
                                </a:lnTo>
                                <a:lnTo>
                                  <a:pt x="1375" y="259"/>
                                </a:lnTo>
                                <a:lnTo>
                                  <a:pt x="1378" y="259"/>
                                </a:lnTo>
                                <a:lnTo>
                                  <a:pt x="1383" y="259"/>
                                </a:lnTo>
                                <a:lnTo>
                                  <a:pt x="1387" y="260"/>
                                </a:lnTo>
                                <a:lnTo>
                                  <a:pt x="1397" y="260"/>
                                </a:lnTo>
                                <a:lnTo>
                                  <a:pt x="1405" y="261"/>
                                </a:lnTo>
                                <a:lnTo>
                                  <a:pt x="1409" y="262"/>
                                </a:lnTo>
                                <a:lnTo>
                                  <a:pt x="1414" y="262"/>
                                </a:lnTo>
                                <a:lnTo>
                                  <a:pt x="1417" y="264"/>
                                </a:lnTo>
                                <a:lnTo>
                                  <a:pt x="1421" y="264"/>
                                </a:lnTo>
                                <a:lnTo>
                                  <a:pt x="1425" y="265"/>
                                </a:lnTo>
                                <a:lnTo>
                                  <a:pt x="1428" y="265"/>
                                </a:lnTo>
                                <a:lnTo>
                                  <a:pt x="1432" y="265"/>
                                </a:lnTo>
                                <a:lnTo>
                                  <a:pt x="1435" y="266"/>
                                </a:lnTo>
                                <a:lnTo>
                                  <a:pt x="1438" y="266"/>
                                </a:lnTo>
                                <a:lnTo>
                                  <a:pt x="1440" y="267"/>
                                </a:lnTo>
                                <a:lnTo>
                                  <a:pt x="1441" y="267"/>
                                </a:lnTo>
                                <a:lnTo>
                                  <a:pt x="1443" y="267"/>
                                </a:lnTo>
                                <a:lnTo>
                                  <a:pt x="1443" y="267"/>
                                </a:lnTo>
                                <a:lnTo>
                                  <a:pt x="1444" y="267"/>
                                </a:lnTo>
                                <a:lnTo>
                                  <a:pt x="1450" y="267"/>
                                </a:lnTo>
                                <a:lnTo>
                                  <a:pt x="1455" y="268"/>
                                </a:lnTo>
                                <a:lnTo>
                                  <a:pt x="1458" y="268"/>
                                </a:lnTo>
                                <a:lnTo>
                                  <a:pt x="1461" y="268"/>
                                </a:lnTo>
                                <a:lnTo>
                                  <a:pt x="1464" y="268"/>
                                </a:lnTo>
                                <a:lnTo>
                                  <a:pt x="1467" y="269"/>
                                </a:lnTo>
                                <a:lnTo>
                                  <a:pt x="1471" y="270"/>
                                </a:lnTo>
                                <a:lnTo>
                                  <a:pt x="1474" y="271"/>
                                </a:lnTo>
                                <a:lnTo>
                                  <a:pt x="1477" y="272"/>
                                </a:lnTo>
                                <a:lnTo>
                                  <a:pt x="1479" y="274"/>
                                </a:lnTo>
                                <a:lnTo>
                                  <a:pt x="1482" y="275"/>
                                </a:lnTo>
                                <a:lnTo>
                                  <a:pt x="1485" y="277"/>
                                </a:lnTo>
                                <a:lnTo>
                                  <a:pt x="1488" y="280"/>
                                </a:lnTo>
                                <a:lnTo>
                                  <a:pt x="1491" y="282"/>
                                </a:lnTo>
                                <a:lnTo>
                                  <a:pt x="1494" y="285"/>
                                </a:lnTo>
                                <a:lnTo>
                                  <a:pt x="1496" y="288"/>
                                </a:lnTo>
                                <a:lnTo>
                                  <a:pt x="1499" y="291"/>
                                </a:lnTo>
                                <a:lnTo>
                                  <a:pt x="1501" y="294"/>
                                </a:lnTo>
                                <a:lnTo>
                                  <a:pt x="1502" y="296"/>
                                </a:lnTo>
                                <a:lnTo>
                                  <a:pt x="1503" y="299"/>
                                </a:lnTo>
                                <a:lnTo>
                                  <a:pt x="1505" y="301"/>
                                </a:lnTo>
                                <a:lnTo>
                                  <a:pt x="1507" y="305"/>
                                </a:lnTo>
                                <a:lnTo>
                                  <a:pt x="1508" y="306"/>
                                </a:lnTo>
                                <a:lnTo>
                                  <a:pt x="1511" y="308"/>
                                </a:lnTo>
                                <a:lnTo>
                                  <a:pt x="1512" y="310"/>
                                </a:lnTo>
                                <a:lnTo>
                                  <a:pt x="1514" y="312"/>
                                </a:lnTo>
                                <a:lnTo>
                                  <a:pt x="1516" y="313"/>
                                </a:lnTo>
                                <a:lnTo>
                                  <a:pt x="1518" y="314"/>
                                </a:lnTo>
                                <a:lnTo>
                                  <a:pt x="1520" y="314"/>
                                </a:lnTo>
                                <a:lnTo>
                                  <a:pt x="1523" y="314"/>
                                </a:lnTo>
                                <a:lnTo>
                                  <a:pt x="1526" y="314"/>
                                </a:lnTo>
                                <a:lnTo>
                                  <a:pt x="1528" y="314"/>
                                </a:lnTo>
                                <a:lnTo>
                                  <a:pt x="1530" y="314"/>
                                </a:lnTo>
                                <a:lnTo>
                                  <a:pt x="1532" y="314"/>
                                </a:lnTo>
                                <a:lnTo>
                                  <a:pt x="1534" y="314"/>
                                </a:lnTo>
                                <a:lnTo>
                                  <a:pt x="1535" y="314"/>
                                </a:lnTo>
                                <a:lnTo>
                                  <a:pt x="1536" y="314"/>
                                </a:lnTo>
                                <a:lnTo>
                                  <a:pt x="1537" y="314"/>
                                </a:lnTo>
                                <a:lnTo>
                                  <a:pt x="1537" y="314"/>
                                </a:lnTo>
                                <a:lnTo>
                                  <a:pt x="1538" y="314"/>
                                </a:lnTo>
                                <a:lnTo>
                                  <a:pt x="1538" y="314"/>
                                </a:lnTo>
                                <a:lnTo>
                                  <a:pt x="1538" y="314"/>
                                </a:lnTo>
                                <a:lnTo>
                                  <a:pt x="1538" y="313"/>
                                </a:lnTo>
                                <a:lnTo>
                                  <a:pt x="1538" y="312"/>
                                </a:lnTo>
                                <a:lnTo>
                                  <a:pt x="1539" y="311"/>
                                </a:lnTo>
                                <a:lnTo>
                                  <a:pt x="1539" y="310"/>
                                </a:lnTo>
                                <a:lnTo>
                                  <a:pt x="1539" y="309"/>
                                </a:lnTo>
                                <a:lnTo>
                                  <a:pt x="1540" y="308"/>
                                </a:lnTo>
                                <a:lnTo>
                                  <a:pt x="1540" y="308"/>
                                </a:lnTo>
                                <a:lnTo>
                                  <a:pt x="1541" y="308"/>
                                </a:lnTo>
                                <a:lnTo>
                                  <a:pt x="1542" y="307"/>
                                </a:lnTo>
                                <a:lnTo>
                                  <a:pt x="1543" y="307"/>
                                </a:lnTo>
                                <a:lnTo>
                                  <a:pt x="1545" y="308"/>
                                </a:lnTo>
                                <a:lnTo>
                                  <a:pt x="1546" y="308"/>
                                </a:lnTo>
                                <a:lnTo>
                                  <a:pt x="1548" y="309"/>
                                </a:lnTo>
                                <a:lnTo>
                                  <a:pt x="1549" y="310"/>
                                </a:lnTo>
                                <a:lnTo>
                                  <a:pt x="1551" y="311"/>
                                </a:lnTo>
                                <a:lnTo>
                                  <a:pt x="1552" y="312"/>
                                </a:lnTo>
                                <a:lnTo>
                                  <a:pt x="1553" y="313"/>
                                </a:lnTo>
                                <a:lnTo>
                                  <a:pt x="1554" y="314"/>
                                </a:lnTo>
                                <a:lnTo>
                                  <a:pt x="1555" y="314"/>
                                </a:lnTo>
                                <a:lnTo>
                                  <a:pt x="1555" y="317"/>
                                </a:lnTo>
                                <a:lnTo>
                                  <a:pt x="1555" y="319"/>
                                </a:lnTo>
                                <a:lnTo>
                                  <a:pt x="1556" y="321"/>
                                </a:lnTo>
                                <a:lnTo>
                                  <a:pt x="1557" y="323"/>
                                </a:lnTo>
                                <a:lnTo>
                                  <a:pt x="1559" y="325"/>
                                </a:lnTo>
                                <a:lnTo>
                                  <a:pt x="1560" y="326"/>
                                </a:lnTo>
                                <a:lnTo>
                                  <a:pt x="1561" y="327"/>
                                </a:lnTo>
                                <a:lnTo>
                                  <a:pt x="1563" y="328"/>
                                </a:lnTo>
                                <a:lnTo>
                                  <a:pt x="1564" y="329"/>
                                </a:lnTo>
                                <a:lnTo>
                                  <a:pt x="1565" y="329"/>
                                </a:lnTo>
                                <a:lnTo>
                                  <a:pt x="1567" y="329"/>
                                </a:lnTo>
                                <a:lnTo>
                                  <a:pt x="1568" y="329"/>
                                </a:lnTo>
                                <a:lnTo>
                                  <a:pt x="1569" y="329"/>
                                </a:lnTo>
                                <a:lnTo>
                                  <a:pt x="1570" y="329"/>
                                </a:lnTo>
                                <a:lnTo>
                                  <a:pt x="1570" y="329"/>
                                </a:lnTo>
                                <a:lnTo>
                                  <a:pt x="1571" y="329"/>
                                </a:lnTo>
                                <a:lnTo>
                                  <a:pt x="1571" y="329"/>
                                </a:lnTo>
                                <a:lnTo>
                                  <a:pt x="1572" y="329"/>
                                </a:lnTo>
                                <a:lnTo>
                                  <a:pt x="1572" y="329"/>
                                </a:lnTo>
                                <a:lnTo>
                                  <a:pt x="1573" y="329"/>
                                </a:lnTo>
                                <a:lnTo>
                                  <a:pt x="1574" y="329"/>
                                </a:lnTo>
                                <a:lnTo>
                                  <a:pt x="1575" y="329"/>
                                </a:lnTo>
                                <a:lnTo>
                                  <a:pt x="1577" y="329"/>
                                </a:lnTo>
                                <a:lnTo>
                                  <a:pt x="1578" y="329"/>
                                </a:lnTo>
                                <a:lnTo>
                                  <a:pt x="1581" y="329"/>
                                </a:lnTo>
                                <a:lnTo>
                                  <a:pt x="1583" y="329"/>
                                </a:lnTo>
                                <a:lnTo>
                                  <a:pt x="1586" y="329"/>
                                </a:lnTo>
                                <a:lnTo>
                                  <a:pt x="1586" y="329"/>
                                </a:lnTo>
                                <a:lnTo>
                                  <a:pt x="1587" y="329"/>
                                </a:lnTo>
                                <a:lnTo>
                                  <a:pt x="1587" y="329"/>
                                </a:lnTo>
                                <a:lnTo>
                                  <a:pt x="1587" y="329"/>
                                </a:lnTo>
                                <a:lnTo>
                                  <a:pt x="1588" y="329"/>
                                </a:lnTo>
                                <a:lnTo>
                                  <a:pt x="1589" y="329"/>
                                </a:lnTo>
                                <a:lnTo>
                                  <a:pt x="1592" y="329"/>
                                </a:lnTo>
                                <a:lnTo>
                                  <a:pt x="1593" y="329"/>
                                </a:lnTo>
                                <a:lnTo>
                                  <a:pt x="1595" y="329"/>
                                </a:lnTo>
                                <a:lnTo>
                                  <a:pt x="1597" y="329"/>
                                </a:lnTo>
                                <a:lnTo>
                                  <a:pt x="1600" y="329"/>
                                </a:lnTo>
                                <a:lnTo>
                                  <a:pt x="1602" y="329"/>
                                </a:lnTo>
                                <a:lnTo>
                                  <a:pt x="1603" y="329"/>
                                </a:lnTo>
                                <a:lnTo>
                                  <a:pt x="1604" y="329"/>
                                </a:lnTo>
                                <a:lnTo>
                                  <a:pt x="1605" y="328"/>
                                </a:lnTo>
                                <a:lnTo>
                                  <a:pt x="1606" y="327"/>
                                </a:lnTo>
                                <a:lnTo>
                                  <a:pt x="1608" y="326"/>
                                </a:lnTo>
                                <a:lnTo>
                                  <a:pt x="1610" y="325"/>
                                </a:lnTo>
                                <a:lnTo>
                                  <a:pt x="1612" y="324"/>
                                </a:lnTo>
                                <a:lnTo>
                                  <a:pt x="1614" y="323"/>
                                </a:lnTo>
                                <a:lnTo>
                                  <a:pt x="1616" y="323"/>
                                </a:lnTo>
                                <a:lnTo>
                                  <a:pt x="1619" y="323"/>
                                </a:lnTo>
                                <a:lnTo>
                                  <a:pt x="1622" y="323"/>
                                </a:lnTo>
                                <a:lnTo>
                                  <a:pt x="1623" y="323"/>
                                </a:lnTo>
                                <a:lnTo>
                                  <a:pt x="1624" y="324"/>
                                </a:lnTo>
                                <a:lnTo>
                                  <a:pt x="1626" y="325"/>
                                </a:lnTo>
                                <a:lnTo>
                                  <a:pt x="1627" y="325"/>
                                </a:lnTo>
                                <a:lnTo>
                                  <a:pt x="1629" y="326"/>
                                </a:lnTo>
                                <a:lnTo>
                                  <a:pt x="1631" y="327"/>
                                </a:lnTo>
                                <a:lnTo>
                                  <a:pt x="1633" y="328"/>
                                </a:lnTo>
                                <a:lnTo>
                                  <a:pt x="1634" y="329"/>
                                </a:lnTo>
                                <a:lnTo>
                                  <a:pt x="1636" y="331"/>
                                </a:lnTo>
                                <a:lnTo>
                                  <a:pt x="1637" y="332"/>
                                </a:lnTo>
                                <a:lnTo>
                                  <a:pt x="1639" y="333"/>
                                </a:lnTo>
                                <a:lnTo>
                                  <a:pt x="1641" y="335"/>
                                </a:lnTo>
                                <a:lnTo>
                                  <a:pt x="1643" y="336"/>
                                </a:lnTo>
                                <a:lnTo>
                                  <a:pt x="1646" y="337"/>
                                </a:lnTo>
                                <a:lnTo>
                                  <a:pt x="1650" y="339"/>
                                </a:lnTo>
                                <a:lnTo>
                                  <a:pt x="1656" y="340"/>
                                </a:lnTo>
                                <a:lnTo>
                                  <a:pt x="1661" y="341"/>
                                </a:lnTo>
                                <a:lnTo>
                                  <a:pt x="1667" y="342"/>
                                </a:lnTo>
                                <a:lnTo>
                                  <a:pt x="1674" y="343"/>
                                </a:lnTo>
                                <a:lnTo>
                                  <a:pt x="1679" y="345"/>
                                </a:lnTo>
                                <a:lnTo>
                                  <a:pt x="1685" y="345"/>
                                </a:lnTo>
                                <a:lnTo>
                                  <a:pt x="1691" y="345"/>
                                </a:lnTo>
                                <a:lnTo>
                                  <a:pt x="1696" y="346"/>
                                </a:lnTo>
                                <a:lnTo>
                                  <a:pt x="1701" y="346"/>
                                </a:lnTo>
                                <a:lnTo>
                                  <a:pt x="1703" y="346"/>
                                </a:lnTo>
                                <a:lnTo>
                                  <a:pt x="1705" y="346"/>
                                </a:lnTo>
                                <a:lnTo>
                                  <a:pt x="1707" y="346"/>
                                </a:lnTo>
                                <a:lnTo>
                                  <a:pt x="1709" y="346"/>
                                </a:lnTo>
                                <a:lnTo>
                                  <a:pt x="1710" y="346"/>
                                </a:lnTo>
                                <a:close/>
                                <a:moveTo>
                                  <a:pt x="71" y="456"/>
                                </a:moveTo>
                                <a:lnTo>
                                  <a:pt x="68" y="455"/>
                                </a:lnTo>
                                <a:lnTo>
                                  <a:pt x="66" y="455"/>
                                </a:lnTo>
                                <a:lnTo>
                                  <a:pt x="63" y="454"/>
                                </a:lnTo>
                                <a:lnTo>
                                  <a:pt x="61" y="454"/>
                                </a:lnTo>
                                <a:lnTo>
                                  <a:pt x="58" y="453"/>
                                </a:lnTo>
                                <a:lnTo>
                                  <a:pt x="56" y="452"/>
                                </a:lnTo>
                                <a:lnTo>
                                  <a:pt x="55" y="451"/>
                                </a:lnTo>
                                <a:lnTo>
                                  <a:pt x="53" y="449"/>
                                </a:lnTo>
                                <a:lnTo>
                                  <a:pt x="52" y="448"/>
                                </a:lnTo>
                                <a:lnTo>
                                  <a:pt x="51" y="445"/>
                                </a:lnTo>
                                <a:lnTo>
                                  <a:pt x="51" y="443"/>
                                </a:lnTo>
                                <a:lnTo>
                                  <a:pt x="50" y="440"/>
                                </a:lnTo>
                                <a:lnTo>
                                  <a:pt x="50" y="440"/>
                                </a:lnTo>
                                <a:lnTo>
                                  <a:pt x="49" y="440"/>
                                </a:lnTo>
                                <a:lnTo>
                                  <a:pt x="48" y="440"/>
                                </a:lnTo>
                                <a:lnTo>
                                  <a:pt x="47" y="441"/>
                                </a:lnTo>
                                <a:lnTo>
                                  <a:pt x="46" y="441"/>
                                </a:lnTo>
                                <a:lnTo>
                                  <a:pt x="44" y="441"/>
                                </a:lnTo>
                                <a:lnTo>
                                  <a:pt x="43" y="442"/>
                                </a:lnTo>
                                <a:lnTo>
                                  <a:pt x="41" y="443"/>
                                </a:lnTo>
                                <a:lnTo>
                                  <a:pt x="40" y="444"/>
                                </a:lnTo>
                                <a:lnTo>
                                  <a:pt x="39" y="445"/>
                                </a:lnTo>
                                <a:lnTo>
                                  <a:pt x="37" y="447"/>
                                </a:lnTo>
                                <a:lnTo>
                                  <a:pt x="36" y="449"/>
                                </a:lnTo>
                                <a:lnTo>
                                  <a:pt x="35" y="451"/>
                                </a:lnTo>
                                <a:lnTo>
                                  <a:pt x="35" y="453"/>
                                </a:lnTo>
                                <a:lnTo>
                                  <a:pt x="35" y="456"/>
                                </a:lnTo>
                                <a:lnTo>
                                  <a:pt x="38" y="456"/>
                                </a:lnTo>
                                <a:lnTo>
                                  <a:pt x="42" y="456"/>
                                </a:lnTo>
                                <a:lnTo>
                                  <a:pt x="50" y="456"/>
                                </a:lnTo>
                                <a:lnTo>
                                  <a:pt x="59" y="456"/>
                                </a:lnTo>
                                <a:lnTo>
                                  <a:pt x="64" y="456"/>
                                </a:lnTo>
                                <a:lnTo>
                                  <a:pt x="68" y="456"/>
                                </a:lnTo>
                                <a:lnTo>
                                  <a:pt x="71" y="456"/>
                                </a:lnTo>
                                <a:close/>
                                <a:moveTo>
                                  <a:pt x="399" y="646"/>
                                </a:moveTo>
                                <a:lnTo>
                                  <a:pt x="396" y="643"/>
                                </a:lnTo>
                                <a:lnTo>
                                  <a:pt x="393" y="640"/>
                                </a:lnTo>
                                <a:lnTo>
                                  <a:pt x="391" y="638"/>
                                </a:lnTo>
                                <a:lnTo>
                                  <a:pt x="388" y="636"/>
                                </a:lnTo>
                                <a:lnTo>
                                  <a:pt x="386" y="634"/>
                                </a:lnTo>
                                <a:lnTo>
                                  <a:pt x="383" y="633"/>
                                </a:lnTo>
                                <a:lnTo>
                                  <a:pt x="380" y="631"/>
                                </a:lnTo>
                                <a:lnTo>
                                  <a:pt x="377" y="630"/>
                                </a:lnTo>
                                <a:lnTo>
                                  <a:pt x="375" y="629"/>
                                </a:lnTo>
                                <a:lnTo>
                                  <a:pt x="373" y="628"/>
                                </a:lnTo>
                                <a:lnTo>
                                  <a:pt x="370" y="628"/>
                                </a:lnTo>
                                <a:lnTo>
                                  <a:pt x="368" y="626"/>
                                </a:lnTo>
                                <a:lnTo>
                                  <a:pt x="366" y="626"/>
                                </a:lnTo>
                                <a:lnTo>
                                  <a:pt x="364" y="625"/>
                                </a:lnTo>
                                <a:lnTo>
                                  <a:pt x="359" y="625"/>
                                </a:lnTo>
                                <a:lnTo>
                                  <a:pt x="355" y="625"/>
                                </a:lnTo>
                                <a:lnTo>
                                  <a:pt x="351" y="626"/>
                                </a:lnTo>
                                <a:lnTo>
                                  <a:pt x="351" y="626"/>
                                </a:lnTo>
                                <a:lnTo>
                                  <a:pt x="353" y="626"/>
                                </a:lnTo>
                                <a:lnTo>
                                  <a:pt x="355" y="628"/>
                                </a:lnTo>
                                <a:lnTo>
                                  <a:pt x="358" y="630"/>
                                </a:lnTo>
                                <a:lnTo>
                                  <a:pt x="361" y="632"/>
                                </a:lnTo>
                                <a:lnTo>
                                  <a:pt x="365" y="634"/>
                                </a:lnTo>
                                <a:lnTo>
                                  <a:pt x="369" y="637"/>
                                </a:lnTo>
                                <a:lnTo>
                                  <a:pt x="373" y="639"/>
                                </a:lnTo>
                                <a:lnTo>
                                  <a:pt x="378" y="641"/>
                                </a:lnTo>
                                <a:lnTo>
                                  <a:pt x="383" y="643"/>
                                </a:lnTo>
                                <a:lnTo>
                                  <a:pt x="386" y="644"/>
                                </a:lnTo>
                                <a:lnTo>
                                  <a:pt x="388" y="644"/>
                                </a:lnTo>
                                <a:lnTo>
                                  <a:pt x="391" y="645"/>
                                </a:lnTo>
                                <a:lnTo>
                                  <a:pt x="393" y="645"/>
                                </a:lnTo>
                                <a:lnTo>
                                  <a:pt x="396" y="646"/>
                                </a:lnTo>
                                <a:lnTo>
                                  <a:pt x="399" y="646"/>
                                </a:lnTo>
                                <a:close/>
                                <a:moveTo>
                                  <a:pt x="530" y="1014"/>
                                </a:moveTo>
                                <a:lnTo>
                                  <a:pt x="529" y="1013"/>
                                </a:lnTo>
                                <a:lnTo>
                                  <a:pt x="529" y="1011"/>
                                </a:lnTo>
                                <a:lnTo>
                                  <a:pt x="529" y="1010"/>
                                </a:lnTo>
                                <a:lnTo>
                                  <a:pt x="528" y="1008"/>
                                </a:lnTo>
                                <a:lnTo>
                                  <a:pt x="528" y="1007"/>
                                </a:lnTo>
                                <a:lnTo>
                                  <a:pt x="526" y="1004"/>
                                </a:lnTo>
                                <a:lnTo>
                                  <a:pt x="524" y="1001"/>
                                </a:lnTo>
                                <a:lnTo>
                                  <a:pt x="521" y="998"/>
                                </a:lnTo>
                                <a:lnTo>
                                  <a:pt x="519" y="995"/>
                                </a:lnTo>
                                <a:lnTo>
                                  <a:pt x="517" y="992"/>
                                </a:lnTo>
                                <a:lnTo>
                                  <a:pt x="515" y="988"/>
                                </a:lnTo>
                                <a:lnTo>
                                  <a:pt x="513" y="985"/>
                                </a:lnTo>
                                <a:lnTo>
                                  <a:pt x="512" y="984"/>
                                </a:lnTo>
                                <a:lnTo>
                                  <a:pt x="511" y="982"/>
                                </a:lnTo>
                                <a:lnTo>
                                  <a:pt x="511" y="981"/>
                                </a:lnTo>
                                <a:lnTo>
                                  <a:pt x="510" y="980"/>
                                </a:lnTo>
                                <a:lnTo>
                                  <a:pt x="510" y="980"/>
                                </a:lnTo>
                                <a:lnTo>
                                  <a:pt x="510" y="982"/>
                                </a:lnTo>
                                <a:lnTo>
                                  <a:pt x="510" y="985"/>
                                </a:lnTo>
                                <a:lnTo>
                                  <a:pt x="510" y="987"/>
                                </a:lnTo>
                                <a:lnTo>
                                  <a:pt x="510" y="988"/>
                                </a:lnTo>
                                <a:lnTo>
                                  <a:pt x="510" y="991"/>
                                </a:lnTo>
                                <a:lnTo>
                                  <a:pt x="510" y="992"/>
                                </a:lnTo>
                                <a:lnTo>
                                  <a:pt x="510" y="993"/>
                                </a:lnTo>
                                <a:lnTo>
                                  <a:pt x="510" y="993"/>
                                </a:lnTo>
                                <a:lnTo>
                                  <a:pt x="510" y="993"/>
                                </a:lnTo>
                                <a:lnTo>
                                  <a:pt x="510" y="996"/>
                                </a:lnTo>
                                <a:lnTo>
                                  <a:pt x="511" y="998"/>
                                </a:lnTo>
                                <a:lnTo>
                                  <a:pt x="512" y="1001"/>
                                </a:lnTo>
                                <a:lnTo>
                                  <a:pt x="513" y="1003"/>
                                </a:lnTo>
                                <a:lnTo>
                                  <a:pt x="514" y="1004"/>
                                </a:lnTo>
                                <a:lnTo>
                                  <a:pt x="515" y="1005"/>
                                </a:lnTo>
                                <a:lnTo>
                                  <a:pt x="518" y="1009"/>
                                </a:lnTo>
                                <a:lnTo>
                                  <a:pt x="521" y="1012"/>
                                </a:lnTo>
                                <a:lnTo>
                                  <a:pt x="522" y="1013"/>
                                </a:lnTo>
                                <a:lnTo>
                                  <a:pt x="523" y="1015"/>
                                </a:lnTo>
                                <a:lnTo>
                                  <a:pt x="524" y="1017"/>
                                </a:lnTo>
                                <a:lnTo>
                                  <a:pt x="525" y="1019"/>
                                </a:lnTo>
                                <a:lnTo>
                                  <a:pt x="526" y="1021"/>
                                </a:lnTo>
                                <a:lnTo>
                                  <a:pt x="526" y="1024"/>
                                </a:lnTo>
                                <a:lnTo>
                                  <a:pt x="527" y="1023"/>
                                </a:lnTo>
                                <a:lnTo>
                                  <a:pt x="528" y="1021"/>
                                </a:lnTo>
                                <a:lnTo>
                                  <a:pt x="529" y="1020"/>
                                </a:lnTo>
                                <a:lnTo>
                                  <a:pt x="529" y="1018"/>
                                </a:lnTo>
                                <a:lnTo>
                                  <a:pt x="530" y="1017"/>
                                </a:lnTo>
                                <a:lnTo>
                                  <a:pt x="530" y="1016"/>
                                </a:lnTo>
                                <a:lnTo>
                                  <a:pt x="530" y="1014"/>
                                </a:lnTo>
                                <a:close/>
                                <a:moveTo>
                                  <a:pt x="826" y="1414"/>
                                </a:moveTo>
                                <a:lnTo>
                                  <a:pt x="824" y="1414"/>
                                </a:lnTo>
                                <a:lnTo>
                                  <a:pt x="824" y="1413"/>
                                </a:lnTo>
                                <a:lnTo>
                                  <a:pt x="823" y="1412"/>
                                </a:lnTo>
                                <a:lnTo>
                                  <a:pt x="823" y="1411"/>
                                </a:lnTo>
                                <a:lnTo>
                                  <a:pt x="822" y="1410"/>
                                </a:lnTo>
                                <a:lnTo>
                                  <a:pt x="821" y="1410"/>
                                </a:lnTo>
                                <a:lnTo>
                                  <a:pt x="819" y="1409"/>
                                </a:lnTo>
                                <a:lnTo>
                                  <a:pt x="818" y="1408"/>
                                </a:lnTo>
                                <a:lnTo>
                                  <a:pt x="815" y="1406"/>
                                </a:lnTo>
                                <a:lnTo>
                                  <a:pt x="813" y="1405"/>
                                </a:lnTo>
                                <a:lnTo>
                                  <a:pt x="811" y="1404"/>
                                </a:lnTo>
                                <a:lnTo>
                                  <a:pt x="810" y="1404"/>
                                </a:lnTo>
                                <a:lnTo>
                                  <a:pt x="810" y="1404"/>
                                </a:lnTo>
                                <a:lnTo>
                                  <a:pt x="809" y="1404"/>
                                </a:lnTo>
                                <a:lnTo>
                                  <a:pt x="808" y="1404"/>
                                </a:lnTo>
                                <a:lnTo>
                                  <a:pt x="808" y="1404"/>
                                </a:lnTo>
                                <a:lnTo>
                                  <a:pt x="806" y="1404"/>
                                </a:lnTo>
                                <a:lnTo>
                                  <a:pt x="805" y="1404"/>
                                </a:lnTo>
                                <a:lnTo>
                                  <a:pt x="803" y="1404"/>
                                </a:lnTo>
                                <a:lnTo>
                                  <a:pt x="802" y="1404"/>
                                </a:lnTo>
                                <a:lnTo>
                                  <a:pt x="802" y="1404"/>
                                </a:lnTo>
                                <a:lnTo>
                                  <a:pt x="805" y="1405"/>
                                </a:lnTo>
                                <a:lnTo>
                                  <a:pt x="807" y="1407"/>
                                </a:lnTo>
                                <a:lnTo>
                                  <a:pt x="810" y="1409"/>
                                </a:lnTo>
                                <a:lnTo>
                                  <a:pt x="811" y="1410"/>
                                </a:lnTo>
                                <a:lnTo>
                                  <a:pt x="812" y="1410"/>
                                </a:lnTo>
                                <a:lnTo>
                                  <a:pt x="814" y="1410"/>
                                </a:lnTo>
                                <a:lnTo>
                                  <a:pt x="816" y="1411"/>
                                </a:lnTo>
                                <a:lnTo>
                                  <a:pt x="818" y="1412"/>
                                </a:lnTo>
                                <a:lnTo>
                                  <a:pt x="820" y="1413"/>
                                </a:lnTo>
                                <a:lnTo>
                                  <a:pt x="821" y="1414"/>
                                </a:lnTo>
                                <a:lnTo>
                                  <a:pt x="823" y="1416"/>
                                </a:lnTo>
                                <a:lnTo>
                                  <a:pt x="823" y="1418"/>
                                </a:lnTo>
                                <a:lnTo>
                                  <a:pt x="824" y="1417"/>
                                </a:lnTo>
                                <a:lnTo>
                                  <a:pt x="824" y="1416"/>
                                </a:lnTo>
                                <a:lnTo>
                                  <a:pt x="826" y="1416"/>
                                </a:lnTo>
                                <a:lnTo>
                                  <a:pt x="826" y="1415"/>
                                </a:lnTo>
                                <a:lnTo>
                                  <a:pt x="826" y="1414"/>
                                </a:lnTo>
                                <a:close/>
                              </a:path>
                            </a:pathLst>
                          </a:custGeom>
                          <a:grpFill/>
                          <a:ln w="3175">
                            <a:solidFill>
                              <a:schemeClr val="accent2"/>
                            </a:solidFill>
                          </a:ln>
                        </p:spPr>
                        <p:txBody>
                          <a:bodyPr vert="horz" wrap="square" lIns="91273" tIns="45637" rIns="91273" bIns="4563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97" b="0"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77" name="Group 207">
                          <a:extLst>
                            <a:ext uri="{FF2B5EF4-FFF2-40B4-BE49-F238E27FC236}">
                              <a16:creationId xmlns:a16="http://schemas.microsoft.com/office/drawing/2014/main" id="{2E9C4E92-C5FF-17BC-295A-534561378BC5}"/>
                            </a:ext>
                          </a:extLst>
                        </p:cNvPr>
                        <p:cNvGrpSpPr/>
                        <p:nvPr/>
                      </p:nvGrpSpPr>
                      <p:grpSpPr>
                        <a:xfrm>
                          <a:off x="3873201" y="2024727"/>
                          <a:ext cx="90190" cy="94640"/>
                          <a:chOff x="3873201" y="2024727"/>
                          <a:chExt cx="90190" cy="94640"/>
                        </a:xfrm>
                        <a:grpFill/>
                      </p:grpSpPr>
                      <p:sp>
                        <p:nvSpPr>
                          <p:cNvPr id="78" name="Netherlands">
                            <a:extLst>
                              <a:ext uri="{FF2B5EF4-FFF2-40B4-BE49-F238E27FC236}">
                                <a16:creationId xmlns:a16="http://schemas.microsoft.com/office/drawing/2014/main" id="{9BA644D2-044E-0004-9081-AEC48F5A0921}"/>
                              </a:ext>
                            </a:extLst>
                          </p:cNvPr>
                          <p:cNvSpPr>
                            <a:spLocks noEditPoints="1"/>
                          </p:cNvSpPr>
                          <p:nvPr/>
                        </p:nvSpPr>
                        <p:spPr bwMode="auto">
                          <a:xfrm>
                            <a:off x="3888973" y="2024727"/>
                            <a:ext cx="74418" cy="66329"/>
                          </a:xfrm>
                          <a:custGeom>
                            <a:avLst/>
                            <a:gdLst>
                              <a:gd name="T0" fmla="*/ 157 w 1196"/>
                              <a:gd name="T1" fmla="*/ 669 h 1066"/>
                              <a:gd name="T2" fmla="*/ 216 w 1196"/>
                              <a:gd name="T3" fmla="*/ 690 h 1066"/>
                              <a:gd name="T4" fmla="*/ 128 w 1196"/>
                              <a:gd name="T5" fmla="*/ 684 h 1066"/>
                              <a:gd name="T6" fmla="*/ 481 w 1196"/>
                              <a:gd name="T7" fmla="*/ 146 h 1066"/>
                              <a:gd name="T8" fmla="*/ 450 w 1196"/>
                              <a:gd name="T9" fmla="*/ 136 h 1066"/>
                              <a:gd name="T10" fmla="*/ 656 w 1196"/>
                              <a:gd name="T11" fmla="*/ 26 h 1066"/>
                              <a:gd name="T12" fmla="*/ 612 w 1196"/>
                              <a:gd name="T13" fmla="*/ 15 h 1066"/>
                              <a:gd name="T14" fmla="*/ 219 w 1196"/>
                              <a:gd name="T15" fmla="*/ 837 h 1066"/>
                              <a:gd name="T16" fmla="*/ 32 w 1196"/>
                              <a:gd name="T17" fmla="*/ 811 h 1066"/>
                              <a:gd name="T18" fmla="*/ 12 w 1196"/>
                              <a:gd name="T19" fmla="*/ 863 h 1066"/>
                              <a:gd name="T20" fmla="*/ 116 w 1196"/>
                              <a:gd name="T21" fmla="*/ 885 h 1066"/>
                              <a:gd name="T22" fmla="*/ 246 w 1196"/>
                              <a:gd name="T23" fmla="*/ 859 h 1066"/>
                              <a:gd name="T24" fmla="*/ 1163 w 1196"/>
                              <a:gd name="T25" fmla="*/ 68 h 1066"/>
                              <a:gd name="T26" fmla="*/ 955 w 1196"/>
                              <a:gd name="T27" fmla="*/ 0 h 1066"/>
                              <a:gd name="T28" fmla="*/ 653 w 1196"/>
                              <a:gd name="T29" fmla="*/ 114 h 1066"/>
                              <a:gd name="T30" fmla="*/ 501 w 1196"/>
                              <a:gd name="T31" fmla="*/ 191 h 1066"/>
                              <a:gd name="T32" fmla="*/ 432 w 1196"/>
                              <a:gd name="T33" fmla="*/ 235 h 1066"/>
                              <a:gd name="T34" fmla="*/ 355 w 1196"/>
                              <a:gd name="T35" fmla="*/ 414 h 1066"/>
                              <a:gd name="T36" fmla="*/ 225 w 1196"/>
                              <a:gd name="T37" fmla="*/ 580 h 1066"/>
                              <a:gd name="T38" fmla="*/ 262 w 1196"/>
                              <a:gd name="T39" fmla="*/ 636 h 1066"/>
                              <a:gd name="T40" fmla="*/ 364 w 1196"/>
                              <a:gd name="T41" fmla="*/ 665 h 1066"/>
                              <a:gd name="T42" fmla="*/ 437 w 1196"/>
                              <a:gd name="T43" fmla="*/ 677 h 1066"/>
                              <a:gd name="T44" fmla="*/ 267 w 1196"/>
                              <a:gd name="T45" fmla="*/ 695 h 1066"/>
                              <a:gd name="T46" fmla="*/ 266 w 1196"/>
                              <a:gd name="T47" fmla="*/ 651 h 1066"/>
                              <a:gd name="T48" fmla="*/ 161 w 1196"/>
                              <a:gd name="T49" fmla="*/ 644 h 1066"/>
                              <a:gd name="T50" fmla="*/ 250 w 1196"/>
                              <a:gd name="T51" fmla="*/ 703 h 1066"/>
                              <a:gd name="T52" fmla="*/ 253 w 1196"/>
                              <a:gd name="T53" fmla="*/ 733 h 1066"/>
                              <a:gd name="T54" fmla="*/ 228 w 1196"/>
                              <a:gd name="T55" fmla="*/ 743 h 1066"/>
                              <a:gd name="T56" fmla="*/ 270 w 1196"/>
                              <a:gd name="T57" fmla="*/ 793 h 1066"/>
                              <a:gd name="T58" fmla="*/ 177 w 1196"/>
                              <a:gd name="T59" fmla="*/ 745 h 1066"/>
                              <a:gd name="T60" fmla="*/ 47 w 1196"/>
                              <a:gd name="T61" fmla="*/ 744 h 1066"/>
                              <a:gd name="T62" fmla="*/ 93 w 1196"/>
                              <a:gd name="T63" fmla="*/ 797 h 1066"/>
                              <a:gd name="T64" fmla="*/ 209 w 1196"/>
                              <a:gd name="T65" fmla="*/ 805 h 1066"/>
                              <a:gd name="T66" fmla="*/ 338 w 1196"/>
                              <a:gd name="T67" fmla="*/ 787 h 1066"/>
                              <a:gd name="T68" fmla="*/ 366 w 1196"/>
                              <a:gd name="T69" fmla="*/ 790 h 1066"/>
                              <a:gd name="T70" fmla="*/ 429 w 1196"/>
                              <a:gd name="T71" fmla="*/ 776 h 1066"/>
                              <a:gd name="T72" fmla="*/ 497 w 1196"/>
                              <a:gd name="T73" fmla="*/ 773 h 1066"/>
                              <a:gd name="T74" fmla="*/ 582 w 1196"/>
                              <a:gd name="T75" fmla="*/ 849 h 1066"/>
                              <a:gd name="T76" fmla="*/ 741 w 1196"/>
                              <a:gd name="T77" fmla="*/ 931 h 1066"/>
                              <a:gd name="T78" fmla="*/ 702 w 1196"/>
                              <a:gd name="T79" fmla="*/ 1017 h 1066"/>
                              <a:gd name="T80" fmla="*/ 774 w 1196"/>
                              <a:gd name="T81" fmla="*/ 1064 h 1066"/>
                              <a:gd name="T82" fmla="*/ 823 w 1196"/>
                              <a:gd name="T83" fmla="*/ 1025 h 1066"/>
                              <a:gd name="T84" fmla="*/ 813 w 1196"/>
                              <a:gd name="T85" fmla="*/ 938 h 1066"/>
                              <a:gd name="T86" fmla="*/ 882 w 1196"/>
                              <a:gd name="T87" fmla="*/ 782 h 1066"/>
                              <a:gd name="T88" fmla="*/ 835 w 1196"/>
                              <a:gd name="T89" fmla="*/ 676 h 1066"/>
                              <a:gd name="T90" fmla="*/ 826 w 1196"/>
                              <a:gd name="T91" fmla="*/ 620 h 1066"/>
                              <a:gd name="T92" fmla="*/ 854 w 1196"/>
                              <a:gd name="T93" fmla="*/ 627 h 1066"/>
                              <a:gd name="T94" fmla="*/ 916 w 1196"/>
                              <a:gd name="T95" fmla="*/ 616 h 1066"/>
                              <a:gd name="T96" fmla="*/ 1064 w 1196"/>
                              <a:gd name="T97" fmla="*/ 587 h 1066"/>
                              <a:gd name="T98" fmla="*/ 1058 w 1196"/>
                              <a:gd name="T99" fmla="*/ 540 h 1066"/>
                              <a:gd name="T100" fmla="*/ 1107 w 1196"/>
                              <a:gd name="T101" fmla="*/ 502 h 1066"/>
                              <a:gd name="T102" fmla="*/ 1146 w 1196"/>
                              <a:gd name="T103" fmla="*/ 439 h 1066"/>
                              <a:gd name="T104" fmla="*/ 1060 w 1196"/>
                              <a:gd name="T105" fmla="*/ 372 h 1066"/>
                              <a:gd name="T106" fmla="*/ 1048 w 1196"/>
                              <a:gd name="T107" fmla="*/ 334 h 1066"/>
                              <a:gd name="T108" fmla="*/ 1149 w 1196"/>
                              <a:gd name="T109" fmla="*/ 316 h 1066"/>
                              <a:gd name="T110" fmla="*/ 1181 w 1196"/>
                              <a:gd name="T111" fmla="*/ 189 h 1066"/>
                              <a:gd name="T112" fmla="*/ 782 w 1196"/>
                              <a:gd name="T113" fmla="*/ 345 h 1066"/>
                              <a:gd name="T114" fmla="*/ 739 w 1196"/>
                              <a:gd name="T115" fmla="*/ 343 h 1066"/>
                              <a:gd name="T116" fmla="*/ 629 w 1196"/>
                              <a:gd name="T117" fmla="*/ 379 h 1066"/>
                              <a:gd name="T118" fmla="*/ 578 w 1196"/>
                              <a:gd name="T119" fmla="*/ 410 h 1066"/>
                              <a:gd name="T120" fmla="*/ 642 w 1196"/>
                              <a:gd name="T121" fmla="*/ 457 h 1066"/>
                              <a:gd name="T122" fmla="*/ 694 w 1196"/>
                              <a:gd name="T123" fmla="*/ 455 h 1066"/>
                              <a:gd name="T124" fmla="*/ 770 w 1196"/>
                              <a:gd name="T125" fmla="*/ 379 h 1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96" h="1066">
                                <a:moveTo>
                                  <a:pt x="128" y="684"/>
                                </a:moveTo>
                                <a:lnTo>
                                  <a:pt x="124" y="684"/>
                                </a:lnTo>
                                <a:lnTo>
                                  <a:pt x="125" y="684"/>
                                </a:lnTo>
                                <a:lnTo>
                                  <a:pt x="128" y="684"/>
                                </a:lnTo>
                                <a:lnTo>
                                  <a:pt x="130" y="684"/>
                                </a:lnTo>
                                <a:lnTo>
                                  <a:pt x="131" y="684"/>
                                </a:lnTo>
                                <a:lnTo>
                                  <a:pt x="133" y="684"/>
                                </a:lnTo>
                                <a:lnTo>
                                  <a:pt x="134" y="684"/>
                                </a:lnTo>
                                <a:lnTo>
                                  <a:pt x="135" y="684"/>
                                </a:lnTo>
                                <a:lnTo>
                                  <a:pt x="137" y="684"/>
                                </a:lnTo>
                                <a:lnTo>
                                  <a:pt x="139" y="684"/>
                                </a:lnTo>
                                <a:lnTo>
                                  <a:pt x="141" y="684"/>
                                </a:lnTo>
                                <a:lnTo>
                                  <a:pt x="144" y="684"/>
                                </a:lnTo>
                                <a:lnTo>
                                  <a:pt x="146" y="684"/>
                                </a:lnTo>
                                <a:lnTo>
                                  <a:pt x="149" y="684"/>
                                </a:lnTo>
                                <a:lnTo>
                                  <a:pt x="151" y="684"/>
                                </a:lnTo>
                                <a:lnTo>
                                  <a:pt x="155" y="684"/>
                                </a:lnTo>
                                <a:lnTo>
                                  <a:pt x="155" y="680"/>
                                </a:lnTo>
                                <a:lnTo>
                                  <a:pt x="155" y="677"/>
                                </a:lnTo>
                                <a:lnTo>
                                  <a:pt x="155" y="675"/>
                                </a:lnTo>
                                <a:lnTo>
                                  <a:pt x="156" y="673"/>
                                </a:lnTo>
                                <a:lnTo>
                                  <a:pt x="157" y="671"/>
                                </a:lnTo>
                                <a:lnTo>
                                  <a:pt x="157" y="669"/>
                                </a:lnTo>
                                <a:lnTo>
                                  <a:pt x="159" y="668"/>
                                </a:lnTo>
                                <a:lnTo>
                                  <a:pt x="160" y="667"/>
                                </a:lnTo>
                                <a:lnTo>
                                  <a:pt x="161" y="665"/>
                                </a:lnTo>
                                <a:lnTo>
                                  <a:pt x="164" y="665"/>
                                </a:lnTo>
                                <a:lnTo>
                                  <a:pt x="166" y="665"/>
                                </a:lnTo>
                                <a:lnTo>
                                  <a:pt x="168" y="665"/>
                                </a:lnTo>
                                <a:lnTo>
                                  <a:pt x="170" y="667"/>
                                </a:lnTo>
                                <a:lnTo>
                                  <a:pt x="171" y="667"/>
                                </a:lnTo>
                                <a:lnTo>
                                  <a:pt x="173" y="668"/>
                                </a:lnTo>
                                <a:lnTo>
                                  <a:pt x="176" y="669"/>
                                </a:lnTo>
                                <a:lnTo>
                                  <a:pt x="181" y="671"/>
                                </a:lnTo>
                                <a:lnTo>
                                  <a:pt x="186" y="674"/>
                                </a:lnTo>
                                <a:lnTo>
                                  <a:pt x="191" y="676"/>
                                </a:lnTo>
                                <a:lnTo>
                                  <a:pt x="197" y="678"/>
                                </a:lnTo>
                                <a:lnTo>
                                  <a:pt x="204" y="680"/>
                                </a:lnTo>
                                <a:lnTo>
                                  <a:pt x="207" y="681"/>
                                </a:lnTo>
                                <a:lnTo>
                                  <a:pt x="209" y="682"/>
                                </a:lnTo>
                                <a:lnTo>
                                  <a:pt x="212" y="683"/>
                                </a:lnTo>
                                <a:lnTo>
                                  <a:pt x="216" y="683"/>
                                </a:lnTo>
                                <a:lnTo>
                                  <a:pt x="219" y="684"/>
                                </a:lnTo>
                                <a:lnTo>
                                  <a:pt x="222" y="684"/>
                                </a:lnTo>
                                <a:lnTo>
                                  <a:pt x="219" y="687"/>
                                </a:lnTo>
                                <a:lnTo>
                                  <a:pt x="216" y="690"/>
                                </a:lnTo>
                                <a:lnTo>
                                  <a:pt x="212" y="693"/>
                                </a:lnTo>
                                <a:lnTo>
                                  <a:pt x="209" y="695"/>
                                </a:lnTo>
                                <a:lnTo>
                                  <a:pt x="207" y="697"/>
                                </a:lnTo>
                                <a:lnTo>
                                  <a:pt x="203" y="698"/>
                                </a:lnTo>
                                <a:lnTo>
                                  <a:pt x="200" y="699"/>
                                </a:lnTo>
                                <a:lnTo>
                                  <a:pt x="196" y="700"/>
                                </a:lnTo>
                                <a:lnTo>
                                  <a:pt x="193" y="701"/>
                                </a:lnTo>
                                <a:lnTo>
                                  <a:pt x="190" y="701"/>
                                </a:lnTo>
                                <a:lnTo>
                                  <a:pt x="187" y="701"/>
                                </a:lnTo>
                                <a:lnTo>
                                  <a:pt x="184" y="701"/>
                                </a:lnTo>
                                <a:lnTo>
                                  <a:pt x="181" y="700"/>
                                </a:lnTo>
                                <a:lnTo>
                                  <a:pt x="178" y="700"/>
                                </a:lnTo>
                                <a:lnTo>
                                  <a:pt x="175" y="699"/>
                                </a:lnTo>
                                <a:lnTo>
                                  <a:pt x="172" y="699"/>
                                </a:lnTo>
                                <a:lnTo>
                                  <a:pt x="166" y="696"/>
                                </a:lnTo>
                                <a:lnTo>
                                  <a:pt x="158" y="694"/>
                                </a:lnTo>
                                <a:lnTo>
                                  <a:pt x="152" y="691"/>
                                </a:lnTo>
                                <a:lnTo>
                                  <a:pt x="146" y="689"/>
                                </a:lnTo>
                                <a:lnTo>
                                  <a:pt x="140" y="687"/>
                                </a:lnTo>
                                <a:lnTo>
                                  <a:pt x="137" y="686"/>
                                </a:lnTo>
                                <a:lnTo>
                                  <a:pt x="134" y="685"/>
                                </a:lnTo>
                                <a:lnTo>
                                  <a:pt x="131" y="685"/>
                                </a:lnTo>
                                <a:lnTo>
                                  <a:pt x="128" y="684"/>
                                </a:lnTo>
                                <a:close/>
                                <a:moveTo>
                                  <a:pt x="447" y="161"/>
                                </a:moveTo>
                                <a:lnTo>
                                  <a:pt x="448" y="164"/>
                                </a:lnTo>
                                <a:lnTo>
                                  <a:pt x="450" y="167"/>
                                </a:lnTo>
                                <a:lnTo>
                                  <a:pt x="451" y="170"/>
                                </a:lnTo>
                                <a:lnTo>
                                  <a:pt x="454" y="173"/>
                                </a:lnTo>
                                <a:lnTo>
                                  <a:pt x="457" y="176"/>
                                </a:lnTo>
                                <a:lnTo>
                                  <a:pt x="460" y="179"/>
                                </a:lnTo>
                                <a:lnTo>
                                  <a:pt x="464" y="182"/>
                                </a:lnTo>
                                <a:lnTo>
                                  <a:pt x="464" y="179"/>
                                </a:lnTo>
                                <a:lnTo>
                                  <a:pt x="464" y="176"/>
                                </a:lnTo>
                                <a:lnTo>
                                  <a:pt x="464" y="174"/>
                                </a:lnTo>
                                <a:lnTo>
                                  <a:pt x="465" y="170"/>
                                </a:lnTo>
                                <a:lnTo>
                                  <a:pt x="466" y="169"/>
                                </a:lnTo>
                                <a:lnTo>
                                  <a:pt x="467" y="167"/>
                                </a:lnTo>
                                <a:lnTo>
                                  <a:pt x="469" y="163"/>
                                </a:lnTo>
                                <a:lnTo>
                                  <a:pt x="471" y="159"/>
                                </a:lnTo>
                                <a:lnTo>
                                  <a:pt x="474" y="157"/>
                                </a:lnTo>
                                <a:lnTo>
                                  <a:pt x="476" y="154"/>
                                </a:lnTo>
                                <a:lnTo>
                                  <a:pt x="478" y="151"/>
                                </a:lnTo>
                                <a:lnTo>
                                  <a:pt x="479" y="150"/>
                                </a:lnTo>
                                <a:lnTo>
                                  <a:pt x="480" y="148"/>
                                </a:lnTo>
                                <a:lnTo>
                                  <a:pt x="480" y="147"/>
                                </a:lnTo>
                                <a:lnTo>
                                  <a:pt x="481" y="146"/>
                                </a:lnTo>
                                <a:lnTo>
                                  <a:pt x="481" y="144"/>
                                </a:lnTo>
                                <a:lnTo>
                                  <a:pt x="481" y="143"/>
                                </a:lnTo>
                                <a:lnTo>
                                  <a:pt x="481" y="141"/>
                                </a:lnTo>
                                <a:lnTo>
                                  <a:pt x="480" y="139"/>
                                </a:lnTo>
                                <a:lnTo>
                                  <a:pt x="479" y="137"/>
                                </a:lnTo>
                                <a:lnTo>
                                  <a:pt x="478" y="135"/>
                                </a:lnTo>
                                <a:lnTo>
                                  <a:pt x="476" y="134"/>
                                </a:lnTo>
                                <a:lnTo>
                                  <a:pt x="475" y="131"/>
                                </a:lnTo>
                                <a:lnTo>
                                  <a:pt x="473" y="128"/>
                                </a:lnTo>
                                <a:lnTo>
                                  <a:pt x="470" y="126"/>
                                </a:lnTo>
                                <a:lnTo>
                                  <a:pt x="467" y="123"/>
                                </a:lnTo>
                                <a:lnTo>
                                  <a:pt x="464" y="121"/>
                                </a:lnTo>
                                <a:lnTo>
                                  <a:pt x="463" y="121"/>
                                </a:lnTo>
                                <a:lnTo>
                                  <a:pt x="463" y="121"/>
                                </a:lnTo>
                                <a:lnTo>
                                  <a:pt x="462" y="122"/>
                                </a:lnTo>
                                <a:lnTo>
                                  <a:pt x="461" y="123"/>
                                </a:lnTo>
                                <a:lnTo>
                                  <a:pt x="460" y="124"/>
                                </a:lnTo>
                                <a:lnTo>
                                  <a:pt x="459" y="125"/>
                                </a:lnTo>
                                <a:lnTo>
                                  <a:pt x="458" y="126"/>
                                </a:lnTo>
                                <a:lnTo>
                                  <a:pt x="457" y="127"/>
                                </a:lnTo>
                                <a:lnTo>
                                  <a:pt x="456" y="129"/>
                                </a:lnTo>
                                <a:lnTo>
                                  <a:pt x="452" y="132"/>
                                </a:lnTo>
                                <a:lnTo>
                                  <a:pt x="450" y="136"/>
                                </a:lnTo>
                                <a:lnTo>
                                  <a:pt x="448" y="140"/>
                                </a:lnTo>
                                <a:lnTo>
                                  <a:pt x="447" y="142"/>
                                </a:lnTo>
                                <a:lnTo>
                                  <a:pt x="446" y="145"/>
                                </a:lnTo>
                                <a:lnTo>
                                  <a:pt x="446" y="146"/>
                                </a:lnTo>
                                <a:lnTo>
                                  <a:pt x="445" y="149"/>
                                </a:lnTo>
                                <a:lnTo>
                                  <a:pt x="445" y="151"/>
                                </a:lnTo>
                                <a:lnTo>
                                  <a:pt x="445" y="154"/>
                                </a:lnTo>
                                <a:lnTo>
                                  <a:pt x="445" y="156"/>
                                </a:lnTo>
                                <a:lnTo>
                                  <a:pt x="446" y="159"/>
                                </a:lnTo>
                                <a:lnTo>
                                  <a:pt x="447" y="161"/>
                                </a:lnTo>
                                <a:close/>
                                <a:moveTo>
                                  <a:pt x="603" y="40"/>
                                </a:moveTo>
                                <a:lnTo>
                                  <a:pt x="610" y="40"/>
                                </a:lnTo>
                                <a:lnTo>
                                  <a:pt x="615" y="39"/>
                                </a:lnTo>
                                <a:lnTo>
                                  <a:pt x="622" y="38"/>
                                </a:lnTo>
                                <a:lnTo>
                                  <a:pt x="628" y="37"/>
                                </a:lnTo>
                                <a:lnTo>
                                  <a:pt x="635" y="35"/>
                                </a:lnTo>
                                <a:lnTo>
                                  <a:pt x="638" y="35"/>
                                </a:lnTo>
                                <a:lnTo>
                                  <a:pt x="641" y="34"/>
                                </a:lnTo>
                                <a:lnTo>
                                  <a:pt x="644" y="32"/>
                                </a:lnTo>
                                <a:lnTo>
                                  <a:pt x="647" y="31"/>
                                </a:lnTo>
                                <a:lnTo>
                                  <a:pt x="650" y="29"/>
                                </a:lnTo>
                                <a:lnTo>
                                  <a:pt x="653" y="28"/>
                                </a:lnTo>
                                <a:lnTo>
                                  <a:pt x="656" y="26"/>
                                </a:lnTo>
                                <a:lnTo>
                                  <a:pt x="660" y="24"/>
                                </a:lnTo>
                                <a:lnTo>
                                  <a:pt x="662" y="22"/>
                                </a:lnTo>
                                <a:lnTo>
                                  <a:pt x="665" y="20"/>
                                </a:lnTo>
                                <a:lnTo>
                                  <a:pt x="669" y="16"/>
                                </a:lnTo>
                                <a:lnTo>
                                  <a:pt x="673" y="13"/>
                                </a:lnTo>
                                <a:lnTo>
                                  <a:pt x="675" y="10"/>
                                </a:lnTo>
                                <a:lnTo>
                                  <a:pt x="679" y="7"/>
                                </a:lnTo>
                                <a:lnTo>
                                  <a:pt x="682" y="4"/>
                                </a:lnTo>
                                <a:lnTo>
                                  <a:pt x="685" y="0"/>
                                </a:lnTo>
                                <a:lnTo>
                                  <a:pt x="673" y="0"/>
                                </a:lnTo>
                                <a:lnTo>
                                  <a:pt x="665" y="0"/>
                                </a:lnTo>
                                <a:lnTo>
                                  <a:pt x="660" y="1"/>
                                </a:lnTo>
                                <a:lnTo>
                                  <a:pt x="653" y="1"/>
                                </a:lnTo>
                                <a:lnTo>
                                  <a:pt x="647" y="2"/>
                                </a:lnTo>
                                <a:lnTo>
                                  <a:pt x="641" y="3"/>
                                </a:lnTo>
                                <a:lnTo>
                                  <a:pt x="635" y="5"/>
                                </a:lnTo>
                                <a:lnTo>
                                  <a:pt x="631" y="6"/>
                                </a:lnTo>
                                <a:lnTo>
                                  <a:pt x="628" y="7"/>
                                </a:lnTo>
                                <a:lnTo>
                                  <a:pt x="624" y="9"/>
                                </a:lnTo>
                                <a:lnTo>
                                  <a:pt x="622" y="10"/>
                                </a:lnTo>
                                <a:lnTo>
                                  <a:pt x="619" y="11"/>
                                </a:lnTo>
                                <a:lnTo>
                                  <a:pt x="615" y="13"/>
                                </a:lnTo>
                                <a:lnTo>
                                  <a:pt x="612" y="15"/>
                                </a:lnTo>
                                <a:lnTo>
                                  <a:pt x="610" y="17"/>
                                </a:lnTo>
                                <a:lnTo>
                                  <a:pt x="606" y="20"/>
                                </a:lnTo>
                                <a:lnTo>
                                  <a:pt x="603" y="23"/>
                                </a:lnTo>
                                <a:lnTo>
                                  <a:pt x="600" y="25"/>
                                </a:lnTo>
                                <a:lnTo>
                                  <a:pt x="596" y="27"/>
                                </a:lnTo>
                                <a:lnTo>
                                  <a:pt x="593" y="31"/>
                                </a:lnTo>
                                <a:lnTo>
                                  <a:pt x="590" y="34"/>
                                </a:lnTo>
                                <a:lnTo>
                                  <a:pt x="587" y="37"/>
                                </a:lnTo>
                                <a:lnTo>
                                  <a:pt x="584" y="41"/>
                                </a:lnTo>
                                <a:lnTo>
                                  <a:pt x="596" y="40"/>
                                </a:lnTo>
                                <a:lnTo>
                                  <a:pt x="603" y="40"/>
                                </a:lnTo>
                                <a:close/>
                                <a:moveTo>
                                  <a:pt x="257" y="844"/>
                                </a:moveTo>
                                <a:lnTo>
                                  <a:pt x="255" y="844"/>
                                </a:lnTo>
                                <a:lnTo>
                                  <a:pt x="253" y="844"/>
                                </a:lnTo>
                                <a:lnTo>
                                  <a:pt x="250" y="843"/>
                                </a:lnTo>
                                <a:lnTo>
                                  <a:pt x="247" y="843"/>
                                </a:lnTo>
                                <a:lnTo>
                                  <a:pt x="243" y="842"/>
                                </a:lnTo>
                                <a:lnTo>
                                  <a:pt x="240" y="841"/>
                                </a:lnTo>
                                <a:lnTo>
                                  <a:pt x="235" y="841"/>
                                </a:lnTo>
                                <a:lnTo>
                                  <a:pt x="231" y="840"/>
                                </a:lnTo>
                                <a:lnTo>
                                  <a:pt x="228" y="839"/>
                                </a:lnTo>
                                <a:lnTo>
                                  <a:pt x="223" y="838"/>
                                </a:lnTo>
                                <a:lnTo>
                                  <a:pt x="219" y="837"/>
                                </a:lnTo>
                                <a:lnTo>
                                  <a:pt x="215" y="836"/>
                                </a:lnTo>
                                <a:lnTo>
                                  <a:pt x="210" y="835"/>
                                </a:lnTo>
                                <a:lnTo>
                                  <a:pt x="206" y="834"/>
                                </a:lnTo>
                                <a:lnTo>
                                  <a:pt x="194" y="831"/>
                                </a:lnTo>
                                <a:lnTo>
                                  <a:pt x="184" y="829"/>
                                </a:lnTo>
                                <a:lnTo>
                                  <a:pt x="174" y="826"/>
                                </a:lnTo>
                                <a:lnTo>
                                  <a:pt x="162" y="824"/>
                                </a:lnTo>
                                <a:lnTo>
                                  <a:pt x="151" y="822"/>
                                </a:lnTo>
                                <a:lnTo>
                                  <a:pt x="140" y="818"/>
                                </a:lnTo>
                                <a:lnTo>
                                  <a:pt x="129" y="816"/>
                                </a:lnTo>
                                <a:lnTo>
                                  <a:pt x="117" y="814"/>
                                </a:lnTo>
                                <a:lnTo>
                                  <a:pt x="106" y="812"/>
                                </a:lnTo>
                                <a:lnTo>
                                  <a:pt x="95" y="811"/>
                                </a:lnTo>
                                <a:lnTo>
                                  <a:pt x="83" y="810"/>
                                </a:lnTo>
                                <a:lnTo>
                                  <a:pt x="73" y="809"/>
                                </a:lnTo>
                                <a:lnTo>
                                  <a:pt x="63" y="809"/>
                                </a:lnTo>
                                <a:lnTo>
                                  <a:pt x="59" y="809"/>
                                </a:lnTo>
                                <a:lnTo>
                                  <a:pt x="53" y="809"/>
                                </a:lnTo>
                                <a:lnTo>
                                  <a:pt x="48" y="809"/>
                                </a:lnTo>
                                <a:lnTo>
                                  <a:pt x="44" y="810"/>
                                </a:lnTo>
                                <a:lnTo>
                                  <a:pt x="40" y="810"/>
                                </a:lnTo>
                                <a:lnTo>
                                  <a:pt x="36" y="810"/>
                                </a:lnTo>
                                <a:lnTo>
                                  <a:pt x="32" y="811"/>
                                </a:lnTo>
                                <a:lnTo>
                                  <a:pt x="28" y="812"/>
                                </a:lnTo>
                                <a:lnTo>
                                  <a:pt x="25" y="813"/>
                                </a:lnTo>
                                <a:lnTo>
                                  <a:pt x="22" y="814"/>
                                </a:lnTo>
                                <a:lnTo>
                                  <a:pt x="19" y="816"/>
                                </a:lnTo>
                                <a:lnTo>
                                  <a:pt x="15" y="817"/>
                                </a:lnTo>
                                <a:lnTo>
                                  <a:pt x="12" y="820"/>
                                </a:lnTo>
                                <a:lnTo>
                                  <a:pt x="10" y="822"/>
                                </a:lnTo>
                                <a:lnTo>
                                  <a:pt x="8" y="824"/>
                                </a:lnTo>
                                <a:lnTo>
                                  <a:pt x="6" y="826"/>
                                </a:lnTo>
                                <a:lnTo>
                                  <a:pt x="4" y="829"/>
                                </a:lnTo>
                                <a:lnTo>
                                  <a:pt x="3" y="832"/>
                                </a:lnTo>
                                <a:lnTo>
                                  <a:pt x="1" y="835"/>
                                </a:lnTo>
                                <a:lnTo>
                                  <a:pt x="1" y="838"/>
                                </a:lnTo>
                                <a:lnTo>
                                  <a:pt x="0" y="841"/>
                                </a:lnTo>
                                <a:lnTo>
                                  <a:pt x="0" y="845"/>
                                </a:lnTo>
                                <a:lnTo>
                                  <a:pt x="0" y="848"/>
                                </a:lnTo>
                                <a:lnTo>
                                  <a:pt x="1" y="851"/>
                                </a:lnTo>
                                <a:lnTo>
                                  <a:pt x="2" y="854"/>
                                </a:lnTo>
                                <a:lnTo>
                                  <a:pt x="3" y="856"/>
                                </a:lnTo>
                                <a:lnTo>
                                  <a:pt x="5" y="859"/>
                                </a:lnTo>
                                <a:lnTo>
                                  <a:pt x="7" y="860"/>
                                </a:lnTo>
                                <a:lnTo>
                                  <a:pt x="10" y="861"/>
                                </a:lnTo>
                                <a:lnTo>
                                  <a:pt x="12" y="863"/>
                                </a:lnTo>
                                <a:lnTo>
                                  <a:pt x="15" y="863"/>
                                </a:lnTo>
                                <a:lnTo>
                                  <a:pt x="19" y="864"/>
                                </a:lnTo>
                                <a:lnTo>
                                  <a:pt x="23" y="864"/>
                                </a:lnTo>
                                <a:lnTo>
                                  <a:pt x="26" y="865"/>
                                </a:lnTo>
                                <a:lnTo>
                                  <a:pt x="30" y="865"/>
                                </a:lnTo>
                                <a:lnTo>
                                  <a:pt x="34" y="865"/>
                                </a:lnTo>
                                <a:lnTo>
                                  <a:pt x="38" y="865"/>
                                </a:lnTo>
                                <a:lnTo>
                                  <a:pt x="42" y="865"/>
                                </a:lnTo>
                                <a:lnTo>
                                  <a:pt x="51" y="865"/>
                                </a:lnTo>
                                <a:lnTo>
                                  <a:pt x="61" y="865"/>
                                </a:lnTo>
                                <a:lnTo>
                                  <a:pt x="65" y="866"/>
                                </a:lnTo>
                                <a:lnTo>
                                  <a:pt x="70" y="866"/>
                                </a:lnTo>
                                <a:lnTo>
                                  <a:pt x="74" y="867"/>
                                </a:lnTo>
                                <a:lnTo>
                                  <a:pt x="79" y="868"/>
                                </a:lnTo>
                                <a:lnTo>
                                  <a:pt x="83" y="869"/>
                                </a:lnTo>
                                <a:lnTo>
                                  <a:pt x="88" y="870"/>
                                </a:lnTo>
                                <a:lnTo>
                                  <a:pt x="93" y="872"/>
                                </a:lnTo>
                                <a:lnTo>
                                  <a:pt x="97" y="873"/>
                                </a:lnTo>
                                <a:lnTo>
                                  <a:pt x="101" y="876"/>
                                </a:lnTo>
                                <a:lnTo>
                                  <a:pt x="105" y="878"/>
                                </a:lnTo>
                                <a:lnTo>
                                  <a:pt x="108" y="881"/>
                                </a:lnTo>
                                <a:lnTo>
                                  <a:pt x="112" y="885"/>
                                </a:lnTo>
                                <a:lnTo>
                                  <a:pt x="116" y="885"/>
                                </a:lnTo>
                                <a:lnTo>
                                  <a:pt x="120" y="884"/>
                                </a:lnTo>
                                <a:lnTo>
                                  <a:pt x="123" y="884"/>
                                </a:lnTo>
                                <a:lnTo>
                                  <a:pt x="128" y="884"/>
                                </a:lnTo>
                                <a:lnTo>
                                  <a:pt x="133" y="884"/>
                                </a:lnTo>
                                <a:lnTo>
                                  <a:pt x="137" y="884"/>
                                </a:lnTo>
                                <a:lnTo>
                                  <a:pt x="142" y="884"/>
                                </a:lnTo>
                                <a:lnTo>
                                  <a:pt x="146" y="884"/>
                                </a:lnTo>
                                <a:lnTo>
                                  <a:pt x="156" y="884"/>
                                </a:lnTo>
                                <a:lnTo>
                                  <a:pt x="167" y="883"/>
                                </a:lnTo>
                                <a:lnTo>
                                  <a:pt x="177" y="882"/>
                                </a:lnTo>
                                <a:lnTo>
                                  <a:pt x="187" y="880"/>
                                </a:lnTo>
                                <a:lnTo>
                                  <a:pt x="192" y="879"/>
                                </a:lnTo>
                                <a:lnTo>
                                  <a:pt x="197" y="878"/>
                                </a:lnTo>
                                <a:lnTo>
                                  <a:pt x="203" y="876"/>
                                </a:lnTo>
                                <a:lnTo>
                                  <a:pt x="208" y="875"/>
                                </a:lnTo>
                                <a:lnTo>
                                  <a:pt x="213" y="873"/>
                                </a:lnTo>
                                <a:lnTo>
                                  <a:pt x="218" y="872"/>
                                </a:lnTo>
                                <a:lnTo>
                                  <a:pt x="223" y="870"/>
                                </a:lnTo>
                                <a:lnTo>
                                  <a:pt x="228" y="868"/>
                                </a:lnTo>
                                <a:lnTo>
                                  <a:pt x="232" y="866"/>
                                </a:lnTo>
                                <a:lnTo>
                                  <a:pt x="238" y="864"/>
                                </a:lnTo>
                                <a:lnTo>
                                  <a:pt x="242" y="861"/>
                                </a:lnTo>
                                <a:lnTo>
                                  <a:pt x="246" y="859"/>
                                </a:lnTo>
                                <a:lnTo>
                                  <a:pt x="250" y="855"/>
                                </a:lnTo>
                                <a:lnTo>
                                  <a:pt x="254" y="851"/>
                                </a:lnTo>
                                <a:lnTo>
                                  <a:pt x="258" y="848"/>
                                </a:lnTo>
                                <a:lnTo>
                                  <a:pt x="261" y="845"/>
                                </a:lnTo>
                                <a:lnTo>
                                  <a:pt x="260" y="845"/>
                                </a:lnTo>
                                <a:lnTo>
                                  <a:pt x="257" y="844"/>
                                </a:lnTo>
                                <a:close/>
                                <a:moveTo>
                                  <a:pt x="1195" y="121"/>
                                </a:moveTo>
                                <a:lnTo>
                                  <a:pt x="1195" y="117"/>
                                </a:lnTo>
                                <a:lnTo>
                                  <a:pt x="1194" y="114"/>
                                </a:lnTo>
                                <a:lnTo>
                                  <a:pt x="1193" y="110"/>
                                </a:lnTo>
                                <a:lnTo>
                                  <a:pt x="1192" y="107"/>
                                </a:lnTo>
                                <a:lnTo>
                                  <a:pt x="1190" y="104"/>
                                </a:lnTo>
                                <a:lnTo>
                                  <a:pt x="1189" y="100"/>
                                </a:lnTo>
                                <a:lnTo>
                                  <a:pt x="1187" y="97"/>
                                </a:lnTo>
                                <a:lnTo>
                                  <a:pt x="1185" y="93"/>
                                </a:lnTo>
                                <a:lnTo>
                                  <a:pt x="1183" y="90"/>
                                </a:lnTo>
                                <a:lnTo>
                                  <a:pt x="1181" y="86"/>
                                </a:lnTo>
                                <a:lnTo>
                                  <a:pt x="1177" y="83"/>
                                </a:lnTo>
                                <a:lnTo>
                                  <a:pt x="1174" y="80"/>
                                </a:lnTo>
                                <a:lnTo>
                                  <a:pt x="1172" y="77"/>
                                </a:lnTo>
                                <a:lnTo>
                                  <a:pt x="1169" y="74"/>
                                </a:lnTo>
                                <a:lnTo>
                                  <a:pt x="1166" y="71"/>
                                </a:lnTo>
                                <a:lnTo>
                                  <a:pt x="1163" y="68"/>
                                </a:lnTo>
                                <a:lnTo>
                                  <a:pt x="1160" y="65"/>
                                </a:lnTo>
                                <a:lnTo>
                                  <a:pt x="1152" y="60"/>
                                </a:lnTo>
                                <a:lnTo>
                                  <a:pt x="1145" y="53"/>
                                </a:lnTo>
                                <a:lnTo>
                                  <a:pt x="1137" y="47"/>
                                </a:lnTo>
                                <a:lnTo>
                                  <a:pt x="1129" y="42"/>
                                </a:lnTo>
                                <a:lnTo>
                                  <a:pt x="1120" y="37"/>
                                </a:lnTo>
                                <a:lnTo>
                                  <a:pt x="1112" y="33"/>
                                </a:lnTo>
                                <a:lnTo>
                                  <a:pt x="1102" y="29"/>
                                </a:lnTo>
                                <a:lnTo>
                                  <a:pt x="1093" y="24"/>
                                </a:lnTo>
                                <a:lnTo>
                                  <a:pt x="1084" y="21"/>
                                </a:lnTo>
                                <a:lnTo>
                                  <a:pt x="1076" y="16"/>
                                </a:lnTo>
                                <a:lnTo>
                                  <a:pt x="1065" y="13"/>
                                </a:lnTo>
                                <a:lnTo>
                                  <a:pt x="1056" y="10"/>
                                </a:lnTo>
                                <a:lnTo>
                                  <a:pt x="1048" y="8"/>
                                </a:lnTo>
                                <a:lnTo>
                                  <a:pt x="1039" y="5"/>
                                </a:lnTo>
                                <a:lnTo>
                                  <a:pt x="1029" y="3"/>
                                </a:lnTo>
                                <a:lnTo>
                                  <a:pt x="1021" y="2"/>
                                </a:lnTo>
                                <a:lnTo>
                                  <a:pt x="1014" y="1"/>
                                </a:lnTo>
                                <a:lnTo>
                                  <a:pt x="1006" y="0"/>
                                </a:lnTo>
                                <a:lnTo>
                                  <a:pt x="999" y="0"/>
                                </a:lnTo>
                                <a:lnTo>
                                  <a:pt x="999" y="0"/>
                                </a:lnTo>
                                <a:lnTo>
                                  <a:pt x="977" y="0"/>
                                </a:lnTo>
                                <a:lnTo>
                                  <a:pt x="955" y="0"/>
                                </a:lnTo>
                                <a:lnTo>
                                  <a:pt x="934" y="1"/>
                                </a:lnTo>
                                <a:lnTo>
                                  <a:pt x="912" y="2"/>
                                </a:lnTo>
                                <a:lnTo>
                                  <a:pt x="891" y="4"/>
                                </a:lnTo>
                                <a:lnTo>
                                  <a:pt x="869" y="6"/>
                                </a:lnTo>
                                <a:lnTo>
                                  <a:pt x="847" y="10"/>
                                </a:lnTo>
                                <a:lnTo>
                                  <a:pt x="836" y="11"/>
                                </a:lnTo>
                                <a:lnTo>
                                  <a:pt x="826" y="14"/>
                                </a:lnTo>
                                <a:lnTo>
                                  <a:pt x="816" y="17"/>
                                </a:lnTo>
                                <a:lnTo>
                                  <a:pt x="804" y="21"/>
                                </a:lnTo>
                                <a:lnTo>
                                  <a:pt x="794" y="24"/>
                                </a:lnTo>
                                <a:lnTo>
                                  <a:pt x="783" y="28"/>
                                </a:lnTo>
                                <a:lnTo>
                                  <a:pt x="772" y="33"/>
                                </a:lnTo>
                                <a:lnTo>
                                  <a:pt x="761" y="37"/>
                                </a:lnTo>
                                <a:lnTo>
                                  <a:pt x="751" y="43"/>
                                </a:lnTo>
                                <a:lnTo>
                                  <a:pt x="739" y="48"/>
                                </a:lnTo>
                                <a:lnTo>
                                  <a:pt x="729" y="54"/>
                                </a:lnTo>
                                <a:lnTo>
                                  <a:pt x="718" y="62"/>
                                </a:lnTo>
                                <a:lnTo>
                                  <a:pt x="708" y="69"/>
                                </a:lnTo>
                                <a:lnTo>
                                  <a:pt x="696" y="77"/>
                                </a:lnTo>
                                <a:lnTo>
                                  <a:pt x="686" y="85"/>
                                </a:lnTo>
                                <a:lnTo>
                                  <a:pt x="675" y="94"/>
                                </a:lnTo>
                                <a:lnTo>
                                  <a:pt x="664" y="104"/>
                                </a:lnTo>
                                <a:lnTo>
                                  <a:pt x="653" y="114"/>
                                </a:lnTo>
                                <a:lnTo>
                                  <a:pt x="639" y="128"/>
                                </a:lnTo>
                                <a:lnTo>
                                  <a:pt x="631" y="136"/>
                                </a:lnTo>
                                <a:lnTo>
                                  <a:pt x="624" y="143"/>
                                </a:lnTo>
                                <a:lnTo>
                                  <a:pt x="616" y="149"/>
                                </a:lnTo>
                                <a:lnTo>
                                  <a:pt x="609" y="155"/>
                                </a:lnTo>
                                <a:lnTo>
                                  <a:pt x="600" y="161"/>
                                </a:lnTo>
                                <a:lnTo>
                                  <a:pt x="591" y="166"/>
                                </a:lnTo>
                                <a:lnTo>
                                  <a:pt x="586" y="169"/>
                                </a:lnTo>
                                <a:lnTo>
                                  <a:pt x="582" y="172"/>
                                </a:lnTo>
                                <a:lnTo>
                                  <a:pt x="577" y="175"/>
                                </a:lnTo>
                                <a:lnTo>
                                  <a:pt x="573" y="177"/>
                                </a:lnTo>
                                <a:lnTo>
                                  <a:pt x="568" y="179"/>
                                </a:lnTo>
                                <a:lnTo>
                                  <a:pt x="561" y="181"/>
                                </a:lnTo>
                                <a:lnTo>
                                  <a:pt x="556" y="183"/>
                                </a:lnTo>
                                <a:lnTo>
                                  <a:pt x="551" y="184"/>
                                </a:lnTo>
                                <a:lnTo>
                                  <a:pt x="545" y="185"/>
                                </a:lnTo>
                                <a:lnTo>
                                  <a:pt x="540" y="187"/>
                                </a:lnTo>
                                <a:lnTo>
                                  <a:pt x="534" y="188"/>
                                </a:lnTo>
                                <a:lnTo>
                                  <a:pt x="528" y="189"/>
                                </a:lnTo>
                                <a:lnTo>
                                  <a:pt x="521" y="190"/>
                                </a:lnTo>
                                <a:lnTo>
                                  <a:pt x="514" y="190"/>
                                </a:lnTo>
                                <a:lnTo>
                                  <a:pt x="507" y="190"/>
                                </a:lnTo>
                                <a:lnTo>
                                  <a:pt x="501" y="191"/>
                                </a:lnTo>
                                <a:lnTo>
                                  <a:pt x="497" y="191"/>
                                </a:lnTo>
                                <a:lnTo>
                                  <a:pt x="493" y="191"/>
                                </a:lnTo>
                                <a:lnTo>
                                  <a:pt x="490" y="192"/>
                                </a:lnTo>
                                <a:lnTo>
                                  <a:pt x="486" y="192"/>
                                </a:lnTo>
                                <a:lnTo>
                                  <a:pt x="482" y="193"/>
                                </a:lnTo>
                                <a:lnTo>
                                  <a:pt x="479" y="194"/>
                                </a:lnTo>
                                <a:lnTo>
                                  <a:pt x="476" y="195"/>
                                </a:lnTo>
                                <a:lnTo>
                                  <a:pt x="472" y="197"/>
                                </a:lnTo>
                                <a:lnTo>
                                  <a:pt x="469" y="198"/>
                                </a:lnTo>
                                <a:lnTo>
                                  <a:pt x="466" y="200"/>
                                </a:lnTo>
                                <a:lnTo>
                                  <a:pt x="463" y="202"/>
                                </a:lnTo>
                                <a:lnTo>
                                  <a:pt x="460" y="204"/>
                                </a:lnTo>
                                <a:lnTo>
                                  <a:pt x="457" y="207"/>
                                </a:lnTo>
                                <a:lnTo>
                                  <a:pt x="454" y="210"/>
                                </a:lnTo>
                                <a:lnTo>
                                  <a:pt x="450" y="212"/>
                                </a:lnTo>
                                <a:lnTo>
                                  <a:pt x="447" y="215"/>
                                </a:lnTo>
                                <a:lnTo>
                                  <a:pt x="445" y="217"/>
                                </a:lnTo>
                                <a:lnTo>
                                  <a:pt x="442" y="220"/>
                                </a:lnTo>
                                <a:lnTo>
                                  <a:pt x="440" y="223"/>
                                </a:lnTo>
                                <a:lnTo>
                                  <a:pt x="438" y="226"/>
                                </a:lnTo>
                                <a:lnTo>
                                  <a:pt x="436" y="229"/>
                                </a:lnTo>
                                <a:lnTo>
                                  <a:pt x="434" y="232"/>
                                </a:lnTo>
                                <a:lnTo>
                                  <a:pt x="432" y="235"/>
                                </a:lnTo>
                                <a:lnTo>
                                  <a:pt x="430" y="238"/>
                                </a:lnTo>
                                <a:lnTo>
                                  <a:pt x="429" y="242"/>
                                </a:lnTo>
                                <a:lnTo>
                                  <a:pt x="427" y="245"/>
                                </a:lnTo>
                                <a:lnTo>
                                  <a:pt x="427" y="249"/>
                                </a:lnTo>
                                <a:lnTo>
                                  <a:pt x="426" y="253"/>
                                </a:lnTo>
                                <a:lnTo>
                                  <a:pt x="425" y="256"/>
                                </a:lnTo>
                                <a:lnTo>
                                  <a:pt x="425" y="260"/>
                                </a:lnTo>
                                <a:lnTo>
                                  <a:pt x="424" y="263"/>
                                </a:lnTo>
                                <a:lnTo>
                                  <a:pt x="424" y="267"/>
                                </a:lnTo>
                                <a:lnTo>
                                  <a:pt x="420" y="277"/>
                                </a:lnTo>
                                <a:lnTo>
                                  <a:pt x="415" y="288"/>
                                </a:lnTo>
                                <a:lnTo>
                                  <a:pt x="412" y="299"/>
                                </a:lnTo>
                                <a:lnTo>
                                  <a:pt x="407" y="309"/>
                                </a:lnTo>
                                <a:lnTo>
                                  <a:pt x="403" y="319"/>
                                </a:lnTo>
                                <a:lnTo>
                                  <a:pt x="398" y="331"/>
                                </a:lnTo>
                                <a:lnTo>
                                  <a:pt x="393" y="341"/>
                                </a:lnTo>
                                <a:lnTo>
                                  <a:pt x="389" y="352"/>
                                </a:lnTo>
                                <a:lnTo>
                                  <a:pt x="384" y="363"/>
                                </a:lnTo>
                                <a:lnTo>
                                  <a:pt x="377" y="373"/>
                                </a:lnTo>
                                <a:lnTo>
                                  <a:pt x="372" y="383"/>
                                </a:lnTo>
                                <a:lnTo>
                                  <a:pt x="366" y="393"/>
                                </a:lnTo>
                                <a:lnTo>
                                  <a:pt x="361" y="404"/>
                                </a:lnTo>
                                <a:lnTo>
                                  <a:pt x="355" y="414"/>
                                </a:lnTo>
                                <a:lnTo>
                                  <a:pt x="349" y="423"/>
                                </a:lnTo>
                                <a:lnTo>
                                  <a:pt x="342" y="433"/>
                                </a:lnTo>
                                <a:lnTo>
                                  <a:pt x="336" y="443"/>
                                </a:lnTo>
                                <a:lnTo>
                                  <a:pt x="329" y="453"/>
                                </a:lnTo>
                                <a:lnTo>
                                  <a:pt x="323" y="462"/>
                                </a:lnTo>
                                <a:lnTo>
                                  <a:pt x="317" y="471"/>
                                </a:lnTo>
                                <a:lnTo>
                                  <a:pt x="310" y="481"/>
                                </a:lnTo>
                                <a:lnTo>
                                  <a:pt x="303" y="490"/>
                                </a:lnTo>
                                <a:lnTo>
                                  <a:pt x="296" y="499"/>
                                </a:lnTo>
                                <a:lnTo>
                                  <a:pt x="289" y="507"/>
                                </a:lnTo>
                                <a:lnTo>
                                  <a:pt x="282" y="516"/>
                                </a:lnTo>
                                <a:lnTo>
                                  <a:pt x="275" y="525"/>
                                </a:lnTo>
                                <a:lnTo>
                                  <a:pt x="267" y="533"/>
                                </a:lnTo>
                                <a:lnTo>
                                  <a:pt x="261" y="540"/>
                                </a:lnTo>
                                <a:lnTo>
                                  <a:pt x="254" y="548"/>
                                </a:lnTo>
                                <a:lnTo>
                                  <a:pt x="247" y="557"/>
                                </a:lnTo>
                                <a:lnTo>
                                  <a:pt x="240" y="564"/>
                                </a:lnTo>
                                <a:lnTo>
                                  <a:pt x="232" y="571"/>
                                </a:lnTo>
                                <a:lnTo>
                                  <a:pt x="230" y="573"/>
                                </a:lnTo>
                                <a:lnTo>
                                  <a:pt x="229" y="575"/>
                                </a:lnTo>
                                <a:lnTo>
                                  <a:pt x="227" y="576"/>
                                </a:lnTo>
                                <a:lnTo>
                                  <a:pt x="226" y="578"/>
                                </a:lnTo>
                                <a:lnTo>
                                  <a:pt x="225" y="580"/>
                                </a:lnTo>
                                <a:lnTo>
                                  <a:pt x="224" y="581"/>
                                </a:lnTo>
                                <a:lnTo>
                                  <a:pt x="223" y="583"/>
                                </a:lnTo>
                                <a:lnTo>
                                  <a:pt x="223" y="585"/>
                                </a:lnTo>
                                <a:lnTo>
                                  <a:pt x="222" y="587"/>
                                </a:lnTo>
                                <a:lnTo>
                                  <a:pt x="222" y="588"/>
                                </a:lnTo>
                                <a:lnTo>
                                  <a:pt x="222" y="591"/>
                                </a:lnTo>
                                <a:lnTo>
                                  <a:pt x="221" y="593"/>
                                </a:lnTo>
                                <a:lnTo>
                                  <a:pt x="222" y="594"/>
                                </a:lnTo>
                                <a:lnTo>
                                  <a:pt x="222" y="596"/>
                                </a:lnTo>
                                <a:lnTo>
                                  <a:pt x="222" y="600"/>
                                </a:lnTo>
                                <a:lnTo>
                                  <a:pt x="224" y="602"/>
                                </a:lnTo>
                                <a:lnTo>
                                  <a:pt x="225" y="606"/>
                                </a:lnTo>
                                <a:lnTo>
                                  <a:pt x="227" y="609"/>
                                </a:lnTo>
                                <a:lnTo>
                                  <a:pt x="229" y="612"/>
                                </a:lnTo>
                                <a:lnTo>
                                  <a:pt x="232" y="615"/>
                                </a:lnTo>
                                <a:lnTo>
                                  <a:pt x="234" y="618"/>
                                </a:lnTo>
                                <a:lnTo>
                                  <a:pt x="239" y="620"/>
                                </a:lnTo>
                                <a:lnTo>
                                  <a:pt x="242" y="623"/>
                                </a:lnTo>
                                <a:lnTo>
                                  <a:pt x="246" y="625"/>
                                </a:lnTo>
                                <a:lnTo>
                                  <a:pt x="249" y="629"/>
                                </a:lnTo>
                                <a:lnTo>
                                  <a:pt x="254" y="631"/>
                                </a:lnTo>
                                <a:lnTo>
                                  <a:pt x="257" y="634"/>
                                </a:lnTo>
                                <a:lnTo>
                                  <a:pt x="262" y="636"/>
                                </a:lnTo>
                                <a:lnTo>
                                  <a:pt x="266" y="638"/>
                                </a:lnTo>
                                <a:lnTo>
                                  <a:pt x="270" y="639"/>
                                </a:lnTo>
                                <a:lnTo>
                                  <a:pt x="276" y="641"/>
                                </a:lnTo>
                                <a:lnTo>
                                  <a:pt x="280" y="642"/>
                                </a:lnTo>
                                <a:lnTo>
                                  <a:pt x="284" y="644"/>
                                </a:lnTo>
                                <a:lnTo>
                                  <a:pt x="289" y="645"/>
                                </a:lnTo>
                                <a:lnTo>
                                  <a:pt x="293" y="646"/>
                                </a:lnTo>
                                <a:lnTo>
                                  <a:pt x="297" y="646"/>
                                </a:lnTo>
                                <a:lnTo>
                                  <a:pt x="301" y="647"/>
                                </a:lnTo>
                                <a:lnTo>
                                  <a:pt x="304" y="647"/>
                                </a:lnTo>
                                <a:lnTo>
                                  <a:pt x="309" y="647"/>
                                </a:lnTo>
                                <a:lnTo>
                                  <a:pt x="313" y="650"/>
                                </a:lnTo>
                                <a:lnTo>
                                  <a:pt x="317" y="653"/>
                                </a:lnTo>
                                <a:lnTo>
                                  <a:pt x="321" y="656"/>
                                </a:lnTo>
                                <a:lnTo>
                                  <a:pt x="325" y="658"/>
                                </a:lnTo>
                                <a:lnTo>
                                  <a:pt x="329" y="660"/>
                                </a:lnTo>
                                <a:lnTo>
                                  <a:pt x="334" y="661"/>
                                </a:lnTo>
                                <a:lnTo>
                                  <a:pt x="338" y="662"/>
                                </a:lnTo>
                                <a:lnTo>
                                  <a:pt x="343" y="663"/>
                                </a:lnTo>
                                <a:lnTo>
                                  <a:pt x="349" y="664"/>
                                </a:lnTo>
                                <a:lnTo>
                                  <a:pt x="354" y="665"/>
                                </a:lnTo>
                                <a:lnTo>
                                  <a:pt x="359" y="665"/>
                                </a:lnTo>
                                <a:lnTo>
                                  <a:pt x="364" y="665"/>
                                </a:lnTo>
                                <a:lnTo>
                                  <a:pt x="374" y="667"/>
                                </a:lnTo>
                                <a:lnTo>
                                  <a:pt x="386" y="667"/>
                                </a:lnTo>
                                <a:lnTo>
                                  <a:pt x="396" y="667"/>
                                </a:lnTo>
                                <a:lnTo>
                                  <a:pt x="406" y="667"/>
                                </a:lnTo>
                                <a:lnTo>
                                  <a:pt x="412" y="667"/>
                                </a:lnTo>
                                <a:lnTo>
                                  <a:pt x="418" y="668"/>
                                </a:lnTo>
                                <a:lnTo>
                                  <a:pt x="423" y="668"/>
                                </a:lnTo>
                                <a:lnTo>
                                  <a:pt x="427" y="669"/>
                                </a:lnTo>
                                <a:lnTo>
                                  <a:pt x="432" y="670"/>
                                </a:lnTo>
                                <a:lnTo>
                                  <a:pt x="437" y="671"/>
                                </a:lnTo>
                                <a:lnTo>
                                  <a:pt x="441" y="673"/>
                                </a:lnTo>
                                <a:lnTo>
                                  <a:pt x="446" y="675"/>
                                </a:lnTo>
                                <a:lnTo>
                                  <a:pt x="450" y="677"/>
                                </a:lnTo>
                                <a:lnTo>
                                  <a:pt x="455" y="679"/>
                                </a:lnTo>
                                <a:lnTo>
                                  <a:pt x="459" y="682"/>
                                </a:lnTo>
                                <a:lnTo>
                                  <a:pt x="462" y="685"/>
                                </a:lnTo>
                                <a:lnTo>
                                  <a:pt x="459" y="684"/>
                                </a:lnTo>
                                <a:lnTo>
                                  <a:pt x="455" y="682"/>
                                </a:lnTo>
                                <a:lnTo>
                                  <a:pt x="451" y="681"/>
                                </a:lnTo>
                                <a:lnTo>
                                  <a:pt x="447" y="680"/>
                                </a:lnTo>
                                <a:lnTo>
                                  <a:pt x="444" y="678"/>
                                </a:lnTo>
                                <a:lnTo>
                                  <a:pt x="440" y="677"/>
                                </a:lnTo>
                                <a:lnTo>
                                  <a:pt x="437" y="677"/>
                                </a:lnTo>
                                <a:lnTo>
                                  <a:pt x="433" y="676"/>
                                </a:lnTo>
                                <a:lnTo>
                                  <a:pt x="430" y="675"/>
                                </a:lnTo>
                                <a:lnTo>
                                  <a:pt x="427" y="675"/>
                                </a:lnTo>
                                <a:lnTo>
                                  <a:pt x="419" y="675"/>
                                </a:lnTo>
                                <a:lnTo>
                                  <a:pt x="411" y="675"/>
                                </a:lnTo>
                                <a:lnTo>
                                  <a:pt x="404" y="675"/>
                                </a:lnTo>
                                <a:lnTo>
                                  <a:pt x="397" y="675"/>
                                </a:lnTo>
                                <a:lnTo>
                                  <a:pt x="390" y="676"/>
                                </a:lnTo>
                                <a:lnTo>
                                  <a:pt x="383" y="677"/>
                                </a:lnTo>
                                <a:lnTo>
                                  <a:pt x="376" y="679"/>
                                </a:lnTo>
                                <a:lnTo>
                                  <a:pt x="368" y="680"/>
                                </a:lnTo>
                                <a:lnTo>
                                  <a:pt x="362" y="682"/>
                                </a:lnTo>
                                <a:lnTo>
                                  <a:pt x="347" y="685"/>
                                </a:lnTo>
                                <a:lnTo>
                                  <a:pt x="332" y="689"/>
                                </a:lnTo>
                                <a:lnTo>
                                  <a:pt x="326" y="690"/>
                                </a:lnTo>
                                <a:lnTo>
                                  <a:pt x="318" y="692"/>
                                </a:lnTo>
                                <a:lnTo>
                                  <a:pt x="312" y="693"/>
                                </a:lnTo>
                                <a:lnTo>
                                  <a:pt x="304" y="694"/>
                                </a:lnTo>
                                <a:lnTo>
                                  <a:pt x="297" y="695"/>
                                </a:lnTo>
                                <a:lnTo>
                                  <a:pt x="290" y="696"/>
                                </a:lnTo>
                                <a:lnTo>
                                  <a:pt x="282" y="696"/>
                                </a:lnTo>
                                <a:lnTo>
                                  <a:pt x="276" y="696"/>
                                </a:lnTo>
                                <a:lnTo>
                                  <a:pt x="267" y="695"/>
                                </a:lnTo>
                                <a:lnTo>
                                  <a:pt x="264" y="695"/>
                                </a:lnTo>
                                <a:lnTo>
                                  <a:pt x="266" y="695"/>
                                </a:lnTo>
                                <a:lnTo>
                                  <a:pt x="268" y="695"/>
                                </a:lnTo>
                                <a:lnTo>
                                  <a:pt x="271" y="694"/>
                                </a:lnTo>
                                <a:lnTo>
                                  <a:pt x="275" y="694"/>
                                </a:lnTo>
                                <a:lnTo>
                                  <a:pt x="278" y="693"/>
                                </a:lnTo>
                                <a:lnTo>
                                  <a:pt x="280" y="693"/>
                                </a:lnTo>
                                <a:lnTo>
                                  <a:pt x="283" y="692"/>
                                </a:lnTo>
                                <a:lnTo>
                                  <a:pt x="286" y="691"/>
                                </a:lnTo>
                                <a:lnTo>
                                  <a:pt x="290" y="690"/>
                                </a:lnTo>
                                <a:lnTo>
                                  <a:pt x="292" y="688"/>
                                </a:lnTo>
                                <a:lnTo>
                                  <a:pt x="295" y="687"/>
                                </a:lnTo>
                                <a:lnTo>
                                  <a:pt x="299" y="686"/>
                                </a:lnTo>
                                <a:lnTo>
                                  <a:pt x="302" y="684"/>
                                </a:lnTo>
                                <a:lnTo>
                                  <a:pt x="299" y="680"/>
                                </a:lnTo>
                                <a:lnTo>
                                  <a:pt x="295" y="676"/>
                                </a:lnTo>
                                <a:lnTo>
                                  <a:pt x="292" y="673"/>
                                </a:lnTo>
                                <a:lnTo>
                                  <a:pt x="288" y="669"/>
                                </a:lnTo>
                                <a:lnTo>
                                  <a:pt x="283" y="665"/>
                                </a:lnTo>
                                <a:lnTo>
                                  <a:pt x="280" y="662"/>
                                </a:lnTo>
                                <a:lnTo>
                                  <a:pt x="275" y="658"/>
                                </a:lnTo>
                                <a:lnTo>
                                  <a:pt x="270" y="655"/>
                                </a:lnTo>
                                <a:lnTo>
                                  <a:pt x="266" y="651"/>
                                </a:lnTo>
                                <a:lnTo>
                                  <a:pt x="261" y="649"/>
                                </a:lnTo>
                                <a:lnTo>
                                  <a:pt x="256" y="646"/>
                                </a:lnTo>
                                <a:lnTo>
                                  <a:pt x="252" y="643"/>
                                </a:lnTo>
                                <a:lnTo>
                                  <a:pt x="247" y="640"/>
                                </a:lnTo>
                                <a:lnTo>
                                  <a:pt x="242" y="638"/>
                                </a:lnTo>
                                <a:lnTo>
                                  <a:pt x="237" y="636"/>
                                </a:lnTo>
                                <a:lnTo>
                                  <a:pt x="231" y="634"/>
                                </a:lnTo>
                                <a:lnTo>
                                  <a:pt x="227" y="632"/>
                                </a:lnTo>
                                <a:lnTo>
                                  <a:pt x="222" y="631"/>
                                </a:lnTo>
                                <a:lnTo>
                                  <a:pt x="217" y="629"/>
                                </a:lnTo>
                                <a:lnTo>
                                  <a:pt x="212" y="627"/>
                                </a:lnTo>
                                <a:lnTo>
                                  <a:pt x="207" y="627"/>
                                </a:lnTo>
                                <a:lnTo>
                                  <a:pt x="203" y="626"/>
                                </a:lnTo>
                                <a:lnTo>
                                  <a:pt x="197" y="626"/>
                                </a:lnTo>
                                <a:lnTo>
                                  <a:pt x="193" y="627"/>
                                </a:lnTo>
                                <a:lnTo>
                                  <a:pt x="189" y="627"/>
                                </a:lnTo>
                                <a:lnTo>
                                  <a:pt x="184" y="629"/>
                                </a:lnTo>
                                <a:lnTo>
                                  <a:pt x="181" y="631"/>
                                </a:lnTo>
                                <a:lnTo>
                                  <a:pt x="176" y="633"/>
                                </a:lnTo>
                                <a:lnTo>
                                  <a:pt x="172" y="635"/>
                                </a:lnTo>
                                <a:lnTo>
                                  <a:pt x="169" y="638"/>
                                </a:lnTo>
                                <a:lnTo>
                                  <a:pt x="165" y="640"/>
                                </a:lnTo>
                                <a:lnTo>
                                  <a:pt x="161" y="644"/>
                                </a:lnTo>
                                <a:lnTo>
                                  <a:pt x="165" y="644"/>
                                </a:lnTo>
                                <a:lnTo>
                                  <a:pt x="169" y="645"/>
                                </a:lnTo>
                                <a:lnTo>
                                  <a:pt x="172" y="646"/>
                                </a:lnTo>
                                <a:lnTo>
                                  <a:pt x="175" y="647"/>
                                </a:lnTo>
                                <a:lnTo>
                                  <a:pt x="178" y="649"/>
                                </a:lnTo>
                                <a:lnTo>
                                  <a:pt x="182" y="650"/>
                                </a:lnTo>
                                <a:lnTo>
                                  <a:pt x="185" y="653"/>
                                </a:lnTo>
                                <a:lnTo>
                                  <a:pt x="188" y="655"/>
                                </a:lnTo>
                                <a:lnTo>
                                  <a:pt x="192" y="658"/>
                                </a:lnTo>
                                <a:lnTo>
                                  <a:pt x="195" y="661"/>
                                </a:lnTo>
                                <a:lnTo>
                                  <a:pt x="203" y="667"/>
                                </a:lnTo>
                                <a:lnTo>
                                  <a:pt x="211" y="673"/>
                                </a:lnTo>
                                <a:lnTo>
                                  <a:pt x="219" y="679"/>
                                </a:lnTo>
                                <a:lnTo>
                                  <a:pt x="223" y="682"/>
                                </a:lnTo>
                                <a:lnTo>
                                  <a:pt x="227" y="684"/>
                                </a:lnTo>
                                <a:lnTo>
                                  <a:pt x="231" y="687"/>
                                </a:lnTo>
                                <a:lnTo>
                                  <a:pt x="235" y="688"/>
                                </a:lnTo>
                                <a:lnTo>
                                  <a:pt x="235" y="688"/>
                                </a:lnTo>
                                <a:lnTo>
                                  <a:pt x="239" y="692"/>
                                </a:lnTo>
                                <a:lnTo>
                                  <a:pt x="242" y="695"/>
                                </a:lnTo>
                                <a:lnTo>
                                  <a:pt x="245" y="698"/>
                                </a:lnTo>
                                <a:lnTo>
                                  <a:pt x="248" y="701"/>
                                </a:lnTo>
                                <a:lnTo>
                                  <a:pt x="250" y="703"/>
                                </a:lnTo>
                                <a:lnTo>
                                  <a:pt x="252" y="707"/>
                                </a:lnTo>
                                <a:lnTo>
                                  <a:pt x="254" y="709"/>
                                </a:lnTo>
                                <a:lnTo>
                                  <a:pt x="256" y="712"/>
                                </a:lnTo>
                                <a:lnTo>
                                  <a:pt x="257" y="713"/>
                                </a:lnTo>
                                <a:lnTo>
                                  <a:pt x="259" y="715"/>
                                </a:lnTo>
                                <a:lnTo>
                                  <a:pt x="260" y="717"/>
                                </a:lnTo>
                                <a:lnTo>
                                  <a:pt x="261" y="719"/>
                                </a:lnTo>
                                <a:lnTo>
                                  <a:pt x="262" y="721"/>
                                </a:lnTo>
                                <a:lnTo>
                                  <a:pt x="263" y="722"/>
                                </a:lnTo>
                                <a:lnTo>
                                  <a:pt x="264" y="724"/>
                                </a:lnTo>
                                <a:lnTo>
                                  <a:pt x="264" y="724"/>
                                </a:lnTo>
                                <a:lnTo>
                                  <a:pt x="265" y="726"/>
                                </a:lnTo>
                                <a:lnTo>
                                  <a:pt x="265" y="727"/>
                                </a:lnTo>
                                <a:lnTo>
                                  <a:pt x="265" y="728"/>
                                </a:lnTo>
                                <a:lnTo>
                                  <a:pt x="265" y="729"/>
                                </a:lnTo>
                                <a:lnTo>
                                  <a:pt x="264" y="729"/>
                                </a:lnTo>
                                <a:lnTo>
                                  <a:pt x="264" y="730"/>
                                </a:lnTo>
                                <a:lnTo>
                                  <a:pt x="264" y="731"/>
                                </a:lnTo>
                                <a:lnTo>
                                  <a:pt x="262" y="732"/>
                                </a:lnTo>
                                <a:lnTo>
                                  <a:pt x="261" y="732"/>
                                </a:lnTo>
                                <a:lnTo>
                                  <a:pt x="258" y="733"/>
                                </a:lnTo>
                                <a:lnTo>
                                  <a:pt x="256" y="733"/>
                                </a:lnTo>
                                <a:lnTo>
                                  <a:pt x="253" y="733"/>
                                </a:lnTo>
                                <a:lnTo>
                                  <a:pt x="250" y="732"/>
                                </a:lnTo>
                                <a:lnTo>
                                  <a:pt x="247" y="732"/>
                                </a:lnTo>
                                <a:lnTo>
                                  <a:pt x="243" y="731"/>
                                </a:lnTo>
                                <a:lnTo>
                                  <a:pt x="240" y="730"/>
                                </a:lnTo>
                                <a:lnTo>
                                  <a:pt x="235" y="730"/>
                                </a:lnTo>
                                <a:lnTo>
                                  <a:pt x="230" y="729"/>
                                </a:lnTo>
                                <a:lnTo>
                                  <a:pt x="227" y="728"/>
                                </a:lnTo>
                                <a:lnTo>
                                  <a:pt x="218" y="726"/>
                                </a:lnTo>
                                <a:lnTo>
                                  <a:pt x="210" y="725"/>
                                </a:lnTo>
                                <a:lnTo>
                                  <a:pt x="206" y="724"/>
                                </a:lnTo>
                                <a:lnTo>
                                  <a:pt x="202" y="724"/>
                                </a:lnTo>
                                <a:lnTo>
                                  <a:pt x="197" y="724"/>
                                </a:lnTo>
                                <a:lnTo>
                                  <a:pt x="194" y="724"/>
                                </a:lnTo>
                                <a:lnTo>
                                  <a:pt x="197" y="726"/>
                                </a:lnTo>
                                <a:lnTo>
                                  <a:pt x="202" y="729"/>
                                </a:lnTo>
                                <a:lnTo>
                                  <a:pt x="205" y="732"/>
                                </a:lnTo>
                                <a:lnTo>
                                  <a:pt x="208" y="734"/>
                                </a:lnTo>
                                <a:lnTo>
                                  <a:pt x="212" y="736"/>
                                </a:lnTo>
                                <a:lnTo>
                                  <a:pt x="215" y="737"/>
                                </a:lnTo>
                                <a:lnTo>
                                  <a:pt x="219" y="739"/>
                                </a:lnTo>
                                <a:lnTo>
                                  <a:pt x="222" y="740"/>
                                </a:lnTo>
                                <a:lnTo>
                                  <a:pt x="225" y="741"/>
                                </a:lnTo>
                                <a:lnTo>
                                  <a:pt x="228" y="743"/>
                                </a:lnTo>
                                <a:lnTo>
                                  <a:pt x="234" y="745"/>
                                </a:lnTo>
                                <a:lnTo>
                                  <a:pt x="241" y="746"/>
                                </a:lnTo>
                                <a:lnTo>
                                  <a:pt x="247" y="748"/>
                                </a:lnTo>
                                <a:lnTo>
                                  <a:pt x="249" y="749"/>
                                </a:lnTo>
                                <a:lnTo>
                                  <a:pt x="252" y="749"/>
                                </a:lnTo>
                                <a:lnTo>
                                  <a:pt x="254" y="751"/>
                                </a:lnTo>
                                <a:lnTo>
                                  <a:pt x="256" y="752"/>
                                </a:lnTo>
                                <a:lnTo>
                                  <a:pt x="258" y="754"/>
                                </a:lnTo>
                                <a:lnTo>
                                  <a:pt x="260" y="756"/>
                                </a:lnTo>
                                <a:lnTo>
                                  <a:pt x="262" y="758"/>
                                </a:lnTo>
                                <a:lnTo>
                                  <a:pt x="264" y="761"/>
                                </a:lnTo>
                                <a:lnTo>
                                  <a:pt x="265" y="764"/>
                                </a:lnTo>
                                <a:lnTo>
                                  <a:pt x="267" y="767"/>
                                </a:lnTo>
                                <a:lnTo>
                                  <a:pt x="267" y="769"/>
                                </a:lnTo>
                                <a:lnTo>
                                  <a:pt x="267" y="771"/>
                                </a:lnTo>
                                <a:lnTo>
                                  <a:pt x="268" y="773"/>
                                </a:lnTo>
                                <a:lnTo>
                                  <a:pt x="268" y="775"/>
                                </a:lnTo>
                                <a:lnTo>
                                  <a:pt x="269" y="778"/>
                                </a:lnTo>
                                <a:lnTo>
                                  <a:pt x="269" y="781"/>
                                </a:lnTo>
                                <a:lnTo>
                                  <a:pt x="269" y="784"/>
                                </a:lnTo>
                                <a:lnTo>
                                  <a:pt x="269" y="787"/>
                                </a:lnTo>
                                <a:lnTo>
                                  <a:pt x="270" y="790"/>
                                </a:lnTo>
                                <a:lnTo>
                                  <a:pt x="270" y="793"/>
                                </a:lnTo>
                                <a:lnTo>
                                  <a:pt x="270" y="796"/>
                                </a:lnTo>
                                <a:lnTo>
                                  <a:pt x="270" y="799"/>
                                </a:lnTo>
                                <a:lnTo>
                                  <a:pt x="267" y="799"/>
                                </a:lnTo>
                                <a:lnTo>
                                  <a:pt x="263" y="799"/>
                                </a:lnTo>
                                <a:lnTo>
                                  <a:pt x="259" y="798"/>
                                </a:lnTo>
                                <a:lnTo>
                                  <a:pt x="256" y="798"/>
                                </a:lnTo>
                                <a:lnTo>
                                  <a:pt x="253" y="797"/>
                                </a:lnTo>
                                <a:lnTo>
                                  <a:pt x="249" y="796"/>
                                </a:lnTo>
                                <a:lnTo>
                                  <a:pt x="245" y="795"/>
                                </a:lnTo>
                                <a:lnTo>
                                  <a:pt x="242" y="793"/>
                                </a:lnTo>
                                <a:lnTo>
                                  <a:pt x="239" y="791"/>
                                </a:lnTo>
                                <a:lnTo>
                                  <a:pt x="234" y="790"/>
                                </a:lnTo>
                                <a:lnTo>
                                  <a:pt x="230" y="788"/>
                                </a:lnTo>
                                <a:lnTo>
                                  <a:pt x="227" y="786"/>
                                </a:lnTo>
                                <a:lnTo>
                                  <a:pt x="224" y="784"/>
                                </a:lnTo>
                                <a:lnTo>
                                  <a:pt x="220" y="781"/>
                                </a:lnTo>
                                <a:lnTo>
                                  <a:pt x="217" y="778"/>
                                </a:lnTo>
                                <a:lnTo>
                                  <a:pt x="213" y="775"/>
                                </a:lnTo>
                                <a:lnTo>
                                  <a:pt x="206" y="770"/>
                                </a:lnTo>
                                <a:lnTo>
                                  <a:pt x="198" y="764"/>
                                </a:lnTo>
                                <a:lnTo>
                                  <a:pt x="191" y="758"/>
                                </a:lnTo>
                                <a:lnTo>
                                  <a:pt x="184" y="751"/>
                                </a:lnTo>
                                <a:lnTo>
                                  <a:pt x="177" y="745"/>
                                </a:lnTo>
                                <a:lnTo>
                                  <a:pt x="170" y="737"/>
                                </a:lnTo>
                                <a:lnTo>
                                  <a:pt x="155" y="724"/>
                                </a:lnTo>
                                <a:lnTo>
                                  <a:pt x="152" y="724"/>
                                </a:lnTo>
                                <a:lnTo>
                                  <a:pt x="148" y="724"/>
                                </a:lnTo>
                                <a:lnTo>
                                  <a:pt x="144" y="724"/>
                                </a:lnTo>
                                <a:lnTo>
                                  <a:pt x="140" y="724"/>
                                </a:lnTo>
                                <a:lnTo>
                                  <a:pt x="135" y="724"/>
                                </a:lnTo>
                                <a:lnTo>
                                  <a:pt x="131" y="724"/>
                                </a:lnTo>
                                <a:lnTo>
                                  <a:pt x="121" y="724"/>
                                </a:lnTo>
                                <a:lnTo>
                                  <a:pt x="112" y="724"/>
                                </a:lnTo>
                                <a:lnTo>
                                  <a:pt x="103" y="725"/>
                                </a:lnTo>
                                <a:lnTo>
                                  <a:pt x="93" y="726"/>
                                </a:lnTo>
                                <a:lnTo>
                                  <a:pt x="83" y="728"/>
                                </a:lnTo>
                                <a:lnTo>
                                  <a:pt x="79" y="729"/>
                                </a:lnTo>
                                <a:lnTo>
                                  <a:pt x="75" y="730"/>
                                </a:lnTo>
                                <a:lnTo>
                                  <a:pt x="71" y="731"/>
                                </a:lnTo>
                                <a:lnTo>
                                  <a:pt x="67" y="733"/>
                                </a:lnTo>
                                <a:lnTo>
                                  <a:pt x="63" y="734"/>
                                </a:lnTo>
                                <a:lnTo>
                                  <a:pt x="60" y="736"/>
                                </a:lnTo>
                                <a:lnTo>
                                  <a:pt x="57" y="737"/>
                                </a:lnTo>
                                <a:lnTo>
                                  <a:pt x="53" y="739"/>
                                </a:lnTo>
                                <a:lnTo>
                                  <a:pt x="50" y="741"/>
                                </a:lnTo>
                                <a:lnTo>
                                  <a:pt x="47" y="744"/>
                                </a:lnTo>
                                <a:lnTo>
                                  <a:pt x="46" y="747"/>
                                </a:lnTo>
                                <a:lnTo>
                                  <a:pt x="44" y="749"/>
                                </a:lnTo>
                                <a:lnTo>
                                  <a:pt x="42" y="752"/>
                                </a:lnTo>
                                <a:lnTo>
                                  <a:pt x="41" y="755"/>
                                </a:lnTo>
                                <a:lnTo>
                                  <a:pt x="41" y="758"/>
                                </a:lnTo>
                                <a:lnTo>
                                  <a:pt x="41" y="761"/>
                                </a:lnTo>
                                <a:lnTo>
                                  <a:pt x="41" y="765"/>
                                </a:lnTo>
                                <a:lnTo>
                                  <a:pt x="41" y="768"/>
                                </a:lnTo>
                                <a:lnTo>
                                  <a:pt x="42" y="771"/>
                                </a:lnTo>
                                <a:lnTo>
                                  <a:pt x="44" y="773"/>
                                </a:lnTo>
                                <a:lnTo>
                                  <a:pt x="46" y="776"/>
                                </a:lnTo>
                                <a:lnTo>
                                  <a:pt x="47" y="779"/>
                                </a:lnTo>
                                <a:lnTo>
                                  <a:pt x="50" y="782"/>
                                </a:lnTo>
                                <a:lnTo>
                                  <a:pt x="53" y="784"/>
                                </a:lnTo>
                                <a:lnTo>
                                  <a:pt x="57" y="786"/>
                                </a:lnTo>
                                <a:lnTo>
                                  <a:pt x="60" y="787"/>
                                </a:lnTo>
                                <a:lnTo>
                                  <a:pt x="63" y="789"/>
                                </a:lnTo>
                                <a:lnTo>
                                  <a:pt x="67" y="790"/>
                                </a:lnTo>
                                <a:lnTo>
                                  <a:pt x="71" y="792"/>
                                </a:lnTo>
                                <a:lnTo>
                                  <a:pt x="75" y="793"/>
                                </a:lnTo>
                                <a:lnTo>
                                  <a:pt x="79" y="794"/>
                                </a:lnTo>
                                <a:lnTo>
                                  <a:pt x="83" y="795"/>
                                </a:lnTo>
                                <a:lnTo>
                                  <a:pt x="93" y="797"/>
                                </a:lnTo>
                                <a:lnTo>
                                  <a:pt x="103" y="798"/>
                                </a:lnTo>
                                <a:lnTo>
                                  <a:pt x="112" y="798"/>
                                </a:lnTo>
                                <a:lnTo>
                                  <a:pt x="121" y="799"/>
                                </a:lnTo>
                                <a:lnTo>
                                  <a:pt x="131" y="799"/>
                                </a:lnTo>
                                <a:lnTo>
                                  <a:pt x="135" y="799"/>
                                </a:lnTo>
                                <a:lnTo>
                                  <a:pt x="140" y="799"/>
                                </a:lnTo>
                                <a:lnTo>
                                  <a:pt x="144" y="799"/>
                                </a:lnTo>
                                <a:lnTo>
                                  <a:pt x="148" y="799"/>
                                </a:lnTo>
                                <a:lnTo>
                                  <a:pt x="152" y="799"/>
                                </a:lnTo>
                                <a:lnTo>
                                  <a:pt x="155" y="799"/>
                                </a:lnTo>
                                <a:lnTo>
                                  <a:pt x="157" y="799"/>
                                </a:lnTo>
                                <a:lnTo>
                                  <a:pt x="159" y="799"/>
                                </a:lnTo>
                                <a:lnTo>
                                  <a:pt x="161" y="799"/>
                                </a:lnTo>
                                <a:lnTo>
                                  <a:pt x="165" y="800"/>
                                </a:lnTo>
                                <a:lnTo>
                                  <a:pt x="167" y="800"/>
                                </a:lnTo>
                                <a:lnTo>
                                  <a:pt x="170" y="800"/>
                                </a:lnTo>
                                <a:lnTo>
                                  <a:pt x="172" y="800"/>
                                </a:lnTo>
                                <a:lnTo>
                                  <a:pt x="175" y="801"/>
                                </a:lnTo>
                                <a:lnTo>
                                  <a:pt x="181" y="802"/>
                                </a:lnTo>
                                <a:lnTo>
                                  <a:pt x="187" y="802"/>
                                </a:lnTo>
                                <a:lnTo>
                                  <a:pt x="194" y="803"/>
                                </a:lnTo>
                                <a:lnTo>
                                  <a:pt x="202" y="804"/>
                                </a:lnTo>
                                <a:lnTo>
                                  <a:pt x="209" y="805"/>
                                </a:lnTo>
                                <a:lnTo>
                                  <a:pt x="217" y="806"/>
                                </a:lnTo>
                                <a:lnTo>
                                  <a:pt x="225" y="807"/>
                                </a:lnTo>
                                <a:lnTo>
                                  <a:pt x="232" y="807"/>
                                </a:lnTo>
                                <a:lnTo>
                                  <a:pt x="242" y="808"/>
                                </a:lnTo>
                                <a:lnTo>
                                  <a:pt x="249" y="809"/>
                                </a:lnTo>
                                <a:lnTo>
                                  <a:pt x="257" y="809"/>
                                </a:lnTo>
                                <a:lnTo>
                                  <a:pt x="266" y="809"/>
                                </a:lnTo>
                                <a:lnTo>
                                  <a:pt x="274" y="809"/>
                                </a:lnTo>
                                <a:lnTo>
                                  <a:pt x="282" y="808"/>
                                </a:lnTo>
                                <a:lnTo>
                                  <a:pt x="289" y="808"/>
                                </a:lnTo>
                                <a:lnTo>
                                  <a:pt x="296" y="807"/>
                                </a:lnTo>
                                <a:lnTo>
                                  <a:pt x="303" y="806"/>
                                </a:lnTo>
                                <a:lnTo>
                                  <a:pt x="311" y="804"/>
                                </a:lnTo>
                                <a:lnTo>
                                  <a:pt x="317" y="802"/>
                                </a:lnTo>
                                <a:lnTo>
                                  <a:pt x="320" y="801"/>
                                </a:lnTo>
                                <a:lnTo>
                                  <a:pt x="323" y="799"/>
                                </a:lnTo>
                                <a:lnTo>
                                  <a:pt x="325" y="798"/>
                                </a:lnTo>
                                <a:lnTo>
                                  <a:pt x="328" y="797"/>
                                </a:lnTo>
                                <a:lnTo>
                                  <a:pt x="330" y="795"/>
                                </a:lnTo>
                                <a:lnTo>
                                  <a:pt x="332" y="793"/>
                                </a:lnTo>
                                <a:lnTo>
                                  <a:pt x="335" y="792"/>
                                </a:lnTo>
                                <a:lnTo>
                                  <a:pt x="337" y="789"/>
                                </a:lnTo>
                                <a:lnTo>
                                  <a:pt x="338" y="787"/>
                                </a:lnTo>
                                <a:lnTo>
                                  <a:pt x="340" y="786"/>
                                </a:lnTo>
                                <a:lnTo>
                                  <a:pt x="341" y="783"/>
                                </a:lnTo>
                                <a:lnTo>
                                  <a:pt x="343" y="779"/>
                                </a:lnTo>
                                <a:lnTo>
                                  <a:pt x="345" y="777"/>
                                </a:lnTo>
                                <a:lnTo>
                                  <a:pt x="346" y="774"/>
                                </a:lnTo>
                                <a:lnTo>
                                  <a:pt x="346" y="771"/>
                                </a:lnTo>
                                <a:lnTo>
                                  <a:pt x="347" y="768"/>
                                </a:lnTo>
                                <a:lnTo>
                                  <a:pt x="347" y="765"/>
                                </a:lnTo>
                                <a:lnTo>
                                  <a:pt x="347" y="761"/>
                                </a:lnTo>
                                <a:lnTo>
                                  <a:pt x="348" y="765"/>
                                </a:lnTo>
                                <a:lnTo>
                                  <a:pt x="348" y="768"/>
                                </a:lnTo>
                                <a:lnTo>
                                  <a:pt x="349" y="771"/>
                                </a:lnTo>
                                <a:lnTo>
                                  <a:pt x="349" y="773"/>
                                </a:lnTo>
                                <a:lnTo>
                                  <a:pt x="350" y="776"/>
                                </a:lnTo>
                                <a:lnTo>
                                  <a:pt x="351" y="778"/>
                                </a:lnTo>
                                <a:lnTo>
                                  <a:pt x="353" y="781"/>
                                </a:lnTo>
                                <a:lnTo>
                                  <a:pt x="354" y="783"/>
                                </a:lnTo>
                                <a:lnTo>
                                  <a:pt x="355" y="785"/>
                                </a:lnTo>
                                <a:lnTo>
                                  <a:pt x="357" y="786"/>
                                </a:lnTo>
                                <a:lnTo>
                                  <a:pt x="359" y="787"/>
                                </a:lnTo>
                                <a:lnTo>
                                  <a:pt x="361" y="788"/>
                                </a:lnTo>
                                <a:lnTo>
                                  <a:pt x="364" y="789"/>
                                </a:lnTo>
                                <a:lnTo>
                                  <a:pt x="366" y="790"/>
                                </a:lnTo>
                                <a:lnTo>
                                  <a:pt x="368" y="790"/>
                                </a:lnTo>
                                <a:lnTo>
                                  <a:pt x="371" y="790"/>
                                </a:lnTo>
                                <a:lnTo>
                                  <a:pt x="374" y="790"/>
                                </a:lnTo>
                                <a:lnTo>
                                  <a:pt x="376" y="790"/>
                                </a:lnTo>
                                <a:lnTo>
                                  <a:pt x="379" y="789"/>
                                </a:lnTo>
                                <a:lnTo>
                                  <a:pt x="383" y="788"/>
                                </a:lnTo>
                                <a:lnTo>
                                  <a:pt x="386" y="787"/>
                                </a:lnTo>
                                <a:lnTo>
                                  <a:pt x="389" y="786"/>
                                </a:lnTo>
                                <a:lnTo>
                                  <a:pt x="392" y="785"/>
                                </a:lnTo>
                                <a:lnTo>
                                  <a:pt x="396" y="783"/>
                                </a:lnTo>
                                <a:lnTo>
                                  <a:pt x="399" y="781"/>
                                </a:lnTo>
                                <a:lnTo>
                                  <a:pt x="402" y="778"/>
                                </a:lnTo>
                                <a:lnTo>
                                  <a:pt x="406" y="776"/>
                                </a:lnTo>
                                <a:lnTo>
                                  <a:pt x="409" y="773"/>
                                </a:lnTo>
                                <a:lnTo>
                                  <a:pt x="413" y="771"/>
                                </a:lnTo>
                                <a:lnTo>
                                  <a:pt x="416" y="768"/>
                                </a:lnTo>
                                <a:lnTo>
                                  <a:pt x="420" y="765"/>
                                </a:lnTo>
                                <a:lnTo>
                                  <a:pt x="424" y="761"/>
                                </a:lnTo>
                                <a:lnTo>
                                  <a:pt x="424" y="765"/>
                                </a:lnTo>
                                <a:lnTo>
                                  <a:pt x="425" y="768"/>
                                </a:lnTo>
                                <a:lnTo>
                                  <a:pt x="426" y="771"/>
                                </a:lnTo>
                                <a:lnTo>
                                  <a:pt x="427" y="773"/>
                                </a:lnTo>
                                <a:lnTo>
                                  <a:pt x="429" y="776"/>
                                </a:lnTo>
                                <a:lnTo>
                                  <a:pt x="431" y="778"/>
                                </a:lnTo>
                                <a:lnTo>
                                  <a:pt x="433" y="781"/>
                                </a:lnTo>
                                <a:lnTo>
                                  <a:pt x="436" y="783"/>
                                </a:lnTo>
                                <a:lnTo>
                                  <a:pt x="439" y="785"/>
                                </a:lnTo>
                                <a:lnTo>
                                  <a:pt x="441" y="786"/>
                                </a:lnTo>
                                <a:lnTo>
                                  <a:pt x="444" y="787"/>
                                </a:lnTo>
                                <a:lnTo>
                                  <a:pt x="448" y="788"/>
                                </a:lnTo>
                                <a:lnTo>
                                  <a:pt x="451" y="789"/>
                                </a:lnTo>
                                <a:lnTo>
                                  <a:pt x="455" y="790"/>
                                </a:lnTo>
                                <a:lnTo>
                                  <a:pt x="459" y="790"/>
                                </a:lnTo>
                                <a:lnTo>
                                  <a:pt x="462" y="790"/>
                                </a:lnTo>
                                <a:lnTo>
                                  <a:pt x="466" y="790"/>
                                </a:lnTo>
                                <a:lnTo>
                                  <a:pt x="469" y="790"/>
                                </a:lnTo>
                                <a:lnTo>
                                  <a:pt x="473" y="789"/>
                                </a:lnTo>
                                <a:lnTo>
                                  <a:pt x="476" y="788"/>
                                </a:lnTo>
                                <a:lnTo>
                                  <a:pt x="479" y="787"/>
                                </a:lnTo>
                                <a:lnTo>
                                  <a:pt x="482" y="786"/>
                                </a:lnTo>
                                <a:lnTo>
                                  <a:pt x="485" y="785"/>
                                </a:lnTo>
                                <a:lnTo>
                                  <a:pt x="488" y="783"/>
                                </a:lnTo>
                                <a:lnTo>
                                  <a:pt x="491" y="781"/>
                                </a:lnTo>
                                <a:lnTo>
                                  <a:pt x="494" y="778"/>
                                </a:lnTo>
                                <a:lnTo>
                                  <a:pt x="496" y="776"/>
                                </a:lnTo>
                                <a:lnTo>
                                  <a:pt x="497" y="773"/>
                                </a:lnTo>
                                <a:lnTo>
                                  <a:pt x="499" y="771"/>
                                </a:lnTo>
                                <a:lnTo>
                                  <a:pt x="500" y="768"/>
                                </a:lnTo>
                                <a:lnTo>
                                  <a:pt x="500" y="765"/>
                                </a:lnTo>
                                <a:lnTo>
                                  <a:pt x="501" y="761"/>
                                </a:lnTo>
                                <a:lnTo>
                                  <a:pt x="502" y="767"/>
                                </a:lnTo>
                                <a:lnTo>
                                  <a:pt x="504" y="772"/>
                                </a:lnTo>
                                <a:lnTo>
                                  <a:pt x="506" y="776"/>
                                </a:lnTo>
                                <a:lnTo>
                                  <a:pt x="509" y="782"/>
                                </a:lnTo>
                                <a:lnTo>
                                  <a:pt x="511" y="786"/>
                                </a:lnTo>
                                <a:lnTo>
                                  <a:pt x="514" y="791"/>
                                </a:lnTo>
                                <a:lnTo>
                                  <a:pt x="516" y="795"/>
                                </a:lnTo>
                                <a:lnTo>
                                  <a:pt x="519" y="799"/>
                                </a:lnTo>
                                <a:lnTo>
                                  <a:pt x="522" y="803"/>
                                </a:lnTo>
                                <a:lnTo>
                                  <a:pt x="525" y="807"/>
                                </a:lnTo>
                                <a:lnTo>
                                  <a:pt x="530" y="810"/>
                                </a:lnTo>
                                <a:lnTo>
                                  <a:pt x="533" y="814"/>
                                </a:lnTo>
                                <a:lnTo>
                                  <a:pt x="537" y="818"/>
                                </a:lnTo>
                                <a:lnTo>
                                  <a:pt x="540" y="822"/>
                                </a:lnTo>
                                <a:lnTo>
                                  <a:pt x="548" y="828"/>
                                </a:lnTo>
                                <a:lnTo>
                                  <a:pt x="555" y="834"/>
                                </a:lnTo>
                                <a:lnTo>
                                  <a:pt x="564" y="840"/>
                                </a:lnTo>
                                <a:lnTo>
                                  <a:pt x="573" y="845"/>
                                </a:lnTo>
                                <a:lnTo>
                                  <a:pt x="582" y="849"/>
                                </a:lnTo>
                                <a:lnTo>
                                  <a:pt x="591" y="854"/>
                                </a:lnTo>
                                <a:lnTo>
                                  <a:pt x="601" y="859"/>
                                </a:lnTo>
                                <a:lnTo>
                                  <a:pt x="611" y="863"/>
                                </a:lnTo>
                                <a:lnTo>
                                  <a:pt x="620" y="866"/>
                                </a:lnTo>
                                <a:lnTo>
                                  <a:pt x="630" y="870"/>
                                </a:lnTo>
                                <a:lnTo>
                                  <a:pt x="640" y="873"/>
                                </a:lnTo>
                                <a:lnTo>
                                  <a:pt x="650" y="876"/>
                                </a:lnTo>
                                <a:lnTo>
                                  <a:pt x="660" y="879"/>
                                </a:lnTo>
                                <a:lnTo>
                                  <a:pt x="680" y="884"/>
                                </a:lnTo>
                                <a:lnTo>
                                  <a:pt x="690" y="887"/>
                                </a:lnTo>
                                <a:lnTo>
                                  <a:pt x="699" y="889"/>
                                </a:lnTo>
                                <a:lnTo>
                                  <a:pt x="709" y="892"/>
                                </a:lnTo>
                                <a:lnTo>
                                  <a:pt x="719" y="896"/>
                                </a:lnTo>
                                <a:lnTo>
                                  <a:pt x="728" y="898"/>
                                </a:lnTo>
                                <a:lnTo>
                                  <a:pt x="736" y="901"/>
                                </a:lnTo>
                                <a:lnTo>
                                  <a:pt x="746" y="904"/>
                                </a:lnTo>
                                <a:lnTo>
                                  <a:pt x="753" y="907"/>
                                </a:lnTo>
                                <a:lnTo>
                                  <a:pt x="761" y="910"/>
                                </a:lnTo>
                                <a:lnTo>
                                  <a:pt x="768" y="914"/>
                                </a:lnTo>
                                <a:lnTo>
                                  <a:pt x="761" y="917"/>
                                </a:lnTo>
                                <a:lnTo>
                                  <a:pt x="755" y="921"/>
                                </a:lnTo>
                                <a:lnTo>
                                  <a:pt x="748" y="926"/>
                                </a:lnTo>
                                <a:lnTo>
                                  <a:pt x="741" y="931"/>
                                </a:lnTo>
                                <a:lnTo>
                                  <a:pt x="735" y="937"/>
                                </a:lnTo>
                                <a:lnTo>
                                  <a:pt x="730" y="942"/>
                                </a:lnTo>
                                <a:lnTo>
                                  <a:pt x="725" y="948"/>
                                </a:lnTo>
                                <a:lnTo>
                                  <a:pt x="721" y="954"/>
                                </a:lnTo>
                                <a:lnTo>
                                  <a:pt x="717" y="959"/>
                                </a:lnTo>
                                <a:lnTo>
                                  <a:pt x="715" y="962"/>
                                </a:lnTo>
                                <a:lnTo>
                                  <a:pt x="713" y="966"/>
                                </a:lnTo>
                                <a:lnTo>
                                  <a:pt x="711" y="969"/>
                                </a:lnTo>
                                <a:lnTo>
                                  <a:pt x="709" y="972"/>
                                </a:lnTo>
                                <a:lnTo>
                                  <a:pt x="708" y="976"/>
                                </a:lnTo>
                                <a:lnTo>
                                  <a:pt x="706" y="979"/>
                                </a:lnTo>
                                <a:lnTo>
                                  <a:pt x="705" y="982"/>
                                </a:lnTo>
                                <a:lnTo>
                                  <a:pt x="704" y="985"/>
                                </a:lnTo>
                                <a:lnTo>
                                  <a:pt x="703" y="988"/>
                                </a:lnTo>
                                <a:lnTo>
                                  <a:pt x="702" y="991"/>
                                </a:lnTo>
                                <a:lnTo>
                                  <a:pt x="702" y="995"/>
                                </a:lnTo>
                                <a:lnTo>
                                  <a:pt x="701" y="997"/>
                                </a:lnTo>
                                <a:lnTo>
                                  <a:pt x="701" y="1001"/>
                                </a:lnTo>
                                <a:lnTo>
                                  <a:pt x="701" y="1004"/>
                                </a:lnTo>
                                <a:lnTo>
                                  <a:pt x="701" y="1007"/>
                                </a:lnTo>
                                <a:lnTo>
                                  <a:pt x="701" y="1011"/>
                                </a:lnTo>
                                <a:lnTo>
                                  <a:pt x="702" y="1014"/>
                                </a:lnTo>
                                <a:lnTo>
                                  <a:pt x="702" y="1017"/>
                                </a:lnTo>
                                <a:lnTo>
                                  <a:pt x="703" y="1020"/>
                                </a:lnTo>
                                <a:lnTo>
                                  <a:pt x="704" y="1022"/>
                                </a:lnTo>
                                <a:lnTo>
                                  <a:pt x="705" y="1025"/>
                                </a:lnTo>
                                <a:lnTo>
                                  <a:pt x="708" y="1028"/>
                                </a:lnTo>
                                <a:lnTo>
                                  <a:pt x="709" y="1031"/>
                                </a:lnTo>
                                <a:lnTo>
                                  <a:pt x="711" y="1033"/>
                                </a:lnTo>
                                <a:lnTo>
                                  <a:pt x="713" y="1035"/>
                                </a:lnTo>
                                <a:lnTo>
                                  <a:pt x="715" y="1038"/>
                                </a:lnTo>
                                <a:lnTo>
                                  <a:pt x="717" y="1040"/>
                                </a:lnTo>
                                <a:lnTo>
                                  <a:pt x="720" y="1043"/>
                                </a:lnTo>
                                <a:lnTo>
                                  <a:pt x="722" y="1045"/>
                                </a:lnTo>
                                <a:lnTo>
                                  <a:pt x="725" y="1048"/>
                                </a:lnTo>
                                <a:lnTo>
                                  <a:pt x="729" y="1050"/>
                                </a:lnTo>
                                <a:lnTo>
                                  <a:pt x="732" y="1052"/>
                                </a:lnTo>
                                <a:lnTo>
                                  <a:pt x="735" y="1054"/>
                                </a:lnTo>
                                <a:lnTo>
                                  <a:pt x="739" y="1056"/>
                                </a:lnTo>
                                <a:lnTo>
                                  <a:pt x="745" y="1057"/>
                                </a:lnTo>
                                <a:lnTo>
                                  <a:pt x="749" y="1058"/>
                                </a:lnTo>
                                <a:lnTo>
                                  <a:pt x="753" y="1060"/>
                                </a:lnTo>
                                <a:lnTo>
                                  <a:pt x="758" y="1061"/>
                                </a:lnTo>
                                <a:lnTo>
                                  <a:pt x="763" y="1062"/>
                                </a:lnTo>
                                <a:lnTo>
                                  <a:pt x="769" y="1063"/>
                                </a:lnTo>
                                <a:lnTo>
                                  <a:pt x="774" y="1064"/>
                                </a:lnTo>
                                <a:lnTo>
                                  <a:pt x="781" y="1065"/>
                                </a:lnTo>
                                <a:lnTo>
                                  <a:pt x="787" y="1065"/>
                                </a:lnTo>
                                <a:lnTo>
                                  <a:pt x="793" y="1066"/>
                                </a:lnTo>
                                <a:lnTo>
                                  <a:pt x="800" y="1066"/>
                                </a:lnTo>
                                <a:lnTo>
                                  <a:pt x="807" y="1066"/>
                                </a:lnTo>
                                <a:lnTo>
                                  <a:pt x="808" y="1066"/>
                                </a:lnTo>
                                <a:lnTo>
                                  <a:pt x="810" y="1066"/>
                                </a:lnTo>
                                <a:lnTo>
                                  <a:pt x="811" y="1065"/>
                                </a:lnTo>
                                <a:lnTo>
                                  <a:pt x="813" y="1065"/>
                                </a:lnTo>
                                <a:lnTo>
                                  <a:pt x="814" y="1064"/>
                                </a:lnTo>
                                <a:lnTo>
                                  <a:pt x="816" y="1063"/>
                                </a:lnTo>
                                <a:lnTo>
                                  <a:pt x="817" y="1062"/>
                                </a:lnTo>
                                <a:lnTo>
                                  <a:pt x="818" y="1061"/>
                                </a:lnTo>
                                <a:lnTo>
                                  <a:pt x="819" y="1060"/>
                                </a:lnTo>
                                <a:lnTo>
                                  <a:pt x="820" y="1058"/>
                                </a:lnTo>
                                <a:lnTo>
                                  <a:pt x="821" y="1056"/>
                                </a:lnTo>
                                <a:lnTo>
                                  <a:pt x="822" y="1052"/>
                                </a:lnTo>
                                <a:lnTo>
                                  <a:pt x="823" y="1048"/>
                                </a:lnTo>
                                <a:lnTo>
                                  <a:pt x="824" y="1044"/>
                                </a:lnTo>
                                <a:lnTo>
                                  <a:pt x="824" y="1039"/>
                                </a:lnTo>
                                <a:lnTo>
                                  <a:pt x="824" y="1034"/>
                                </a:lnTo>
                                <a:lnTo>
                                  <a:pt x="824" y="1030"/>
                                </a:lnTo>
                                <a:lnTo>
                                  <a:pt x="823" y="1025"/>
                                </a:lnTo>
                                <a:lnTo>
                                  <a:pt x="823" y="1020"/>
                                </a:lnTo>
                                <a:lnTo>
                                  <a:pt x="822" y="1015"/>
                                </a:lnTo>
                                <a:lnTo>
                                  <a:pt x="821" y="1008"/>
                                </a:lnTo>
                                <a:lnTo>
                                  <a:pt x="820" y="998"/>
                                </a:lnTo>
                                <a:lnTo>
                                  <a:pt x="819" y="993"/>
                                </a:lnTo>
                                <a:lnTo>
                                  <a:pt x="817" y="988"/>
                                </a:lnTo>
                                <a:lnTo>
                                  <a:pt x="816" y="983"/>
                                </a:lnTo>
                                <a:lnTo>
                                  <a:pt x="814" y="979"/>
                                </a:lnTo>
                                <a:lnTo>
                                  <a:pt x="813" y="974"/>
                                </a:lnTo>
                                <a:lnTo>
                                  <a:pt x="812" y="969"/>
                                </a:lnTo>
                                <a:lnTo>
                                  <a:pt x="811" y="965"/>
                                </a:lnTo>
                                <a:lnTo>
                                  <a:pt x="810" y="962"/>
                                </a:lnTo>
                                <a:lnTo>
                                  <a:pt x="809" y="959"/>
                                </a:lnTo>
                                <a:lnTo>
                                  <a:pt x="808" y="958"/>
                                </a:lnTo>
                                <a:lnTo>
                                  <a:pt x="808" y="957"/>
                                </a:lnTo>
                                <a:lnTo>
                                  <a:pt x="807" y="956"/>
                                </a:lnTo>
                                <a:lnTo>
                                  <a:pt x="807" y="955"/>
                                </a:lnTo>
                                <a:lnTo>
                                  <a:pt x="807" y="954"/>
                                </a:lnTo>
                                <a:lnTo>
                                  <a:pt x="807" y="953"/>
                                </a:lnTo>
                                <a:lnTo>
                                  <a:pt x="807" y="952"/>
                                </a:lnTo>
                                <a:lnTo>
                                  <a:pt x="807" y="952"/>
                                </a:lnTo>
                                <a:lnTo>
                                  <a:pt x="810" y="945"/>
                                </a:lnTo>
                                <a:lnTo>
                                  <a:pt x="813" y="938"/>
                                </a:lnTo>
                                <a:lnTo>
                                  <a:pt x="818" y="931"/>
                                </a:lnTo>
                                <a:lnTo>
                                  <a:pt x="821" y="924"/>
                                </a:lnTo>
                                <a:lnTo>
                                  <a:pt x="825" y="919"/>
                                </a:lnTo>
                                <a:lnTo>
                                  <a:pt x="828" y="912"/>
                                </a:lnTo>
                                <a:lnTo>
                                  <a:pt x="831" y="907"/>
                                </a:lnTo>
                                <a:lnTo>
                                  <a:pt x="835" y="901"/>
                                </a:lnTo>
                                <a:lnTo>
                                  <a:pt x="841" y="889"/>
                                </a:lnTo>
                                <a:lnTo>
                                  <a:pt x="847" y="878"/>
                                </a:lnTo>
                                <a:lnTo>
                                  <a:pt x="854" y="868"/>
                                </a:lnTo>
                                <a:lnTo>
                                  <a:pt x="860" y="856"/>
                                </a:lnTo>
                                <a:lnTo>
                                  <a:pt x="862" y="851"/>
                                </a:lnTo>
                                <a:lnTo>
                                  <a:pt x="865" y="846"/>
                                </a:lnTo>
                                <a:lnTo>
                                  <a:pt x="867" y="840"/>
                                </a:lnTo>
                                <a:lnTo>
                                  <a:pt x="869" y="835"/>
                                </a:lnTo>
                                <a:lnTo>
                                  <a:pt x="871" y="830"/>
                                </a:lnTo>
                                <a:lnTo>
                                  <a:pt x="873" y="824"/>
                                </a:lnTo>
                                <a:lnTo>
                                  <a:pt x="875" y="818"/>
                                </a:lnTo>
                                <a:lnTo>
                                  <a:pt x="877" y="812"/>
                                </a:lnTo>
                                <a:lnTo>
                                  <a:pt x="878" y="807"/>
                                </a:lnTo>
                                <a:lnTo>
                                  <a:pt x="879" y="801"/>
                                </a:lnTo>
                                <a:lnTo>
                                  <a:pt x="880" y="795"/>
                                </a:lnTo>
                                <a:lnTo>
                                  <a:pt x="881" y="788"/>
                                </a:lnTo>
                                <a:lnTo>
                                  <a:pt x="882" y="782"/>
                                </a:lnTo>
                                <a:lnTo>
                                  <a:pt x="882" y="775"/>
                                </a:lnTo>
                                <a:lnTo>
                                  <a:pt x="883" y="768"/>
                                </a:lnTo>
                                <a:lnTo>
                                  <a:pt x="883" y="761"/>
                                </a:lnTo>
                                <a:lnTo>
                                  <a:pt x="883" y="758"/>
                                </a:lnTo>
                                <a:lnTo>
                                  <a:pt x="882" y="754"/>
                                </a:lnTo>
                                <a:lnTo>
                                  <a:pt x="882" y="751"/>
                                </a:lnTo>
                                <a:lnTo>
                                  <a:pt x="881" y="748"/>
                                </a:lnTo>
                                <a:lnTo>
                                  <a:pt x="880" y="744"/>
                                </a:lnTo>
                                <a:lnTo>
                                  <a:pt x="879" y="739"/>
                                </a:lnTo>
                                <a:lnTo>
                                  <a:pt x="878" y="736"/>
                                </a:lnTo>
                                <a:lnTo>
                                  <a:pt x="877" y="733"/>
                                </a:lnTo>
                                <a:lnTo>
                                  <a:pt x="875" y="729"/>
                                </a:lnTo>
                                <a:lnTo>
                                  <a:pt x="873" y="725"/>
                                </a:lnTo>
                                <a:lnTo>
                                  <a:pt x="871" y="722"/>
                                </a:lnTo>
                                <a:lnTo>
                                  <a:pt x="869" y="719"/>
                                </a:lnTo>
                                <a:lnTo>
                                  <a:pt x="867" y="715"/>
                                </a:lnTo>
                                <a:lnTo>
                                  <a:pt x="865" y="712"/>
                                </a:lnTo>
                                <a:lnTo>
                                  <a:pt x="862" y="708"/>
                                </a:lnTo>
                                <a:lnTo>
                                  <a:pt x="860" y="705"/>
                                </a:lnTo>
                                <a:lnTo>
                                  <a:pt x="854" y="697"/>
                                </a:lnTo>
                                <a:lnTo>
                                  <a:pt x="847" y="690"/>
                                </a:lnTo>
                                <a:lnTo>
                                  <a:pt x="841" y="683"/>
                                </a:lnTo>
                                <a:lnTo>
                                  <a:pt x="835" y="676"/>
                                </a:lnTo>
                                <a:lnTo>
                                  <a:pt x="828" y="669"/>
                                </a:lnTo>
                                <a:lnTo>
                                  <a:pt x="821" y="661"/>
                                </a:lnTo>
                                <a:lnTo>
                                  <a:pt x="807" y="647"/>
                                </a:lnTo>
                                <a:lnTo>
                                  <a:pt x="807" y="644"/>
                                </a:lnTo>
                                <a:lnTo>
                                  <a:pt x="807" y="641"/>
                                </a:lnTo>
                                <a:lnTo>
                                  <a:pt x="807" y="638"/>
                                </a:lnTo>
                                <a:lnTo>
                                  <a:pt x="807" y="636"/>
                                </a:lnTo>
                                <a:lnTo>
                                  <a:pt x="808" y="633"/>
                                </a:lnTo>
                                <a:lnTo>
                                  <a:pt x="808" y="631"/>
                                </a:lnTo>
                                <a:lnTo>
                                  <a:pt x="809" y="629"/>
                                </a:lnTo>
                                <a:lnTo>
                                  <a:pt x="809" y="626"/>
                                </a:lnTo>
                                <a:lnTo>
                                  <a:pt x="810" y="625"/>
                                </a:lnTo>
                                <a:lnTo>
                                  <a:pt x="811" y="624"/>
                                </a:lnTo>
                                <a:lnTo>
                                  <a:pt x="812" y="623"/>
                                </a:lnTo>
                                <a:lnTo>
                                  <a:pt x="813" y="622"/>
                                </a:lnTo>
                                <a:lnTo>
                                  <a:pt x="814" y="621"/>
                                </a:lnTo>
                                <a:lnTo>
                                  <a:pt x="816" y="620"/>
                                </a:lnTo>
                                <a:lnTo>
                                  <a:pt x="817" y="620"/>
                                </a:lnTo>
                                <a:lnTo>
                                  <a:pt x="819" y="620"/>
                                </a:lnTo>
                                <a:lnTo>
                                  <a:pt x="820" y="619"/>
                                </a:lnTo>
                                <a:lnTo>
                                  <a:pt x="821" y="619"/>
                                </a:lnTo>
                                <a:lnTo>
                                  <a:pt x="824" y="620"/>
                                </a:lnTo>
                                <a:lnTo>
                                  <a:pt x="826" y="620"/>
                                </a:lnTo>
                                <a:lnTo>
                                  <a:pt x="829" y="622"/>
                                </a:lnTo>
                                <a:lnTo>
                                  <a:pt x="832" y="623"/>
                                </a:lnTo>
                                <a:lnTo>
                                  <a:pt x="834" y="625"/>
                                </a:lnTo>
                                <a:lnTo>
                                  <a:pt x="837" y="626"/>
                                </a:lnTo>
                                <a:lnTo>
                                  <a:pt x="840" y="629"/>
                                </a:lnTo>
                                <a:lnTo>
                                  <a:pt x="843" y="630"/>
                                </a:lnTo>
                                <a:lnTo>
                                  <a:pt x="845" y="632"/>
                                </a:lnTo>
                                <a:lnTo>
                                  <a:pt x="847" y="634"/>
                                </a:lnTo>
                                <a:lnTo>
                                  <a:pt x="849" y="635"/>
                                </a:lnTo>
                                <a:lnTo>
                                  <a:pt x="851" y="636"/>
                                </a:lnTo>
                                <a:lnTo>
                                  <a:pt x="854" y="637"/>
                                </a:lnTo>
                                <a:lnTo>
                                  <a:pt x="855" y="637"/>
                                </a:lnTo>
                                <a:lnTo>
                                  <a:pt x="855" y="637"/>
                                </a:lnTo>
                                <a:lnTo>
                                  <a:pt x="856" y="637"/>
                                </a:lnTo>
                                <a:lnTo>
                                  <a:pt x="856" y="637"/>
                                </a:lnTo>
                                <a:lnTo>
                                  <a:pt x="856" y="636"/>
                                </a:lnTo>
                                <a:lnTo>
                                  <a:pt x="856" y="636"/>
                                </a:lnTo>
                                <a:lnTo>
                                  <a:pt x="856" y="635"/>
                                </a:lnTo>
                                <a:lnTo>
                                  <a:pt x="856" y="634"/>
                                </a:lnTo>
                                <a:lnTo>
                                  <a:pt x="856" y="633"/>
                                </a:lnTo>
                                <a:lnTo>
                                  <a:pt x="855" y="631"/>
                                </a:lnTo>
                                <a:lnTo>
                                  <a:pt x="855" y="630"/>
                                </a:lnTo>
                                <a:lnTo>
                                  <a:pt x="854" y="627"/>
                                </a:lnTo>
                                <a:lnTo>
                                  <a:pt x="853" y="625"/>
                                </a:lnTo>
                                <a:lnTo>
                                  <a:pt x="851" y="623"/>
                                </a:lnTo>
                                <a:lnTo>
                                  <a:pt x="850" y="621"/>
                                </a:lnTo>
                                <a:lnTo>
                                  <a:pt x="849" y="618"/>
                                </a:lnTo>
                                <a:lnTo>
                                  <a:pt x="848" y="615"/>
                                </a:lnTo>
                                <a:lnTo>
                                  <a:pt x="846" y="613"/>
                                </a:lnTo>
                                <a:lnTo>
                                  <a:pt x="844" y="609"/>
                                </a:lnTo>
                                <a:lnTo>
                                  <a:pt x="846" y="609"/>
                                </a:lnTo>
                                <a:lnTo>
                                  <a:pt x="848" y="609"/>
                                </a:lnTo>
                                <a:lnTo>
                                  <a:pt x="851" y="609"/>
                                </a:lnTo>
                                <a:lnTo>
                                  <a:pt x="854" y="610"/>
                                </a:lnTo>
                                <a:lnTo>
                                  <a:pt x="856" y="610"/>
                                </a:lnTo>
                                <a:lnTo>
                                  <a:pt x="859" y="610"/>
                                </a:lnTo>
                                <a:lnTo>
                                  <a:pt x="862" y="610"/>
                                </a:lnTo>
                                <a:lnTo>
                                  <a:pt x="865" y="611"/>
                                </a:lnTo>
                                <a:lnTo>
                                  <a:pt x="868" y="611"/>
                                </a:lnTo>
                                <a:lnTo>
                                  <a:pt x="870" y="611"/>
                                </a:lnTo>
                                <a:lnTo>
                                  <a:pt x="877" y="612"/>
                                </a:lnTo>
                                <a:lnTo>
                                  <a:pt x="884" y="613"/>
                                </a:lnTo>
                                <a:lnTo>
                                  <a:pt x="892" y="614"/>
                                </a:lnTo>
                                <a:lnTo>
                                  <a:pt x="900" y="614"/>
                                </a:lnTo>
                                <a:lnTo>
                                  <a:pt x="907" y="615"/>
                                </a:lnTo>
                                <a:lnTo>
                                  <a:pt x="916" y="616"/>
                                </a:lnTo>
                                <a:lnTo>
                                  <a:pt x="925" y="617"/>
                                </a:lnTo>
                                <a:lnTo>
                                  <a:pt x="933" y="618"/>
                                </a:lnTo>
                                <a:lnTo>
                                  <a:pt x="942" y="618"/>
                                </a:lnTo>
                                <a:lnTo>
                                  <a:pt x="951" y="618"/>
                                </a:lnTo>
                                <a:lnTo>
                                  <a:pt x="959" y="618"/>
                                </a:lnTo>
                                <a:lnTo>
                                  <a:pt x="969" y="618"/>
                                </a:lnTo>
                                <a:lnTo>
                                  <a:pt x="978" y="618"/>
                                </a:lnTo>
                                <a:lnTo>
                                  <a:pt x="986" y="617"/>
                                </a:lnTo>
                                <a:lnTo>
                                  <a:pt x="995" y="616"/>
                                </a:lnTo>
                                <a:lnTo>
                                  <a:pt x="1004" y="615"/>
                                </a:lnTo>
                                <a:lnTo>
                                  <a:pt x="1012" y="613"/>
                                </a:lnTo>
                                <a:lnTo>
                                  <a:pt x="1020" y="612"/>
                                </a:lnTo>
                                <a:lnTo>
                                  <a:pt x="1028" y="609"/>
                                </a:lnTo>
                                <a:lnTo>
                                  <a:pt x="1036" y="606"/>
                                </a:lnTo>
                                <a:lnTo>
                                  <a:pt x="1040" y="605"/>
                                </a:lnTo>
                                <a:lnTo>
                                  <a:pt x="1043" y="603"/>
                                </a:lnTo>
                                <a:lnTo>
                                  <a:pt x="1046" y="601"/>
                                </a:lnTo>
                                <a:lnTo>
                                  <a:pt x="1049" y="599"/>
                                </a:lnTo>
                                <a:lnTo>
                                  <a:pt x="1052" y="597"/>
                                </a:lnTo>
                                <a:lnTo>
                                  <a:pt x="1055" y="595"/>
                                </a:lnTo>
                                <a:lnTo>
                                  <a:pt x="1058" y="592"/>
                                </a:lnTo>
                                <a:lnTo>
                                  <a:pt x="1061" y="589"/>
                                </a:lnTo>
                                <a:lnTo>
                                  <a:pt x="1064" y="587"/>
                                </a:lnTo>
                                <a:lnTo>
                                  <a:pt x="1066" y="584"/>
                                </a:lnTo>
                                <a:lnTo>
                                  <a:pt x="1068" y="581"/>
                                </a:lnTo>
                                <a:lnTo>
                                  <a:pt x="1071" y="577"/>
                                </a:lnTo>
                                <a:lnTo>
                                  <a:pt x="1073" y="575"/>
                                </a:lnTo>
                                <a:lnTo>
                                  <a:pt x="1075" y="571"/>
                                </a:lnTo>
                                <a:lnTo>
                                  <a:pt x="1075" y="571"/>
                                </a:lnTo>
                                <a:lnTo>
                                  <a:pt x="1074" y="570"/>
                                </a:lnTo>
                                <a:lnTo>
                                  <a:pt x="1074" y="569"/>
                                </a:lnTo>
                                <a:lnTo>
                                  <a:pt x="1073" y="569"/>
                                </a:lnTo>
                                <a:lnTo>
                                  <a:pt x="1072" y="568"/>
                                </a:lnTo>
                                <a:lnTo>
                                  <a:pt x="1071" y="566"/>
                                </a:lnTo>
                                <a:lnTo>
                                  <a:pt x="1070" y="565"/>
                                </a:lnTo>
                                <a:lnTo>
                                  <a:pt x="1067" y="563"/>
                                </a:lnTo>
                                <a:lnTo>
                                  <a:pt x="1064" y="559"/>
                                </a:lnTo>
                                <a:lnTo>
                                  <a:pt x="1062" y="556"/>
                                </a:lnTo>
                                <a:lnTo>
                                  <a:pt x="1060" y="551"/>
                                </a:lnTo>
                                <a:lnTo>
                                  <a:pt x="1059" y="550"/>
                                </a:lnTo>
                                <a:lnTo>
                                  <a:pt x="1059" y="548"/>
                                </a:lnTo>
                                <a:lnTo>
                                  <a:pt x="1058" y="546"/>
                                </a:lnTo>
                                <a:lnTo>
                                  <a:pt x="1058" y="545"/>
                                </a:lnTo>
                                <a:lnTo>
                                  <a:pt x="1058" y="543"/>
                                </a:lnTo>
                                <a:lnTo>
                                  <a:pt x="1058" y="541"/>
                                </a:lnTo>
                                <a:lnTo>
                                  <a:pt x="1058" y="540"/>
                                </a:lnTo>
                                <a:lnTo>
                                  <a:pt x="1058" y="539"/>
                                </a:lnTo>
                                <a:lnTo>
                                  <a:pt x="1059" y="538"/>
                                </a:lnTo>
                                <a:lnTo>
                                  <a:pt x="1060" y="537"/>
                                </a:lnTo>
                                <a:lnTo>
                                  <a:pt x="1062" y="536"/>
                                </a:lnTo>
                                <a:lnTo>
                                  <a:pt x="1064" y="535"/>
                                </a:lnTo>
                                <a:lnTo>
                                  <a:pt x="1065" y="534"/>
                                </a:lnTo>
                                <a:lnTo>
                                  <a:pt x="1068" y="533"/>
                                </a:lnTo>
                                <a:lnTo>
                                  <a:pt x="1072" y="533"/>
                                </a:lnTo>
                                <a:lnTo>
                                  <a:pt x="1075" y="533"/>
                                </a:lnTo>
                                <a:lnTo>
                                  <a:pt x="1078" y="530"/>
                                </a:lnTo>
                                <a:lnTo>
                                  <a:pt x="1082" y="527"/>
                                </a:lnTo>
                                <a:lnTo>
                                  <a:pt x="1085" y="524"/>
                                </a:lnTo>
                                <a:lnTo>
                                  <a:pt x="1088" y="521"/>
                                </a:lnTo>
                                <a:lnTo>
                                  <a:pt x="1090" y="518"/>
                                </a:lnTo>
                                <a:lnTo>
                                  <a:pt x="1092" y="516"/>
                                </a:lnTo>
                                <a:lnTo>
                                  <a:pt x="1095" y="513"/>
                                </a:lnTo>
                                <a:lnTo>
                                  <a:pt x="1097" y="511"/>
                                </a:lnTo>
                                <a:lnTo>
                                  <a:pt x="1099" y="509"/>
                                </a:lnTo>
                                <a:lnTo>
                                  <a:pt x="1101" y="507"/>
                                </a:lnTo>
                                <a:lnTo>
                                  <a:pt x="1102" y="505"/>
                                </a:lnTo>
                                <a:lnTo>
                                  <a:pt x="1103" y="504"/>
                                </a:lnTo>
                                <a:lnTo>
                                  <a:pt x="1106" y="503"/>
                                </a:lnTo>
                                <a:lnTo>
                                  <a:pt x="1107" y="502"/>
                                </a:lnTo>
                                <a:lnTo>
                                  <a:pt x="1108" y="501"/>
                                </a:lnTo>
                                <a:lnTo>
                                  <a:pt x="1109" y="500"/>
                                </a:lnTo>
                                <a:lnTo>
                                  <a:pt x="1110" y="498"/>
                                </a:lnTo>
                                <a:lnTo>
                                  <a:pt x="1112" y="497"/>
                                </a:lnTo>
                                <a:lnTo>
                                  <a:pt x="1112" y="496"/>
                                </a:lnTo>
                                <a:lnTo>
                                  <a:pt x="1113" y="496"/>
                                </a:lnTo>
                                <a:lnTo>
                                  <a:pt x="1113" y="495"/>
                                </a:lnTo>
                                <a:lnTo>
                                  <a:pt x="1114" y="495"/>
                                </a:lnTo>
                                <a:lnTo>
                                  <a:pt x="1114" y="495"/>
                                </a:lnTo>
                                <a:lnTo>
                                  <a:pt x="1116" y="492"/>
                                </a:lnTo>
                                <a:lnTo>
                                  <a:pt x="1118" y="490"/>
                                </a:lnTo>
                                <a:lnTo>
                                  <a:pt x="1123" y="485"/>
                                </a:lnTo>
                                <a:lnTo>
                                  <a:pt x="1127" y="480"/>
                                </a:lnTo>
                                <a:lnTo>
                                  <a:pt x="1131" y="475"/>
                                </a:lnTo>
                                <a:lnTo>
                                  <a:pt x="1134" y="470"/>
                                </a:lnTo>
                                <a:lnTo>
                                  <a:pt x="1137" y="465"/>
                                </a:lnTo>
                                <a:lnTo>
                                  <a:pt x="1139" y="461"/>
                                </a:lnTo>
                                <a:lnTo>
                                  <a:pt x="1141" y="457"/>
                                </a:lnTo>
                                <a:lnTo>
                                  <a:pt x="1143" y="453"/>
                                </a:lnTo>
                                <a:lnTo>
                                  <a:pt x="1144" y="450"/>
                                </a:lnTo>
                                <a:lnTo>
                                  <a:pt x="1145" y="446"/>
                                </a:lnTo>
                                <a:lnTo>
                                  <a:pt x="1146" y="442"/>
                                </a:lnTo>
                                <a:lnTo>
                                  <a:pt x="1146" y="439"/>
                                </a:lnTo>
                                <a:lnTo>
                                  <a:pt x="1146" y="434"/>
                                </a:lnTo>
                                <a:lnTo>
                                  <a:pt x="1145" y="431"/>
                                </a:lnTo>
                                <a:lnTo>
                                  <a:pt x="1145" y="428"/>
                                </a:lnTo>
                                <a:lnTo>
                                  <a:pt x="1144" y="425"/>
                                </a:lnTo>
                                <a:lnTo>
                                  <a:pt x="1141" y="422"/>
                                </a:lnTo>
                                <a:lnTo>
                                  <a:pt x="1140" y="419"/>
                                </a:lnTo>
                                <a:lnTo>
                                  <a:pt x="1138" y="417"/>
                                </a:lnTo>
                                <a:lnTo>
                                  <a:pt x="1136" y="414"/>
                                </a:lnTo>
                                <a:lnTo>
                                  <a:pt x="1134" y="412"/>
                                </a:lnTo>
                                <a:lnTo>
                                  <a:pt x="1132" y="409"/>
                                </a:lnTo>
                                <a:lnTo>
                                  <a:pt x="1129" y="407"/>
                                </a:lnTo>
                                <a:lnTo>
                                  <a:pt x="1126" y="405"/>
                                </a:lnTo>
                                <a:lnTo>
                                  <a:pt x="1124" y="403"/>
                                </a:lnTo>
                                <a:lnTo>
                                  <a:pt x="1121" y="401"/>
                                </a:lnTo>
                                <a:lnTo>
                                  <a:pt x="1117" y="397"/>
                                </a:lnTo>
                                <a:lnTo>
                                  <a:pt x="1111" y="393"/>
                                </a:lnTo>
                                <a:lnTo>
                                  <a:pt x="1103" y="390"/>
                                </a:lnTo>
                                <a:lnTo>
                                  <a:pt x="1096" y="387"/>
                                </a:lnTo>
                                <a:lnTo>
                                  <a:pt x="1089" y="383"/>
                                </a:lnTo>
                                <a:lnTo>
                                  <a:pt x="1081" y="380"/>
                                </a:lnTo>
                                <a:lnTo>
                                  <a:pt x="1075" y="378"/>
                                </a:lnTo>
                                <a:lnTo>
                                  <a:pt x="1066" y="375"/>
                                </a:lnTo>
                                <a:lnTo>
                                  <a:pt x="1060" y="372"/>
                                </a:lnTo>
                                <a:lnTo>
                                  <a:pt x="1057" y="371"/>
                                </a:lnTo>
                                <a:lnTo>
                                  <a:pt x="1054" y="369"/>
                                </a:lnTo>
                                <a:lnTo>
                                  <a:pt x="1051" y="368"/>
                                </a:lnTo>
                                <a:lnTo>
                                  <a:pt x="1048" y="367"/>
                                </a:lnTo>
                                <a:lnTo>
                                  <a:pt x="1046" y="366"/>
                                </a:lnTo>
                                <a:lnTo>
                                  <a:pt x="1043" y="364"/>
                                </a:lnTo>
                                <a:lnTo>
                                  <a:pt x="1041" y="363"/>
                                </a:lnTo>
                                <a:lnTo>
                                  <a:pt x="1040" y="361"/>
                                </a:lnTo>
                                <a:lnTo>
                                  <a:pt x="1038" y="359"/>
                                </a:lnTo>
                                <a:lnTo>
                                  <a:pt x="1036" y="358"/>
                                </a:lnTo>
                                <a:lnTo>
                                  <a:pt x="1035" y="356"/>
                                </a:lnTo>
                                <a:lnTo>
                                  <a:pt x="1034" y="355"/>
                                </a:lnTo>
                                <a:lnTo>
                                  <a:pt x="1032" y="354"/>
                                </a:lnTo>
                                <a:lnTo>
                                  <a:pt x="1031" y="352"/>
                                </a:lnTo>
                                <a:lnTo>
                                  <a:pt x="1031" y="351"/>
                                </a:lnTo>
                                <a:lnTo>
                                  <a:pt x="1031" y="349"/>
                                </a:lnTo>
                                <a:lnTo>
                                  <a:pt x="1032" y="348"/>
                                </a:lnTo>
                                <a:lnTo>
                                  <a:pt x="1034" y="346"/>
                                </a:lnTo>
                                <a:lnTo>
                                  <a:pt x="1035" y="344"/>
                                </a:lnTo>
                                <a:lnTo>
                                  <a:pt x="1037" y="343"/>
                                </a:lnTo>
                                <a:lnTo>
                                  <a:pt x="1040" y="340"/>
                                </a:lnTo>
                                <a:lnTo>
                                  <a:pt x="1044" y="337"/>
                                </a:lnTo>
                                <a:lnTo>
                                  <a:pt x="1048" y="334"/>
                                </a:lnTo>
                                <a:lnTo>
                                  <a:pt x="1052" y="332"/>
                                </a:lnTo>
                                <a:lnTo>
                                  <a:pt x="1057" y="330"/>
                                </a:lnTo>
                                <a:lnTo>
                                  <a:pt x="1061" y="329"/>
                                </a:lnTo>
                                <a:lnTo>
                                  <a:pt x="1065" y="328"/>
                                </a:lnTo>
                                <a:lnTo>
                                  <a:pt x="1071" y="327"/>
                                </a:lnTo>
                                <a:lnTo>
                                  <a:pt x="1076" y="326"/>
                                </a:lnTo>
                                <a:lnTo>
                                  <a:pt x="1080" y="325"/>
                                </a:lnTo>
                                <a:lnTo>
                                  <a:pt x="1085" y="325"/>
                                </a:lnTo>
                                <a:lnTo>
                                  <a:pt x="1089" y="323"/>
                                </a:lnTo>
                                <a:lnTo>
                                  <a:pt x="1099" y="323"/>
                                </a:lnTo>
                                <a:lnTo>
                                  <a:pt x="1109" y="323"/>
                                </a:lnTo>
                                <a:lnTo>
                                  <a:pt x="1113" y="323"/>
                                </a:lnTo>
                                <a:lnTo>
                                  <a:pt x="1117" y="323"/>
                                </a:lnTo>
                                <a:lnTo>
                                  <a:pt x="1121" y="323"/>
                                </a:lnTo>
                                <a:lnTo>
                                  <a:pt x="1125" y="323"/>
                                </a:lnTo>
                                <a:lnTo>
                                  <a:pt x="1129" y="323"/>
                                </a:lnTo>
                                <a:lnTo>
                                  <a:pt x="1132" y="322"/>
                                </a:lnTo>
                                <a:lnTo>
                                  <a:pt x="1136" y="322"/>
                                </a:lnTo>
                                <a:lnTo>
                                  <a:pt x="1138" y="321"/>
                                </a:lnTo>
                                <a:lnTo>
                                  <a:pt x="1141" y="320"/>
                                </a:lnTo>
                                <a:lnTo>
                                  <a:pt x="1145" y="318"/>
                                </a:lnTo>
                                <a:lnTo>
                                  <a:pt x="1147" y="317"/>
                                </a:lnTo>
                                <a:lnTo>
                                  <a:pt x="1149" y="316"/>
                                </a:lnTo>
                                <a:lnTo>
                                  <a:pt x="1150" y="313"/>
                                </a:lnTo>
                                <a:lnTo>
                                  <a:pt x="1151" y="311"/>
                                </a:lnTo>
                                <a:lnTo>
                                  <a:pt x="1151" y="308"/>
                                </a:lnTo>
                                <a:lnTo>
                                  <a:pt x="1151" y="305"/>
                                </a:lnTo>
                                <a:lnTo>
                                  <a:pt x="1152" y="298"/>
                                </a:lnTo>
                                <a:lnTo>
                                  <a:pt x="1152" y="291"/>
                                </a:lnTo>
                                <a:lnTo>
                                  <a:pt x="1152" y="284"/>
                                </a:lnTo>
                                <a:lnTo>
                                  <a:pt x="1153" y="278"/>
                                </a:lnTo>
                                <a:lnTo>
                                  <a:pt x="1154" y="271"/>
                                </a:lnTo>
                                <a:lnTo>
                                  <a:pt x="1155" y="266"/>
                                </a:lnTo>
                                <a:lnTo>
                                  <a:pt x="1156" y="260"/>
                                </a:lnTo>
                                <a:lnTo>
                                  <a:pt x="1158" y="255"/>
                                </a:lnTo>
                                <a:lnTo>
                                  <a:pt x="1159" y="249"/>
                                </a:lnTo>
                                <a:lnTo>
                                  <a:pt x="1160" y="243"/>
                                </a:lnTo>
                                <a:lnTo>
                                  <a:pt x="1162" y="238"/>
                                </a:lnTo>
                                <a:lnTo>
                                  <a:pt x="1163" y="233"/>
                                </a:lnTo>
                                <a:lnTo>
                                  <a:pt x="1165" y="228"/>
                                </a:lnTo>
                                <a:lnTo>
                                  <a:pt x="1167" y="223"/>
                                </a:lnTo>
                                <a:lnTo>
                                  <a:pt x="1169" y="219"/>
                                </a:lnTo>
                                <a:lnTo>
                                  <a:pt x="1170" y="215"/>
                                </a:lnTo>
                                <a:lnTo>
                                  <a:pt x="1174" y="205"/>
                                </a:lnTo>
                                <a:lnTo>
                                  <a:pt x="1177" y="197"/>
                                </a:lnTo>
                                <a:lnTo>
                                  <a:pt x="1181" y="189"/>
                                </a:lnTo>
                                <a:lnTo>
                                  <a:pt x="1184" y="182"/>
                                </a:lnTo>
                                <a:lnTo>
                                  <a:pt x="1186" y="178"/>
                                </a:lnTo>
                                <a:lnTo>
                                  <a:pt x="1187" y="174"/>
                                </a:lnTo>
                                <a:lnTo>
                                  <a:pt x="1187" y="170"/>
                                </a:lnTo>
                                <a:lnTo>
                                  <a:pt x="1188" y="167"/>
                                </a:lnTo>
                                <a:lnTo>
                                  <a:pt x="1189" y="163"/>
                                </a:lnTo>
                                <a:lnTo>
                                  <a:pt x="1189" y="159"/>
                                </a:lnTo>
                                <a:lnTo>
                                  <a:pt x="1190" y="156"/>
                                </a:lnTo>
                                <a:lnTo>
                                  <a:pt x="1190" y="152"/>
                                </a:lnTo>
                                <a:lnTo>
                                  <a:pt x="1191" y="149"/>
                                </a:lnTo>
                                <a:lnTo>
                                  <a:pt x="1193" y="146"/>
                                </a:lnTo>
                                <a:lnTo>
                                  <a:pt x="1194" y="142"/>
                                </a:lnTo>
                                <a:lnTo>
                                  <a:pt x="1195" y="138"/>
                                </a:lnTo>
                                <a:lnTo>
                                  <a:pt x="1195" y="135"/>
                                </a:lnTo>
                                <a:lnTo>
                                  <a:pt x="1196" y="131"/>
                                </a:lnTo>
                                <a:lnTo>
                                  <a:pt x="1196" y="127"/>
                                </a:lnTo>
                                <a:lnTo>
                                  <a:pt x="1196" y="124"/>
                                </a:lnTo>
                                <a:lnTo>
                                  <a:pt x="1195" y="121"/>
                                </a:lnTo>
                                <a:close/>
                                <a:moveTo>
                                  <a:pt x="785" y="350"/>
                                </a:moveTo>
                                <a:lnTo>
                                  <a:pt x="785" y="349"/>
                                </a:lnTo>
                                <a:lnTo>
                                  <a:pt x="784" y="347"/>
                                </a:lnTo>
                                <a:lnTo>
                                  <a:pt x="783" y="346"/>
                                </a:lnTo>
                                <a:lnTo>
                                  <a:pt x="782" y="345"/>
                                </a:lnTo>
                                <a:lnTo>
                                  <a:pt x="780" y="344"/>
                                </a:lnTo>
                                <a:lnTo>
                                  <a:pt x="777" y="343"/>
                                </a:lnTo>
                                <a:lnTo>
                                  <a:pt x="774" y="343"/>
                                </a:lnTo>
                                <a:lnTo>
                                  <a:pt x="771" y="343"/>
                                </a:lnTo>
                                <a:lnTo>
                                  <a:pt x="768" y="343"/>
                                </a:lnTo>
                                <a:lnTo>
                                  <a:pt x="768" y="343"/>
                                </a:lnTo>
                                <a:lnTo>
                                  <a:pt x="767" y="343"/>
                                </a:lnTo>
                                <a:lnTo>
                                  <a:pt x="766" y="343"/>
                                </a:lnTo>
                                <a:lnTo>
                                  <a:pt x="765" y="343"/>
                                </a:lnTo>
                                <a:lnTo>
                                  <a:pt x="764" y="343"/>
                                </a:lnTo>
                                <a:lnTo>
                                  <a:pt x="763" y="343"/>
                                </a:lnTo>
                                <a:lnTo>
                                  <a:pt x="761" y="343"/>
                                </a:lnTo>
                                <a:lnTo>
                                  <a:pt x="760" y="343"/>
                                </a:lnTo>
                                <a:lnTo>
                                  <a:pt x="759" y="343"/>
                                </a:lnTo>
                                <a:lnTo>
                                  <a:pt x="758" y="343"/>
                                </a:lnTo>
                                <a:lnTo>
                                  <a:pt x="756" y="343"/>
                                </a:lnTo>
                                <a:lnTo>
                                  <a:pt x="754" y="343"/>
                                </a:lnTo>
                                <a:lnTo>
                                  <a:pt x="753" y="343"/>
                                </a:lnTo>
                                <a:lnTo>
                                  <a:pt x="750" y="343"/>
                                </a:lnTo>
                                <a:lnTo>
                                  <a:pt x="748" y="343"/>
                                </a:lnTo>
                                <a:lnTo>
                                  <a:pt x="746" y="343"/>
                                </a:lnTo>
                                <a:lnTo>
                                  <a:pt x="742" y="343"/>
                                </a:lnTo>
                                <a:lnTo>
                                  <a:pt x="739" y="343"/>
                                </a:lnTo>
                                <a:lnTo>
                                  <a:pt x="736" y="343"/>
                                </a:lnTo>
                                <a:lnTo>
                                  <a:pt x="733" y="343"/>
                                </a:lnTo>
                                <a:lnTo>
                                  <a:pt x="730" y="343"/>
                                </a:lnTo>
                                <a:lnTo>
                                  <a:pt x="726" y="343"/>
                                </a:lnTo>
                                <a:lnTo>
                                  <a:pt x="723" y="343"/>
                                </a:lnTo>
                                <a:lnTo>
                                  <a:pt x="720" y="343"/>
                                </a:lnTo>
                                <a:lnTo>
                                  <a:pt x="716" y="344"/>
                                </a:lnTo>
                                <a:lnTo>
                                  <a:pt x="712" y="345"/>
                                </a:lnTo>
                                <a:lnTo>
                                  <a:pt x="709" y="346"/>
                                </a:lnTo>
                                <a:lnTo>
                                  <a:pt x="705" y="347"/>
                                </a:lnTo>
                                <a:lnTo>
                                  <a:pt x="701" y="349"/>
                                </a:lnTo>
                                <a:lnTo>
                                  <a:pt x="694" y="351"/>
                                </a:lnTo>
                                <a:lnTo>
                                  <a:pt x="687" y="354"/>
                                </a:lnTo>
                                <a:lnTo>
                                  <a:pt x="680" y="358"/>
                                </a:lnTo>
                                <a:lnTo>
                                  <a:pt x="673" y="361"/>
                                </a:lnTo>
                                <a:lnTo>
                                  <a:pt x="665" y="366"/>
                                </a:lnTo>
                                <a:lnTo>
                                  <a:pt x="658" y="369"/>
                                </a:lnTo>
                                <a:lnTo>
                                  <a:pt x="651" y="372"/>
                                </a:lnTo>
                                <a:lnTo>
                                  <a:pt x="644" y="375"/>
                                </a:lnTo>
                                <a:lnTo>
                                  <a:pt x="641" y="376"/>
                                </a:lnTo>
                                <a:lnTo>
                                  <a:pt x="637" y="378"/>
                                </a:lnTo>
                                <a:lnTo>
                                  <a:pt x="633" y="379"/>
                                </a:lnTo>
                                <a:lnTo>
                                  <a:pt x="629" y="379"/>
                                </a:lnTo>
                                <a:lnTo>
                                  <a:pt x="626" y="380"/>
                                </a:lnTo>
                                <a:lnTo>
                                  <a:pt x="622" y="380"/>
                                </a:lnTo>
                                <a:lnTo>
                                  <a:pt x="619" y="381"/>
                                </a:lnTo>
                                <a:lnTo>
                                  <a:pt x="615" y="381"/>
                                </a:lnTo>
                                <a:lnTo>
                                  <a:pt x="612" y="381"/>
                                </a:lnTo>
                                <a:lnTo>
                                  <a:pt x="609" y="381"/>
                                </a:lnTo>
                                <a:lnTo>
                                  <a:pt x="606" y="382"/>
                                </a:lnTo>
                                <a:lnTo>
                                  <a:pt x="603" y="382"/>
                                </a:lnTo>
                                <a:lnTo>
                                  <a:pt x="600" y="383"/>
                                </a:lnTo>
                                <a:lnTo>
                                  <a:pt x="597" y="384"/>
                                </a:lnTo>
                                <a:lnTo>
                                  <a:pt x="595" y="385"/>
                                </a:lnTo>
                                <a:lnTo>
                                  <a:pt x="593" y="387"/>
                                </a:lnTo>
                                <a:lnTo>
                                  <a:pt x="591" y="388"/>
                                </a:lnTo>
                                <a:lnTo>
                                  <a:pt x="589" y="390"/>
                                </a:lnTo>
                                <a:lnTo>
                                  <a:pt x="587" y="391"/>
                                </a:lnTo>
                                <a:lnTo>
                                  <a:pt x="586" y="392"/>
                                </a:lnTo>
                                <a:lnTo>
                                  <a:pt x="585" y="394"/>
                                </a:lnTo>
                                <a:lnTo>
                                  <a:pt x="584" y="396"/>
                                </a:lnTo>
                                <a:lnTo>
                                  <a:pt x="583" y="398"/>
                                </a:lnTo>
                                <a:lnTo>
                                  <a:pt x="582" y="399"/>
                                </a:lnTo>
                                <a:lnTo>
                                  <a:pt x="580" y="404"/>
                                </a:lnTo>
                                <a:lnTo>
                                  <a:pt x="579" y="407"/>
                                </a:lnTo>
                                <a:lnTo>
                                  <a:pt x="578" y="410"/>
                                </a:lnTo>
                                <a:lnTo>
                                  <a:pt x="577" y="413"/>
                                </a:lnTo>
                                <a:lnTo>
                                  <a:pt x="577" y="414"/>
                                </a:lnTo>
                                <a:lnTo>
                                  <a:pt x="577" y="416"/>
                                </a:lnTo>
                                <a:lnTo>
                                  <a:pt x="577" y="416"/>
                                </a:lnTo>
                                <a:lnTo>
                                  <a:pt x="577" y="417"/>
                                </a:lnTo>
                                <a:lnTo>
                                  <a:pt x="577" y="418"/>
                                </a:lnTo>
                                <a:lnTo>
                                  <a:pt x="577" y="418"/>
                                </a:lnTo>
                                <a:lnTo>
                                  <a:pt x="577" y="419"/>
                                </a:lnTo>
                                <a:lnTo>
                                  <a:pt x="580" y="419"/>
                                </a:lnTo>
                                <a:lnTo>
                                  <a:pt x="584" y="420"/>
                                </a:lnTo>
                                <a:lnTo>
                                  <a:pt x="587" y="421"/>
                                </a:lnTo>
                                <a:lnTo>
                                  <a:pt x="591" y="422"/>
                                </a:lnTo>
                                <a:lnTo>
                                  <a:pt x="595" y="424"/>
                                </a:lnTo>
                                <a:lnTo>
                                  <a:pt x="599" y="426"/>
                                </a:lnTo>
                                <a:lnTo>
                                  <a:pt x="602" y="428"/>
                                </a:lnTo>
                                <a:lnTo>
                                  <a:pt x="606" y="430"/>
                                </a:lnTo>
                                <a:lnTo>
                                  <a:pt x="610" y="432"/>
                                </a:lnTo>
                                <a:lnTo>
                                  <a:pt x="613" y="435"/>
                                </a:lnTo>
                                <a:lnTo>
                                  <a:pt x="620" y="441"/>
                                </a:lnTo>
                                <a:lnTo>
                                  <a:pt x="627" y="447"/>
                                </a:lnTo>
                                <a:lnTo>
                                  <a:pt x="635" y="452"/>
                                </a:lnTo>
                                <a:lnTo>
                                  <a:pt x="638" y="455"/>
                                </a:lnTo>
                                <a:lnTo>
                                  <a:pt x="642" y="457"/>
                                </a:lnTo>
                                <a:lnTo>
                                  <a:pt x="645" y="459"/>
                                </a:lnTo>
                                <a:lnTo>
                                  <a:pt x="649" y="462"/>
                                </a:lnTo>
                                <a:lnTo>
                                  <a:pt x="652" y="463"/>
                                </a:lnTo>
                                <a:lnTo>
                                  <a:pt x="656" y="465"/>
                                </a:lnTo>
                                <a:lnTo>
                                  <a:pt x="660" y="466"/>
                                </a:lnTo>
                                <a:lnTo>
                                  <a:pt x="663" y="467"/>
                                </a:lnTo>
                                <a:lnTo>
                                  <a:pt x="666" y="467"/>
                                </a:lnTo>
                                <a:lnTo>
                                  <a:pt x="671" y="467"/>
                                </a:lnTo>
                                <a:lnTo>
                                  <a:pt x="673" y="467"/>
                                </a:lnTo>
                                <a:lnTo>
                                  <a:pt x="674" y="467"/>
                                </a:lnTo>
                                <a:lnTo>
                                  <a:pt x="676" y="466"/>
                                </a:lnTo>
                                <a:lnTo>
                                  <a:pt x="678" y="466"/>
                                </a:lnTo>
                                <a:lnTo>
                                  <a:pt x="680" y="465"/>
                                </a:lnTo>
                                <a:lnTo>
                                  <a:pt x="681" y="465"/>
                                </a:lnTo>
                                <a:lnTo>
                                  <a:pt x="683" y="464"/>
                                </a:lnTo>
                                <a:lnTo>
                                  <a:pt x="684" y="463"/>
                                </a:lnTo>
                                <a:lnTo>
                                  <a:pt x="686" y="462"/>
                                </a:lnTo>
                                <a:lnTo>
                                  <a:pt x="688" y="460"/>
                                </a:lnTo>
                                <a:lnTo>
                                  <a:pt x="690" y="459"/>
                                </a:lnTo>
                                <a:lnTo>
                                  <a:pt x="692" y="457"/>
                                </a:lnTo>
                                <a:lnTo>
                                  <a:pt x="692" y="456"/>
                                </a:lnTo>
                                <a:lnTo>
                                  <a:pt x="693" y="456"/>
                                </a:lnTo>
                                <a:lnTo>
                                  <a:pt x="694" y="455"/>
                                </a:lnTo>
                                <a:lnTo>
                                  <a:pt x="694" y="454"/>
                                </a:lnTo>
                                <a:lnTo>
                                  <a:pt x="696" y="453"/>
                                </a:lnTo>
                                <a:lnTo>
                                  <a:pt x="696" y="452"/>
                                </a:lnTo>
                                <a:lnTo>
                                  <a:pt x="698" y="451"/>
                                </a:lnTo>
                                <a:lnTo>
                                  <a:pt x="700" y="449"/>
                                </a:lnTo>
                                <a:lnTo>
                                  <a:pt x="701" y="447"/>
                                </a:lnTo>
                                <a:lnTo>
                                  <a:pt x="703" y="445"/>
                                </a:lnTo>
                                <a:lnTo>
                                  <a:pt x="706" y="443"/>
                                </a:lnTo>
                                <a:lnTo>
                                  <a:pt x="709" y="441"/>
                                </a:lnTo>
                                <a:lnTo>
                                  <a:pt x="711" y="439"/>
                                </a:lnTo>
                                <a:lnTo>
                                  <a:pt x="713" y="435"/>
                                </a:lnTo>
                                <a:lnTo>
                                  <a:pt x="716" y="433"/>
                                </a:lnTo>
                                <a:lnTo>
                                  <a:pt x="721" y="428"/>
                                </a:lnTo>
                                <a:lnTo>
                                  <a:pt x="727" y="422"/>
                                </a:lnTo>
                                <a:lnTo>
                                  <a:pt x="733" y="416"/>
                                </a:lnTo>
                                <a:lnTo>
                                  <a:pt x="740" y="409"/>
                                </a:lnTo>
                                <a:lnTo>
                                  <a:pt x="747" y="403"/>
                                </a:lnTo>
                                <a:lnTo>
                                  <a:pt x="754" y="395"/>
                                </a:lnTo>
                                <a:lnTo>
                                  <a:pt x="768" y="381"/>
                                </a:lnTo>
                                <a:lnTo>
                                  <a:pt x="769" y="380"/>
                                </a:lnTo>
                                <a:lnTo>
                                  <a:pt x="769" y="380"/>
                                </a:lnTo>
                                <a:lnTo>
                                  <a:pt x="770" y="379"/>
                                </a:lnTo>
                                <a:lnTo>
                                  <a:pt x="770" y="379"/>
                                </a:lnTo>
                                <a:lnTo>
                                  <a:pt x="771" y="378"/>
                                </a:lnTo>
                                <a:lnTo>
                                  <a:pt x="772" y="376"/>
                                </a:lnTo>
                                <a:lnTo>
                                  <a:pt x="773" y="375"/>
                                </a:lnTo>
                                <a:lnTo>
                                  <a:pt x="776" y="372"/>
                                </a:lnTo>
                                <a:lnTo>
                                  <a:pt x="778" y="369"/>
                                </a:lnTo>
                                <a:lnTo>
                                  <a:pt x="781" y="366"/>
                                </a:lnTo>
                                <a:lnTo>
                                  <a:pt x="783" y="361"/>
                                </a:lnTo>
                                <a:lnTo>
                                  <a:pt x="784" y="360"/>
                                </a:lnTo>
                                <a:lnTo>
                                  <a:pt x="785" y="358"/>
                                </a:lnTo>
                                <a:lnTo>
                                  <a:pt x="785" y="356"/>
                                </a:lnTo>
                                <a:lnTo>
                                  <a:pt x="785" y="354"/>
                                </a:lnTo>
                                <a:lnTo>
                                  <a:pt x="786" y="353"/>
                                </a:lnTo>
                                <a:lnTo>
                                  <a:pt x="786" y="351"/>
                                </a:lnTo>
                                <a:lnTo>
                                  <a:pt x="785" y="350"/>
                                </a:lnTo>
                                <a:close/>
                              </a:path>
                            </a:pathLst>
                          </a:custGeom>
                          <a:grpFill/>
                          <a:ln w="3175">
                            <a:solidFill>
                              <a:schemeClr val="accent2"/>
                            </a:solidFill>
                          </a:ln>
                        </p:spPr>
                        <p:txBody>
                          <a:bodyPr vert="horz" wrap="square" lIns="91273" tIns="45637" rIns="91273" bIns="4563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97" b="0" i="0" u="none" strike="noStrike" kern="1200" cap="none" spc="0" normalizeH="0" baseline="0" noProof="0" dirty="0">
                              <a:ln>
                                <a:noFill/>
                              </a:ln>
                              <a:solidFill>
                                <a:srgbClr val="000000"/>
                              </a:solidFill>
                              <a:effectLst/>
                              <a:uLnTx/>
                              <a:uFillTx/>
                              <a:latin typeface="Calibri"/>
                              <a:ea typeface="+mn-ea"/>
                              <a:cs typeface="+mn-cs"/>
                            </a:endParaRPr>
                          </a:p>
                        </p:txBody>
                      </p:sp>
                      <p:sp>
                        <p:nvSpPr>
                          <p:cNvPr id="79" name="Belgium">
                            <a:extLst>
                              <a:ext uri="{FF2B5EF4-FFF2-40B4-BE49-F238E27FC236}">
                                <a16:creationId xmlns:a16="http://schemas.microsoft.com/office/drawing/2014/main" id="{5E7E9C31-82CC-C073-0D73-2DD13F3A5E56}"/>
                              </a:ext>
                            </a:extLst>
                          </p:cNvPr>
                          <p:cNvSpPr>
                            <a:spLocks/>
                          </p:cNvSpPr>
                          <p:nvPr/>
                        </p:nvSpPr>
                        <p:spPr bwMode="auto">
                          <a:xfrm>
                            <a:off x="3873201" y="2070834"/>
                            <a:ext cx="71588" cy="48533"/>
                          </a:xfrm>
                          <a:custGeom>
                            <a:avLst/>
                            <a:gdLst/>
                            <a:ahLst/>
                            <a:cxnLst>
                              <a:cxn ang="0">
                                <a:pos x="0" y="4"/>
                              </a:cxn>
                              <a:cxn ang="0">
                                <a:pos x="7" y="1"/>
                              </a:cxn>
                              <a:cxn ang="0">
                                <a:pos x="10" y="3"/>
                              </a:cxn>
                              <a:cxn ang="0">
                                <a:pos x="12" y="3"/>
                              </a:cxn>
                              <a:cxn ang="0">
                                <a:pos x="14" y="2"/>
                              </a:cxn>
                              <a:cxn ang="0">
                                <a:pos x="14" y="1"/>
                              </a:cxn>
                              <a:cxn ang="0">
                                <a:pos x="16" y="0"/>
                              </a:cxn>
                              <a:cxn ang="0">
                                <a:pos x="18" y="0"/>
                              </a:cxn>
                              <a:cxn ang="0">
                                <a:pos x="20" y="0"/>
                              </a:cxn>
                              <a:cxn ang="0">
                                <a:pos x="27" y="4"/>
                              </a:cxn>
                              <a:cxn ang="0">
                                <a:pos x="27" y="8"/>
                              </a:cxn>
                              <a:cxn ang="0">
                                <a:pos x="28" y="8"/>
                              </a:cxn>
                              <a:cxn ang="0">
                                <a:pos x="30" y="10"/>
                              </a:cxn>
                              <a:cxn ang="0">
                                <a:pos x="31" y="12"/>
                              </a:cxn>
                              <a:cxn ang="0">
                                <a:pos x="29" y="14"/>
                              </a:cxn>
                              <a:cxn ang="0">
                                <a:pos x="28" y="14"/>
                              </a:cxn>
                              <a:cxn ang="0">
                                <a:pos x="27" y="15"/>
                              </a:cxn>
                              <a:cxn ang="0">
                                <a:pos x="26" y="17"/>
                              </a:cxn>
                              <a:cxn ang="0">
                                <a:pos x="26" y="21"/>
                              </a:cxn>
                              <a:cxn ang="0">
                                <a:pos x="23" y="21"/>
                              </a:cxn>
                              <a:cxn ang="0">
                                <a:pos x="22" y="19"/>
                              </a:cxn>
                              <a:cxn ang="0">
                                <a:pos x="18" y="17"/>
                              </a:cxn>
                              <a:cxn ang="0">
                                <a:pos x="18" y="14"/>
                              </a:cxn>
                              <a:cxn ang="0">
                                <a:pos x="17" y="15"/>
                              </a:cxn>
                              <a:cxn ang="0">
                                <a:pos x="13" y="16"/>
                              </a:cxn>
                              <a:cxn ang="0">
                                <a:pos x="12" y="12"/>
                              </a:cxn>
                              <a:cxn ang="0">
                                <a:pos x="9" y="12"/>
                              </a:cxn>
                              <a:cxn ang="0">
                                <a:pos x="7" y="10"/>
                              </a:cxn>
                              <a:cxn ang="0">
                                <a:pos x="5" y="9"/>
                              </a:cxn>
                              <a:cxn ang="0">
                                <a:pos x="1" y="8"/>
                              </a:cxn>
                              <a:cxn ang="0">
                                <a:pos x="0" y="4"/>
                              </a:cxn>
                              <a:cxn ang="0">
                                <a:pos x="0" y="4"/>
                              </a:cxn>
                            </a:cxnLst>
                            <a:rect l="0" t="0" r="r" b="b"/>
                            <a:pathLst>
                              <a:path w="31" h="21">
                                <a:moveTo>
                                  <a:pt x="0" y="4"/>
                                </a:moveTo>
                                <a:cubicBezTo>
                                  <a:pt x="2" y="3"/>
                                  <a:pt x="5" y="2"/>
                                  <a:pt x="7" y="1"/>
                                </a:cubicBezTo>
                                <a:cubicBezTo>
                                  <a:pt x="6" y="3"/>
                                  <a:pt x="9" y="2"/>
                                  <a:pt x="10" y="3"/>
                                </a:cubicBezTo>
                                <a:cubicBezTo>
                                  <a:pt x="10" y="3"/>
                                  <a:pt x="11" y="3"/>
                                  <a:pt x="12" y="3"/>
                                </a:cubicBezTo>
                                <a:cubicBezTo>
                                  <a:pt x="13" y="3"/>
                                  <a:pt x="14" y="1"/>
                                  <a:pt x="14" y="2"/>
                                </a:cubicBezTo>
                                <a:cubicBezTo>
                                  <a:pt x="14" y="2"/>
                                  <a:pt x="14" y="2"/>
                                  <a:pt x="14" y="1"/>
                                </a:cubicBezTo>
                                <a:cubicBezTo>
                                  <a:pt x="15" y="1"/>
                                  <a:pt x="16" y="1"/>
                                  <a:pt x="16" y="0"/>
                                </a:cubicBezTo>
                                <a:cubicBezTo>
                                  <a:pt x="16" y="1"/>
                                  <a:pt x="17" y="1"/>
                                  <a:pt x="18" y="0"/>
                                </a:cubicBezTo>
                                <a:cubicBezTo>
                                  <a:pt x="18" y="1"/>
                                  <a:pt x="20" y="1"/>
                                  <a:pt x="20" y="0"/>
                                </a:cubicBezTo>
                                <a:cubicBezTo>
                                  <a:pt x="21" y="3"/>
                                  <a:pt x="25" y="3"/>
                                  <a:pt x="27" y="4"/>
                                </a:cubicBezTo>
                                <a:cubicBezTo>
                                  <a:pt x="26" y="5"/>
                                  <a:pt x="25" y="7"/>
                                  <a:pt x="27" y="8"/>
                                </a:cubicBezTo>
                                <a:cubicBezTo>
                                  <a:pt x="27" y="8"/>
                                  <a:pt x="28" y="8"/>
                                  <a:pt x="28" y="8"/>
                                </a:cubicBezTo>
                                <a:cubicBezTo>
                                  <a:pt x="28" y="9"/>
                                  <a:pt x="31" y="9"/>
                                  <a:pt x="30" y="10"/>
                                </a:cubicBezTo>
                                <a:cubicBezTo>
                                  <a:pt x="31" y="10"/>
                                  <a:pt x="31" y="11"/>
                                  <a:pt x="31" y="12"/>
                                </a:cubicBezTo>
                                <a:cubicBezTo>
                                  <a:pt x="30" y="12"/>
                                  <a:pt x="30" y="13"/>
                                  <a:pt x="29" y="14"/>
                                </a:cubicBezTo>
                                <a:cubicBezTo>
                                  <a:pt x="29" y="14"/>
                                  <a:pt x="29" y="14"/>
                                  <a:pt x="28" y="14"/>
                                </a:cubicBezTo>
                                <a:cubicBezTo>
                                  <a:pt x="28" y="14"/>
                                  <a:pt x="27" y="14"/>
                                  <a:pt x="27" y="15"/>
                                </a:cubicBezTo>
                                <a:cubicBezTo>
                                  <a:pt x="26" y="16"/>
                                  <a:pt x="26" y="16"/>
                                  <a:pt x="26" y="17"/>
                                </a:cubicBezTo>
                                <a:cubicBezTo>
                                  <a:pt x="26" y="18"/>
                                  <a:pt x="28" y="19"/>
                                  <a:pt x="26" y="21"/>
                                </a:cubicBezTo>
                                <a:cubicBezTo>
                                  <a:pt x="25" y="21"/>
                                  <a:pt x="24" y="21"/>
                                  <a:pt x="23" y="21"/>
                                </a:cubicBezTo>
                                <a:cubicBezTo>
                                  <a:pt x="23" y="20"/>
                                  <a:pt x="23" y="19"/>
                                  <a:pt x="22" y="19"/>
                                </a:cubicBezTo>
                                <a:cubicBezTo>
                                  <a:pt x="21" y="18"/>
                                  <a:pt x="19" y="18"/>
                                  <a:pt x="18" y="17"/>
                                </a:cubicBezTo>
                                <a:cubicBezTo>
                                  <a:pt x="18" y="17"/>
                                  <a:pt x="18" y="14"/>
                                  <a:pt x="18" y="14"/>
                                </a:cubicBezTo>
                                <a:cubicBezTo>
                                  <a:pt x="17" y="14"/>
                                  <a:pt x="17" y="15"/>
                                  <a:pt x="17" y="15"/>
                                </a:cubicBezTo>
                                <a:cubicBezTo>
                                  <a:pt x="16" y="16"/>
                                  <a:pt x="14" y="16"/>
                                  <a:pt x="13" y="16"/>
                                </a:cubicBezTo>
                                <a:cubicBezTo>
                                  <a:pt x="13" y="15"/>
                                  <a:pt x="13" y="13"/>
                                  <a:pt x="12" y="12"/>
                                </a:cubicBezTo>
                                <a:cubicBezTo>
                                  <a:pt x="11" y="12"/>
                                  <a:pt x="10" y="12"/>
                                  <a:pt x="9" y="12"/>
                                </a:cubicBezTo>
                                <a:cubicBezTo>
                                  <a:pt x="9" y="10"/>
                                  <a:pt x="8" y="11"/>
                                  <a:pt x="7" y="10"/>
                                </a:cubicBezTo>
                                <a:cubicBezTo>
                                  <a:pt x="5" y="10"/>
                                  <a:pt x="6" y="10"/>
                                  <a:pt x="5" y="9"/>
                                </a:cubicBezTo>
                                <a:cubicBezTo>
                                  <a:pt x="5" y="8"/>
                                  <a:pt x="2" y="8"/>
                                  <a:pt x="1" y="8"/>
                                </a:cubicBezTo>
                                <a:cubicBezTo>
                                  <a:pt x="0" y="7"/>
                                  <a:pt x="1" y="5"/>
                                  <a:pt x="0" y="4"/>
                                </a:cubicBezTo>
                                <a:cubicBezTo>
                                  <a:pt x="0" y="4"/>
                                  <a:pt x="0" y="4"/>
                                  <a:pt x="0" y="4"/>
                                </a:cubicBezTo>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grpSp>
                  </p:grpSp>
                  <p:grpSp>
                    <p:nvGrpSpPr>
                      <p:cNvPr id="56" name="Group 221">
                        <a:extLst>
                          <a:ext uri="{FF2B5EF4-FFF2-40B4-BE49-F238E27FC236}">
                            <a16:creationId xmlns:a16="http://schemas.microsoft.com/office/drawing/2014/main" id="{D5228F53-63D1-2A1D-0196-43B37BBD46C4}"/>
                          </a:ext>
                        </a:extLst>
                      </p:cNvPr>
                      <p:cNvGrpSpPr/>
                      <p:nvPr/>
                    </p:nvGrpSpPr>
                    <p:grpSpPr>
                      <a:xfrm>
                        <a:off x="3925373" y="1630392"/>
                        <a:ext cx="420227" cy="700096"/>
                        <a:chOff x="3925373" y="1630392"/>
                        <a:chExt cx="420227" cy="700096"/>
                      </a:xfrm>
                      <a:grpFill/>
                    </p:grpSpPr>
                    <p:sp>
                      <p:nvSpPr>
                        <p:cNvPr id="57" name="Switzerland">
                          <a:extLst>
                            <a:ext uri="{FF2B5EF4-FFF2-40B4-BE49-F238E27FC236}">
                              <a16:creationId xmlns:a16="http://schemas.microsoft.com/office/drawing/2014/main" id="{2E32616B-583D-2596-4BEE-E6FB69BD5AD8}"/>
                            </a:ext>
                          </a:extLst>
                        </p:cNvPr>
                        <p:cNvSpPr>
                          <a:spLocks/>
                        </p:cNvSpPr>
                        <p:nvPr/>
                      </p:nvSpPr>
                      <p:spPr bwMode="auto">
                        <a:xfrm>
                          <a:off x="3935080" y="2161835"/>
                          <a:ext cx="91001" cy="50960"/>
                        </a:xfrm>
                        <a:custGeom>
                          <a:avLst/>
                          <a:gdLst/>
                          <a:ahLst/>
                          <a:cxnLst>
                            <a:cxn ang="0">
                              <a:pos x="0" y="17"/>
                            </a:cxn>
                            <a:cxn ang="0">
                              <a:pos x="1" y="15"/>
                            </a:cxn>
                            <a:cxn ang="0">
                              <a:pos x="1" y="13"/>
                            </a:cxn>
                            <a:cxn ang="0">
                              <a:pos x="3" y="11"/>
                            </a:cxn>
                            <a:cxn ang="0">
                              <a:pos x="6" y="7"/>
                            </a:cxn>
                            <a:cxn ang="0">
                              <a:pos x="9" y="4"/>
                            </a:cxn>
                            <a:cxn ang="0">
                              <a:pos x="8" y="3"/>
                            </a:cxn>
                            <a:cxn ang="0">
                              <a:pos x="10" y="3"/>
                            </a:cxn>
                            <a:cxn ang="0">
                              <a:pos x="14" y="2"/>
                            </a:cxn>
                            <a:cxn ang="0">
                              <a:pos x="17" y="2"/>
                            </a:cxn>
                            <a:cxn ang="0">
                              <a:pos x="19" y="2"/>
                            </a:cxn>
                            <a:cxn ang="0">
                              <a:pos x="22" y="1"/>
                            </a:cxn>
                            <a:cxn ang="0">
                              <a:pos x="22" y="0"/>
                            </a:cxn>
                            <a:cxn ang="0">
                              <a:pos x="23" y="0"/>
                            </a:cxn>
                            <a:cxn ang="0">
                              <a:pos x="26" y="1"/>
                            </a:cxn>
                            <a:cxn ang="0">
                              <a:pos x="30" y="2"/>
                            </a:cxn>
                            <a:cxn ang="0">
                              <a:pos x="29" y="7"/>
                            </a:cxn>
                            <a:cxn ang="0">
                              <a:pos x="35" y="9"/>
                            </a:cxn>
                            <a:cxn ang="0">
                              <a:pos x="36" y="9"/>
                            </a:cxn>
                            <a:cxn ang="0">
                              <a:pos x="37" y="8"/>
                            </a:cxn>
                            <a:cxn ang="0">
                              <a:pos x="37" y="10"/>
                            </a:cxn>
                            <a:cxn ang="0">
                              <a:pos x="37" y="13"/>
                            </a:cxn>
                            <a:cxn ang="0">
                              <a:pos x="36" y="12"/>
                            </a:cxn>
                            <a:cxn ang="0">
                              <a:pos x="35" y="12"/>
                            </a:cxn>
                            <a:cxn ang="0">
                              <a:pos x="34" y="14"/>
                            </a:cxn>
                            <a:cxn ang="0">
                              <a:pos x="35" y="16"/>
                            </a:cxn>
                            <a:cxn ang="0">
                              <a:pos x="32" y="15"/>
                            </a:cxn>
                            <a:cxn ang="0">
                              <a:pos x="29" y="14"/>
                            </a:cxn>
                            <a:cxn ang="0">
                              <a:pos x="28" y="14"/>
                            </a:cxn>
                            <a:cxn ang="0">
                              <a:pos x="26" y="17"/>
                            </a:cxn>
                            <a:cxn ang="0">
                              <a:pos x="24" y="19"/>
                            </a:cxn>
                            <a:cxn ang="0">
                              <a:pos x="22" y="17"/>
                            </a:cxn>
                            <a:cxn ang="0">
                              <a:pos x="20" y="14"/>
                            </a:cxn>
                            <a:cxn ang="0">
                              <a:pos x="18" y="15"/>
                            </a:cxn>
                            <a:cxn ang="0">
                              <a:pos x="15" y="19"/>
                            </a:cxn>
                            <a:cxn ang="0">
                              <a:pos x="13" y="19"/>
                            </a:cxn>
                            <a:cxn ang="0">
                              <a:pos x="8" y="18"/>
                            </a:cxn>
                            <a:cxn ang="0">
                              <a:pos x="7" y="16"/>
                            </a:cxn>
                            <a:cxn ang="0">
                              <a:pos x="4" y="14"/>
                            </a:cxn>
                            <a:cxn ang="0">
                              <a:pos x="0" y="17"/>
                            </a:cxn>
                          </a:cxnLst>
                          <a:rect l="0" t="0" r="r" b="b"/>
                          <a:pathLst>
                            <a:path w="39" h="22">
                              <a:moveTo>
                                <a:pt x="0" y="17"/>
                              </a:moveTo>
                              <a:cubicBezTo>
                                <a:pt x="0" y="16"/>
                                <a:pt x="0" y="16"/>
                                <a:pt x="1" y="15"/>
                              </a:cubicBezTo>
                              <a:cubicBezTo>
                                <a:pt x="1" y="14"/>
                                <a:pt x="0" y="14"/>
                                <a:pt x="1" y="13"/>
                              </a:cubicBezTo>
                              <a:cubicBezTo>
                                <a:pt x="1" y="12"/>
                                <a:pt x="3" y="11"/>
                                <a:pt x="3" y="11"/>
                              </a:cubicBezTo>
                              <a:cubicBezTo>
                                <a:pt x="3" y="9"/>
                                <a:pt x="4" y="8"/>
                                <a:pt x="6" y="7"/>
                              </a:cubicBezTo>
                              <a:cubicBezTo>
                                <a:pt x="7" y="7"/>
                                <a:pt x="8" y="5"/>
                                <a:pt x="9" y="4"/>
                              </a:cubicBezTo>
                              <a:cubicBezTo>
                                <a:pt x="8" y="4"/>
                                <a:pt x="8" y="4"/>
                                <a:pt x="8" y="3"/>
                              </a:cubicBezTo>
                              <a:cubicBezTo>
                                <a:pt x="8" y="3"/>
                                <a:pt x="9" y="2"/>
                                <a:pt x="10" y="3"/>
                              </a:cubicBezTo>
                              <a:cubicBezTo>
                                <a:pt x="12" y="4"/>
                                <a:pt x="13" y="2"/>
                                <a:pt x="14" y="2"/>
                              </a:cubicBezTo>
                              <a:cubicBezTo>
                                <a:pt x="14" y="2"/>
                                <a:pt x="16" y="2"/>
                                <a:pt x="17" y="2"/>
                              </a:cubicBezTo>
                              <a:cubicBezTo>
                                <a:pt x="18" y="2"/>
                                <a:pt x="18" y="2"/>
                                <a:pt x="19" y="2"/>
                              </a:cubicBezTo>
                              <a:cubicBezTo>
                                <a:pt x="20" y="2"/>
                                <a:pt x="22" y="2"/>
                                <a:pt x="22" y="1"/>
                              </a:cubicBezTo>
                              <a:cubicBezTo>
                                <a:pt x="21" y="1"/>
                                <a:pt x="20" y="0"/>
                                <a:pt x="22" y="0"/>
                              </a:cubicBezTo>
                              <a:cubicBezTo>
                                <a:pt x="22" y="0"/>
                                <a:pt x="22" y="0"/>
                                <a:pt x="23" y="0"/>
                              </a:cubicBezTo>
                              <a:cubicBezTo>
                                <a:pt x="24" y="1"/>
                                <a:pt x="26" y="1"/>
                                <a:pt x="26" y="1"/>
                              </a:cubicBezTo>
                              <a:cubicBezTo>
                                <a:pt x="27" y="1"/>
                                <a:pt x="29" y="1"/>
                                <a:pt x="30" y="2"/>
                              </a:cubicBezTo>
                              <a:cubicBezTo>
                                <a:pt x="32" y="4"/>
                                <a:pt x="30" y="6"/>
                                <a:pt x="29" y="7"/>
                              </a:cubicBezTo>
                              <a:cubicBezTo>
                                <a:pt x="32" y="7"/>
                                <a:pt x="32" y="9"/>
                                <a:pt x="35" y="9"/>
                              </a:cubicBezTo>
                              <a:cubicBezTo>
                                <a:pt x="35" y="9"/>
                                <a:pt x="36" y="9"/>
                                <a:pt x="36" y="9"/>
                              </a:cubicBezTo>
                              <a:cubicBezTo>
                                <a:pt x="36" y="8"/>
                                <a:pt x="37" y="8"/>
                                <a:pt x="37" y="8"/>
                              </a:cubicBezTo>
                              <a:cubicBezTo>
                                <a:pt x="39" y="8"/>
                                <a:pt x="37" y="10"/>
                                <a:pt x="37" y="10"/>
                              </a:cubicBezTo>
                              <a:cubicBezTo>
                                <a:pt x="37" y="11"/>
                                <a:pt x="38" y="13"/>
                                <a:pt x="37" y="13"/>
                              </a:cubicBezTo>
                              <a:cubicBezTo>
                                <a:pt x="37" y="13"/>
                                <a:pt x="37" y="12"/>
                                <a:pt x="36" y="12"/>
                              </a:cubicBezTo>
                              <a:cubicBezTo>
                                <a:pt x="36" y="12"/>
                                <a:pt x="35" y="11"/>
                                <a:pt x="35" y="12"/>
                              </a:cubicBezTo>
                              <a:cubicBezTo>
                                <a:pt x="35" y="12"/>
                                <a:pt x="34" y="14"/>
                                <a:pt x="34" y="14"/>
                              </a:cubicBezTo>
                              <a:cubicBezTo>
                                <a:pt x="36" y="14"/>
                                <a:pt x="35" y="15"/>
                                <a:pt x="35" y="16"/>
                              </a:cubicBezTo>
                              <a:cubicBezTo>
                                <a:pt x="34" y="16"/>
                                <a:pt x="34" y="14"/>
                                <a:pt x="32" y="15"/>
                              </a:cubicBezTo>
                              <a:cubicBezTo>
                                <a:pt x="31" y="15"/>
                                <a:pt x="30" y="15"/>
                                <a:pt x="29" y="14"/>
                              </a:cubicBezTo>
                              <a:cubicBezTo>
                                <a:pt x="29" y="14"/>
                                <a:pt x="28" y="12"/>
                                <a:pt x="28" y="14"/>
                              </a:cubicBezTo>
                              <a:cubicBezTo>
                                <a:pt x="28" y="15"/>
                                <a:pt x="28" y="16"/>
                                <a:pt x="26" y="17"/>
                              </a:cubicBezTo>
                              <a:cubicBezTo>
                                <a:pt x="25" y="18"/>
                                <a:pt x="26" y="22"/>
                                <a:pt x="24" y="19"/>
                              </a:cubicBezTo>
                              <a:cubicBezTo>
                                <a:pt x="23" y="18"/>
                                <a:pt x="23" y="17"/>
                                <a:pt x="22" y="17"/>
                              </a:cubicBezTo>
                              <a:cubicBezTo>
                                <a:pt x="21" y="16"/>
                                <a:pt x="21" y="14"/>
                                <a:pt x="20" y="14"/>
                              </a:cubicBezTo>
                              <a:cubicBezTo>
                                <a:pt x="20" y="14"/>
                                <a:pt x="19" y="15"/>
                                <a:pt x="18" y="15"/>
                              </a:cubicBezTo>
                              <a:cubicBezTo>
                                <a:pt x="19" y="17"/>
                                <a:pt x="16" y="19"/>
                                <a:pt x="15" y="19"/>
                              </a:cubicBezTo>
                              <a:cubicBezTo>
                                <a:pt x="14" y="19"/>
                                <a:pt x="13" y="19"/>
                                <a:pt x="13" y="19"/>
                              </a:cubicBezTo>
                              <a:cubicBezTo>
                                <a:pt x="11" y="19"/>
                                <a:pt x="10" y="20"/>
                                <a:pt x="8" y="18"/>
                              </a:cubicBezTo>
                              <a:cubicBezTo>
                                <a:pt x="8" y="17"/>
                                <a:pt x="7" y="17"/>
                                <a:pt x="7" y="16"/>
                              </a:cubicBezTo>
                              <a:cubicBezTo>
                                <a:pt x="7" y="14"/>
                                <a:pt x="6" y="14"/>
                                <a:pt x="4" y="14"/>
                              </a:cubicBezTo>
                              <a:cubicBezTo>
                                <a:pt x="2" y="14"/>
                                <a:pt x="3" y="17"/>
                                <a:pt x="0" y="17"/>
                              </a:cubicBezTo>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58" name="Sweden">
                          <a:extLst>
                            <a:ext uri="{FF2B5EF4-FFF2-40B4-BE49-F238E27FC236}">
                              <a16:creationId xmlns:a16="http://schemas.microsoft.com/office/drawing/2014/main" id="{D42134A2-335E-7649-FAB3-56312E1CB4CF}"/>
                            </a:ext>
                          </a:extLst>
                        </p:cNvPr>
                        <p:cNvSpPr>
                          <a:spLocks/>
                        </p:cNvSpPr>
                        <p:nvPr/>
                      </p:nvSpPr>
                      <p:spPr bwMode="auto">
                        <a:xfrm>
                          <a:off x="4033820" y="1673806"/>
                          <a:ext cx="214302" cy="305501"/>
                        </a:xfrm>
                        <a:custGeom>
                          <a:avLst/>
                          <a:gdLst>
                            <a:gd name="connsiteX0" fmla="*/ 105516 w 210290"/>
                            <a:gd name="connsiteY0" fmla="*/ 255055 h 299783"/>
                            <a:gd name="connsiteX1" fmla="*/ 101150 w 210290"/>
                            <a:gd name="connsiteY1" fmla="*/ 269343 h 299783"/>
                            <a:gd name="connsiteX2" fmla="*/ 94602 w 210290"/>
                            <a:gd name="connsiteY2" fmla="*/ 278868 h 299783"/>
                            <a:gd name="connsiteX3" fmla="*/ 94602 w 210290"/>
                            <a:gd name="connsiteY3" fmla="*/ 276487 h 299783"/>
                            <a:gd name="connsiteX4" fmla="*/ 101150 w 210290"/>
                            <a:gd name="connsiteY4" fmla="*/ 262199 h 299783"/>
                            <a:gd name="connsiteX5" fmla="*/ 105516 w 210290"/>
                            <a:gd name="connsiteY5" fmla="*/ 255055 h 299783"/>
                            <a:gd name="connsiteX6" fmla="*/ 132359 w 210290"/>
                            <a:gd name="connsiteY6" fmla="*/ 241851 h 299783"/>
                            <a:gd name="connsiteX7" fmla="*/ 136905 w 210290"/>
                            <a:gd name="connsiteY7" fmla="*/ 253217 h 299783"/>
                            <a:gd name="connsiteX8" fmla="*/ 127813 w 210290"/>
                            <a:gd name="connsiteY8" fmla="*/ 262309 h 299783"/>
                            <a:gd name="connsiteX9" fmla="*/ 123267 w 210290"/>
                            <a:gd name="connsiteY9" fmla="*/ 264582 h 299783"/>
                            <a:gd name="connsiteX10" fmla="*/ 125540 w 210290"/>
                            <a:gd name="connsiteY10" fmla="*/ 260036 h 299783"/>
                            <a:gd name="connsiteX11" fmla="*/ 123267 w 210290"/>
                            <a:gd name="connsiteY11" fmla="*/ 248670 h 299783"/>
                            <a:gd name="connsiteX12" fmla="*/ 132359 w 210290"/>
                            <a:gd name="connsiteY12" fmla="*/ 241851 h 299783"/>
                            <a:gd name="connsiteX13" fmla="*/ 123694 w 210290"/>
                            <a:gd name="connsiteY13" fmla="*/ 210505 h 299783"/>
                            <a:gd name="connsiteX14" fmla="*/ 123913 w 210290"/>
                            <a:gd name="connsiteY14" fmla="*/ 210544 h 299783"/>
                            <a:gd name="connsiteX15" fmla="*/ 123828 w 210290"/>
                            <a:gd name="connsiteY15" fmla="*/ 210639 h 299783"/>
                            <a:gd name="connsiteX16" fmla="*/ 125973 w 210290"/>
                            <a:gd name="connsiteY16" fmla="*/ 208230 h 299783"/>
                            <a:gd name="connsiteX17" fmla="*/ 128252 w 210290"/>
                            <a:gd name="connsiteY17" fmla="*/ 210505 h 299783"/>
                            <a:gd name="connsiteX18" fmla="*/ 128537 w 210290"/>
                            <a:gd name="connsiteY18" fmla="*/ 211358 h 299783"/>
                            <a:gd name="connsiteX19" fmla="*/ 123913 w 210290"/>
                            <a:gd name="connsiteY19" fmla="*/ 210544 h 299783"/>
                            <a:gd name="connsiteX20" fmla="*/ 148377 w 210290"/>
                            <a:gd name="connsiteY20" fmla="*/ 184809 h 299783"/>
                            <a:gd name="connsiteX21" fmla="*/ 155521 w 210290"/>
                            <a:gd name="connsiteY21" fmla="*/ 189572 h 299783"/>
                            <a:gd name="connsiteX22" fmla="*/ 150759 w 210290"/>
                            <a:gd name="connsiteY22" fmla="*/ 187190 h 299783"/>
                            <a:gd name="connsiteX23" fmla="*/ 150759 w 210290"/>
                            <a:gd name="connsiteY23" fmla="*/ 191953 h 299783"/>
                            <a:gd name="connsiteX24" fmla="*/ 145996 w 210290"/>
                            <a:gd name="connsiteY24" fmla="*/ 187190 h 299783"/>
                            <a:gd name="connsiteX25" fmla="*/ 148377 w 210290"/>
                            <a:gd name="connsiteY25" fmla="*/ 189572 h 299783"/>
                            <a:gd name="connsiteX26" fmla="*/ 148377 w 210290"/>
                            <a:gd name="connsiteY26" fmla="*/ 184809 h 299783"/>
                            <a:gd name="connsiteX27" fmla="*/ 123375 w 210290"/>
                            <a:gd name="connsiteY27" fmla="*/ 182428 h 299783"/>
                            <a:gd name="connsiteX28" fmla="*/ 128137 w 210290"/>
                            <a:gd name="connsiteY28" fmla="*/ 187191 h 299783"/>
                            <a:gd name="connsiteX29" fmla="*/ 123375 w 210290"/>
                            <a:gd name="connsiteY29" fmla="*/ 184810 h 299783"/>
                            <a:gd name="connsiteX30" fmla="*/ 123375 w 210290"/>
                            <a:gd name="connsiteY30" fmla="*/ 182428 h 299783"/>
                            <a:gd name="connsiteX31" fmla="*/ 139646 w 210290"/>
                            <a:gd name="connsiteY31" fmla="*/ 1239 h 299783"/>
                            <a:gd name="connsiteX32" fmla="*/ 166992 w 210290"/>
                            <a:gd name="connsiteY32" fmla="*/ 10338 h 299783"/>
                            <a:gd name="connsiteX33" fmla="*/ 185223 w 210290"/>
                            <a:gd name="connsiteY33" fmla="*/ 14887 h 299783"/>
                            <a:gd name="connsiteX34" fmla="*/ 196617 w 210290"/>
                            <a:gd name="connsiteY34" fmla="*/ 23985 h 299783"/>
                            <a:gd name="connsiteX35" fmla="*/ 194338 w 210290"/>
                            <a:gd name="connsiteY35" fmla="*/ 26260 h 299783"/>
                            <a:gd name="connsiteX36" fmla="*/ 194338 w 210290"/>
                            <a:gd name="connsiteY36" fmla="*/ 30809 h 299783"/>
                            <a:gd name="connsiteX37" fmla="*/ 198896 w 210290"/>
                            <a:gd name="connsiteY37" fmla="*/ 33084 h 299783"/>
                            <a:gd name="connsiteX38" fmla="*/ 198896 w 210290"/>
                            <a:gd name="connsiteY38" fmla="*/ 37633 h 299783"/>
                            <a:gd name="connsiteX39" fmla="*/ 203454 w 210290"/>
                            <a:gd name="connsiteY39" fmla="*/ 44457 h 299783"/>
                            <a:gd name="connsiteX40" fmla="*/ 203454 w 210290"/>
                            <a:gd name="connsiteY40" fmla="*/ 53556 h 299783"/>
                            <a:gd name="connsiteX41" fmla="*/ 210290 w 210290"/>
                            <a:gd name="connsiteY41" fmla="*/ 67203 h 299783"/>
                            <a:gd name="connsiteX42" fmla="*/ 194338 w 210290"/>
                            <a:gd name="connsiteY42" fmla="*/ 67203 h 299783"/>
                            <a:gd name="connsiteX43" fmla="*/ 196617 w 210290"/>
                            <a:gd name="connsiteY43" fmla="*/ 69478 h 299783"/>
                            <a:gd name="connsiteX44" fmla="*/ 187502 w 210290"/>
                            <a:gd name="connsiteY44" fmla="*/ 67203 h 299783"/>
                            <a:gd name="connsiteX45" fmla="*/ 180665 w 210290"/>
                            <a:gd name="connsiteY45" fmla="*/ 69478 h 299783"/>
                            <a:gd name="connsiteX46" fmla="*/ 182944 w 210290"/>
                            <a:gd name="connsiteY46" fmla="*/ 74027 h 299783"/>
                            <a:gd name="connsiteX47" fmla="*/ 176108 w 210290"/>
                            <a:gd name="connsiteY47" fmla="*/ 71753 h 299783"/>
                            <a:gd name="connsiteX48" fmla="*/ 178387 w 210290"/>
                            <a:gd name="connsiteY48" fmla="*/ 74027 h 299783"/>
                            <a:gd name="connsiteX49" fmla="*/ 173829 w 210290"/>
                            <a:gd name="connsiteY49" fmla="*/ 74027 h 299783"/>
                            <a:gd name="connsiteX50" fmla="*/ 166992 w 210290"/>
                            <a:gd name="connsiteY50" fmla="*/ 76302 h 299783"/>
                            <a:gd name="connsiteX51" fmla="*/ 169271 w 210290"/>
                            <a:gd name="connsiteY51" fmla="*/ 85400 h 299783"/>
                            <a:gd name="connsiteX52" fmla="*/ 162435 w 210290"/>
                            <a:gd name="connsiteY52" fmla="*/ 87675 h 299783"/>
                            <a:gd name="connsiteX53" fmla="*/ 164714 w 210290"/>
                            <a:gd name="connsiteY53" fmla="*/ 89950 h 299783"/>
                            <a:gd name="connsiteX54" fmla="*/ 171550 w 210290"/>
                            <a:gd name="connsiteY54" fmla="*/ 96774 h 299783"/>
                            <a:gd name="connsiteX55" fmla="*/ 160156 w 210290"/>
                            <a:gd name="connsiteY55" fmla="*/ 105872 h 299783"/>
                            <a:gd name="connsiteX56" fmla="*/ 153319 w 210290"/>
                            <a:gd name="connsiteY56" fmla="*/ 114971 h 299783"/>
                            <a:gd name="connsiteX57" fmla="*/ 151041 w 210290"/>
                            <a:gd name="connsiteY57" fmla="*/ 112696 h 299783"/>
                            <a:gd name="connsiteX58" fmla="*/ 144204 w 210290"/>
                            <a:gd name="connsiteY58" fmla="*/ 114971 h 299783"/>
                            <a:gd name="connsiteX59" fmla="*/ 139646 w 210290"/>
                            <a:gd name="connsiteY59" fmla="*/ 117245 h 299783"/>
                            <a:gd name="connsiteX60" fmla="*/ 135089 w 210290"/>
                            <a:gd name="connsiteY60" fmla="*/ 119520 h 299783"/>
                            <a:gd name="connsiteX61" fmla="*/ 132810 w 210290"/>
                            <a:gd name="connsiteY61" fmla="*/ 121794 h 299783"/>
                            <a:gd name="connsiteX62" fmla="*/ 119137 w 210290"/>
                            <a:gd name="connsiteY62" fmla="*/ 128618 h 299783"/>
                            <a:gd name="connsiteX63" fmla="*/ 121416 w 210290"/>
                            <a:gd name="connsiteY63" fmla="*/ 128618 h 299783"/>
                            <a:gd name="connsiteX64" fmla="*/ 119137 w 210290"/>
                            <a:gd name="connsiteY64" fmla="*/ 130893 h 299783"/>
                            <a:gd name="connsiteX65" fmla="*/ 114579 w 210290"/>
                            <a:gd name="connsiteY65" fmla="*/ 133168 h 299783"/>
                            <a:gd name="connsiteX66" fmla="*/ 112300 w 210290"/>
                            <a:gd name="connsiteY66" fmla="*/ 133168 h 299783"/>
                            <a:gd name="connsiteX67" fmla="*/ 110021 w 210290"/>
                            <a:gd name="connsiteY67" fmla="*/ 126344 h 299783"/>
                            <a:gd name="connsiteX68" fmla="*/ 112300 w 210290"/>
                            <a:gd name="connsiteY68" fmla="*/ 135442 h 299783"/>
                            <a:gd name="connsiteX69" fmla="*/ 105464 w 210290"/>
                            <a:gd name="connsiteY69" fmla="*/ 139991 h 299783"/>
                            <a:gd name="connsiteX70" fmla="*/ 110021 w 210290"/>
                            <a:gd name="connsiteY70" fmla="*/ 144541 h 299783"/>
                            <a:gd name="connsiteX71" fmla="*/ 105464 w 210290"/>
                            <a:gd name="connsiteY71" fmla="*/ 151365 h 299783"/>
                            <a:gd name="connsiteX72" fmla="*/ 107743 w 210290"/>
                            <a:gd name="connsiteY72" fmla="*/ 158188 h 299783"/>
                            <a:gd name="connsiteX73" fmla="*/ 100906 w 210290"/>
                            <a:gd name="connsiteY73" fmla="*/ 155914 h 299783"/>
                            <a:gd name="connsiteX74" fmla="*/ 103185 w 210290"/>
                            <a:gd name="connsiteY74" fmla="*/ 160463 h 299783"/>
                            <a:gd name="connsiteX75" fmla="*/ 100906 w 210290"/>
                            <a:gd name="connsiteY75" fmla="*/ 162738 h 299783"/>
                            <a:gd name="connsiteX76" fmla="*/ 100906 w 210290"/>
                            <a:gd name="connsiteY76" fmla="*/ 171836 h 299783"/>
                            <a:gd name="connsiteX77" fmla="*/ 105464 w 210290"/>
                            <a:gd name="connsiteY77" fmla="*/ 178660 h 299783"/>
                            <a:gd name="connsiteX78" fmla="*/ 103185 w 210290"/>
                            <a:gd name="connsiteY78" fmla="*/ 178660 h 299783"/>
                            <a:gd name="connsiteX79" fmla="*/ 110021 w 210290"/>
                            <a:gd name="connsiteY79" fmla="*/ 180935 h 299783"/>
                            <a:gd name="connsiteX80" fmla="*/ 116858 w 210290"/>
                            <a:gd name="connsiteY80" fmla="*/ 180935 h 299783"/>
                            <a:gd name="connsiteX81" fmla="*/ 128252 w 210290"/>
                            <a:gd name="connsiteY81" fmla="*/ 190033 h 299783"/>
                            <a:gd name="connsiteX82" fmla="*/ 130531 w 210290"/>
                            <a:gd name="connsiteY82" fmla="*/ 192308 h 299783"/>
                            <a:gd name="connsiteX83" fmla="*/ 132810 w 210290"/>
                            <a:gd name="connsiteY83" fmla="*/ 196857 h 299783"/>
                            <a:gd name="connsiteX84" fmla="*/ 137367 w 210290"/>
                            <a:gd name="connsiteY84" fmla="*/ 201406 h 299783"/>
                            <a:gd name="connsiteX85" fmla="*/ 128252 w 210290"/>
                            <a:gd name="connsiteY85" fmla="*/ 205956 h 299783"/>
                            <a:gd name="connsiteX86" fmla="*/ 123694 w 210290"/>
                            <a:gd name="connsiteY86" fmla="*/ 208230 h 299783"/>
                            <a:gd name="connsiteX87" fmla="*/ 121416 w 210290"/>
                            <a:gd name="connsiteY87" fmla="*/ 208230 h 299783"/>
                            <a:gd name="connsiteX88" fmla="*/ 123694 w 210290"/>
                            <a:gd name="connsiteY88" fmla="*/ 210789 h 299783"/>
                            <a:gd name="connsiteX89" fmla="*/ 123828 w 210290"/>
                            <a:gd name="connsiteY89" fmla="*/ 210639 h 299783"/>
                            <a:gd name="connsiteX90" fmla="*/ 128252 w 210290"/>
                            <a:gd name="connsiteY90" fmla="*/ 215054 h 299783"/>
                            <a:gd name="connsiteX91" fmla="*/ 121416 w 210290"/>
                            <a:gd name="connsiteY91" fmla="*/ 215054 h 299783"/>
                            <a:gd name="connsiteX92" fmla="*/ 116858 w 210290"/>
                            <a:gd name="connsiteY92" fmla="*/ 219604 h 299783"/>
                            <a:gd name="connsiteX93" fmla="*/ 112300 w 210290"/>
                            <a:gd name="connsiteY93" fmla="*/ 215054 h 299783"/>
                            <a:gd name="connsiteX94" fmla="*/ 114579 w 210290"/>
                            <a:gd name="connsiteY94" fmla="*/ 219604 h 299783"/>
                            <a:gd name="connsiteX95" fmla="*/ 112300 w 210290"/>
                            <a:gd name="connsiteY95" fmla="*/ 219604 h 299783"/>
                            <a:gd name="connsiteX96" fmla="*/ 110021 w 210290"/>
                            <a:gd name="connsiteY96" fmla="*/ 221878 h 299783"/>
                            <a:gd name="connsiteX97" fmla="*/ 103185 w 210290"/>
                            <a:gd name="connsiteY97" fmla="*/ 224153 h 299783"/>
                            <a:gd name="connsiteX98" fmla="*/ 105464 w 210290"/>
                            <a:gd name="connsiteY98" fmla="*/ 226427 h 299783"/>
                            <a:gd name="connsiteX99" fmla="*/ 89512 w 210290"/>
                            <a:gd name="connsiteY99" fmla="*/ 226427 h 299783"/>
                            <a:gd name="connsiteX100" fmla="*/ 100906 w 210290"/>
                            <a:gd name="connsiteY100" fmla="*/ 228702 h 299783"/>
                            <a:gd name="connsiteX101" fmla="*/ 91791 w 210290"/>
                            <a:gd name="connsiteY101" fmla="*/ 228702 h 299783"/>
                            <a:gd name="connsiteX102" fmla="*/ 96348 w 210290"/>
                            <a:gd name="connsiteY102" fmla="*/ 240075 h 299783"/>
                            <a:gd name="connsiteX103" fmla="*/ 98627 w 210290"/>
                            <a:gd name="connsiteY103" fmla="*/ 242350 h 299783"/>
                            <a:gd name="connsiteX104" fmla="*/ 94070 w 210290"/>
                            <a:gd name="connsiteY104" fmla="*/ 242350 h 299783"/>
                            <a:gd name="connsiteX105" fmla="*/ 96348 w 210290"/>
                            <a:gd name="connsiteY105" fmla="*/ 246899 h 299783"/>
                            <a:gd name="connsiteX106" fmla="*/ 96348 w 210290"/>
                            <a:gd name="connsiteY106" fmla="*/ 253723 h 299783"/>
                            <a:gd name="connsiteX107" fmla="*/ 91791 w 210290"/>
                            <a:gd name="connsiteY107" fmla="*/ 269645 h 299783"/>
                            <a:gd name="connsiteX108" fmla="*/ 82676 w 210290"/>
                            <a:gd name="connsiteY108" fmla="*/ 281018 h 299783"/>
                            <a:gd name="connsiteX109" fmla="*/ 69003 w 210290"/>
                            <a:gd name="connsiteY109" fmla="*/ 283293 h 299783"/>
                            <a:gd name="connsiteX110" fmla="*/ 64445 w 210290"/>
                            <a:gd name="connsiteY110" fmla="*/ 285568 h 299783"/>
                            <a:gd name="connsiteX111" fmla="*/ 55330 w 210290"/>
                            <a:gd name="connsiteY111" fmla="*/ 290117 h 299783"/>
                            <a:gd name="connsiteX112" fmla="*/ 57608 w 210290"/>
                            <a:gd name="connsiteY112" fmla="*/ 296941 h 299783"/>
                            <a:gd name="connsiteX113" fmla="*/ 48493 w 210290"/>
                            <a:gd name="connsiteY113" fmla="*/ 299215 h 299783"/>
                            <a:gd name="connsiteX114" fmla="*/ 30262 w 210290"/>
                            <a:gd name="connsiteY114" fmla="*/ 299215 h 299783"/>
                            <a:gd name="connsiteX115" fmla="*/ 32541 w 210290"/>
                            <a:gd name="connsiteY115" fmla="*/ 290117 h 299783"/>
                            <a:gd name="connsiteX116" fmla="*/ 25705 w 210290"/>
                            <a:gd name="connsiteY116" fmla="*/ 278744 h 299783"/>
                            <a:gd name="connsiteX117" fmla="*/ 27984 w 210290"/>
                            <a:gd name="connsiteY117" fmla="*/ 276469 h 299783"/>
                            <a:gd name="connsiteX118" fmla="*/ 25705 w 210290"/>
                            <a:gd name="connsiteY118" fmla="*/ 267371 h 299783"/>
                            <a:gd name="connsiteX119" fmla="*/ 18868 w 210290"/>
                            <a:gd name="connsiteY119" fmla="*/ 258272 h 299783"/>
                            <a:gd name="connsiteX120" fmla="*/ 14311 w 210290"/>
                            <a:gd name="connsiteY120" fmla="*/ 253723 h 299783"/>
                            <a:gd name="connsiteX121" fmla="*/ 14311 w 210290"/>
                            <a:gd name="connsiteY121" fmla="*/ 249174 h 299783"/>
                            <a:gd name="connsiteX122" fmla="*/ 12032 w 210290"/>
                            <a:gd name="connsiteY122" fmla="*/ 244624 h 299783"/>
                            <a:gd name="connsiteX123" fmla="*/ 12032 w 210290"/>
                            <a:gd name="connsiteY123" fmla="*/ 233251 h 299783"/>
                            <a:gd name="connsiteX124" fmla="*/ 5195 w 210290"/>
                            <a:gd name="connsiteY124" fmla="*/ 235526 h 299783"/>
                            <a:gd name="connsiteX125" fmla="*/ 9753 w 210290"/>
                            <a:gd name="connsiteY125" fmla="*/ 230977 h 299783"/>
                            <a:gd name="connsiteX126" fmla="*/ 5195 w 210290"/>
                            <a:gd name="connsiteY126" fmla="*/ 233251 h 299783"/>
                            <a:gd name="connsiteX127" fmla="*/ 2917 w 210290"/>
                            <a:gd name="connsiteY127" fmla="*/ 233251 h 299783"/>
                            <a:gd name="connsiteX128" fmla="*/ 638 w 210290"/>
                            <a:gd name="connsiteY128" fmla="*/ 215054 h 299783"/>
                            <a:gd name="connsiteX129" fmla="*/ 7474 w 210290"/>
                            <a:gd name="connsiteY129" fmla="*/ 219604 h 299783"/>
                            <a:gd name="connsiteX130" fmla="*/ 9753 w 210290"/>
                            <a:gd name="connsiteY130" fmla="*/ 208230 h 299783"/>
                            <a:gd name="connsiteX131" fmla="*/ 12032 w 210290"/>
                            <a:gd name="connsiteY131" fmla="*/ 199132 h 299783"/>
                            <a:gd name="connsiteX132" fmla="*/ 23426 w 210290"/>
                            <a:gd name="connsiteY132" fmla="*/ 192308 h 299783"/>
                            <a:gd name="connsiteX133" fmla="*/ 21147 w 210290"/>
                            <a:gd name="connsiteY133" fmla="*/ 180935 h 299783"/>
                            <a:gd name="connsiteX134" fmla="*/ 21147 w 210290"/>
                            <a:gd name="connsiteY134" fmla="*/ 171836 h 299783"/>
                            <a:gd name="connsiteX135" fmla="*/ 27984 w 210290"/>
                            <a:gd name="connsiteY135" fmla="*/ 167287 h 299783"/>
                            <a:gd name="connsiteX136" fmla="*/ 21147 w 210290"/>
                            <a:gd name="connsiteY136" fmla="*/ 160463 h 299783"/>
                            <a:gd name="connsiteX137" fmla="*/ 16589 w 210290"/>
                            <a:gd name="connsiteY137" fmla="*/ 151365 h 299783"/>
                            <a:gd name="connsiteX138" fmla="*/ 16589 w 210290"/>
                            <a:gd name="connsiteY138" fmla="*/ 137717 h 299783"/>
                            <a:gd name="connsiteX139" fmla="*/ 14311 w 210290"/>
                            <a:gd name="connsiteY139" fmla="*/ 130893 h 299783"/>
                            <a:gd name="connsiteX140" fmla="*/ 16589 w 210290"/>
                            <a:gd name="connsiteY140" fmla="*/ 128618 h 299783"/>
                            <a:gd name="connsiteX141" fmla="*/ 14311 w 210290"/>
                            <a:gd name="connsiteY141" fmla="*/ 121794 h 299783"/>
                            <a:gd name="connsiteX142" fmla="*/ 16589 w 210290"/>
                            <a:gd name="connsiteY142" fmla="*/ 117245 h 299783"/>
                            <a:gd name="connsiteX143" fmla="*/ 23426 w 210290"/>
                            <a:gd name="connsiteY143" fmla="*/ 108147 h 299783"/>
                            <a:gd name="connsiteX144" fmla="*/ 39378 w 210290"/>
                            <a:gd name="connsiteY144" fmla="*/ 105872 h 299783"/>
                            <a:gd name="connsiteX145" fmla="*/ 48493 w 210290"/>
                            <a:gd name="connsiteY145" fmla="*/ 101323 h 299783"/>
                            <a:gd name="connsiteX146" fmla="*/ 39378 w 210290"/>
                            <a:gd name="connsiteY146" fmla="*/ 94499 h 299783"/>
                            <a:gd name="connsiteX147" fmla="*/ 46214 w 210290"/>
                            <a:gd name="connsiteY147" fmla="*/ 87675 h 299783"/>
                            <a:gd name="connsiteX148" fmla="*/ 53051 w 210290"/>
                            <a:gd name="connsiteY148" fmla="*/ 78577 h 299783"/>
                            <a:gd name="connsiteX149" fmla="*/ 53051 w 210290"/>
                            <a:gd name="connsiteY149" fmla="*/ 60379 h 299783"/>
                            <a:gd name="connsiteX150" fmla="*/ 66724 w 210290"/>
                            <a:gd name="connsiteY150" fmla="*/ 58105 h 299783"/>
                            <a:gd name="connsiteX151" fmla="*/ 66724 w 210290"/>
                            <a:gd name="connsiteY151" fmla="*/ 53556 h 299783"/>
                            <a:gd name="connsiteX152" fmla="*/ 71281 w 210290"/>
                            <a:gd name="connsiteY152" fmla="*/ 51281 h 299783"/>
                            <a:gd name="connsiteX153" fmla="*/ 82676 w 210290"/>
                            <a:gd name="connsiteY153" fmla="*/ 42182 h 299783"/>
                            <a:gd name="connsiteX154" fmla="*/ 78118 w 210290"/>
                            <a:gd name="connsiteY154" fmla="*/ 33084 h 299783"/>
                            <a:gd name="connsiteX155" fmla="*/ 91791 w 210290"/>
                            <a:gd name="connsiteY155" fmla="*/ 21711 h 299783"/>
                            <a:gd name="connsiteX156" fmla="*/ 103185 w 210290"/>
                            <a:gd name="connsiteY156" fmla="*/ 21711 h 299783"/>
                            <a:gd name="connsiteX157" fmla="*/ 110021 w 210290"/>
                            <a:gd name="connsiteY157" fmla="*/ 17162 h 299783"/>
                            <a:gd name="connsiteX158" fmla="*/ 107743 w 210290"/>
                            <a:gd name="connsiteY158" fmla="*/ 10338 h 299783"/>
                            <a:gd name="connsiteX159" fmla="*/ 119137 w 210290"/>
                            <a:gd name="connsiteY159" fmla="*/ 12612 h 299783"/>
                            <a:gd name="connsiteX160" fmla="*/ 141925 w 210290"/>
                            <a:gd name="connsiteY160" fmla="*/ 12612 h 299783"/>
                            <a:gd name="connsiteX161" fmla="*/ 137367 w 210290"/>
                            <a:gd name="connsiteY161" fmla="*/ 10338 h 299783"/>
                            <a:gd name="connsiteX162" fmla="*/ 139646 w 210290"/>
                            <a:gd name="connsiteY162" fmla="*/ 1239 h 299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210290" h="299783">
                              <a:moveTo>
                                <a:pt x="105516" y="255055"/>
                              </a:moveTo>
                              <a:cubicBezTo>
                                <a:pt x="103333" y="259818"/>
                                <a:pt x="101150" y="264580"/>
                                <a:pt x="101150" y="269343"/>
                              </a:cubicBezTo>
                              <a:cubicBezTo>
                                <a:pt x="98967" y="271724"/>
                                <a:pt x="98967" y="278868"/>
                                <a:pt x="94602" y="278868"/>
                              </a:cubicBezTo>
                              <a:cubicBezTo>
                                <a:pt x="94602" y="278868"/>
                                <a:pt x="94602" y="276487"/>
                                <a:pt x="94602" y="276487"/>
                              </a:cubicBezTo>
                              <a:cubicBezTo>
                                <a:pt x="92419" y="269343"/>
                                <a:pt x="98967" y="266962"/>
                                <a:pt x="101150" y="262199"/>
                              </a:cubicBezTo>
                              <a:cubicBezTo>
                                <a:pt x="101150" y="259818"/>
                                <a:pt x="103333" y="255055"/>
                                <a:pt x="105516" y="255055"/>
                              </a:cubicBezTo>
                              <a:close/>
                              <a:moveTo>
                                <a:pt x="132359" y="241851"/>
                              </a:moveTo>
                              <a:cubicBezTo>
                                <a:pt x="145997" y="239578"/>
                                <a:pt x="127813" y="250944"/>
                                <a:pt x="136905" y="253217"/>
                              </a:cubicBezTo>
                              <a:cubicBezTo>
                                <a:pt x="134632" y="253217"/>
                                <a:pt x="127813" y="260036"/>
                                <a:pt x="127813" y="262309"/>
                              </a:cubicBezTo>
                              <a:cubicBezTo>
                                <a:pt x="127813" y="264582"/>
                                <a:pt x="125540" y="264582"/>
                                <a:pt x="123267" y="264582"/>
                              </a:cubicBezTo>
                              <a:cubicBezTo>
                                <a:pt x="123267" y="262309"/>
                                <a:pt x="125540" y="262309"/>
                                <a:pt x="125540" y="260036"/>
                              </a:cubicBezTo>
                              <a:cubicBezTo>
                                <a:pt x="123267" y="260036"/>
                                <a:pt x="120994" y="250944"/>
                                <a:pt x="123267" y="248670"/>
                              </a:cubicBezTo>
                              <a:cubicBezTo>
                                <a:pt x="125540" y="246397"/>
                                <a:pt x="130086" y="241851"/>
                                <a:pt x="132359" y="241851"/>
                              </a:cubicBezTo>
                              <a:close/>
                              <a:moveTo>
                                <a:pt x="123694" y="210505"/>
                              </a:moveTo>
                              <a:lnTo>
                                <a:pt x="123913" y="210544"/>
                              </a:lnTo>
                              <a:lnTo>
                                <a:pt x="123828" y="210639"/>
                              </a:lnTo>
                              <a:close/>
                              <a:moveTo>
                                <a:pt x="125973" y="208230"/>
                              </a:moveTo>
                              <a:cubicBezTo>
                                <a:pt x="128252" y="208230"/>
                                <a:pt x="130531" y="212780"/>
                                <a:pt x="128252" y="210505"/>
                              </a:cubicBezTo>
                              <a:cubicBezTo>
                                <a:pt x="130531" y="211642"/>
                                <a:pt x="129961" y="211642"/>
                                <a:pt x="128537" y="211358"/>
                              </a:cubicBezTo>
                              <a:lnTo>
                                <a:pt x="123913" y="210544"/>
                              </a:lnTo>
                              <a:close/>
                              <a:moveTo>
                                <a:pt x="148377" y="184809"/>
                              </a:moveTo>
                              <a:cubicBezTo>
                                <a:pt x="150759" y="184809"/>
                                <a:pt x="157902" y="189572"/>
                                <a:pt x="155521" y="189572"/>
                              </a:cubicBezTo>
                              <a:cubicBezTo>
                                <a:pt x="155521" y="191953"/>
                                <a:pt x="153140" y="187190"/>
                                <a:pt x="150759" y="187190"/>
                              </a:cubicBezTo>
                              <a:cubicBezTo>
                                <a:pt x="153140" y="189572"/>
                                <a:pt x="153140" y="191953"/>
                                <a:pt x="150759" y="191953"/>
                              </a:cubicBezTo>
                              <a:cubicBezTo>
                                <a:pt x="145996" y="194334"/>
                                <a:pt x="145996" y="189572"/>
                                <a:pt x="145996" y="187190"/>
                              </a:cubicBezTo>
                              <a:cubicBezTo>
                                <a:pt x="145996" y="187190"/>
                                <a:pt x="148377" y="189572"/>
                                <a:pt x="148377" y="189572"/>
                              </a:cubicBezTo>
                              <a:cubicBezTo>
                                <a:pt x="150759" y="189572"/>
                                <a:pt x="150759" y="187190"/>
                                <a:pt x="148377" y="184809"/>
                              </a:cubicBezTo>
                              <a:close/>
                              <a:moveTo>
                                <a:pt x="123375" y="182428"/>
                              </a:moveTo>
                              <a:cubicBezTo>
                                <a:pt x="125756" y="184810"/>
                                <a:pt x="125756" y="184810"/>
                                <a:pt x="128137" y="187191"/>
                              </a:cubicBezTo>
                              <a:cubicBezTo>
                                <a:pt x="125756" y="187191"/>
                                <a:pt x="125756" y="187191"/>
                                <a:pt x="123375" y="184810"/>
                              </a:cubicBezTo>
                              <a:cubicBezTo>
                                <a:pt x="123375" y="184810"/>
                                <a:pt x="123375" y="184810"/>
                                <a:pt x="123375" y="182428"/>
                              </a:cubicBezTo>
                              <a:close/>
                              <a:moveTo>
                                <a:pt x="139646" y="1239"/>
                              </a:moveTo>
                              <a:cubicBezTo>
                                <a:pt x="148762" y="-3310"/>
                                <a:pt x="160156" y="5788"/>
                                <a:pt x="166992" y="10338"/>
                              </a:cubicBezTo>
                              <a:cubicBezTo>
                                <a:pt x="171550" y="12612"/>
                                <a:pt x="178387" y="12612"/>
                                <a:pt x="185223" y="14887"/>
                              </a:cubicBezTo>
                              <a:cubicBezTo>
                                <a:pt x="185223" y="14887"/>
                                <a:pt x="196617" y="21711"/>
                                <a:pt x="196617" y="23985"/>
                              </a:cubicBezTo>
                              <a:cubicBezTo>
                                <a:pt x="196617" y="23985"/>
                                <a:pt x="194338" y="23985"/>
                                <a:pt x="194338" y="26260"/>
                              </a:cubicBezTo>
                              <a:cubicBezTo>
                                <a:pt x="194338" y="26260"/>
                                <a:pt x="194338" y="26260"/>
                                <a:pt x="194338" y="30809"/>
                              </a:cubicBezTo>
                              <a:cubicBezTo>
                                <a:pt x="194338" y="33084"/>
                                <a:pt x="196617" y="33084"/>
                                <a:pt x="198896" y="33084"/>
                              </a:cubicBezTo>
                              <a:cubicBezTo>
                                <a:pt x="203454" y="35359"/>
                                <a:pt x="198896" y="37633"/>
                                <a:pt x="198896" y="37633"/>
                              </a:cubicBezTo>
                              <a:cubicBezTo>
                                <a:pt x="196617" y="39908"/>
                                <a:pt x="201175" y="44457"/>
                                <a:pt x="203454" y="44457"/>
                              </a:cubicBezTo>
                              <a:cubicBezTo>
                                <a:pt x="205732" y="46732"/>
                                <a:pt x="203454" y="51281"/>
                                <a:pt x="203454" y="53556"/>
                              </a:cubicBezTo>
                              <a:cubicBezTo>
                                <a:pt x="196617" y="58105"/>
                                <a:pt x="208011" y="62654"/>
                                <a:pt x="210290" y="67203"/>
                              </a:cubicBezTo>
                              <a:cubicBezTo>
                                <a:pt x="205732" y="69478"/>
                                <a:pt x="198896" y="71753"/>
                                <a:pt x="194338" y="67203"/>
                              </a:cubicBezTo>
                              <a:cubicBezTo>
                                <a:pt x="196617" y="69478"/>
                                <a:pt x="196617" y="69478"/>
                                <a:pt x="196617" y="69478"/>
                              </a:cubicBezTo>
                              <a:cubicBezTo>
                                <a:pt x="192060" y="69478"/>
                                <a:pt x="189781" y="69478"/>
                                <a:pt x="187502" y="67203"/>
                              </a:cubicBezTo>
                              <a:cubicBezTo>
                                <a:pt x="187502" y="71753"/>
                                <a:pt x="180665" y="64929"/>
                                <a:pt x="180665" y="69478"/>
                              </a:cubicBezTo>
                              <a:cubicBezTo>
                                <a:pt x="180665" y="69478"/>
                                <a:pt x="182944" y="71753"/>
                                <a:pt x="182944" y="74027"/>
                              </a:cubicBezTo>
                              <a:cubicBezTo>
                                <a:pt x="180665" y="74027"/>
                                <a:pt x="178387" y="74027"/>
                                <a:pt x="176108" y="71753"/>
                              </a:cubicBezTo>
                              <a:cubicBezTo>
                                <a:pt x="178387" y="74027"/>
                                <a:pt x="178387" y="74027"/>
                                <a:pt x="178387" y="74027"/>
                              </a:cubicBezTo>
                              <a:cubicBezTo>
                                <a:pt x="178387" y="74027"/>
                                <a:pt x="176108" y="74027"/>
                                <a:pt x="173829" y="74027"/>
                              </a:cubicBezTo>
                              <a:cubicBezTo>
                                <a:pt x="180665" y="76302"/>
                                <a:pt x="169271" y="76302"/>
                                <a:pt x="166992" y="76302"/>
                              </a:cubicBezTo>
                              <a:cubicBezTo>
                                <a:pt x="169271" y="78577"/>
                                <a:pt x="171550" y="80851"/>
                                <a:pt x="169271" y="85400"/>
                              </a:cubicBezTo>
                              <a:cubicBezTo>
                                <a:pt x="169271" y="85400"/>
                                <a:pt x="162435" y="89950"/>
                                <a:pt x="162435" y="87675"/>
                              </a:cubicBezTo>
                              <a:cubicBezTo>
                                <a:pt x="162435" y="89950"/>
                                <a:pt x="164714" y="89950"/>
                                <a:pt x="164714" y="89950"/>
                              </a:cubicBezTo>
                              <a:cubicBezTo>
                                <a:pt x="160156" y="92224"/>
                                <a:pt x="171550" y="96774"/>
                                <a:pt x="171550" y="96774"/>
                              </a:cubicBezTo>
                              <a:cubicBezTo>
                                <a:pt x="166992" y="99048"/>
                                <a:pt x="162435" y="101323"/>
                                <a:pt x="160156" y="105872"/>
                              </a:cubicBezTo>
                              <a:cubicBezTo>
                                <a:pt x="160156" y="108147"/>
                                <a:pt x="153319" y="112696"/>
                                <a:pt x="153319" y="114971"/>
                              </a:cubicBezTo>
                              <a:cubicBezTo>
                                <a:pt x="151041" y="112696"/>
                                <a:pt x="151041" y="112696"/>
                                <a:pt x="151041" y="112696"/>
                              </a:cubicBezTo>
                              <a:cubicBezTo>
                                <a:pt x="151041" y="114971"/>
                                <a:pt x="146483" y="114971"/>
                                <a:pt x="144204" y="114971"/>
                              </a:cubicBezTo>
                              <a:cubicBezTo>
                                <a:pt x="141925" y="117245"/>
                                <a:pt x="141925" y="121794"/>
                                <a:pt x="139646" y="117245"/>
                              </a:cubicBezTo>
                              <a:cubicBezTo>
                                <a:pt x="139646" y="119520"/>
                                <a:pt x="137367" y="119520"/>
                                <a:pt x="135089" y="119520"/>
                              </a:cubicBezTo>
                              <a:cubicBezTo>
                                <a:pt x="135089" y="119520"/>
                                <a:pt x="132810" y="121794"/>
                                <a:pt x="132810" y="121794"/>
                              </a:cubicBezTo>
                              <a:cubicBezTo>
                                <a:pt x="128252" y="126344"/>
                                <a:pt x="123694" y="126344"/>
                                <a:pt x="119137" y="128618"/>
                              </a:cubicBezTo>
                              <a:cubicBezTo>
                                <a:pt x="119137" y="128618"/>
                                <a:pt x="121416" y="128618"/>
                                <a:pt x="121416" y="128618"/>
                              </a:cubicBezTo>
                              <a:cubicBezTo>
                                <a:pt x="121416" y="130893"/>
                                <a:pt x="121416" y="133168"/>
                                <a:pt x="119137" y="130893"/>
                              </a:cubicBezTo>
                              <a:cubicBezTo>
                                <a:pt x="116858" y="130893"/>
                                <a:pt x="116858" y="133168"/>
                                <a:pt x="114579" y="133168"/>
                              </a:cubicBezTo>
                              <a:lnTo>
                                <a:pt x="112300" y="133168"/>
                              </a:lnTo>
                              <a:cubicBezTo>
                                <a:pt x="112300" y="130893"/>
                                <a:pt x="110021" y="128618"/>
                                <a:pt x="110021" y="126344"/>
                              </a:cubicBezTo>
                              <a:cubicBezTo>
                                <a:pt x="110021" y="130893"/>
                                <a:pt x="112300" y="133168"/>
                                <a:pt x="112300" y="135442"/>
                              </a:cubicBezTo>
                              <a:cubicBezTo>
                                <a:pt x="114579" y="139991"/>
                                <a:pt x="107743" y="142266"/>
                                <a:pt x="105464" y="139991"/>
                              </a:cubicBezTo>
                              <a:cubicBezTo>
                                <a:pt x="103185" y="142266"/>
                                <a:pt x="105464" y="144541"/>
                                <a:pt x="110021" y="144541"/>
                              </a:cubicBezTo>
                              <a:cubicBezTo>
                                <a:pt x="105464" y="146815"/>
                                <a:pt x="105464" y="149090"/>
                                <a:pt x="105464" y="151365"/>
                              </a:cubicBezTo>
                              <a:cubicBezTo>
                                <a:pt x="103185" y="155914"/>
                                <a:pt x="107743" y="155914"/>
                                <a:pt x="107743" y="158188"/>
                              </a:cubicBezTo>
                              <a:cubicBezTo>
                                <a:pt x="105464" y="158188"/>
                                <a:pt x="103185" y="155914"/>
                                <a:pt x="100906" y="155914"/>
                              </a:cubicBezTo>
                              <a:cubicBezTo>
                                <a:pt x="107743" y="158188"/>
                                <a:pt x="96348" y="158188"/>
                                <a:pt x="103185" y="160463"/>
                              </a:cubicBezTo>
                              <a:cubicBezTo>
                                <a:pt x="96348" y="160463"/>
                                <a:pt x="105464" y="162738"/>
                                <a:pt x="100906" y="162738"/>
                              </a:cubicBezTo>
                              <a:cubicBezTo>
                                <a:pt x="103185" y="165012"/>
                                <a:pt x="100906" y="169562"/>
                                <a:pt x="100906" y="171836"/>
                              </a:cubicBezTo>
                              <a:cubicBezTo>
                                <a:pt x="103185" y="174111"/>
                                <a:pt x="103185" y="176385"/>
                                <a:pt x="105464" y="178660"/>
                              </a:cubicBezTo>
                              <a:cubicBezTo>
                                <a:pt x="103185" y="178660"/>
                                <a:pt x="103185" y="178660"/>
                                <a:pt x="103185" y="178660"/>
                              </a:cubicBezTo>
                              <a:cubicBezTo>
                                <a:pt x="105464" y="180935"/>
                                <a:pt x="110021" y="180935"/>
                                <a:pt x="110021" y="180935"/>
                              </a:cubicBezTo>
                              <a:cubicBezTo>
                                <a:pt x="112300" y="185484"/>
                                <a:pt x="114579" y="183209"/>
                                <a:pt x="116858" y="180935"/>
                              </a:cubicBezTo>
                              <a:cubicBezTo>
                                <a:pt x="114579" y="187759"/>
                                <a:pt x="125973" y="185484"/>
                                <a:pt x="128252" y="190033"/>
                              </a:cubicBezTo>
                              <a:cubicBezTo>
                                <a:pt x="121416" y="190033"/>
                                <a:pt x="128252" y="192308"/>
                                <a:pt x="130531" y="192308"/>
                              </a:cubicBezTo>
                              <a:cubicBezTo>
                                <a:pt x="132810" y="192308"/>
                                <a:pt x="137367" y="201406"/>
                                <a:pt x="132810" y="196857"/>
                              </a:cubicBezTo>
                              <a:cubicBezTo>
                                <a:pt x="135089" y="199132"/>
                                <a:pt x="135089" y="199132"/>
                                <a:pt x="137367" y="201406"/>
                              </a:cubicBezTo>
                              <a:cubicBezTo>
                                <a:pt x="132810" y="201406"/>
                                <a:pt x="130531" y="203681"/>
                                <a:pt x="128252" y="205956"/>
                              </a:cubicBezTo>
                              <a:cubicBezTo>
                                <a:pt x="125973" y="205956"/>
                                <a:pt x="121416" y="208230"/>
                                <a:pt x="123694" y="208230"/>
                              </a:cubicBezTo>
                              <a:cubicBezTo>
                                <a:pt x="123694" y="210505"/>
                                <a:pt x="121416" y="208230"/>
                                <a:pt x="121416" y="208230"/>
                              </a:cubicBezTo>
                              <a:cubicBezTo>
                                <a:pt x="120276" y="209368"/>
                                <a:pt x="121985" y="210505"/>
                                <a:pt x="123694" y="210789"/>
                              </a:cubicBezTo>
                              <a:lnTo>
                                <a:pt x="123828" y="210639"/>
                              </a:lnTo>
                              <a:lnTo>
                                <a:pt x="128252" y="215054"/>
                              </a:lnTo>
                              <a:cubicBezTo>
                                <a:pt x="125973" y="215054"/>
                                <a:pt x="123694" y="215054"/>
                                <a:pt x="121416" y="215054"/>
                              </a:cubicBezTo>
                              <a:cubicBezTo>
                                <a:pt x="119137" y="217329"/>
                                <a:pt x="119137" y="219604"/>
                                <a:pt x="116858" y="219604"/>
                              </a:cubicBezTo>
                              <a:cubicBezTo>
                                <a:pt x="114579" y="221878"/>
                                <a:pt x="114579" y="215054"/>
                                <a:pt x="112300" y="215054"/>
                              </a:cubicBezTo>
                              <a:cubicBezTo>
                                <a:pt x="114579" y="217329"/>
                                <a:pt x="114579" y="219604"/>
                                <a:pt x="114579" y="219604"/>
                              </a:cubicBezTo>
                              <a:cubicBezTo>
                                <a:pt x="112300" y="219604"/>
                                <a:pt x="112300" y="219604"/>
                                <a:pt x="112300" y="219604"/>
                              </a:cubicBezTo>
                              <a:cubicBezTo>
                                <a:pt x="112300" y="219604"/>
                                <a:pt x="112300" y="221878"/>
                                <a:pt x="110021" y="221878"/>
                              </a:cubicBezTo>
                              <a:cubicBezTo>
                                <a:pt x="107743" y="224153"/>
                                <a:pt x="105464" y="224153"/>
                                <a:pt x="103185" y="224153"/>
                              </a:cubicBezTo>
                              <a:cubicBezTo>
                                <a:pt x="105464" y="226427"/>
                                <a:pt x="105464" y="226427"/>
                                <a:pt x="105464" y="226427"/>
                              </a:cubicBezTo>
                              <a:cubicBezTo>
                                <a:pt x="100906" y="228702"/>
                                <a:pt x="94070" y="224153"/>
                                <a:pt x="89512" y="226427"/>
                              </a:cubicBezTo>
                              <a:cubicBezTo>
                                <a:pt x="94070" y="226427"/>
                                <a:pt x="98627" y="226427"/>
                                <a:pt x="100906" y="228702"/>
                              </a:cubicBezTo>
                              <a:cubicBezTo>
                                <a:pt x="98627" y="230977"/>
                                <a:pt x="94070" y="230977"/>
                                <a:pt x="91791" y="228702"/>
                              </a:cubicBezTo>
                              <a:cubicBezTo>
                                <a:pt x="96348" y="230977"/>
                                <a:pt x="103185" y="237801"/>
                                <a:pt x="96348" y="240075"/>
                              </a:cubicBezTo>
                              <a:cubicBezTo>
                                <a:pt x="98627" y="240075"/>
                                <a:pt x="98627" y="242350"/>
                                <a:pt x="98627" y="242350"/>
                              </a:cubicBezTo>
                              <a:cubicBezTo>
                                <a:pt x="96348" y="242350"/>
                                <a:pt x="96348" y="242350"/>
                                <a:pt x="94070" y="242350"/>
                              </a:cubicBezTo>
                              <a:cubicBezTo>
                                <a:pt x="94070" y="244624"/>
                                <a:pt x="100906" y="246899"/>
                                <a:pt x="96348" y="246899"/>
                              </a:cubicBezTo>
                              <a:cubicBezTo>
                                <a:pt x="94070" y="249174"/>
                                <a:pt x="98627" y="251448"/>
                                <a:pt x="96348" y="253723"/>
                              </a:cubicBezTo>
                              <a:cubicBezTo>
                                <a:pt x="94070" y="258272"/>
                                <a:pt x="96348" y="265096"/>
                                <a:pt x="91791" y="269645"/>
                              </a:cubicBezTo>
                              <a:cubicBezTo>
                                <a:pt x="89512" y="274195"/>
                                <a:pt x="89512" y="283293"/>
                                <a:pt x="82676" y="281018"/>
                              </a:cubicBezTo>
                              <a:cubicBezTo>
                                <a:pt x="78118" y="281018"/>
                                <a:pt x="73560" y="283293"/>
                                <a:pt x="69003" y="283293"/>
                              </a:cubicBezTo>
                              <a:cubicBezTo>
                                <a:pt x="66724" y="281018"/>
                                <a:pt x="62166" y="281018"/>
                                <a:pt x="64445" y="285568"/>
                              </a:cubicBezTo>
                              <a:cubicBezTo>
                                <a:pt x="62166" y="287842"/>
                                <a:pt x="57608" y="285568"/>
                                <a:pt x="55330" y="290117"/>
                              </a:cubicBezTo>
                              <a:cubicBezTo>
                                <a:pt x="55330" y="292392"/>
                                <a:pt x="57608" y="294666"/>
                                <a:pt x="57608" y="296941"/>
                              </a:cubicBezTo>
                              <a:cubicBezTo>
                                <a:pt x="57608" y="301490"/>
                                <a:pt x="50772" y="299215"/>
                                <a:pt x="48493" y="299215"/>
                              </a:cubicBezTo>
                              <a:cubicBezTo>
                                <a:pt x="41657" y="299215"/>
                                <a:pt x="37099" y="299215"/>
                                <a:pt x="30262" y="299215"/>
                              </a:cubicBezTo>
                              <a:cubicBezTo>
                                <a:pt x="32541" y="299215"/>
                                <a:pt x="34820" y="292392"/>
                                <a:pt x="32541" y="290117"/>
                              </a:cubicBezTo>
                              <a:cubicBezTo>
                                <a:pt x="30262" y="287842"/>
                                <a:pt x="25705" y="283293"/>
                                <a:pt x="25705" y="278744"/>
                              </a:cubicBezTo>
                              <a:cubicBezTo>
                                <a:pt x="32541" y="281018"/>
                                <a:pt x="27984" y="278744"/>
                                <a:pt x="27984" y="276469"/>
                              </a:cubicBezTo>
                              <a:cubicBezTo>
                                <a:pt x="37099" y="274195"/>
                                <a:pt x="27984" y="269645"/>
                                <a:pt x="25705" y="267371"/>
                              </a:cubicBezTo>
                              <a:cubicBezTo>
                                <a:pt x="23426" y="265096"/>
                                <a:pt x="21147" y="262821"/>
                                <a:pt x="18868" y="258272"/>
                              </a:cubicBezTo>
                              <a:cubicBezTo>
                                <a:pt x="18868" y="255998"/>
                                <a:pt x="16589" y="253723"/>
                                <a:pt x="14311" y="253723"/>
                              </a:cubicBezTo>
                              <a:cubicBezTo>
                                <a:pt x="14311" y="251448"/>
                                <a:pt x="14311" y="251448"/>
                                <a:pt x="14311" y="249174"/>
                              </a:cubicBezTo>
                              <a:cubicBezTo>
                                <a:pt x="12032" y="246899"/>
                                <a:pt x="7474" y="246899"/>
                                <a:pt x="12032" y="244624"/>
                              </a:cubicBezTo>
                              <a:cubicBezTo>
                                <a:pt x="9753" y="246899"/>
                                <a:pt x="12032" y="233251"/>
                                <a:pt x="12032" y="233251"/>
                              </a:cubicBezTo>
                              <a:cubicBezTo>
                                <a:pt x="9753" y="230977"/>
                                <a:pt x="9753" y="235526"/>
                                <a:pt x="5195" y="235526"/>
                              </a:cubicBezTo>
                              <a:cubicBezTo>
                                <a:pt x="7474" y="233251"/>
                                <a:pt x="7474" y="230977"/>
                                <a:pt x="9753" y="230977"/>
                              </a:cubicBezTo>
                              <a:cubicBezTo>
                                <a:pt x="5195" y="230977"/>
                                <a:pt x="9753" y="233251"/>
                                <a:pt x="5195" y="233251"/>
                              </a:cubicBezTo>
                              <a:cubicBezTo>
                                <a:pt x="5195" y="230977"/>
                                <a:pt x="2917" y="230977"/>
                                <a:pt x="2917" y="233251"/>
                              </a:cubicBezTo>
                              <a:cubicBezTo>
                                <a:pt x="2917" y="228702"/>
                                <a:pt x="-1641" y="217329"/>
                                <a:pt x="638" y="215054"/>
                              </a:cubicBezTo>
                              <a:cubicBezTo>
                                <a:pt x="5195" y="215054"/>
                                <a:pt x="5195" y="219604"/>
                                <a:pt x="7474" y="219604"/>
                              </a:cubicBezTo>
                              <a:cubicBezTo>
                                <a:pt x="9753" y="219604"/>
                                <a:pt x="12032" y="210505"/>
                                <a:pt x="9753" y="208230"/>
                              </a:cubicBezTo>
                              <a:cubicBezTo>
                                <a:pt x="7474" y="203681"/>
                                <a:pt x="12032" y="203681"/>
                                <a:pt x="12032" y="199132"/>
                              </a:cubicBezTo>
                              <a:cubicBezTo>
                                <a:pt x="12032" y="194583"/>
                                <a:pt x="21147" y="196857"/>
                                <a:pt x="23426" y="192308"/>
                              </a:cubicBezTo>
                              <a:cubicBezTo>
                                <a:pt x="23426" y="187759"/>
                                <a:pt x="25705" y="185484"/>
                                <a:pt x="21147" y="180935"/>
                              </a:cubicBezTo>
                              <a:cubicBezTo>
                                <a:pt x="21147" y="178660"/>
                                <a:pt x="16589" y="174111"/>
                                <a:pt x="21147" y="171836"/>
                              </a:cubicBezTo>
                              <a:cubicBezTo>
                                <a:pt x="25705" y="169562"/>
                                <a:pt x="25705" y="171836"/>
                                <a:pt x="27984" y="167287"/>
                              </a:cubicBezTo>
                              <a:cubicBezTo>
                                <a:pt x="30262" y="162738"/>
                                <a:pt x="25705" y="162738"/>
                                <a:pt x="21147" y="160463"/>
                              </a:cubicBezTo>
                              <a:cubicBezTo>
                                <a:pt x="16589" y="158188"/>
                                <a:pt x="16589" y="155914"/>
                                <a:pt x="16589" y="151365"/>
                              </a:cubicBezTo>
                              <a:cubicBezTo>
                                <a:pt x="18868" y="144541"/>
                                <a:pt x="18868" y="142266"/>
                                <a:pt x="16589" y="137717"/>
                              </a:cubicBezTo>
                              <a:cubicBezTo>
                                <a:pt x="14311" y="135442"/>
                                <a:pt x="14311" y="133168"/>
                                <a:pt x="14311" y="130893"/>
                              </a:cubicBezTo>
                              <a:cubicBezTo>
                                <a:pt x="16589" y="128618"/>
                                <a:pt x="16589" y="128618"/>
                                <a:pt x="16589" y="128618"/>
                              </a:cubicBezTo>
                              <a:cubicBezTo>
                                <a:pt x="16589" y="126344"/>
                                <a:pt x="14311" y="124069"/>
                                <a:pt x="14311" y="121794"/>
                              </a:cubicBezTo>
                              <a:cubicBezTo>
                                <a:pt x="14311" y="119520"/>
                                <a:pt x="16589" y="119520"/>
                                <a:pt x="16589" y="117245"/>
                              </a:cubicBezTo>
                              <a:cubicBezTo>
                                <a:pt x="16589" y="112696"/>
                                <a:pt x="21147" y="110421"/>
                                <a:pt x="23426" y="108147"/>
                              </a:cubicBezTo>
                              <a:cubicBezTo>
                                <a:pt x="27984" y="103597"/>
                                <a:pt x="34820" y="105872"/>
                                <a:pt x="39378" y="105872"/>
                              </a:cubicBezTo>
                              <a:cubicBezTo>
                                <a:pt x="43935" y="105872"/>
                                <a:pt x="48493" y="105872"/>
                                <a:pt x="48493" y="101323"/>
                              </a:cubicBezTo>
                              <a:cubicBezTo>
                                <a:pt x="46214" y="96774"/>
                                <a:pt x="41657" y="96774"/>
                                <a:pt x="39378" y="94499"/>
                              </a:cubicBezTo>
                              <a:cubicBezTo>
                                <a:pt x="41657" y="92224"/>
                                <a:pt x="43935" y="89950"/>
                                <a:pt x="46214" y="87675"/>
                              </a:cubicBezTo>
                              <a:cubicBezTo>
                                <a:pt x="48493" y="85400"/>
                                <a:pt x="50772" y="80851"/>
                                <a:pt x="53051" y="78577"/>
                              </a:cubicBezTo>
                              <a:cubicBezTo>
                                <a:pt x="55330" y="78577"/>
                                <a:pt x="53051" y="62654"/>
                                <a:pt x="53051" y="60379"/>
                              </a:cubicBezTo>
                              <a:cubicBezTo>
                                <a:pt x="57608" y="60379"/>
                                <a:pt x="64445" y="60379"/>
                                <a:pt x="66724" y="58105"/>
                              </a:cubicBezTo>
                              <a:cubicBezTo>
                                <a:pt x="69003" y="58105"/>
                                <a:pt x="66724" y="55830"/>
                                <a:pt x="66724" y="53556"/>
                              </a:cubicBezTo>
                              <a:cubicBezTo>
                                <a:pt x="66724" y="53556"/>
                                <a:pt x="69003" y="53556"/>
                                <a:pt x="71281" y="51281"/>
                              </a:cubicBezTo>
                              <a:cubicBezTo>
                                <a:pt x="73560" y="46732"/>
                                <a:pt x="78118" y="44457"/>
                                <a:pt x="82676" y="42182"/>
                              </a:cubicBezTo>
                              <a:cubicBezTo>
                                <a:pt x="84954" y="39908"/>
                                <a:pt x="78118" y="35359"/>
                                <a:pt x="78118" y="33084"/>
                              </a:cubicBezTo>
                              <a:cubicBezTo>
                                <a:pt x="84954" y="30809"/>
                                <a:pt x="87233" y="23985"/>
                                <a:pt x="91791" y="21711"/>
                              </a:cubicBezTo>
                              <a:cubicBezTo>
                                <a:pt x="96348" y="19436"/>
                                <a:pt x="98627" y="19436"/>
                                <a:pt x="103185" y="21711"/>
                              </a:cubicBezTo>
                              <a:cubicBezTo>
                                <a:pt x="105464" y="21711"/>
                                <a:pt x="110021" y="19436"/>
                                <a:pt x="110021" y="17162"/>
                              </a:cubicBezTo>
                              <a:cubicBezTo>
                                <a:pt x="110021" y="14887"/>
                                <a:pt x="107743" y="12612"/>
                                <a:pt x="107743" y="10338"/>
                              </a:cubicBezTo>
                              <a:cubicBezTo>
                                <a:pt x="110021" y="8063"/>
                                <a:pt x="116858" y="12612"/>
                                <a:pt x="119137" y="12612"/>
                              </a:cubicBezTo>
                              <a:cubicBezTo>
                                <a:pt x="123694" y="10338"/>
                                <a:pt x="135089" y="17162"/>
                                <a:pt x="141925" y="12612"/>
                              </a:cubicBezTo>
                              <a:cubicBezTo>
                                <a:pt x="139646" y="12612"/>
                                <a:pt x="139646" y="10338"/>
                                <a:pt x="137367" y="10338"/>
                              </a:cubicBezTo>
                              <a:cubicBezTo>
                                <a:pt x="141925" y="8063"/>
                                <a:pt x="146483" y="3514"/>
                                <a:pt x="139646" y="1239"/>
                              </a:cubicBezTo>
                              <a:close/>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59" name="Slovakia">
                          <a:extLst>
                            <a:ext uri="{FF2B5EF4-FFF2-40B4-BE49-F238E27FC236}">
                              <a16:creationId xmlns:a16="http://schemas.microsoft.com/office/drawing/2014/main" id="{E6A1C158-160D-AC84-0D0B-33081B1D8F8B}"/>
                            </a:ext>
                          </a:extLst>
                        </p:cNvPr>
                        <p:cNvSpPr>
                          <a:spLocks/>
                        </p:cNvSpPr>
                        <p:nvPr/>
                      </p:nvSpPr>
                      <p:spPr bwMode="auto">
                        <a:xfrm>
                          <a:off x="4146202" y="2116942"/>
                          <a:ext cx="109200" cy="44894"/>
                        </a:xfrm>
                        <a:custGeom>
                          <a:avLst/>
                          <a:gdLst/>
                          <a:ahLst/>
                          <a:cxnLst>
                            <a:cxn ang="0">
                              <a:pos x="0" y="10"/>
                            </a:cxn>
                            <a:cxn ang="0">
                              <a:pos x="5" y="8"/>
                            </a:cxn>
                            <a:cxn ang="0">
                              <a:pos x="10" y="5"/>
                            </a:cxn>
                            <a:cxn ang="0">
                              <a:pos x="17" y="2"/>
                            </a:cxn>
                            <a:cxn ang="0">
                              <a:pos x="21" y="0"/>
                            </a:cxn>
                            <a:cxn ang="0">
                              <a:pos x="24" y="3"/>
                            </a:cxn>
                            <a:cxn ang="0">
                              <a:pos x="28" y="2"/>
                            </a:cxn>
                            <a:cxn ang="0">
                              <a:pos x="30" y="2"/>
                            </a:cxn>
                            <a:cxn ang="0">
                              <a:pos x="37" y="1"/>
                            </a:cxn>
                            <a:cxn ang="0">
                              <a:pos x="43" y="4"/>
                            </a:cxn>
                            <a:cxn ang="0">
                              <a:pos x="46" y="5"/>
                            </a:cxn>
                            <a:cxn ang="0">
                              <a:pos x="46" y="7"/>
                            </a:cxn>
                            <a:cxn ang="0">
                              <a:pos x="44" y="12"/>
                            </a:cxn>
                            <a:cxn ang="0">
                              <a:pos x="43" y="12"/>
                            </a:cxn>
                            <a:cxn ang="0">
                              <a:pos x="38" y="11"/>
                            </a:cxn>
                            <a:cxn ang="0">
                              <a:pos x="36" y="11"/>
                            </a:cxn>
                            <a:cxn ang="0">
                              <a:pos x="33" y="10"/>
                            </a:cxn>
                            <a:cxn ang="0">
                              <a:pos x="30" y="13"/>
                            </a:cxn>
                            <a:cxn ang="0">
                              <a:pos x="24" y="15"/>
                            </a:cxn>
                            <a:cxn ang="0">
                              <a:pos x="21" y="16"/>
                            </a:cxn>
                            <a:cxn ang="0">
                              <a:pos x="17" y="18"/>
                            </a:cxn>
                            <a:cxn ang="0">
                              <a:pos x="11" y="19"/>
                            </a:cxn>
                            <a:cxn ang="0">
                              <a:pos x="8" y="19"/>
                            </a:cxn>
                            <a:cxn ang="0">
                              <a:pos x="5" y="17"/>
                            </a:cxn>
                            <a:cxn ang="0">
                              <a:pos x="1" y="14"/>
                            </a:cxn>
                            <a:cxn ang="0">
                              <a:pos x="1" y="12"/>
                            </a:cxn>
                            <a:cxn ang="0">
                              <a:pos x="0" y="10"/>
                            </a:cxn>
                          </a:cxnLst>
                          <a:rect l="0" t="0" r="r" b="b"/>
                          <a:pathLst>
                            <a:path w="47" h="19">
                              <a:moveTo>
                                <a:pt x="0" y="10"/>
                              </a:moveTo>
                              <a:cubicBezTo>
                                <a:pt x="1" y="7"/>
                                <a:pt x="3" y="8"/>
                                <a:pt x="5" y="8"/>
                              </a:cubicBezTo>
                              <a:cubicBezTo>
                                <a:pt x="6" y="8"/>
                                <a:pt x="10" y="6"/>
                                <a:pt x="10" y="5"/>
                              </a:cubicBezTo>
                              <a:cubicBezTo>
                                <a:pt x="10" y="2"/>
                                <a:pt x="18" y="0"/>
                                <a:pt x="17" y="2"/>
                              </a:cubicBezTo>
                              <a:cubicBezTo>
                                <a:pt x="18" y="2"/>
                                <a:pt x="20" y="0"/>
                                <a:pt x="21" y="0"/>
                              </a:cubicBezTo>
                              <a:cubicBezTo>
                                <a:pt x="23" y="1"/>
                                <a:pt x="24" y="2"/>
                                <a:pt x="24" y="3"/>
                              </a:cubicBezTo>
                              <a:cubicBezTo>
                                <a:pt x="25" y="4"/>
                                <a:pt x="26" y="3"/>
                                <a:pt x="28" y="2"/>
                              </a:cubicBezTo>
                              <a:cubicBezTo>
                                <a:pt x="28" y="2"/>
                                <a:pt x="30" y="1"/>
                                <a:pt x="30" y="2"/>
                              </a:cubicBezTo>
                              <a:cubicBezTo>
                                <a:pt x="33" y="3"/>
                                <a:pt x="35" y="1"/>
                                <a:pt x="37" y="1"/>
                              </a:cubicBezTo>
                              <a:cubicBezTo>
                                <a:pt x="39" y="1"/>
                                <a:pt x="41" y="1"/>
                                <a:pt x="43" y="4"/>
                              </a:cubicBezTo>
                              <a:cubicBezTo>
                                <a:pt x="44" y="4"/>
                                <a:pt x="46" y="5"/>
                                <a:pt x="46" y="5"/>
                              </a:cubicBezTo>
                              <a:cubicBezTo>
                                <a:pt x="47" y="5"/>
                                <a:pt x="47" y="5"/>
                                <a:pt x="46" y="7"/>
                              </a:cubicBezTo>
                              <a:cubicBezTo>
                                <a:pt x="46" y="8"/>
                                <a:pt x="44" y="10"/>
                                <a:pt x="44" y="12"/>
                              </a:cubicBezTo>
                              <a:cubicBezTo>
                                <a:pt x="44" y="12"/>
                                <a:pt x="44" y="12"/>
                                <a:pt x="43" y="12"/>
                              </a:cubicBezTo>
                              <a:cubicBezTo>
                                <a:pt x="40" y="14"/>
                                <a:pt x="39" y="10"/>
                                <a:pt x="38" y="11"/>
                              </a:cubicBezTo>
                              <a:cubicBezTo>
                                <a:pt x="37" y="11"/>
                                <a:pt x="37" y="11"/>
                                <a:pt x="36" y="11"/>
                              </a:cubicBezTo>
                              <a:cubicBezTo>
                                <a:pt x="35" y="11"/>
                                <a:pt x="34" y="11"/>
                                <a:pt x="33" y="10"/>
                              </a:cubicBezTo>
                              <a:cubicBezTo>
                                <a:pt x="30" y="10"/>
                                <a:pt x="30" y="11"/>
                                <a:pt x="30" y="13"/>
                              </a:cubicBezTo>
                              <a:cubicBezTo>
                                <a:pt x="29" y="15"/>
                                <a:pt x="26" y="16"/>
                                <a:pt x="24" y="15"/>
                              </a:cubicBezTo>
                              <a:cubicBezTo>
                                <a:pt x="21" y="13"/>
                                <a:pt x="22" y="14"/>
                                <a:pt x="21" y="16"/>
                              </a:cubicBezTo>
                              <a:cubicBezTo>
                                <a:pt x="20" y="17"/>
                                <a:pt x="14" y="16"/>
                                <a:pt x="17" y="18"/>
                              </a:cubicBezTo>
                              <a:cubicBezTo>
                                <a:pt x="15" y="19"/>
                                <a:pt x="13" y="19"/>
                                <a:pt x="11" y="19"/>
                              </a:cubicBezTo>
                              <a:cubicBezTo>
                                <a:pt x="10" y="19"/>
                                <a:pt x="9" y="19"/>
                                <a:pt x="8" y="19"/>
                              </a:cubicBezTo>
                              <a:cubicBezTo>
                                <a:pt x="7" y="19"/>
                                <a:pt x="6" y="18"/>
                                <a:pt x="5" y="17"/>
                              </a:cubicBezTo>
                              <a:cubicBezTo>
                                <a:pt x="3" y="17"/>
                                <a:pt x="2" y="16"/>
                                <a:pt x="1" y="14"/>
                              </a:cubicBezTo>
                              <a:cubicBezTo>
                                <a:pt x="1" y="14"/>
                                <a:pt x="1" y="13"/>
                                <a:pt x="1" y="12"/>
                              </a:cubicBezTo>
                              <a:cubicBezTo>
                                <a:pt x="0" y="11"/>
                                <a:pt x="1" y="11"/>
                                <a:pt x="0" y="10"/>
                              </a:cubicBezTo>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60" name="Slovenia">
                          <a:extLst>
                            <a:ext uri="{FF2B5EF4-FFF2-40B4-BE49-F238E27FC236}">
                              <a16:creationId xmlns:a16="http://schemas.microsoft.com/office/drawing/2014/main" id="{23C8EC09-67E5-3280-978B-7FCFCECA463A}"/>
                            </a:ext>
                          </a:extLst>
                        </p:cNvPr>
                        <p:cNvSpPr>
                          <a:spLocks/>
                        </p:cNvSpPr>
                        <p:nvPr/>
                      </p:nvSpPr>
                      <p:spPr bwMode="auto">
                        <a:xfrm>
                          <a:off x="4079468" y="2180034"/>
                          <a:ext cx="61880" cy="38827"/>
                        </a:xfrm>
                        <a:custGeom>
                          <a:avLst/>
                          <a:gdLst/>
                          <a:ahLst/>
                          <a:cxnLst>
                            <a:cxn ang="0">
                              <a:pos x="2" y="11"/>
                            </a:cxn>
                            <a:cxn ang="0">
                              <a:pos x="3" y="9"/>
                            </a:cxn>
                            <a:cxn ang="0">
                              <a:pos x="0" y="7"/>
                            </a:cxn>
                            <a:cxn ang="0">
                              <a:pos x="4" y="5"/>
                            </a:cxn>
                            <a:cxn ang="0">
                              <a:pos x="10" y="6"/>
                            </a:cxn>
                            <a:cxn ang="0">
                              <a:pos x="15" y="3"/>
                            </a:cxn>
                            <a:cxn ang="0">
                              <a:pos x="19" y="3"/>
                            </a:cxn>
                            <a:cxn ang="0">
                              <a:pos x="23" y="3"/>
                            </a:cxn>
                            <a:cxn ang="0">
                              <a:pos x="24" y="1"/>
                            </a:cxn>
                            <a:cxn ang="0">
                              <a:pos x="27" y="5"/>
                            </a:cxn>
                            <a:cxn ang="0">
                              <a:pos x="25" y="6"/>
                            </a:cxn>
                            <a:cxn ang="0">
                              <a:pos x="23" y="7"/>
                            </a:cxn>
                            <a:cxn ang="0">
                              <a:pos x="19" y="8"/>
                            </a:cxn>
                            <a:cxn ang="0">
                              <a:pos x="20" y="11"/>
                            </a:cxn>
                            <a:cxn ang="0">
                              <a:pos x="16" y="13"/>
                            </a:cxn>
                            <a:cxn ang="0">
                              <a:pos x="17" y="14"/>
                            </a:cxn>
                            <a:cxn ang="0">
                              <a:pos x="16" y="16"/>
                            </a:cxn>
                            <a:cxn ang="0">
                              <a:pos x="10" y="14"/>
                            </a:cxn>
                            <a:cxn ang="0">
                              <a:pos x="6" y="16"/>
                            </a:cxn>
                            <a:cxn ang="0">
                              <a:pos x="5" y="16"/>
                            </a:cxn>
                            <a:cxn ang="0">
                              <a:pos x="2" y="16"/>
                            </a:cxn>
                            <a:cxn ang="0">
                              <a:pos x="4" y="13"/>
                            </a:cxn>
                            <a:cxn ang="0">
                              <a:pos x="2" y="11"/>
                            </a:cxn>
                          </a:cxnLst>
                          <a:rect l="0" t="0" r="r" b="b"/>
                          <a:pathLst>
                            <a:path w="27" h="17">
                              <a:moveTo>
                                <a:pt x="2" y="11"/>
                              </a:moveTo>
                              <a:cubicBezTo>
                                <a:pt x="1" y="10"/>
                                <a:pt x="2" y="9"/>
                                <a:pt x="3" y="9"/>
                              </a:cubicBezTo>
                              <a:cubicBezTo>
                                <a:pt x="2" y="8"/>
                                <a:pt x="1" y="8"/>
                                <a:pt x="0" y="7"/>
                              </a:cubicBezTo>
                              <a:cubicBezTo>
                                <a:pt x="2" y="5"/>
                                <a:pt x="1" y="4"/>
                                <a:pt x="4" y="5"/>
                              </a:cubicBezTo>
                              <a:cubicBezTo>
                                <a:pt x="5" y="5"/>
                                <a:pt x="10" y="7"/>
                                <a:pt x="10" y="6"/>
                              </a:cubicBezTo>
                              <a:cubicBezTo>
                                <a:pt x="12" y="5"/>
                                <a:pt x="13" y="3"/>
                                <a:pt x="15" y="3"/>
                              </a:cubicBezTo>
                              <a:cubicBezTo>
                                <a:pt x="17" y="4"/>
                                <a:pt x="18" y="4"/>
                                <a:pt x="19" y="3"/>
                              </a:cubicBezTo>
                              <a:cubicBezTo>
                                <a:pt x="20" y="3"/>
                                <a:pt x="21" y="3"/>
                                <a:pt x="23" y="3"/>
                              </a:cubicBezTo>
                              <a:cubicBezTo>
                                <a:pt x="22" y="2"/>
                                <a:pt x="23" y="0"/>
                                <a:pt x="24" y="1"/>
                              </a:cubicBezTo>
                              <a:cubicBezTo>
                                <a:pt x="25" y="2"/>
                                <a:pt x="27" y="4"/>
                                <a:pt x="27" y="5"/>
                              </a:cubicBezTo>
                              <a:cubicBezTo>
                                <a:pt x="26" y="5"/>
                                <a:pt x="23" y="4"/>
                                <a:pt x="25" y="6"/>
                              </a:cubicBezTo>
                              <a:cubicBezTo>
                                <a:pt x="24" y="6"/>
                                <a:pt x="23" y="6"/>
                                <a:pt x="23" y="7"/>
                              </a:cubicBezTo>
                              <a:cubicBezTo>
                                <a:pt x="23" y="7"/>
                                <a:pt x="20" y="8"/>
                                <a:pt x="19" y="8"/>
                              </a:cubicBezTo>
                              <a:cubicBezTo>
                                <a:pt x="19" y="9"/>
                                <a:pt x="20" y="11"/>
                                <a:pt x="20" y="11"/>
                              </a:cubicBezTo>
                              <a:cubicBezTo>
                                <a:pt x="20" y="12"/>
                                <a:pt x="17" y="12"/>
                                <a:pt x="16" y="13"/>
                              </a:cubicBezTo>
                              <a:cubicBezTo>
                                <a:pt x="17" y="14"/>
                                <a:pt x="17" y="14"/>
                                <a:pt x="17" y="14"/>
                              </a:cubicBezTo>
                              <a:cubicBezTo>
                                <a:pt x="17" y="14"/>
                                <a:pt x="17" y="17"/>
                                <a:pt x="16" y="16"/>
                              </a:cubicBezTo>
                              <a:cubicBezTo>
                                <a:pt x="14" y="15"/>
                                <a:pt x="12" y="15"/>
                                <a:pt x="10" y="14"/>
                              </a:cubicBezTo>
                              <a:cubicBezTo>
                                <a:pt x="10" y="15"/>
                                <a:pt x="8" y="16"/>
                                <a:pt x="6" y="16"/>
                              </a:cubicBezTo>
                              <a:cubicBezTo>
                                <a:pt x="6" y="15"/>
                                <a:pt x="6" y="15"/>
                                <a:pt x="5" y="16"/>
                              </a:cubicBezTo>
                              <a:cubicBezTo>
                                <a:pt x="5" y="17"/>
                                <a:pt x="3" y="16"/>
                                <a:pt x="2" y="16"/>
                              </a:cubicBezTo>
                              <a:cubicBezTo>
                                <a:pt x="3" y="15"/>
                                <a:pt x="5" y="15"/>
                                <a:pt x="4" y="13"/>
                              </a:cubicBezTo>
                              <a:cubicBezTo>
                                <a:pt x="4" y="12"/>
                                <a:pt x="1" y="13"/>
                                <a:pt x="2" y="11"/>
                              </a:cubicBezTo>
                            </a:path>
                          </a:pathLst>
                        </a:custGeom>
                        <a:solidFill>
                          <a:schemeClr val="accent2">
                            <a:lumMod val="50000"/>
                          </a:schemeClr>
                        </a:solid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61" name="Serbia">
                          <a:extLst>
                            <a:ext uri="{FF2B5EF4-FFF2-40B4-BE49-F238E27FC236}">
                              <a16:creationId xmlns:a16="http://schemas.microsoft.com/office/drawing/2014/main" id="{3C5DD552-BF79-42AD-D1FD-F6081F0DCC61}"/>
                            </a:ext>
                          </a:extLst>
                        </p:cNvPr>
                        <p:cNvSpPr>
                          <a:spLocks/>
                        </p:cNvSpPr>
                        <p:nvPr/>
                      </p:nvSpPr>
                      <p:spPr bwMode="auto">
                        <a:xfrm>
                          <a:off x="4185028" y="2198234"/>
                          <a:ext cx="86148" cy="111628"/>
                        </a:xfrm>
                        <a:custGeom>
                          <a:avLst/>
                          <a:gdLst/>
                          <a:ahLst/>
                          <a:cxnLst>
                            <a:cxn ang="0">
                              <a:pos x="8" y="0"/>
                            </a:cxn>
                            <a:cxn ang="0">
                              <a:pos x="4" y="2"/>
                            </a:cxn>
                            <a:cxn ang="0">
                              <a:pos x="0" y="3"/>
                            </a:cxn>
                            <a:cxn ang="0">
                              <a:pos x="1" y="6"/>
                            </a:cxn>
                            <a:cxn ang="0">
                              <a:pos x="3" y="7"/>
                            </a:cxn>
                            <a:cxn ang="0">
                              <a:pos x="5" y="11"/>
                            </a:cxn>
                            <a:cxn ang="0">
                              <a:pos x="3" y="11"/>
                            </a:cxn>
                            <a:cxn ang="0">
                              <a:pos x="2" y="14"/>
                            </a:cxn>
                            <a:cxn ang="0">
                              <a:pos x="5" y="14"/>
                            </a:cxn>
                            <a:cxn ang="0">
                              <a:pos x="3" y="18"/>
                            </a:cxn>
                            <a:cxn ang="0">
                              <a:pos x="7" y="22"/>
                            </a:cxn>
                            <a:cxn ang="0">
                              <a:pos x="5" y="24"/>
                            </a:cxn>
                            <a:cxn ang="0">
                              <a:pos x="7" y="28"/>
                            </a:cxn>
                            <a:cxn ang="0">
                              <a:pos x="2" y="29"/>
                            </a:cxn>
                            <a:cxn ang="0">
                              <a:pos x="7" y="32"/>
                            </a:cxn>
                            <a:cxn ang="0">
                              <a:pos x="9" y="34"/>
                            </a:cxn>
                            <a:cxn ang="0">
                              <a:pos x="13" y="36"/>
                            </a:cxn>
                            <a:cxn ang="0">
                              <a:pos x="12" y="37"/>
                            </a:cxn>
                            <a:cxn ang="0">
                              <a:pos x="13" y="39"/>
                            </a:cxn>
                            <a:cxn ang="0">
                              <a:pos x="16" y="42"/>
                            </a:cxn>
                            <a:cxn ang="0">
                              <a:pos x="18" y="46"/>
                            </a:cxn>
                            <a:cxn ang="0">
                              <a:pos x="23" y="43"/>
                            </a:cxn>
                            <a:cxn ang="0">
                              <a:pos x="26" y="42"/>
                            </a:cxn>
                            <a:cxn ang="0">
                              <a:pos x="29" y="41"/>
                            </a:cxn>
                            <a:cxn ang="0">
                              <a:pos x="34" y="39"/>
                            </a:cxn>
                            <a:cxn ang="0">
                              <a:pos x="33" y="36"/>
                            </a:cxn>
                            <a:cxn ang="0">
                              <a:pos x="36" y="35"/>
                            </a:cxn>
                            <a:cxn ang="0">
                              <a:pos x="37" y="32"/>
                            </a:cxn>
                            <a:cxn ang="0">
                              <a:pos x="34" y="29"/>
                            </a:cxn>
                            <a:cxn ang="0">
                              <a:pos x="34" y="21"/>
                            </a:cxn>
                            <a:cxn ang="0">
                              <a:pos x="32" y="18"/>
                            </a:cxn>
                            <a:cxn ang="0">
                              <a:pos x="34" y="18"/>
                            </a:cxn>
                            <a:cxn ang="0">
                              <a:pos x="31" y="16"/>
                            </a:cxn>
                            <a:cxn ang="0">
                              <a:pos x="29" y="18"/>
                            </a:cxn>
                            <a:cxn ang="0">
                              <a:pos x="27" y="17"/>
                            </a:cxn>
                            <a:cxn ang="0">
                              <a:pos x="24" y="15"/>
                            </a:cxn>
                            <a:cxn ang="0">
                              <a:pos x="22" y="15"/>
                            </a:cxn>
                            <a:cxn ang="0">
                              <a:pos x="22" y="13"/>
                            </a:cxn>
                            <a:cxn ang="0">
                              <a:pos x="21" y="10"/>
                            </a:cxn>
                            <a:cxn ang="0">
                              <a:pos x="17" y="8"/>
                            </a:cxn>
                            <a:cxn ang="0">
                              <a:pos x="14" y="2"/>
                            </a:cxn>
                            <a:cxn ang="0">
                              <a:pos x="8" y="0"/>
                            </a:cxn>
                          </a:cxnLst>
                          <a:rect l="0" t="0" r="r" b="b"/>
                          <a:pathLst>
                            <a:path w="37" h="48">
                              <a:moveTo>
                                <a:pt x="8" y="0"/>
                              </a:moveTo>
                              <a:cubicBezTo>
                                <a:pt x="6" y="0"/>
                                <a:pt x="5" y="2"/>
                                <a:pt x="4" y="2"/>
                              </a:cubicBezTo>
                              <a:cubicBezTo>
                                <a:pt x="3" y="3"/>
                                <a:pt x="2" y="2"/>
                                <a:pt x="0" y="3"/>
                              </a:cubicBezTo>
                              <a:cubicBezTo>
                                <a:pt x="1" y="4"/>
                                <a:pt x="1" y="5"/>
                                <a:pt x="1" y="6"/>
                              </a:cubicBezTo>
                              <a:cubicBezTo>
                                <a:pt x="1" y="7"/>
                                <a:pt x="2" y="7"/>
                                <a:pt x="3" y="7"/>
                              </a:cubicBezTo>
                              <a:cubicBezTo>
                                <a:pt x="0" y="9"/>
                                <a:pt x="5" y="10"/>
                                <a:pt x="5" y="11"/>
                              </a:cubicBezTo>
                              <a:cubicBezTo>
                                <a:pt x="3" y="11"/>
                                <a:pt x="3" y="11"/>
                                <a:pt x="3" y="11"/>
                              </a:cubicBezTo>
                              <a:cubicBezTo>
                                <a:pt x="3" y="13"/>
                                <a:pt x="3" y="14"/>
                                <a:pt x="2" y="14"/>
                              </a:cubicBezTo>
                              <a:cubicBezTo>
                                <a:pt x="4" y="14"/>
                                <a:pt x="5" y="13"/>
                                <a:pt x="5" y="14"/>
                              </a:cubicBezTo>
                              <a:cubicBezTo>
                                <a:pt x="5" y="15"/>
                                <a:pt x="6" y="15"/>
                                <a:pt x="3" y="18"/>
                              </a:cubicBezTo>
                              <a:cubicBezTo>
                                <a:pt x="3" y="19"/>
                                <a:pt x="5" y="21"/>
                                <a:pt x="7" y="22"/>
                              </a:cubicBezTo>
                              <a:cubicBezTo>
                                <a:pt x="9" y="24"/>
                                <a:pt x="5" y="23"/>
                                <a:pt x="5" y="24"/>
                              </a:cubicBezTo>
                              <a:cubicBezTo>
                                <a:pt x="5" y="24"/>
                                <a:pt x="8" y="27"/>
                                <a:pt x="7" y="28"/>
                              </a:cubicBezTo>
                              <a:cubicBezTo>
                                <a:pt x="5" y="28"/>
                                <a:pt x="4" y="29"/>
                                <a:pt x="2" y="29"/>
                              </a:cubicBezTo>
                              <a:cubicBezTo>
                                <a:pt x="3" y="28"/>
                                <a:pt x="4" y="30"/>
                                <a:pt x="7" y="32"/>
                              </a:cubicBezTo>
                              <a:cubicBezTo>
                                <a:pt x="7" y="33"/>
                                <a:pt x="8" y="33"/>
                                <a:pt x="9" y="34"/>
                              </a:cubicBezTo>
                              <a:cubicBezTo>
                                <a:pt x="11" y="35"/>
                                <a:pt x="13" y="34"/>
                                <a:pt x="13" y="36"/>
                              </a:cubicBezTo>
                              <a:cubicBezTo>
                                <a:pt x="12" y="37"/>
                                <a:pt x="12" y="37"/>
                                <a:pt x="12" y="37"/>
                              </a:cubicBezTo>
                              <a:cubicBezTo>
                                <a:pt x="12" y="37"/>
                                <a:pt x="13" y="39"/>
                                <a:pt x="13" y="39"/>
                              </a:cubicBezTo>
                              <a:cubicBezTo>
                                <a:pt x="15" y="39"/>
                                <a:pt x="12" y="41"/>
                                <a:pt x="16" y="42"/>
                              </a:cubicBezTo>
                              <a:cubicBezTo>
                                <a:pt x="18" y="42"/>
                                <a:pt x="17" y="48"/>
                                <a:pt x="18" y="46"/>
                              </a:cubicBezTo>
                              <a:cubicBezTo>
                                <a:pt x="19" y="45"/>
                                <a:pt x="19" y="42"/>
                                <a:pt x="23" y="43"/>
                              </a:cubicBezTo>
                              <a:cubicBezTo>
                                <a:pt x="24" y="42"/>
                                <a:pt x="25" y="42"/>
                                <a:pt x="26" y="42"/>
                              </a:cubicBezTo>
                              <a:cubicBezTo>
                                <a:pt x="27" y="43"/>
                                <a:pt x="27" y="41"/>
                                <a:pt x="29" y="41"/>
                              </a:cubicBezTo>
                              <a:cubicBezTo>
                                <a:pt x="30" y="42"/>
                                <a:pt x="35" y="41"/>
                                <a:pt x="34" y="39"/>
                              </a:cubicBezTo>
                              <a:cubicBezTo>
                                <a:pt x="33" y="38"/>
                                <a:pt x="33" y="36"/>
                                <a:pt x="33" y="36"/>
                              </a:cubicBezTo>
                              <a:cubicBezTo>
                                <a:pt x="34" y="35"/>
                                <a:pt x="35" y="36"/>
                                <a:pt x="36" y="35"/>
                              </a:cubicBezTo>
                              <a:cubicBezTo>
                                <a:pt x="36" y="34"/>
                                <a:pt x="37" y="33"/>
                                <a:pt x="37" y="32"/>
                              </a:cubicBezTo>
                              <a:cubicBezTo>
                                <a:pt x="36" y="32"/>
                                <a:pt x="35" y="30"/>
                                <a:pt x="34" y="29"/>
                              </a:cubicBezTo>
                              <a:cubicBezTo>
                                <a:pt x="31" y="26"/>
                                <a:pt x="32" y="24"/>
                                <a:pt x="34" y="21"/>
                              </a:cubicBezTo>
                              <a:cubicBezTo>
                                <a:pt x="33" y="21"/>
                                <a:pt x="31" y="19"/>
                                <a:pt x="32" y="18"/>
                              </a:cubicBezTo>
                              <a:cubicBezTo>
                                <a:pt x="33" y="18"/>
                                <a:pt x="34" y="18"/>
                                <a:pt x="34" y="18"/>
                              </a:cubicBezTo>
                              <a:cubicBezTo>
                                <a:pt x="34" y="17"/>
                                <a:pt x="32" y="16"/>
                                <a:pt x="31" y="16"/>
                              </a:cubicBezTo>
                              <a:cubicBezTo>
                                <a:pt x="29" y="18"/>
                                <a:pt x="29" y="18"/>
                                <a:pt x="29" y="18"/>
                              </a:cubicBezTo>
                              <a:cubicBezTo>
                                <a:pt x="29" y="18"/>
                                <a:pt x="28" y="17"/>
                                <a:pt x="27" y="17"/>
                              </a:cubicBezTo>
                              <a:cubicBezTo>
                                <a:pt x="26" y="16"/>
                                <a:pt x="25" y="16"/>
                                <a:pt x="24" y="15"/>
                              </a:cubicBezTo>
                              <a:cubicBezTo>
                                <a:pt x="23" y="15"/>
                                <a:pt x="23" y="15"/>
                                <a:pt x="22" y="15"/>
                              </a:cubicBezTo>
                              <a:cubicBezTo>
                                <a:pt x="24" y="14"/>
                                <a:pt x="24" y="13"/>
                                <a:pt x="22" y="13"/>
                              </a:cubicBezTo>
                              <a:cubicBezTo>
                                <a:pt x="24" y="11"/>
                                <a:pt x="23" y="11"/>
                                <a:pt x="21" y="10"/>
                              </a:cubicBezTo>
                              <a:cubicBezTo>
                                <a:pt x="20" y="10"/>
                                <a:pt x="18" y="9"/>
                                <a:pt x="17" y="8"/>
                              </a:cubicBezTo>
                              <a:cubicBezTo>
                                <a:pt x="18" y="4"/>
                                <a:pt x="15" y="4"/>
                                <a:pt x="14" y="2"/>
                              </a:cubicBezTo>
                              <a:cubicBezTo>
                                <a:pt x="14" y="0"/>
                                <a:pt x="10" y="0"/>
                                <a:pt x="8" y="0"/>
                              </a:cubicBezTo>
                              <a:close/>
                            </a:path>
                          </a:pathLst>
                        </a:custGeom>
                        <a:solidFill>
                          <a:schemeClr val="accent2">
                            <a:lumMod val="50000"/>
                          </a:schemeClr>
                        </a:solid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62" name="Luxembourg">
                          <a:extLst>
                            <a:ext uri="{FF2B5EF4-FFF2-40B4-BE49-F238E27FC236}">
                              <a16:creationId xmlns:a16="http://schemas.microsoft.com/office/drawing/2014/main" id="{83453B3A-1EEA-F382-9BE7-D5AB193EE3E2}"/>
                            </a:ext>
                          </a:extLst>
                        </p:cNvPr>
                        <p:cNvSpPr>
                          <a:spLocks/>
                        </p:cNvSpPr>
                        <p:nvPr/>
                      </p:nvSpPr>
                      <p:spPr bwMode="auto">
                        <a:xfrm>
                          <a:off x="3932653" y="2103593"/>
                          <a:ext cx="14560" cy="15774"/>
                        </a:xfrm>
                        <a:custGeom>
                          <a:avLst/>
                          <a:gdLst/>
                          <a:ahLst/>
                          <a:cxnLst>
                            <a:cxn ang="0">
                              <a:pos x="2" y="0"/>
                            </a:cxn>
                            <a:cxn ang="0">
                              <a:pos x="2" y="0"/>
                            </a:cxn>
                            <a:cxn ang="0">
                              <a:pos x="0" y="3"/>
                            </a:cxn>
                            <a:cxn ang="0">
                              <a:pos x="0" y="3"/>
                            </a:cxn>
                            <a:cxn ang="0">
                              <a:pos x="0" y="3"/>
                            </a:cxn>
                            <a:cxn ang="0">
                              <a:pos x="0" y="7"/>
                            </a:cxn>
                            <a:cxn ang="0">
                              <a:pos x="0" y="7"/>
                            </a:cxn>
                            <a:cxn ang="0">
                              <a:pos x="0" y="7"/>
                            </a:cxn>
                            <a:cxn ang="0">
                              <a:pos x="2" y="7"/>
                            </a:cxn>
                            <a:cxn ang="0">
                              <a:pos x="3" y="7"/>
                            </a:cxn>
                            <a:cxn ang="0">
                              <a:pos x="5" y="7"/>
                            </a:cxn>
                            <a:cxn ang="0">
                              <a:pos x="5" y="7"/>
                            </a:cxn>
                            <a:cxn ang="0">
                              <a:pos x="5" y="7"/>
                            </a:cxn>
                            <a:cxn ang="0">
                              <a:pos x="6" y="4"/>
                            </a:cxn>
                            <a:cxn ang="0">
                              <a:pos x="3" y="2"/>
                            </a:cxn>
                            <a:cxn ang="0">
                              <a:pos x="3" y="0"/>
                            </a:cxn>
                            <a:cxn ang="0">
                              <a:pos x="2" y="0"/>
                            </a:cxn>
                          </a:cxnLst>
                          <a:rect l="0" t="0" r="r" b="b"/>
                          <a:pathLst>
                            <a:path w="6" h="7">
                              <a:moveTo>
                                <a:pt x="2" y="0"/>
                              </a:moveTo>
                              <a:cubicBezTo>
                                <a:pt x="2" y="0"/>
                                <a:pt x="2" y="0"/>
                                <a:pt x="2" y="0"/>
                              </a:cubicBezTo>
                              <a:cubicBezTo>
                                <a:pt x="1" y="0"/>
                                <a:pt x="0" y="1"/>
                                <a:pt x="0" y="3"/>
                              </a:cubicBezTo>
                              <a:cubicBezTo>
                                <a:pt x="0" y="3"/>
                                <a:pt x="0" y="3"/>
                                <a:pt x="0" y="3"/>
                              </a:cubicBezTo>
                              <a:cubicBezTo>
                                <a:pt x="0" y="3"/>
                                <a:pt x="0" y="3"/>
                                <a:pt x="0" y="3"/>
                              </a:cubicBezTo>
                              <a:cubicBezTo>
                                <a:pt x="0" y="5"/>
                                <a:pt x="1" y="6"/>
                                <a:pt x="0" y="7"/>
                              </a:cubicBezTo>
                              <a:cubicBezTo>
                                <a:pt x="0" y="7"/>
                                <a:pt x="0" y="7"/>
                                <a:pt x="0" y="7"/>
                              </a:cubicBezTo>
                              <a:cubicBezTo>
                                <a:pt x="0" y="7"/>
                                <a:pt x="0" y="7"/>
                                <a:pt x="0" y="7"/>
                              </a:cubicBezTo>
                              <a:cubicBezTo>
                                <a:pt x="0" y="7"/>
                                <a:pt x="1" y="7"/>
                                <a:pt x="2" y="7"/>
                              </a:cubicBezTo>
                              <a:cubicBezTo>
                                <a:pt x="2" y="7"/>
                                <a:pt x="3" y="7"/>
                                <a:pt x="3" y="7"/>
                              </a:cubicBezTo>
                              <a:cubicBezTo>
                                <a:pt x="4" y="7"/>
                                <a:pt x="5" y="7"/>
                                <a:pt x="5" y="7"/>
                              </a:cubicBezTo>
                              <a:cubicBezTo>
                                <a:pt x="5" y="7"/>
                                <a:pt x="5" y="7"/>
                                <a:pt x="5" y="7"/>
                              </a:cubicBezTo>
                              <a:cubicBezTo>
                                <a:pt x="5" y="7"/>
                                <a:pt x="5" y="7"/>
                                <a:pt x="5" y="7"/>
                              </a:cubicBezTo>
                              <a:cubicBezTo>
                                <a:pt x="5" y="6"/>
                                <a:pt x="6" y="5"/>
                                <a:pt x="6" y="4"/>
                              </a:cubicBezTo>
                              <a:cubicBezTo>
                                <a:pt x="5" y="3"/>
                                <a:pt x="4" y="3"/>
                                <a:pt x="3" y="2"/>
                              </a:cubicBezTo>
                              <a:cubicBezTo>
                                <a:pt x="3" y="1"/>
                                <a:pt x="3" y="0"/>
                                <a:pt x="3" y="0"/>
                              </a:cubicBezTo>
                              <a:cubicBezTo>
                                <a:pt x="2" y="0"/>
                                <a:pt x="2" y="0"/>
                                <a:pt x="2" y="0"/>
                              </a:cubicBezTo>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63" name="Russia - Baltic">
                          <a:extLst>
                            <a:ext uri="{FF2B5EF4-FFF2-40B4-BE49-F238E27FC236}">
                              <a16:creationId xmlns:a16="http://schemas.microsoft.com/office/drawing/2014/main" id="{1921A04B-937F-0DCF-DA8E-2CE4E6067659}"/>
                            </a:ext>
                          </a:extLst>
                        </p:cNvPr>
                        <p:cNvSpPr>
                          <a:spLocks/>
                        </p:cNvSpPr>
                        <p:nvPr/>
                      </p:nvSpPr>
                      <p:spPr bwMode="auto">
                        <a:xfrm>
                          <a:off x="4194735" y="1976194"/>
                          <a:ext cx="65520" cy="30334"/>
                        </a:xfrm>
                        <a:custGeom>
                          <a:avLst/>
                          <a:gdLst/>
                          <a:ahLst/>
                          <a:cxnLst>
                            <a:cxn ang="0">
                              <a:pos x="0" y="11"/>
                            </a:cxn>
                            <a:cxn ang="0">
                              <a:pos x="2" y="7"/>
                            </a:cxn>
                            <a:cxn ang="0">
                              <a:pos x="3" y="6"/>
                            </a:cxn>
                            <a:cxn ang="0">
                              <a:pos x="8" y="5"/>
                            </a:cxn>
                            <a:cxn ang="0">
                              <a:pos x="11" y="2"/>
                            </a:cxn>
                            <a:cxn ang="0">
                              <a:pos x="7" y="6"/>
                            </a:cxn>
                            <a:cxn ang="0">
                              <a:pos x="12" y="4"/>
                            </a:cxn>
                            <a:cxn ang="0">
                              <a:pos x="18" y="4"/>
                            </a:cxn>
                            <a:cxn ang="0">
                              <a:pos x="26" y="6"/>
                            </a:cxn>
                            <a:cxn ang="0">
                              <a:pos x="27" y="8"/>
                            </a:cxn>
                            <a:cxn ang="0">
                              <a:pos x="27" y="12"/>
                            </a:cxn>
                            <a:cxn ang="0">
                              <a:pos x="1" y="11"/>
                            </a:cxn>
                            <a:cxn ang="0">
                              <a:pos x="3" y="10"/>
                            </a:cxn>
                            <a:cxn ang="0">
                              <a:pos x="6" y="8"/>
                            </a:cxn>
                            <a:cxn ang="0">
                              <a:pos x="3" y="8"/>
                            </a:cxn>
                            <a:cxn ang="0">
                              <a:pos x="0" y="11"/>
                            </a:cxn>
                          </a:cxnLst>
                          <a:rect l="0" t="0" r="r" b="b"/>
                          <a:pathLst>
                            <a:path w="28" h="13">
                              <a:moveTo>
                                <a:pt x="0" y="11"/>
                              </a:moveTo>
                              <a:cubicBezTo>
                                <a:pt x="1" y="10"/>
                                <a:pt x="2" y="9"/>
                                <a:pt x="2" y="7"/>
                              </a:cubicBezTo>
                              <a:cubicBezTo>
                                <a:pt x="2" y="6"/>
                                <a:pt x="2" y="6"/>
                                <a:pt x="3" y="6"/>
                              </a:cubicBezTo>
                              <a:cubicBezTo>
                                <a:pt x="5" y="5"/>
                                <a:pt x="6" y="6"/>
                                <a:pt x="8" y="5"/>
                              </a:cubicBezTo>
                              <a:cubicBezTo>
                                <a:pt x="9" y="4"/>
                                <a:pt x="9" y="2"/>
                                <a:pt x="11" y="2"/>
                              </a:cubicBezTo>
                              <a:cubicBezTo>
                                <a:pt x="10" y="3"/>
                                <a:pt x="8" y="4"/>
                                <a:pt x="7" y="6"/>
                              </a:cubicBezTo>
                              <a:cubicBezTo>
                                <a:pt x="10" y="6"/>
                                <a:pt x="13" y="7"/>
                                <a:pt x="12" y="4"/>
                              </a:cubicBezTo>
                              <a:cubicBezTo>
                                <a:pt x="12" y="0"/>
                                <a:pt x="17" y="3"/>
                                <a:pt x="18" y="4"/>
                              </a:cubicBezTo>
                              <a:cubicBezTo>
                                <a:pt x="20" y="5"/>
                                <a:pt x="24" y="3"/>
                                <a:pt x="26" y="6"/>
                              </a:cubicBezTo>
                              <a:cubicBezTo>
                                <a:pt x="27" y="6"/>
                                <a:pt x="28" y="7"/>
                                <a:pt x="27" y="8"/>
                              </a:cubicBezTo>
                              <a:cubicBezTo>
                                <a:pt x="26" y="9"/>
                                <a:pt x="26" y="11"/>
                                <a:pt x="27" y="12"/>
                              </a:cubicBezTo>
                              <a:cubicBezTo>
                                <a:pt x="19" y="13"/>
                                <a:pt x="10" y="12"/>
                                <a:pt x="1" y="11"/>
                              </a:cubicBezTo>
                              <a:cubicBezTo>
                                <a:pt x="2" y="11"/>
                                <a:pt x="2" y="10"/>
                                <a:pt x="3" y="10"/>
                              </a:cubicBezTo>
                              <a:cubicBezTo>
                                <a:pt x="4" y="9"/>
                                <a:pt x="5" y="10"/>
                                <a:pt x="6" y="8"/>
                              </a:cubicBezTo>
                              <a:cubicBezTo>
                                <a:pt x="5" y="8"/>
                                <a:pt x="4" y="8"/>
                                <a:pt x="3" y="8"/>
                              </a:cubicBezTo>
                              <a:cubicBezTo>
                                <a:pt x="1" y="8"/>
                                <a:pt x="1" y="11"/>
                                <a:pt x="0" y="11"/>
                              </a:cubicBezTo>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64" name="Poland">
                          <a:extLst>
                            <a:ext uri="{FF2B5EF4-FFF2-40B4-BE49-F238E27FC236}">
                              <a16:creationId xmlns:a16="http://schemas.microsoft.com/office/drawing/2014/main" id="{3F5F42D1-DCFC-A47A-9435-1706EBCBC58E}"/>
                            </a:ext>
                          </a:extLst>
                        </p:cNvPr>
                        <p:cNvSpPr>
                          <a:spLocks/>
                        </p:cNvSpPr>
                        <p:nvPr/>
                      </p:nvSpPr>
                      <p:spPr bwMode="auto">
                        <a:xfrm>
                          <a:off x="4083107" y="1991868"/>
                          <a:ext cx="198235" cy="139634"/>
                        </a:xfrm>
                        <a:custGeom>
                          <a:avLst/>
                          <a:gdLst>
                            <a:gd name="connsiteX0" fmla="*/ 4286 w 194525"/>
                            <a:gd name="connsiteY0" fmla="*/ 19148 h 137020"/>
                            <a:gd name="connsiteX1" fmla="*/ 7144 w 194525"/>
                            <a:gd name="connsiteY1" fmla="*/ 20735 h 137020"/>
                            <a:gd name="connsiteX2" fmla="*/ 0 w 194525"/>
                            <a:gd name="connsiteY2" fmla="*/ 22720 h 137020"/>
                            <a:gd name="connsiteX3" fmla="*/ 2381 w 194525"/>
                            <a:gd name="connsiteY3" fmla="*/ 20735 h 137020"/>
                            <a:gd name="connsiteX4" fmla="*/ 3572 w 194525"/>
                            <a:gd name="connsiteY4" fmla="*/ 18751 h 137020"/>
                            <a:gd name="connsiteX5" fmla="*/ 4762 w 194525"/>
                            <a:gd name="connsiteY5" fmla="*/ 18751 h 137020"/>
                            <a:gd name="connsiteX6" fmla="*/ 4286 w 194525"/>
                            <a:gd name="connsiteY6" fmla="*/ 19148 h 137020"/>
                            <a:gd name="connsiteX7" fmla="*/ 0 w 194525"/>
                            <a:gd name="connsiteY7" fmla="*/ 16766 h 137020"/>
                            <a:gd name="connsiteX8" fmla="*/ 3572 w 194525"/>
                            <a:gd name="connsiteY8" fmla="*/ 18751 h 137020"/>
                            <a:gd name="connsiteX9" fmla="*/ 0 w 194525"/>
                            <a:gd name="connsiteY9" fmla="*/ 18751 h 137020"/>
                            <a:gd name="connsiteX10" fmla="*/ 0 w 194525"/>
                            <a:gd name="connsiteY10" fmla="*/ 16766 h 137020"/>
                            <a:gd name="connsiteX11" fmla="*/ 77565 w 194525"/>
                            <a:gd name="connsiteY11" fmla="*/ 0 h 137020"/>
                            <a:gd name="connsiteX12" fmla="*/ 89254 w 194525"/>
                            <a:gd name="connsiteY12" fmla="*/ 4567 h 137020"/>
                            <a:gd name="connsiteX13" fmla="*/ 82412 w 194525"/>
                            <a:gd name="connsiteY13" fmla="*/ 2283 h 137020"/>
                            <a:gd name="connsiteX14" fmla="*/ 91535 w 194525"/>
                            <a:gd name="connsiteY14" fmla="*/ 11418 h 137020"/>
                            <a:gd name="connsiteX15" fmla="*/ 105220 w 194525"/>
                            <a:gd name="connsiteY15" fmla="*/ 9134 h 137020"/>
                            <a:gd name="connsiteX16" fmla="*/ 100659 w 194525"/>
                            <a:gd name="connsiteY16" fmla="*/ 11418 h 137020"/>
                            <a:gd name="connsiteX17" fmla="*/ 105220 w 194525"/>
                            <a:gd name="connsiteY17" fmla="*/ 11418 h 137020"/>
                            <a:gd name="connsiteX18" fmla="*/ 125748 w 194525"/>
                            <a:gd name="connsiteY18" fmla="*/ 11418 h 137020"/>
                            <a:gd name="connsiteX19" fmla="*/ 164522 w 194525"/>
                            <a:gd name="connsiteY19" fmla="*/ 11418 h 137020"/>
                            <a:gd name="connsiteX20" fmla="*/ 178207 w 194525"/>
                            <a:gd name="connsiteY20" fmla="*/ 22836 h 137020"/>
                            <a:gd name="connsiteX21" fmla="*/ 187331 w 194525"/>
                            <a:gd name="connsiteY21" fmla="*/ 47957 h 137020"/>
                            <a:gd name="connsiteX22" fmla="*/ 178207 w 194525"/>
                            <a:gd name="connsiteY22" fmla="*/ 54808 h 137020"/>
                            <a:gd name="connsiteX23" fmla="*/ 178207 w 194525"/>
                            <a:gd name="connsiteY23" fmla="*/ 61659 h 137020"/>
                            <a:gd name="connsiteX24" fmla="*/ 182769 w 194525"/>
                            <a:gd name="connsiteY24" fmla="*/ 77645 h 137020"/>
                            <a:gd name="connsiteX25" fmla="*/ 194173 w 194525"/>
                            <a:gd name="connsiteY25" fmla="*/ 93630 h 137020"/>
                            <a:gd name="connsiteX26" fmla="*/ 191892 w 194525"/>
                            <a:gd name="connsiteY26" fmla="*/ 93630 h 137020"/>
                            <a:gd name="connsiteX27" fmla="*/ 191892 w 194525"/>
                            <a:gd name="connsiteY27" fmla="*/ 102765 h 137020"/>
                            <a:gd name="connsiteX28" fmla="*/ 178207 w 194525"/>
                            <a:gd name="connsiteY28" fmla="*/ 114183 h 137020"/>
                            <a:gd name="connsiteX29" fmla="*/ 171365 w 194525"/>
                            <a:gd name="connsiteY29" fmla="*/ 125602 h 137020"/>
                            <a:gd name="connsiteX30" fmla="*/ 171365 w 194525"/>
                            <a:gd name="connsiteY30" fmla="*/ 132453 h 137020"/>
                            <a:gd name="connsiteX31" fmla="*/ 173646 w 194525"/>
                            <a:gd name="connsiteY31" fmla="*/ 137020 h 137020"/>
                            <a:gd name="connsiteX32" fmla="*/ 162241 w 194525"/>
                            <a:gd name="connsiteY32" fmla="*/ 132453 h 137020"/>
                            <a:gd name="connsiteX33" fmla="*/ 153118 w 194525"/>
                            <a:gd name="connsiteY33" fmla="*/ 127885 h 137020"/>
                            <a:gd name="connsiteX34" fmla="*/ 141714 w 194525"/>
                            <a:gd name="connsiteY34" fmla="*/ 127885 h 137020"/>
                            <a:gd name="connsiteX35" fmla="*/ 130310 w 194525"/>
                            <a:gd name="connsiteY35" fmla="*/ 127885 h 137020"/>
                            <a:gd name="connsiteX36" fmla="*/ 123467 w 194525"/>
                            <a:gd name="connsiteY36" fmla="*/ 130169 h 137020"/>
                            <a:gd name="connsiteX37" fmla="*/ 118905 w 194525"/>
                            <a:gd name="connsiteY37" fmla="*/ 132453 h 137020"/>
                            <a:gd name="connsiteX38" fmla="*/ 116625 w 194525"/>
                            <a:gd name="connsiteY38" fmla="*/ 127885 h 137020"/>
                            <a:gd name="connsiteX39" fmla="*/ 112063 w 194525"/>
                            <a:gd name="connsiteY39" fmla="*/ 123318 h 137020"/>
                            <a:gd name="connsiteX40" fmla="*/ 100659 w 194525"/>
                            <a:gd name="connsiteY40" fmla="*/ 127885 h 137020"/>
                            <a:gd name="connsiteX41" fmla="*/ 89254 w 194525"/>
                            <a:gd name="connsiteY41" fmla="*/ 114183 h 137020"/>
                            <a:gd name="connsiteX42" fmla="*/ 80131 w 194525"/>
                            <a:gd name="connsiteY42" fmla="*/ 114183 h 137020"/>
                            <a:gd name="connsiteX43" fmla="*/ 75569 w 194525"/>
                            <a:gd name="connsiteY43" fmla="*/ 107332 h 137020"/>
                            <a:gd name="connsiteX44" fmla="*/ 59604 w 194525"/>
                            <a:gd name="connsiteY44" fmla="*/ 102765 h 137020"/>
                            <a:gd name="connsiteX45" fmla="*/ 61884 w 194525"/>
                            <a:gd name="connsiteY45" fmla="*/ 107332 h 137020"/>
                            <a:gd name="connsiteX46" fmla="*/ 55042 w 194525"/>
                            <a:gd name="connsiteY46" fmla="*/ 109616 h 137020"/>
                            <a:gd name="connsiteX47" fmla="*/ 48199 w 194525"/>
                            <a:gd name="connsiteY47" fmla="*/ 102765 h 137020"/>
                            <a:gd name="connsiteX48" fmla="*/ 50480 w 194525"/>
                            <a:gd name="connsiteY48" fmla="*/ 98198 h 137020"/>
                            <a:gd name="connsiteX49" fmla="*/ 43638 w 194525"/>
                            <a:gd name="connsiteY49" fmla="*/ 98198 h 137020"/>
                            <a:gd name="connsiteX50" fmla="*/ 32233 w 194525"/>
                            <a:gd name="connsiteY50" fmla="*/ 93630 h 137020"/>
                            <a:gd name="connsiteX51" fmla="*/ 27672 w 194525"/>
                            <a:gd name="connsiteY51" fmla="*/ 89063 h 137020"/>
                            <a:gd name="connsiteX52" fmla="*/ 20829 w 194525"/>
                            <a:gd name="connsiteY52" fmla="*/ 93630 h 137020"/>
                            <a:gd name="connsiteX53" fmla="*/ 20829 w 194525"/>
                            <a:gd name="connsiteY53" fmla="*/ 77645 h 137020"/>
                            <a:gd name="connsiteX54" fmla="*/ 18548 w 194525"/>
                            <a:gd name="connsiteY54" fmla="*/ 73077 h 137020"/>
                            <a:gd name="connsiteX55" fmla="*/ 18548 w 194525"/>
                            <a:gd name="connsiteY55" fmla="*/ 66226 h 137020"/>
                            <a:gd name="connsiteX56" fmla="*/ 18548 w 194525"/>
                            <a:gd name="connsiteY56" fmla="*/ 61659 h 137020"/>
                            <a:gd name="connsiteX57" fmla="*/ 16267 w 194525"/>
                            <a:gd name="connsiteY57" fmla="*/ 57092 h 137020"/>
                            <a:gd name="connsiteX58" fmla="*/ 16267 w 194525"/>
                            <a:gd name="connsiteY58" fmla="*/ 52524 h 137020"/>
                            <a:gd name="connsiteX59" fmla="*/ 7144 w 194525"/>
                            <a:gd name="connsiteY59" fmla="*/ 45673 h 137020"/>
                            <a:gd name="connsiteX60" fmla="*/ 11706 w 194525"/>
                            <a:gd name="connsiteY60" fmla="*/ 34255 h 137020"/>
                            <a:gd name="connsiteX61" fmla="*/ 9425 w 194525"/>
                            <a:gd name="connsiteY61" fmla="*/ 27404 h 137020"/>
                            <a:gd name="connsiteX62" fmla="*/ 13987 w 194525"/>
                            <a:gd name="connsiteY62" fmla="*/ 27404 h 137020"/>
                            <a:gd name="connsiteX63" fmla="*/ 16267 w 194525"/>
                            <a:gd name="connsiteY63" fmla="*/ 22836 h 137020"/>
                            <a:gd name="connsiteX64" fmla="*/ 13987 w 194525"/>
                            <a:gd name="connsiteY64" fmla="*/ 22836 h 137020"/>
                            <a:gd name="connsiteX65" fmla="*/ 11706 w 194525"/>
                            <a:gd name="connsiteY65" fmla="*/ 22836 h 137020"/>
                            <a:gd name="connsiteX66" fmla="*/ 7144 w 194525"/>
                            <a:gd name="connsiteY66" fmla="*/ 20553 h 137020"/>
                            <a:gd name="connsiteX67" fmla="*/ 25391 w 194525"/>
                            <a:gd name="connsiteY67" fmla="*/ 15985 h 137020"/>
                            <a:gd name="connsiteX68" fmla="*/ 45918 w 194525"/>
                            <a:gd name="connsiteY68" fmla="*/ 11418 h 137020"/>
                            <a:gd name="connsiteX69" fmla="*/ 64165 w 194525"/>
                            <a:gd name="connsiteY69" fmla="*/ 2283 h 137020"/>
                            <a:gd name="connsiteX70" fmla="*/ 77565 w 194525"/>
                            <a:gd name="connsiteY70" fmla="*/ 0 h 137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94525" h="137020">
                              <a:moveTo>
                                <a:pt x="4286" y="19148"/>
                              </a:moveTo>
                              <a:lnTo>
                                <a:pt x="7144" y="20735"/>
                              </a:lnTo>
                              <a:cubicBezTo>
                                <a:pt x="9525" y="22720"/>
                                <a:pt x="2381" y="22720"/>
                                <a:pt x="0" y="22720"/>
                              </a:cubicBezTo>
                              <a:cubicBezTo>
                                <a:pt x="2381" y="22720"/>
                                <a:pt x="2381" y="21728"/>
                                <a:pt x="2381" y="20735"/>
                              </a:cubicBezTo>
                              <a:close/>
                              <a:moveTo>
                                <a:pt x="3572" y="18751"/>
                              </a:moveTo>
                              <a:lnTo>
                                <a:pt x="4762" y="18751"/>
                              </a:lnTo>
                              <a:lnTo>
                                <a:pt x="4286" y="19148"/>
                              </a:lnTo>
                              <a:close/>
                              <a:moveTo>
                                <a:pt x="0" y="16766"/>
                              </a:moveTo>
                              <a:lnTo>
                                <a:pt x="3572" y="18751"/>
                              </a:lnTo>
                              <a:lnTo>
                                <a:pt x="0" y="18751"/>
                              </a:lnTo>
                              <a:cubicBezTo>
                                <a:pt x="0" y="16766"/>
                                <a:pt x="0" y="16766"/>
                                <a:pt x="0" y="16766"/>
                              </a:cubicBezTo>
                              <a:close/>
                              <a:moveTo>
                                <a:pt x="77565" y="0"/>
                              </a:moveTo>
                              <a:cubicBezTo>
                                <a:pt x="81842" y="0"/>
                                <a:pt x="85833" y="1142"/>
                                <a:pt x="89254" y="4567"/>
                              </a:cubicBezTo>
                              <a:cubicBezTo>
                                <a:pt x="86974" y="2283"/>
                                <a:pt x="84693" y="2283"/>
                                <a:pt x="82412" y="2283"/>
                              </a:cubicBezTo>
                              <a:cubicBezTo>
                                <a:pt x="86974" y="4567"/>
                                <a:pt x="86974" y="9134"/>
                                <a:pt x="91535" y="11418"/>
                              </a:cubicBezTo>
                              <a:cubicBezTo>
                                <a:pt x="96097" y="11418"/>
                                <a:pt x="102940" y="9134"/>
                                <a:pt x="105220" y="9134"/>
                              </a:cubicBezTo>
                              <a:cubicBezTo>
                                <a:pt x="105220" y="9134"/>
                                <a:pt x="102940" y="9134"/>
                                <a:pt x="100659" y="11418"/>
                              </a:cubicBezTo>
                              <a:cubicBezTo>
                                <a:pt x="96097" y="13702"/>
                                <a:pt x="102940" y="11418"/>
                                <a:pt x="105220" y="11418"/>
                              </a:cubicBezTo>
                              <a:cubicBezTo>
                                <a:pt x="112063" y="9134"/>
                                <a:pt x="118905" y="11418"/>
                                <a:pt x="125748" y="11418"/>
                              </a:cubicBezTo>
                              <a:cubicBezTo>
                                <a:pt x="137152" y="11418"/>
                                <a:pt x="153118" y="13702"/>
                                <a:pt x="164522" y="11418"/>
                              </a:cubicBezTo>
                              <a:cubicBezTo>
                                <a:pt x="173646" y="11418"/>
                                <a:pt x="175927" y="13702"/>
                                <a:pt x="178207" y="22836"/>
                              </a:cubicBezTo>
                              <a:cubicBezTo>
                                <a:pt x="180488" y="29687"/>
                                <a:pt x="189612" y="38822"/>
                                <a:pt x="187331" y="47957"/>
                              </a:cubicBezTo>
                              <a:cubicBezTo>
                                <a:pt x="185050" y="52524"/>
                                <a:pt x="180488" y="52524"/>
                                <a:pt x="178207" y="54808"/>
                              </a:cubicBezTo>
                              <a:cubicBezTo>
                                <a:pt x="175927" y="57092"/>
                                <a:pt x="173646" y="61659"/>
                                <a:pt x="178207" y="61659"/>
                              </a:cubicBezTo>
                              <a:cubicBezTo>
                                <a:pt x="187331" y="63943"/>
                                <a:pt x="180488" y="73077"/>
                                <a:pt x="182769" y="77645"/>
                              </a:cubicBezTo>
                              <a:cubicBezTo>
                                <a:pt x="187331" y="82212"/>
                                <a:pt x="187331" y="89063"/>
                                <a:pt x="194173" y="93630"/>
                              </a:cubicBezTo>
                              <a:cubicBezTo>
                                <a:pt x="194173" y="93630"/>
                                <a:pt x="191892" y="93630"/>
                                <a:pt x="191892" y="93630"/>
                              </a:cubicBezTo>
                              <a:cubicBezTo>
                                <a:pt x="194173" y="98198"/>
                                <a:pt x="196454" y="100481"/>
                                <a:pt x="191892" y="102765"/>
                              </a:cubicBezTo>
                              <a:cubicBezTo>
                                <a:pt x="185050" y="105049"/>
                                <a:pt x="182769" y="109616"/>
                                <a:pt x="178207" y="114183"/>
                              </a:cubicBezTo>
                              <a:cubicBezTo>
                                <a:pt x="175927" y="116467"/>
                                <a:pt x="169084" y="121034"/>
                                <a:pt x="171365" y="125602"/>
                              </a:cubicBezTo>
                              <a:cubicBezTo>
                                <a:pt x="171365" y="127885"/>
                                <a:pt x="171365" y="130169"/>
                                <a:pt x="171365" y="132453"/>
                              </a:cubicBezTo>
                              <a:cubicBezTo>
                                <a:pt x="173646" y="134736"/>
                                <a:pt x="175927" y="134736"/>
                                <a:pt x="173646" y="137020"/>
                              </a:cubicBezTo>
                              <a:cubicBezTo>
                                <a:pt x="171365" y="134736"/>
                                <a:pt x="166803" y="134736"/>
                                <a:pt x="162241" y="132453"/>
                              </a:cubicBezTo>
                              <a:cubicBezTo>
                                <a:pt x="157680" y="132453"/>
                                <a:pt x="157680" y="127885"/>
                                <a:pt x="153118" y="127885"/>
                              </a:cubicBezTo>
                              <a:cubicBezTo>
                                <a:pt x="148556" y="125602"/>
                                <a:pt x="143995" y="125602"/>
                                <a:pt x="141714" y="127885"/>
                              </a:cubicBezTo>
                              <a:cubicBezTo>
                                <a:pt x="137152" y="130169"/>
                                <a:pt x="134871" y="127885"/>
                                <a:pt x="130310" y="127885"/>
                              </a:cubicBezTo>
                              <a:cubicBezTo>
                                <a:pt x="128029" y="127885"/>
                                <a:pt x="125748" y="127885"/>
                                <a:pt x="123467" y="130169"/>
                              </a:cubicBezTo>
                              <a:cubicBezTo>
                                <a:pt x="121186" y="130169"/>
                                <a:pt x="121186" y="132453"/>
                                <a:pt x="118905" y="132453"/>
                              </a:cubicBezTo>
                              <a:cubicBezTo>
                                <a:pt x="116625" y="132453"/>
                                <a:pt x="116625" y="130169"/>
                                <a:pt x="116625" y="127885"/>
                              </a:cubicBezTo>
                              <a:cubicBezTo>
                                <a:pt x="114344" y="127885"/>
                                <a:pt x="112063" y="125602"/>
                                <a:pt x="112063" y="123318"/>
                              </a:cubicBezTo>
                              <a:cubicBezTo>
                                <a:pt x="107501" y="121034"/>
                                <a:pt x="102940" y="127885"/>
                                <a:pt x="100659" y="127885"/>
                              </a:cubicBezTo>
                              <a:cubicBezTo>
                                <a:pt x="100659" y="125602"/>
                                <a:pt x="91535" y="116467"/>
                                <a:pt x="89254" y="114183"/>
                              </a:cubicBezTo>
                              <a:cubicBezTo>
                                <a:pt x="84693" y="114183"/>
                                <a:pt x="82412" y="111900"/>
                                <a:pt x="80131" y="114183"/>
                              </a:cubicBezTo>
                              <a:cubicBezTo>
                                <a:pt x="75569" y="114183"/>
                                <a:pt x="75569" y="107332"/>
                                <a:pt x="75569" y="107332"/>
                              </a:cubicBezTo>
                              <a:cubicBezTo>
                                <a:pt x="71008" y="107332"/>
                                <a:pt x="66446" y="105049"/>
                                <a:pt x="59604" y="102765"/>
                              </a:cubicBezTo>
                              <a:cubicBezTo>
                                <a:pt x="59604" y="105049"/>
                                <a:pt x="61884" y="105049"/>
                                <a:pt x="61884" y="107332"/>
                              </a:cubicBezTo>
                              <a:cubicBezTo>
                                <a:pt x="59604" y="107332"/>
                                <a:pt x="57323" y="111900"/>
                                <a:pt x="55042" y="109616"/>
                              </a:cubicBezTo>
                              <a:cubicBezTo>
                                <a:pt x="52761" y="107332"/>
                                <a:pt x="50480" y="105049"/>
                                <a:pt x="48199" y="102765"/>
                              </a:cubicBezTo>
                              <a:cubicBezTo>
                                <a:pt x="48199" y="102765"/>
                                <a:pt x="52761" y="100481"/>
                                <a:pt x="50480" y="98198"/>
                              </a:cubicBezTo>
                              <a:cubicBezTo>
                                <a:pt x="50480" y="95914"/>
                                <a:pt x="45918" y="98198"/>
                                <a:pt x="43638" y="98198"/>
                              </a:cubicBezTo>
                              <a:cubicBezTo>
                                <a:pt x="43638" y="93630"/>
                                <a:pt x="34514" y="98198"/>
                                <a:pt x="32233" y="93630"/>
                              </a:cubicBezTo>
                              <a:cubicBezTo>
                                <a:pt x="29953" y="91347"/>
                                <a:pt x="32233" y="91347"/>
                                <a:pt x="27672" y="89063"/>
                              </a:cubicBezTo>
                              <a:cubicBezTo>
                                <a:pt x="23110" y="89063"/>
                                <a:pt x="25391" y="93630"/>
                                <a:pt x="20829" y="93630"/>
                              </a:cubicBezTo>
                              <a:cubicBezTo>
                                <a:pt x="25391" y="84496"/>
                                <a:pt x="27672" y="82212"/>
                                <a:pt x="20829" y="77645"/>
                              </a:cubicBezTo>
                              <a:cubicBezTo>
                                <a:pt x="18548" y="75361"/>
                                <a:pt x="20829" y="75361"/>
                                <a:pt x="18548" y="73077"/>
                              </a:cubicBezTo>
                              <a:cubicBezTo>
                                <a:pt x="16267" y="70794"/>
                                <a:pt x="18548" y="68510"/>
                                <a:pt x="18548" y="66226"/>
                              </a:cubicBezTo>
                              <a:cubicBezTo>
                                <a:pt x="18548" y="63943"/>
                                <a:pt x="18548" y="61659"/>
                                <a:pt x="18548" y="61659"/>
                              </a:cubicBezTo>
                              <a:cubicBezTo>
                                <a:pt x="18548" y="59375"/>
                                <a:pt x="13987" y="59375"/>
                                <a:pt x="16267" y="57092"/>
                              </a:cubicBezTo>
                              <a:cubicBezTo>
                                <a:pt x="16267" y="54808"/>
                                <a:pt x="18548" y="52524"/>
                                <a:pt x="16267" y="52524"/>
                              </a:cubicBezTo>
                              <a:cubicBezTo>
                                <a:pt x="11706" y="50241"/>
                                <a:pt x="9425" y="47957"/>
                                <a:pt x="7144" y="45673"/>
                              </a:cubicBezTo>
                              <a:cubicBezTo>
                                <a:pt x="7144" y="41106"/>
                                <a:pt x="13987" y="38822"/>
                                <a:pt x="11706" y="34255"/>
                              </a:cubicBezTo>
                              <a:cubicBezTo>
                                <a:pt x="11706" y="31971"/>
                                <a:pt x="9425" y="29687"/>
                                <a:pt x="9425" y="27404"/>
                              </a:cubicBezTo>
                              <a:cubicBezTo>
                                <a:pt x="9425" y="25120"/>
                                <a:pt x="13987" y="27404"/>
                                <a:pt x="13987" y="27404"/>
                              </a:cubicBezTo>
                              <a:cubicBezTo>
                                <a:pt x="13987" y="25120"/>
                                <a:pt x="13987" y="25120"/>
                                <a:pt x="16267" y="22836"/>
                              </a:cubicBezTo>
                              <a:cubicBezTo>
                                <a:pt x="13987" y="22836"/>
                                <a:pt x="13987" y="22836"/>
                                <a:pt x="13987" y="22836"/>
                              </a:cubicBezTo>
                              <a:cubicBezTo>
                                <a:pt x="13987" y="22836"/>
                                <a:pt x="11706" y="22836"/>
                                <a:pt x="11706" y="22836"/>
                              </a:cubicBezTo>
                              <a:cubicBezTo>
                                <a:pt x="11706" y="25120"/>
                                <a:pt x="9425" y="22836"/>
                                <a:pt x="7144" y="20553"/>
                              </a:cubicBezTo>
                              <a:cubicBezTo>
                                <a:pt x="13987" y="22836"/>
                                <a:pt x="20829" y="18269"/>
                                <a:pt x="25391" y="15985"/>
                              </a:cubicBezTo>
                              <a:cubicBezTo>
                                <a:pt x="29953" y="13702"/>
                                <a:pt x="41357" y="15985"/>
                                <a:pt x="45918" y="11418"/>
                              </a:cubicBezTo>
                              <a:cubicBezTo>
                                <a:pt x="48199" y="6851"/>
                                <a:pt x="59604" y="4567"/>
                                <a:pt x="64165" y="2283"/>
                              </a:cubicBezTo>
                              <a:cubicBezTo>
                                <a:pt x="68727" y="1142"/>
                                <a:pt x="73289" y="0"/>
                                <a:pt x="77565" y="0"/>
                              </a:cubicBezTo>
                              <a:close/>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65" name="Norway">
                          <a:extLst>
                            <a:ext uri="{FF2B5EF4-FFF2-40B4-BE49-F238E27FC236}">
                              <a16:creationId xmlns:a16="http://schemas.microsoft.com/office/drawing/2014/main" id="{1C478BDC-BB18-2FCE-8B38-A6458BDF88C2}"/>
                            </a:ext>
                          </a:extLst>
                        </p:cNvPr>
                        <p:cNvSpPr>
                          <a:spLocks/>
                        </p:cNvSpPr>
                        <p:nvPr/>
                      </p:nvSpPr>
                      <p:spPr bwMode="auto">
                        <a:xfrm>
                          <a:off x="3925373" y="1630392"/>
                          <a:ext cx="420227" cy="287562"/>
                        </a:xfrm>
                        <a:custGeom>
                          <a:avLst/>
                          <a:gdLst>
                            <a:gd name="connsiteX0" fmla="*/ 11383 w 412361"/>
                            <a:gd name="connsiteY0" fmla="*/ 250308 h 282179"/>
                            <a:gd name="connsiteX1" fmla="*/ 15936 w 412361"/>
                            <a:gd name="connsiteY1" fmla="*/ 252585 h 282179"/>
                            <a:gd name="connsiteX2" fmla="*/ 11383 w 412361"/>
                            <a:gd name="connsiteY2" fmla="*/ 252585 h 282179"/>
                            <a:gd name="connsiteX3" fmla="*/ 4763 w 412361"/>
                            <a:gd name="connsiteY3" fmla="*/ 241698 h 282179"/>
                            <a:gd name="connsiteX4" fmla="*/ 7144 w 412361"/>
                            <a:gd name="connsiteY4" fmla="*/ 243483 h 282179"/>
                            <a:gd name="connsiteX5" fmla="*/ 7145 w 412361"/>
                            <a:gd name="connsiteY5" fmla="*/ 243484 h 282179"/>
                            <a:gd name="connsiteX6" fmla="*/ 7144 w 412361"/>
                            <a:gd name="connsiteY6" fmla="*/ 243484 h 282179"/>
                            <a:gd name="connsiteX7" fmla="*/ 2382 w 412361"/>
                            <a:gd name="connsiteY7" fmla="*/ 245270 h 282179"/>
                            <a:gd name="connsiteX8" fmla="*/ 4763 w 412361"/>
                            <a:gd name="connsiteY8" fmla="*/ 241698 h 282179"/>
                            <a:gd name="connsiteX9" fmla="*/ 0 w 412361"/>
                            <a:gd name="connsiteY9" fmla="*/ 227410 h 282179"/>
                            <a:gd name="connsiteX10" fmla="*/ 2381 w 412361"/>
                            <a:gd name="connsiteY10" fmla="*/ 229792 h 282179"/>
                            <a:gd name="connsiteX11" fmla="*/ 0 w 412361"/>
                            <a:gd name="connsiteY11" fmla="*/ 232173 h 282179"/>
                            <a:gd name="connsiteX12" fmla="*/ 0 w 412361"/>
                            <a:gd name="connsiteY12" fmla="*/ 227410 h 282179"/>
                            <a:gd name="connsiteX13" fmla="*/ 45532 w 412361"/>
                            <a:gd name="connsiteY13" fmla="*/ 204779 h 282179"/>
                            <a:gd name="connsiteX14" fmla="*/ 41782 w 412361"/>
                            <a:gd name="connsiteY14" fmla="*/ 210403 h 282179"/>
                            <a:gd name="connsiteX15" fmla="*/ 39556 w 412361"/>
                            <a:gd name="connsiteY15" fmla="*/ 211039 h 282179"/>
                            <a:gd name="connsiteX16" fmla="*/ 39461 w 412361"/>
                            <a:gd name="connsiteY16" fmla="*/ 211608 h 282179"/>
                            <a:gd name="connsiteX17" fmla="*/ 36425 w 412361"/>
                            <a:gd name="connsiteY17" fmla="*/ 211608 h 282179"/>
                            <a:gd name="connsiteX18" fmla="*/ 38702 w 412361"/>
                            <a:gd name="connsiteY18" fmla="*/ 209332 h 282179"/>
                            <a:gd name="connsiteX19" fmla="*/ 29595 w 412361"/>
                            <a:gd name="connsiteY19" fmla="*/ 207055 h 282179"/>
                            <a:gd name="connsiteX20" fmla="*/ 27319 w 412361"/>
                            <a:gd name="connsiteY20" fmla="*/ 211608 h 282179"/>
                            <a:gd name="connsiteX21" fmla="*/ 34149 w 412361"/>
                            <a:gd name="connsiteY21" fmla="*/ 216161 h 282179"/>
                            <a:gd name="connsiteX22" fmla="*/ 38702 w 412361"/>
                            <a:gd name="connsiteY22" fmla="*/ 216161 h 282179"/>
                            <a:gd name="connsiteX23" fmla="*/ 39461 w 412361"/>
                            <a:gd name="connsiteY23" fmla="*/ 211608 h 282179"/>
                            <a:gd name="connsiteX24" fmla="*/ 40978 w 412361"/>
                            <a:gd name="connsiteY24" fmla="*/ 211608 h 282179"/>
                            <a:gd name="connsiteX25" fmla="*/ 41782 w 412361"/>
                            <a:gd name="connsiteY25" fmla="*/ 210403 h 282179"/>
                            <a:gd name="connsiteX26" fmla="*/ 45532 w 412361"/>
                            <a:gd name="connsiteY26" fmla="*/ 209332 h 282179"/>
                            <a:gd name="connsiteX27" fmla="*/ 45532 w 412361"/>
                            <a:gd name="connsiteY27" fmla="*/ 204779 h 282179"/>
                            <a:gd name="connsiteX28" fmla="*/ 4553 w 412361"/>
                            <a:gd name="connsiteY28" fmla="*/ 188843 h 282179"/>
                            <a:gd name="connsiteX29" fmla="*/ 9106 w 412361"/>
                            <a:gd name="connsiteY29" fmla="*/ 193396 h 282179"/>
                            <a:gd name="connsiteX30" fmla="*/ 4553 w 412361"/>
                            <a:gd name="connsiteY30" fmla="*/ 188843 h 282179"/>
                            <a:gd name="connsiteX31" fmla="*/ 19050 w 412361"/>
                            <a:gd name="connsiteY31" fmla="*/ 184548 h 282179"/>
                            <a:gd name="connsiteX32" fmla="*/ 21431 w 412361"/>
                            <a:gd name="connsiteY32" fmla="*/ 184548 h 282179"/>
                            <a:gd name="connsiteX33" fmla="*/ 19050 w 412361"/>
                            <a:gd name="connsiteY33" fmla="*/ 186929 h 282179"/>
                            <a:gd name="connsiteX34" fmla="*/ 19050 w 412361"/>
                            <a:gd name="connsiteY34" fmla="*/ 184548 h 282179"/>
                            <a:gd name="connsiteX35" fmla="*/ 46435 w 412361"/>
                            <a:gd name="connsiteY35" fmla="*/ 169069 h 282179"/>
                            <a:gd name="connsiteX36" fmla="*/ 48817 w 412361"/>
                            <a:gd name="connsiteY36" fmla="*/ 170855 h 282179"/>
                            <a:gd name="connsiteX37" fmla="*/ 46435 w 412361"/>
                            <a:gd name="connsiteY37" fmla="*/ 170855 h 282179"/>
                            <a:gd name="connsiteX38" fmla="*/ 44054 w 412361"/>
                            <a:gd name="connsiteY38" fmla="*/ 170855 h 282179"/>
                            <a:gd name="connsiteX39" fmla="*/ 46435 w 412361"/>
                            <a:gd name="connsiteY39" fmla="*/ 169069 h 282179"/>
                            <a:gd name="connsiteX40" fmla="*/ 53579 w 412361"/>
                            <a:gd name="connsiteY40" fmla="*/ 161628 h 282179"/>
                            <a:gd name="connsiteX41" fmla="*/ 57151 w 412361"/>
                            <a:gd name="connsiteY41" fmla="*/ 164307 h 282179"/>
                            <a:gd name="connsiteX42" fmla="*/ 50007 w 412361"/>
                            <a:gd name="connsiteY42" fmla="*/ 164307 h 282179"/>
                            <a:gd name="connsiteX43" fmla="*/ 53579 w 412361"/>
                            <a:gd name="connsiteY43" fmla="*/ 161628 h 282179"/>
                            <a:gd name="connsiteX44" fmla="*/ 66676 w 412361"/>
                            <a:gd name="connsiteY44" fmla="*/ 157163 h 282179"/>
                            <a:gd name="connsiteX45" fmla="*/ 71438 w 412361"/>
                            <a:gd name="connsiteY45" fmla="*/ 157163 h 282179"/>
                            <a:gd name="connsiteX46" fmla="*/ 66378 w 412361"/>
                            <a:gd name="connsiteY46" fmla="*/ 162223 h 282179"/>
                            <a:gd name="connsiteX47" fmla="*/ 64294 w 412361"/>
                            <a:gd name="connsiteY47" fmla="*/ 162133 h 282179"/>
                            <a:gd name="connsiteX48" fmla="*/ 64294 w 412361"/>
                            <a:gd name="connsiteY48" fmla="*/ 164306 h 282179"/>
                            <a:gd name="connsiteX49" fmla="*/ 62022 w 412361"/>
                            <a:gd name="connsiteY49" fmla="*/ 162034 h 282179"/>
                            <a:gd name="connsiteX50" fmla="*/ 59532 w 412361"/>
                            <a:gd name="connsiteY50" fmla="*/ 161926 h 282179"/>
                            <a:gd name="connsiteX51" fmla="*/ 66676 w 412361"/>
                            <a:gd name="connsiteY51" fmla="*/ 159544 h 282179"/>
                            <a:gd name="connsiteX52" fmla="*/ 66676 w 412361"/>
                            <a:gd name="connsiteY52" fmla="*/ 157163 h 282179"/>
                            <a:gd name="connsiteX53" fmla="*/ 102395 w 412361"/>
                            <a:gd name="connsiteY53" fmla="*/ 127398 h 282179"/>
                            <a:gd name="connsiteX54" fmla="*/ 104776 w 412361"/>
                            <a:gd name="connsiteY54" fmla="*/ 127398 h 282179"/>
                            <a:gd name="connsiteX55" fmla="*/ 100013 w 412361"/>
                            <a:gd name="connsiteY55" fmla="*/ 129779 h 282179"/>
                            <a:gd name="connsiteX56" fmla="*/ 102395 w 412361"/>
                            <a:gd name="connsiteY56" fmla="*/ 127398 h 282179"/>
                            <a:gd name="connsiteX57" fmla="*/ 116959 w 412361"/>
                            <a:gd name="connsiteY57" fmla="*/ 124248 h 282179"/>
                            <a:gd name="connsiteX58" fmla="*/ 119400 w 412361"/>
                            <a:gd name="connsiteY58" fmla="*/ 124811 h 282179"/>
                            <a:gd name="connsiteX59" fmla="*/ 118382 w 412361"/>
                            <a:gd name="connsiteY59" fmla="*/ 125102 h 282179"/>
                            <a:gd name="connsiteX60" fmla="*/ 116959 w 412361"/>
                            <a:gd name="connsiteY60" fmla="*/ 124248 h 282179"/>
                            <a:gd name="connsiteX61" fmla="*/ 132161 w 412361"/>
                            <a:gd name="connsiteY61" fmla="*/ 107156 h 282179"/>
                            <a:gd name="connsiteX62" fmla="*/ 128192 w 412361"/>
                            <a:gd name="connsiteY62" fmla="*/ 109538 h 282179"/>
                            <a:gd name="connsiteX63" fmla="*/ 126207 w 412361"/>
                            <a:gd name="connsiteY63" fmla="*/ 109538 h 282179"/>
                            <a:gd name="connsiteX64" fmla="*/ 132161 w 412361"/>
                            <a:gd name="connsiteY64" fmla="*/ 107156 h 282179"/>
                            <a:gd name="connsiteX65" fmla="*/ 143828 w 412361"/>
                            <a:gd name="connsiteY65" fmla="*/ 57150 h 282179"/>
                            <a:gd name="connsiteX66" fmla="*/ 148115 w 412361"/>
                            <a:gd name="connsiteY66" fmla="*/ 57150 h 282179"/>
                            <a:gd name="connsiteX67" fmla="*/ 152401 w 412361"/>
                            <a:gd name="connsiteY67" fmla="*/ 59531 h 282179"/>
                            <a:gd name="connsiteX68" fmla="*/ 141685 w 412361"/>
                            <a:gd name="connsiteY68" fmla="*/ 64294 h 282179"/>
                            <a:gd name="connsiteX69" fmla="*/ 143828 w 412361"/>
                            <a:gd name="connsiteY69" fmla="*/ 61913 h 282179"/>
                            <a:gd name="connsiteX70" fmla="*/ 143828 w 412361"/>
                            <a:gd name="connsiteY70" fmla="*/ 59531 h 282179"/>
                            <a:gd name="connsiteX71" fmla="*/ 143828 w 412361"/>
                            <a:gd name="connsiteY71" fmla="*/ 57150 h 282179"/>
                            <a:gd name="connsiteX72" fmla="*/ 166688 w 412361"/>
                            <a:gd name="connsiteY72" fmla="*/ 54769 h 282179"/>
                            <a:gd name="connsiteX73" fmla="*/ 154782 w 412361"/>
                            <a:gd name="connsiteY73" fmla="*/ 59532 h 282179"/>
                            <a:gd name="connsiteX74" fmla="*/ 161926 w 412361"/>
                            <a:gd name="connsiteY74" fmla="*/ 57150 h 282179"/>
                            <a:gd name="connsiteX75" fmla="*/ 166688 w 412361"/>
                            <a:gd name="connsiteY75" fmla="*/ 54769 h 282179"/>
                            <a:gd name="connsiteX76" fmla="*/ 159544 w 412361"/>
                            <a:gd name="connsiteY76" fmla="*/ 52388 h 282179"/>
                            <a:gd name="connsiteX77" fmla="*/ 164307 w 412361"/>
                            <a:gd name="connsiteY77" fmla="*/ 52388 h 282179"/>
                            <a:gd name="connsiteX78" fmla="*/ 161926 w 412361"/>
                            <a:gd name="connsiteY78" fmla="*/ 54769 h 282179"/>
                            <a:gd name="connsiteX79" fmla="*/ 159544 w 412361"/>
                            <a:gd name="connsiteY79" fmla="*/ 52388 h 282179"/>
                            <a:gd name="connsiteX80" fmla="*/ 175780 w 412361"/>
                            <a:gd name="connsiteY80" fmla="*/ 45244 h 282179"/>
                            <a:gd name="connsiteX81" fmla="*/ 178054 w 412361"/>
                            <a:gd name="connsiteY81" fmla="*/ 47626 h 282179"/>
                            <a:gd name="connsiteX82" fmla="*/ 178054 w 412361"/>
                            <a:gd name="connsiteY82" fmla="*/ 52388 h 282179"/>
                            <a:gd name="connsiteX83" fmla="*/ 184873 w 412361"/>
                            <a:gd name="connsiteY83" fmla="*/ 47626 h 282179"/>
                            <a:gd name="connsiteX84" fmla="*/ 189419 w 412361"/>
                            <a:gd name="connsiteY84" fmla="*/ 47626 h 282179"/>
                            <a:gd name="connsiteX85" fmla="*/ 187146 w 412361"/>
                            <a:gd name="connsiteY85" fmla="*/ 52388 h 282179"/>
                            <a:gd name="connsiteX86" fmla="*/ 182600 w 412361"/>
                            <a:gd name="connsiteY86" fmla="*/ 52388 h 282179"/>
                            <a:gd name="connsiteX87" fmla="*/ 180327 w 412361"/>
                            <a:gd name="connsiteY87" fmla="*/ 54769 h 282179"/>
                            <a:gd name="connsiteX88" fmla="*/ 175780 w 412361"/>
                            <a:gd name="connsiteY88" fmla="*/ 57151 h 282179"/>
                            <a:gd name="connsiteX89" fmla="*/ 171234 w 412361"/>
                            <a:gd name="connsiteY89" fmla="*/ 57151 h 282179"/>
                            <a:gd name="connsiteX90" fmla="*/ 173507 w 412361"/>
                            <a:gd name="connsiteY90" fmla="*/ 54769 h 282179"/>
                            <a:gd name="connsiteX91" fmla="*/ 166688 w 412361"/>
                            <a:gd name="connsiteY91" fmla="*/ 57151 h 282179"/>
                            <a:gd name="connsiteX92" fmla="*/ 168961 w 412361"/>
                            <a:gd name="connsiteY92" fmla="*/ 52388 h 282179"/>
                            <a:gd name="connsiteX93" fmla="*/ 173507 w 412361"/>
                            <a:gd name="connsiteY93" fmla="*/ 52388 h 282179"/>
                            <a:gd name="connsiteX94" fmla="*/ 173507 w 412361"/>
                            <a:gd name="connsiteY94" fmla="*/ 50007 h 282179"/>
                            <a:gd name="connsiteX95" fmla="*/ 175780 w 412361"/>
                            <a:gd name="connsiteY95" fmla="*/ 50007 h 282179"/>
                            <a:gd name="connsiteX96" fmla="*/ 175780 w 412361"/>
                            <a:gd name="connsiteY96" fmla="*/ 45244 h 282179"/>
                            <a:gd name="connsiteX97" fmla="*/ 166688 w 412361"/>
                            <a:gd name="connsiteY97" fmla="*/ 42863 h 282179"/>
                            <a:gd name="connsiteX98" fmla="*/ 171451 w 412361"/>
                            <a:gd name="connsiteY98" fmla="*/ 47625 h 282179"/>
                            <a:gd name="connsiteX99" fmla="*/ 171451 w 412361"/>
                            <a:gd name="connsiteY99" fmla="*/ 50007 h 282179"/>
                            <a:gd name="connsiteX100" fmla="*/ 164307 w 412361"/>
                            <a:gd name="connsiteY100" fmla="*/ 52388 h 282179"/>
                            <a:gd name="connsiteX101" fmla="*/ 161926 w 412361"/>
                            <a:gd name="connsiteY101" fmla="*/ 50007 h 282179"/>
                            <a:gd name="connsiteX102" fmla="*/ 157163 w 412361"/>
                            <a:gd name="connsiteY102" fmla="*/ 50007 h 282179"/>
                            <a:gd name="connsiteX103" fmla="*/ 166688 w 412361"/>
                            <a:gd name="connsiteY103" fmla="*/ 47625 h 282179"/>
                            <a:gd name="connsiteX104" fmla="*/ 166688 w 412361"/>
                            <a:gd name="connsiteY104" fmla="*/ 42863 h 282179"/>
                            <a:gd name="connsiteX105" fmla="*/ 182167 w 412361"/>
                            <a:gd name="connsiteY105" fmla="*/ 38994 h 282179"/>
                            <a:gd name="connsiteX106" fmla="*/ 175916 w 412361"/>
                            <a:gd name="connsiteY106" fmla="*/ 43161 h 282179"/>
                            <a:gd name="connsiteX107" fmla="*/ 173832 w 412361"/>
                            <a:gd name="connsiteY107" fmla="*/ 45245 h 282179"/>
                            <a:gd name="connsiteX108" fmla="*/ 182167 w 412361"/>
                            <a:gd name="connsiteY108" fmla="*/ 38994 h 282179"/>
                            <a:gd name="connsiteX109" fmla="*/ 205318 w 412361"/>
                            <a:gd name="connsiteY109" fmla="*/ 31949 h 282179"/>
                            <a:gd name="connsiteX110" fmla="*/ 207567 w 412361"/>
                            <a:gd name="connsiteY110" fmla="*/ 31949 h 282179"/>
                            <a:gd name="connsiteX111" fmla="*/ 209816 w 412361"/>
                            <a:gd name="connsiteY111" fmla="*/ 34132 h 282179"/>
                            <a:gd name="connsiteX112" fmla="*/ 212065 w 412361"/>
                            <a:gd name="connsiteY112" fmla="*/ 38497 h 282179"/>
                            <a:gd name="connsiteX113" fmla="*/ 203069 w 412361"/>
                            <a:gd name="connsiteY113" fmla="*/ 40680 h 282179"/>
                            <a:gd name="connsiteX114" fmla="*/ 194073 w 412361"/>
                            <a:gd name="connsiteY114" fmla="*/ 40680 h 282179"/>
                            <a:gd name="connsiteX115" fmla="*/ 198571 w 412361"/>
                            <a:gd name="connsiteY115" fmla="*/ 38497 h 282179"/>
                            <a:gd name="connsiteX116" fmla="*/ 198571 w 412361"/>
                            <a:gd name="connsiteY116" fmla="*/ 36314 h 282179"/>
                            <a:gd name="connsiteX117" fmla="*/ 196322 w 412361"/>
                            <a:gd name="connsiteY117" fmla="*/ 38497 h 282179"/>
                            <a:gd name="connsiteX118" fmla="*/ 194073 w 412361"/>
                            <a:gd name="connsiteY118" fmla="*/ 36314 h 282179"/>
                            <a:gd name="connsiteX119" fmla="*/ 203069 w 412361"/>
                            <a:gd name="connsiteY119" fmla="*/ 34132 h 282179"/>
                            <a:gd name="connsiteX120" fmla="*/ 198571 w 412361"/>
                            <a:gd name="connsiteY120" fmla="*/ 34132 h 282179"/>
                            <a:gd name="connsiteX121" fmla="*/ 205318 w 412361"/>
                            <a:gd name="connsiteY121" fmla="*/ 31949 h 282179"/>
                            <a:gd name="connsiteX122" fmla="*/ 218566 w 412361"/>
                            <a:gd name="connsiteY122" fmla="*/ 29766 h 282179"/>
                            <a:gd name="connsiteX123" fmla="*/ 217239 w 412361"/>
                            <a:gd name="connsiteY123" fmla="*/ 30481 h 282179"/>
                            <a:gd name="connsiteX124" fmla="*/ 216355 w 412361"/>
                            <a:gd name="connsiteY124" fmla="*/ 30659 h 282179"/>
                            <a:gd name="connsiteX125" fmla="*/ 218566 w 412361"/>
                            <a:gd name="connsiteY125" fmla="*/ 29766 h 282179"/>
                            <a:gd name="connsiteX126" fmla="*/ 252414 w 412361"/>
                            <a:gd name="connsiteY126" fmla="*/ 25004 h 282179"/>
                            <a:gd name="connsiteX127" fmla="*/ 252414 w 412361"/>
                            <a:gd name="connsiteY127" fmla="*/ 27385 h 282179"/>
                            <a:gd name="connsiteX128" fmla="*/ 251223 w 412361"/>
                            <a:gd name="connsiteY128" fmla="*/ 27385 h 282179"/>
                            <a:gd name="connsiteX129" fmla="*/ 252414 w 412361"/>
                            <a:gd name="connsiteY129" fmla="*/ 25004 h 282179"/>
                            <a:gd name="connsiteX130" fmla="*/ 398402 w 412361"/>
                            <a:gd name="connsiteY130" fmla="*/ 24937 h 282179"/>
                            <a:gd name="connsiteX131" fmla="*/ 398503 w 412361"/>
                            <a:gd name="connsiteY131" fmla="*/ 25004 h 282179"/>
                            <a:gd name="connsiteX132" fmla="*/ 398860 w 412361"/>
                            <a:gd name="connsiteY132" fmla="*/ 25004 h 282179"/>
                            <a:gd name="connsiteX133" fmla="*/ 398632 w 412361"/>
                            <a:gd name="connsiteY133" fmla="*/ 25090 h 282179"/>
                            <a:gd name="connsiteX134" fmla="*/ 405232 w 412361"/>
                            <a:gd name="connsiteY134" fmla="*/ 29490 h 282179"/>
                            <a:gd name="connsiteX135" fmla="*/ 412062 w 412361"/>
                            <a:gd name="connsiteY135" fmla="*/ 29490 h 282179"/>
                            <a:gd name="connsiteX136" fmla="*/ 400679 w 412361"/>
                            <a:gd name="connsiteY136" fmla="*/ 29490 h 282179"/>
                            <a:gd name="connsiteX137" fmla="*/ 398503 w 412361"/>
                            <a:gd name="connsiteY137" fmla="*/ 25138 h 282179"/>
                            <a:gd name="connsiteX138" fmla="*/ 394097 w 412361"/>
                            <a:gd name="connsiteY138" fmla="*/ 26790 h 282179"/>
                            <a:gd name="connsiteX139" fmla="*/ 396479 w 412361"/>
                            <a:gd name="connsiteY139" fmla="*/ 25004 h 282179"/>
                            <a:gd name="connsiteX140" fmla="*/ 398436 w 412361"/>
                            <a:gd name="connsiteY140" fmla="*/ 25004 h 282179"/>
                            <a:gd name="connsiteX141" fmla="*/ 254977 w 412361"/>
                            <a:gd name="connsiteY141" fmla="*/ 24937 h 282179"/>
                            <a:gd name="connsiteX142" fmla="*/ 257254 w 412361"/>
                            <a:gd name="connsiteY142" fmla="*/ 24937 h 282179"/>
                            <a:gd name="connsiteX143" fmla="*/ 256043 w 412361"/>
                            <a:gd name="connsiteY143" fmla="*/ 25765 h 282179"/>
                            <a:gd name="connsiteX144" fmla="*/ 236936 w 412361"/>
                            <a:gd name="connsiteY144" fmla="*/ 22623 h 282179"/>
                            <a:gd name="connsiteX145" fmla="*/ 239317 w 412361"/>
                            <a:gd name="connsiteY145" fmla="*/ 22623 h 282179"/>
                            <a:gd name="connsiteX146" fmla="*/ 234554 w 412361"/>
                            <a:gd name="connsiteY146" fmla="*/ 25004 h 282179"/>
                            <a:gd name="connsiteX147" fmla="*/ 236936 w 412361"/>
                            <a:gd name="connsiteY147" fmla="*/ 22623 h 282179"/>
                            <a:gd name="connsiteX148" fmla="*/ 230302 w 412361"/>
                            <a:gd name="connsiteY148" fmla="*/ 20241 h 282179"/>
                            <a:gd name="connsiteX149" fmla="*/ 232514 w 412361"/>
                            <a:gd name="connsiteY149" fmla="*/ 22622 h 282179"/>
                            <a:gd name="connsiteX150" fmla="*/ 236936 w 412361"/>
                            <a:gd name="connsiteY150" fmla="*/ 22622 h 282179"/>
                            <a:gd name="connsiteX151" fmla="*/ 223668 w 412361"/>
                            <a:gd name="connsiteY151" fmla="*/ 22622 h 282179"/>
                            <a:gd name="connsiteX152" fmla="*/ 230302 w 412361"/>
                            <a:gd name="connsiteY152" fmla="*/ 20241 h 282179"/>
                            <a:gd name="connsiteX153" fmla="*/ 221457 w 412361"/>
                            <a:gd name="connsiteY153" fmla="*/ 20241 h 282179"/>
                            <a:gd name="connsiteX154" fmla="*/ 226220 w 412361"/>
                            <a:gd name="connsiteY154" fmla="*/ 20241 h 282179"/>
                            <a:gd name="connsiteX155" fmla="*/ 221457 w 412361"/>
                            <a:gd name="connsiteY155" fmla="*/ 22622 h 282179"/>
                            <a:gd name="connsiteX156" fmla="*/ 221457 w 412361"/>
                            <a:gd name="connsiteY156" fmla="*/ 20241 h 282179"/>
                            <a:gd name="connsiteX157" fmla="*/ 234554 w 412361"/>
                            <a:gd name="connsiteY157" fmla="*/ 17860 h 282179"/>
                            <a:gd name="connsiteX158" fmla="*/ 244079 w 412361"/>
                            <a:gd name="connsiteY158" fmla="*/ 20241 h 282179"/>
                            <a:gd name="connsiteX159" fmla="*/ 241698 w 412361"/>
                            <a:gd name="connsiteY159" fmla="*/ 20241 h 282179"/>
                            <a:gd name="connsiteX160" fmla="*/ 234554 w 412361"/>
                            <a:gd name="connsiteY160" fmla="*/ 17860 h 282179"/>
                            <a:gd name="connsiteX161" fmla="*/ 277416 w 412361"/>
                            <a:gd name="connsiteY161" fmla="*/ 16074 h 282179"/>
                            <a:gd name="connsiteX162" fmla="*/ 286941 w 412361"/>
                            <a:gd name="connsiteY162" fmla="*/ 17860 h 282179"/>
                            <a:gd name="connsiteX163" fmla="*/ 284560 w 412361"/>
                            <a:gd name="connsiteY163" fmla="*/ 17860 h 282179"/>
                            <a:gd name="connsiteX164" fmla="*/ 277416 w 412361"/>
                            <a:gd name="connsiteY164" fmla="*/ 16074 h 282179"/>
                            <a:gd name="connsiteX165" fmla="*/ 296467 w 412361"/>
                            <a:gd name="connsiteY165" fmla="*/ 11907 h 282179"/>
                            <a:gd name="connsiteX166" fmla="*/ 289323 w 412361"/>
                            <a:gd name="connsiteY166" fmla="*/ 17861 h 282179"/>
                            <a:gd name="connsiteX167" fmla="*/ 284560 w 412361"/>
                            <a:gd name="connsiteY167" fmla="*/ 13892 h 282179"/>
                            <a:gd name="connsiteX168" fmla="*/ 296467 w 412361"/>
                            <a:gd name="connsiteY168" fmla="*/ 11907 h 282179"/>
                            <a:gd name="connsiteX169" fmla="*/ 298372 w 412361"/>
                            <a:gd name="connsiteY169" fmla="*/ 9525 h 282179"/>
                            <a:gd name="connsiteX170" fmla="*/ 302658 w 412361"/>
                            <a:gd name="connsiteY170" fmla="*/ 11906 h 282179"/>
                            <a:gd name="connsiteX171" fmla="*/ 298372 w 412361"/>
                            <a:gd name="connsiteY171" fmla="*/ 9525 h 282179"/>
                            <a:gd name="connsiteX172" fmla="*/ 287299 w 412361"/>
                            <a:gd name="connsiteY172" fmla="*/ 7144 h 282179"/>
                            <a:gd name="connsiteX173" fmla="*/ 294085 w 412361"/>
                            <a:gd name="connsiteY173" fmla="*/ 7144 h 282179"/>
                            <a:gd name="connsiteX174" fmla="*/ 282774 w 412361"/>
                            <a:gd name="connsiteY174" fmla="*/ 11907 h 282179"/>
                            <a:gd name="connsiteX175" fmla="*/ 273725 w 412361"/>
                            <a:gd name="connsiteY175" fmla="*/ 14288 h 282179"/>
                            <a:gd name="connsiteX176" fmla="*/ 275988 w 412361"/>
                            <a:gd name="connsiteY176" fmla="*/ 11907 h 282179"/>
                            <a:gd name="connsiteX177" fmla="*/ 271463 w 412361"/>
                            <a:gd name="connsiteY177" fmla="*/ 9525 h 282179"/>
                            <a:gd name="connsiteX178" fmla="*/ 278250 w 412361"/>
                            <a:gd name="connsiteY178" fmla="*/ 9525 h 282179"/>
                            <a:gd name="connsiteX179" fmla="*/ 285036 w 412361"/>
                            <a:gd name="connsiteY179" fmla="*/ 9525 h 282179"/>
                            <a:gd name="connsiteX180" fmla="*/ 287299 w 412361"/>
                            <a:gd name="connsiteY180" fmla="*/ 7144 h 282179"/>
                            <a:gd name="connsiteX181" fmla="*/ 321469 w 412361"/>
                            <a:gd name="connsiteY181" fmla="*/ 0 h 282179"/>
                            <a:gd name="connsiteX182" fmla="*/ 327899 w 412361"/>
                            <a:gd name="connsiteY182" fmla="*/ 0 h 282179"/>
                            <a:gd name="connsiteX183" fmla="*/ 332185 w 412361"/>
                            <a:gd name="connsiteY183" fmla="*/ 0 h 282179"/>
                            <a:gd name="connsiteX184" fmla="*/ 332185 w 412361"/>
                            <a:gd name="connsiteY184" fmla="*/ 2381 h 282179"/>
                            <a:gd name="connsiteX185" fmla="*/ 330042 w 412361"/>
                            <a:gd name="connsiteY185" fmla="*/ 2381 h 282179"/>
                            <a:gd name="connsiteX186" fmla="*/ 326322 w 412361"/>
                            <a:gd name="connsiteY186" fmla="*/ 4448 h 282179"/>
                            <a:gd name="connsiteX187" fmla="*/ 330105 w 412361"/>
                            <a:gd name="connsiteY187" fmla="*/ 4448 h 282179"/>
                            <a:gd name="connsiteX188" fmla="*/ 318722 w 412361"/>
                            <a:gd name="connsiteY188" fmla="*/ 13554 h 282179"/>
                            <a:gd name="connsiteX189" fmla="*/ 320998 w 412361"/>
                            <a:gd name="connsiteY189" fmla="*/ 15831 h 282179"/>
                            <a:gd name="connsiteX190" fmla="*/ 318722 w 412361"/>
                            <a:gd name="connsiteY190" fmla="*/ 20384 h 282179"/>
                            <a:gd name="connsiteX191" fmla="*/ 323275 w 412361"/>
                            <a:gd name="connsiteY191" fmla="*/ 20384 h 282179"/>
                            <a:gd name="connsiteX192" fmla="*/ 325551 w 412361"/>
                            <a:gd name="connsiteY192" fmla="*/ 18107 h 282179"/>
                            <a:gd name="connsiteX193" fmla="*/ 325551 w 412361"/>
                            <a:gd name="connsiteY193" fmla="*/ 15831 h 282179"/>
                            <a:gd name="connsiteX194" fmla="*/ 341488 w 412361"/>
                            <a:gd name="connsiteY194" fmla="*/ 2172 h 282179"/>
                            <a:gd name="connsiteX195" fmla="*/ 339211 w 412361"/>
                            <a:gd name="connsiteY195" fmla="*/ 9001 h 282179"/>
                            <a:gd name="connsiteX196" fmla="*/ 341488 w 412361"/>
                            <a:gd name="connsiteY196" fmla="*/ 15831 h 282179"/>
                            <a:gd name="connsiteX197" fmla="*/ 343764 w 412361"/>
                            <a:gd name="connsiteY197" fmla="*/ 13554 h 282179"/>
                            <a:gd name="connsiteX198" fmla="*/ 350594 w 412361"/>
                            <a:gd name="connsiteY198" fmla="*/ 13554 h 282179"/>
                            <a:gd name="connsiteX199" fmla="*/ 348317 w 412361"/>
                            <a:gd name="connsiteY199" fmla="*/ 11278 h 282179"/>
                            <a:gd name="connsiteX200" fmla="*/ 352870 w 412361"/>
                            <a:gd name="connsiteY200" fmla="*/ 11278 h 282179"/>
                            <a:gd name="connsiteX201" fmla="*/ 350594 w 412361"/>
                            <a:gd name="connsiteY201" fmla="*/ 6725 h 282179"/>
                            <a:gd name="connsiteX202" fmla="*/ 355147 w 412361"/>
                            <a:gd name="connsiteY202" fmla="*/ 6725 h 282179"/>
                            <a:gd name="connsiteX203" fmla="*/ 350594 w 412361"/>
                            <a:gd name="connsiteY203" fmla="*/ 4448 h 282179"/>
                            <a:gd name="connsiteX204" fmla="*/ 364253 w 412361"/>
                            <a:gd name="connsiteY204" fmla="*/ 2172 h 282179"/>
                            <a:gd name="connsiteX205" fmla="*/ 368806 w 412361"/>
                            <a:gd name="connsiteY205" fmla="*/ 4448 h 282179"/>
                            <a:gd name="connsiteX206" fmla="*/ 361977 w 412361"/>
                            <a:gd name="connsiteY206" fmla="*/ 6725 h 282179"/>
                            <a:gd name="connsiteX207" fmla="*/ 364253 w 412361"/>
                            <a:gd name="connsiteY207" fmla="*/ 9001 h 282179"/>
                            <a:gd name="connsiteX208" fmla="*/ 359700 w 412361"/>
                            <a:gd name="connsiteY208" fmla="*/ 11278 h 282179"/>
                            <a:gd name="connsiteX209" fmla="*/ 368806 w 412361"/>
                            <a:gd name="connsiteY209" fmla="*/ 9001 h 282179"/>
                            <a:gd name="connsiteX210" fmla="*/ 361977 w 412361"/>
                            <a:gd name="connsiteY210" fmla="*/ 13554 h 282179"/>
                            <a:gd name="connsiteX211" fmla="*/ 368806 w 412361"/>
                            <a:gd name="connsiteY211" fmla="*/ 13554 h 282179"/>
                            <a:gd name="connsiteX212" fmla="*/ 366530 w 412361"/>
                            <a:gd name="connsiteY212" fmla="*/ 15831 h 282179"/>
                            <a:gd name="connsiteX213" fmla="*/ 373360 w 412361"/>
                            <a:gd name="connsiteY213" fmla="*/ 13554 h 282179"/>
                            <a:gd name="connsiteX214" fmla="*/ 375636 w 412361"/>
                            <a:gd name="connsiteY214" fmla="*/ 4448 h 282179"/>
                            <a:gd name="connsiteX215" fmla="*/ 384743 w 412361"/>
                            <a:gd name="connsiteY215" fmla="*/ 9001 h 282179"/>
                            <a:gd name="connsiteX216" fmla="*/ 391572 w 412361"/>
                            <a:gd name="connsiteY216" fmla="*/ 9001 h 282179"/>
                            <a:gd name="connsiteX217" fmla="*/ 396125 w 412361"/>
                            <a:gd name="connsiteY217" fmla="*/ 11278 h 282179"/>
                            <a:gd name="connsiteX218" fmla="*/ 409785 w 412361"/>
                            <a:gd name="connsiteY218" fmla="*/ 15831 h 282179"/>
                            <a:gd name="connsiteX219" fmla="*/ 405232 w 412361"/>
                            <a:gd name="connsiteY219" fmla="*/ 18107 h 282179"/>
                            <a:gd name="connsiteX220" fmla="*/ 391572 w 412361"/>
                            <a:gd name="connsiteY220" fmla="*/ 20384 h 282179"/>
                            <a:gd name="connsiteX221" fmla="*/ 375636 w 412361"/>
                            <a:gd name="connsiteY221" fmla="*/ 20384 h 282179"/>
                            <a:gd name="connsiteX222" fmla="*/ 382466 w 412361"/>
                            <a:gd name="connsiteY222" fmla="*/ 22660 h 282179"/>
                            <a:gd name="connsiteX223" fmla="*/ 389296 w 412361"/>
                            <a:gd name="connsiteY223" fmla="*/ 24937 h 282179"/>
                            <a:gd name="connsiteX224" fmla="*/ 391572 w 412361"/>
                            <a:gd name="connsiteY224" fmla="*/ 29490 h 282179"/>
                            <a:gd name="connsiteX225" fmla="*/ 396125 w 412361"/>
                            <a:gd name="connsiteY225" fmla="*/ 27213 h 282179"/>
                            <a:gd name="connsiteX226" fmla="*/ 400679 w 412361"/>
                            <a:gd name="connsiteY226" fmla="*/ 29490 h 282179"/>
                            <a:gd name="connsiteX227" fmla="*/ 396125 w 412361"/>
                            <a:gd name="connsiteY227" fmla="*/ 36319 h 282179"/>
                            <a:gd name="connsiteX228" fmla="*/ 389296 w 412361"/>
                            <a:gd name="connsiteY228" fmla="*/ 38596 h 282179"/>
                            <a:gd name="connsiteX229" fmla="*/ 387019 w 412361"/>
                            <a:gd name="connsiteY229" fmla="*/ 43149 h 282179"/>
                            <a:gd name="connsiteX230" fmla="*/ 382466 w 412361"/>
                            <a:gd name="connsiteY230" fmla="*/ 40872 h 282179"/>
                            <a:gd name="connsiteX231" fmla="*/ 384743 w 412361"/>
                            <a:gd name="connsiteY231" fmla="*/ 36319 h 282179"/>
                            <a:gd name="connsiteX232" fmla="*/ 382466 w 412361"/>
                            <a:gd name="connsiteY232" fmla="*/ 29490 h 282179"/>
                            <a:gd name="connsiteX233" fmla="*/ 371083 w 412361"/>
                            <a:gd name="connsiteY233" fmla="*/ 24937 h 282179"/>
                            <a:gd name="connsiteX234" fmla="*/ 357424 w 412361"/>
                            <a:gd name="connsiteY234" fmla="*/ 22660 h 282179"/>
                            <a:gd name="connsiteX235" fmla="*/ 334658 w 412361"/>
                            <a:gd name="connsiteY235" fmla="*/ 31766 h 282179"/>
                            <a:gd name="connsiteX236" fmla="*/ 332381 w 412361"/>
                            <a:gd name="connsiteY236" fmla="*/ 38596 h 282179"/>
                            <a:gd name="connsiteX237" fmla="*/ 332381 w 412361"/>
                            <a:gd name="connsiteY237" fmla="*/ 45425 h 282179"/>
                            <a:gd name="connsiteX238" fmla="*/ 327828 w 412361"/>
                            <a:gd name="connsiteY238" fmla="*/ 45425 h 282179"/>
                            <a:gd name="connsiteX239" fmla="*/ 323275 w 412361"/>
                            <a:gd name="connsiteY239" fmla="*/ 49978 h 282179"/>
                            <a:gd name="connsiteX240" fmla="*/ 311892 w 412361"/>
                            <a:gd name="connsiteY240" fmla="*/ 47701 h 282179"/>
                            <a:gd name="connsiteX241" fmla="*/ 307339 w 412361"/>
                            <a:gd name="connsiteY241" fmla="*/ 47701 h 282179"/>
                            <a:gd name="connsiteX242" fmla="*/ 300509 w 412361"/>
                            <a:gd name="connsiteY242" fmla="*/ 49978 h 282179"/>
                            <a:gd name="connsiteX243" fmla="*/ 282296 w 412361"/>
                            <a:gd name="connsiteY243" fmla="*/ 49978 h 282179"/>
                            <a:gd name="connsiteX244" fmla="*/ 273190 w 412361"/>
                            <a:gd name="connsiteY244" fmla="*/ 40872 h 282179"/>
                            <a:gd name="connsiteX245" fmla="*/ 259531 w 412361"/>
                            <a:gd name="connsiteY245" fmla="*/ 38596 h 282179"/>
                            <a:gd name="connsiteX246" fmla="*/ 261807 w 412361"/>
                            <a:gd name="connsiteY246" fmla="*/ 40872 h 282179"/>
                            <a:gd name="connsiteX247" fmla="*/ 245871 w 412361"/>
                            <a:gd name="connsiteY247" fmla="*/ 43149 h 282179"/>
                            <a:gd name="connsiteX248" fmla="*/ 243594 w 412361"/>
                            <a:gd name="connsiteY248" fmla="*/ 52254 h 282179"/>
                            <a:gd name="connsiteX249" fmla="*/ 248148 w 412361"/>
                            <a:gd name="connsiteY249" fmla="*/ 54531 h 282179"/>
                            <a:gd name="connsiteX250" fmla="*/ 225382 w 412361"/>
                            <a:gd name="connsiteY250" fmla="*/ 54531 h 282179"/>
                            <a:gd name="connsiteX251" fmla="*/ 216275 w 412361"/>
                            <a:gd name="connsiteY251" fmla="*/ 52254 h 282179"/>
                            <a:gd name="connsiteX252" fmla="*/ 216275 w 412361"/>
                            <a:gd name="connsiteY252" fmla="*/ 59084 h 282179"/>
                            <a:gd name="connsiteX253" fmla="*/ 200339 w 412361"/>
                            <a:gd name="connsiteY253" fmla="*/ 63637 h 282179"/>
                            <a:gd name="connsiteX254" fmla="*/ 184403 w 412361"/>
                            <a:gd name="connsiteY254" fmla="*/ 75019 h 282179"/>
                            <a:gd name="connsiteX255" fmla="*/ 188956 w 412361"/>
                            <a:gd name="connsiteY255" fmla="*/ 81849 h 282179"/>
                            <a:gd name="connsiteX256" fmla="*/ 179850 w 412361"/>
                            <a:gd name="connsiteY256" fmla="*/ 93231 h 282179"/>
                            <a:gd name="connsiteX257" fmla="*/ 175297 w 412361"/>
                            <a:gd name="connsiteY257" fmla="*/ 95508 h 282179"/>
                            <a:gd name="connsiteX258" fmla="*/ 175297 w 412361"/>
                            <a:gd name="connsiteY258" fmla="*/ 100061 h 282179"/>
                            <a:gd name="connsiteX259" fmla="*/ 159361 w 412361"/>
                            <a:gd name="connsiteY259" fmla="*/ 102337 h 282179"/>
                            <a:gd name="connsiteX260" fmla="*/ 159361 w 412361"/>
                            <a:gd name="connsiteY260" fmla="*/ 120549 h 282179"/>
                            <a:gd name="connsiteX261" fmla="*/ 154808 w 412361"/>
                            <a:gd name="connsiteY261" fmla="*/ 127378 h 282179"/>
                            <a:gd name="connsiteX262" fmla="*/ 145701 w 412361"/>
                            <a:gd name="connsiteY262" fmla="*/ 136484 h 282179"/>
                            <a:gd name="connsiteX263" fmla="*/ 154808 w 412361"/>
                            <a:gd name="connsiteY263" fmla="*/ 145590 h 282179"/>
                            <a:gd name="connsiteX264" fmla="*/ 136595 w 412361"/>
                            <a:gd name="connsiteY264" fmla="*/ 147867 h 282179"/>
                            <a:gd name="connsiteX265" fmla="*/ 122936 w 412361"/>
                            <a:gd name="connsiteY265" fmla="*/ 159249 h 282179"/>
                            <a:gd name="connsiteX266" fmla="*/ 120659 w 412361"/>
                            <a:gd name="connsiteY266" fmla="*/ 163802 h 282179"/>
                            <a:gd name="connsiteX267" fmla="*/ 122936 w 412361"/>
                            <a:gd name="connsiteY267" fmla="*/ 170632 h 282179"/>
                            <a:gd name="connsiteX268" fmla="*/ 122936 w 412361"/>
                            <a:gd name="connsiteY268" fmla="*/ 182014 h 282179"/>
                            <a:gd name="connsiteX269" fmla="*/ 122936 w 412361"/>
                            <a:gd name="connsiteY269" fmla="*/ 197949 h 282179"/>
                            <a:gd name="connsiteX270" fmla="*/ 132042 w 412361"/>
                            <a:gd name="connsiteY270" fmla="*/ 202502 h 282179"/>
                            <a:gd name="connsiteX271" fmla="*/ 134318 w 412361"/>
                            <a:gd name="connsiteY271" fmla="*/ 207055 h 282179"/>
                            <a:gd name="connsiteX272" fmla="*/ 132042 w 412361"/>
                            <a:gd name="connsiteY272" fmla="*/ 213885 h 282179"/>
                            <a:gd name="connsiteX273" fmla="*/ 125212 w 412361"/>
                            <a:gd name="connsiteY273" fmla="*/ 218438 h 282179"/>
                            <a:gd name="connsiteX274" fmla="*/ 129765 w 412361"/>
                            <a:gd name="connsiteY274" fmla="*/ 225267 h 282179"/>
                            <a:gd name="connsiteX275" fmla="*/ 129765 w 412361"/>
                            <a:gd name="connsiteY275" fmla="*/ 232097 h 282179"/>
                            <a:gd name="connsiteX276" fmla="*/ 125212 w 412361"/>
                            <a:gd name="connsiteY276" fmla="*/ 238926 h 282179"/>
                            <a:gd name="connsiteX277" fmla="*/ 118382 w 412361"/>
                            <a:gd name="connsiteY277" fmla="*/ 241202 h 282179"/>
                            <a:gd name="connsiteX278" fmla="*/ 116106 w 412361"/>
                            <a:gd name="connsiteY278" fmla="*/ 245755 h 282179"/>
                            <a:gd name="connsiteX279" fmla="*/ 118382 w 412361"/>
                            <a:gd name="connsiteY279" fmla="*/ 252585 h 282179"/>
                            <a:gd name="connsiteX280" fmla="*/ 113829 w 412361"/>
                            <a:gd name="connsiteY280" fmla="*/ 261691 h 282179"/>
                            <a:gd name="connsiteX281" fmla="*/ 109276 w 412361"/>
                            <a:gd name="connsiteY281" fmla="*/ 259414 h 282179"/>
                            <a:gd name="connsiteX282" fmla="*/ 104723 w 412361"/>
                            <a:gd name="connsiteY282" fmla="*/ 257138 h 282179"/>
                            <a:gd name="connsiteX283" fmla="*/ 97893 w 412361"/>
                            <a:gd name="connsiteY283" fmla="*/ 250308 h 282179"/>
                            <a:gd name="connsiteX284" fmla="*/ 97893 w 412361"/>
                            <a:gd name="connsiteY284" fmla="*/ 245755 h 282179"/>
                            <a:gd name="connsiteX285" fmla="*/ 100170 w 412361"/>
                            <a:gd name="connsiteY285" fmla="*/ 243479 h 282179"/>
                            <a:gd name="connsiteX286" fmla="*/ 95617 w 412361"/>
                            <a:gd name="connsiteY286" fmla="*/ 241202 h 282179"/>
                            <a:gd name="connsiteX287" fmla="*/ 95617 w 412361"/>
                            <a:gd name="connsiteY287" fmla="*/ 248032 h 282179"/>
                            <a:gd name="connsiteX288" fmla="*/ 93340 w 412361"/>
                            <a:gd name="connsiteY288" fmla="*/ 245755 h 282179"/>
                            <a:gd name="connsiteX289" fmla="*/ 91063 w 412361"/>
                            <a:gd name="connsiteY289" fmla="*/ 248032 h 282179"/>
                            <a:gd name="connsiteX290" fmla="*/ 93340 w 412361"/>
                            <a:gd name="connsiteY290" fmla="*/ 254861 h 282179"/>
                            <a:gd name="connsiteX291" fmla="*/ 91063 w 412361"/>
                            <a:gd name="connsiteY291" fmla="*/ 257138 h 282179"/>
                            <a:gd name="connsiteX292" fmla="*/ 88787 w 412361"/>
                            <a:gd name="connsiteY292" fmla="*/ 259414 h 282179"/>
                            <a:gd name="connsiteX293" fmla="*/ 84234 w 412361"/>
                            <a:gd name="connsiteY293" fmla="*/ 259414 h 282179"/>
                            <a:gd name="connsiteX294" fmla="*/ 79681 w 412361"/>
                            <a:gd name="connsiteY294" fmla="*/ 257138 h 282179"/>
                            <a:gd name="connsiteX295" fmla="*/ 75127 w 412361"/>
                            <a:gd name="connsiteY295" fmla="*/ 261691 h 282179"/>
                            <a:gd name="connsiteX296" fmla="*/ 75127 w 412361"/>
                            <a:gd name="connsiteY296" fmla="*/ 263967 h 282179"/>
                            <a:gd name="connsiteX297" fmla="*/ 70574 w 412361"/>
                            <a:gd name="connsiteY297" fmla="*/ 266244 h 282179"/>
                            <a:gd name="connsiteX298" fmla="*/ 70574 w 412361"/>
                            <a:gd name="connsiteY298" fmla="*/ 268520 h 282179"/>
                            <a:gd name="connsiteX299" fmla="*/ 63744 w 412361"/>
                            <a:gd name="connsiteY299" fmla="*/ 275350 h 282179"/>
                            <a:gd name="connsiteX300" fmla="*/ 50085 w 412361"/>
                            <a:gd name="connsiteY300" fmla="*/ 279903 h 282179"/>
                            <a:gd name="connsiteX301" fmla="*/ 43255 w 412361"/>
                            <a:gd name="connsiteY301" fmla="*/ 282179 h 282179"/>
                            <a:gd name="connsiteX302" fmla="*/ 38702 w 412361"/>
                            <a:gd name="connsiteY302" fmla="*/ 279903 h 282179"/>
                            <a:gd name="connsiteX303" fmla="*/ 27319 w 412361"/>
                            <a:gd name="connsiteY303" fmla="*/ 279903 h 282179"/>
                            <a:gd name="connsiteX304" fmla="*/ 31872 w 412361"/>
                            <a:gd name="connsiteY304" fmla="*/ 275350 h 282179"/>
                            <a:gd name="connsiteX305" fmla="*/ 11383 w 412361"/>
                            <a:gd name="connsiteY305" fmla="*/ 261691 h 282179"/>
                            <a:gd name="connsiteX306" fmla="*/ 9106 w 412361"/>
                            <a:gd name="connsiteY306" fmla="*/ 259414 h 282179"/>
                            <a:gd name="connsiteX307" fmla="*/ 20489 w 412361"/>
                            <a:gd name="connsiteY307" fmla="*/ 263967 h 282179"/>
                            <a:gd name="connsiteX308" fmla="*/ 18213 w 412361"/>
                            <a:gd name="connsiteY308" fmla="*/ 261691 h 282179"/>
                            <a:gd name="connsiteX309" fmla="*/ 15936 w 412361"/>
                            <a:gd name="connsiteY309" fmla="*/ 257138 h 282179"/>
                            <a:gd name="connsiteX310" fmla="*/ 20489 w 412361"/>
                            <a:gd name="connsiteY310" fmla="*/ 257138 h 282179"/>
                            <a:gd name="connsiteX311" fmla="*/ 25042 w 412361"/>
                            <a:gd name="connsiteY311" fmla="*/ 252585 h 282179"/>
                            <a:gd name="connsiteX312" fmla="*/ 22766 w 412361"/>
                            <a:gd name="connsiteY312" fmla="*/ 252585 h 282179"/>
                            <a:gd name="connsiteX313" fmla="*/ 18213 w 412361"/>
                            <a:gd name="connsiteY313" fmla="*/ 252585 h 282179"/>
                            <a:gd name="connsiteX314" fmla="*/ 27319 w 412361"/>
                            <a:gd name="connsiteY314" fmla="*/ 248032 h 282179"/>
                            <a:gd name="connsiteX315" fmla="*/ 26433 w 412361"/>
                            <a:gd name="connsiteY315" fmla="*/ 248032 h 282179"/>
                            <a:gd name="connsiteX316" fmla="*/ 21432 w 412361"/>
                            <a:gd name="connsiteY316" fmla="*/ 250032 h 282179"/>
                            <a:gd name="connsiteX317" fmla="*/ 22432 w 412361"/>
                            <a:gd name="connsiteY317" fmla="*/ 248032 h 282179"/>
                            <a:gd name="connsiteX318" fmla="*/ 20489 w 412361"/>
                            <a:gd name="connsiteY318" fmla="*/ 248032 h 282179"/>
                            <a:gd name="connsiteX319" fmla="*/ 15936 w 412361"/>
                            <a:gd name="connsiteY319" fmla="*/ 252585 h 282179"/>
                            <a:gd name="connsiteX320" fmla="*/ 18213 w 412361"/>
                            <a:gd name="connsiteY320" fmla="*/ 248032 h 282179"/>
                            <a:gd name="connsiteX321" fmla="*/ 11383 w 412361"/>
                            <a:gd name="connsiteY321" fmla="*/ 250308 h 282179"/>
                            <a:gd name="connsiteX322" fmla="*/ 11383 w 412361"/>
                            <a:gd name="connsiteY322" fmla="*/ 248032 h 282179"/>
                            <a:gd name="connsiteX323" fmla="*/ 9106 w 412361"/>
                            <a:gd name="connsiteY323" fmla="*/ 250308 h 282179"/>
                            <a:gd name="connsiteX324" fmla="*/ 6830 w 412361"/>
                            <a:gd name="connsiteY324" fmla="*/ 250308 h 282179"/>
                            <a:gd name="connsiteX325" fmla="*/ 5691 w 412361"/>
                            <a:gd name="connsiteY325" fmla="*/ 252016 h 282179"/>
                            <a:gd name="connsiteX326" fmla="*/ 4763 w 412361"/>
                            <a:gd name="connsiteY326" fmla="*/ 250623 h 282179"/>
                            <a:gd name="connsiteX327" fmla="*/ 4763 w 412361"/>
                            <a:gd name="connsiteY327" fmla="*/ 257176 h 282179"/>
                            <a:gd name="connsiteX328" fmla="*/ 2382 w 412361"/>
                            <a:gd name="connsiteY328" fmla="*/ 252413 h 282179"/>
                            <a:gd name="connsiteX329" fmla="*/ 4686 w 412361"/>
                            <a:gd name="connsiteY329" fmla="*/ 250109 h 282179"/>
                            <a:gd name="connsiteX330" fmla="*/ 9106 w 412361"/>
                            <a:gd name="connsiteY330" fmla="*/ 243479 h 282179"/>
                            <a:gd name="connsiteX331" fmla="*/ 6830 w 412361"/>
                            <a:gd name="connsiteY331" fmla="*/ 248032 h 282179"/>
                            <a:gd name="connsiteX332" fmla="*/ 9106 w 412361"/>
                            <a:gd name="connsiteY332" fmla="*/ 245755 h 282179"/>
                            <a:gd name="connsiteX333" fmla="*/ 15936 w 412361"/>
                            <a:gd name="connsiteY333" fmla="*/ 245755 h 282179"/>
                            <a:gd name="connsiteX334" fmla="*/ 20489 w 412361"/>
                            <a:gd name="connsiteY334" fmla="*/ 241202 h 282179"/>
                            <a:gd name="connsiteX335" fmla="*/ 11383 w 412361"/>
                            <a:gd name="connsiteY335" fmla="*/ 241202 h 282179"/>
                            <a:gd name="connsiteX336" fmla="*/ 22766 w 412361"/>
                            <a:gd name="connsiteY336" fmla="*/ 234373 h 282179"/>
                            <a:gd name="connsiteX337" fmla="*/ 27319 w 412361"/>
                            <a:gd name="connsiteY337" fmla="*/ 227544 h 282179"/>
                            <a:gd name="connsiteX338" fmla="*/ 27319 w 412361"/>
                            <a:gd name="connsiteY338" fmla="*/ 234373 h 282179"/>
                            <a:gd name="connsiteX339" fmla="*/ 36425 w 412361"/>
                            <a:gd name="connsiteY339" fmla="*/ 225267 h 282179"/>
                            <a:gd name="connsiteX340" fmla="*/ 22766 w 412361"/>
                            <a:gd name="connsiteY340" fmla="*/ 227544 h 282179"/>
                            <a:gd name="connsiteX341" fmla="*/ 18213 w 412361"/>
                            <a:gd name="connsiteY341" fmla="*/ 232097 h 282179"/>
                            <a:gd name="connsiteX342" fmla="*/ 11383 w 412361"/>
                            <a:gd name="connsiteY342" fmla="*/ 232097 h 282179"/>
                            <a:gd name="connsiteX343" fmla="*/ 11383 w 412361"/>
                            <a:gd name="connsiteY343" fmla="*/ 227544 h 282179"/>
                            <a:gd name="connsiteX344" fmla="*/ 6830 w 412361"/>
                            <a:gd name="connsiteY344" fmla="*/ 234373 h 282179"/>
                            <a:gd name="connsiteX345" fmla="*/ 4553 w 412361"/>
                            <a:gd name="connsiteY345" fmla="*/ 227544 h 282179"/>
                            <a:gd name="connsiteX346" fmla="*/ 6830 w 412361"/>
                            <a:gd name="connsiteY346" fmla="*/ 225267 h 282179"/>
                            <a:gd name="connsiteX347" fmla="*/ 11098 w 412361"/>
                            <a:gd name="connsiteY347" fmla="*/ 227259 h 282179"/>
                            <a:gd name="connsiteX348" fmla="*/ 11181 w 412361"/>
                            <a:gd name="connsiteY348" fmla="*/ 227047 h 282179"/>
                            <a:gd name="connsiteX349" fmla="*/ 7169 w 412361"/>
                            <a:gd name="connsiteY349" fmla="*/ 225041 h 282179"/>
                            <a:gd name="connsiteX350" fmla="*/ 6830 w 412361"/>
                            <a:gd name="connsiteY350" fmla="*/ 225267 h 282179"/>
                            <a:gd name="connsiteX351" fmla="*/ 4210 w 412361"/>
                            <a:gd name="connsiteY351" fmla="*/ 222647 h 282179"/>
                            <a:gd name="connsiteX352" fmla="*/ 0 w 412361"/>
                            <a:gd name="connsiteY352" fmla="*/ 218438 h 282179"/>
                            <a:gd name="connsiteX353" fmla="*/ 6830 w 412361"/>
                            <a:gd name="connsiteY353" fmla="*/ 222991 h 282179"/>
                            <a:gd name="connsiteX354" fmla="*/ 9106 w 412361"/>
                            <a:gd name="connsiteY354" fmla="*/ 218438 h 282179"/>
                            <a:gd name="connsiteX355" fmla="*/ 2276 w 412361"/>
                            <a:gd name="connsiteY355" fmla="*/ 216161 h 282179"/>
                            <a:gd name="connsiteX356" fmla="*/ 4553 w 412361"/>
                            <a:gd name="connsiteY356" fmla="*/ 216161 h 282179"/>
                            <a:gd name="connsiteX357" fmla="*/ 4553 w 412361"/>
                            <a:gd name="connsiteY357" fmla="*/ 213885 h 282179"/>
                            <a:gd name="connsiteX358" fmla="*/ 7588 w 412361"/>
                            <a:gd name="connsiteY358" fmla="*/ 213379 h 282179"/>
                            <a:gd name="connsiteX359" fmla="*/ 9106 w 412361"/>
                            <a:gd name="connsiteY359" fmla="*/ 213885 h 282179"/>
                            <a:gd name="connsiteX360" fmla="*/ 20489 w 412361"/>
                            <a:gd name="connsiteY360" fmla="*/ 211608 h 282179"/>
                            <a:gd name="connsiteX361" fmla="*/ 18213 w 412361"/>
                            <a:gd name="connsiteY361" fmla="*/ 211608 h 282179"/>
                            <a:gd name="connsiteX362" fmla="*/ 7588 w 412361"/>
                            <a:gd name="connsiteY362" fmla="*/ 213379 h 282179"/>
                            <a:gd name="connsiteX363" fmla="*/ 2276 w 412361"/>
                            <a:gd name="connsiteY363" fmla="*/ 211608 h 282179"/>
                            <a:gd name="connsiteX364" fmla="*/ 2276 w 412361"/>
                            <a:gd name="connsiteY364" fmla="*/ 207055 h 282179"/>
                            <a:gd name="connsiteX365" fmla="*/ 2276 w 412361"/>
                            <a:gd name="connsiteY365" fmla="*/ 204779 h 282179"/>
                            <a:gd name="connsiteX366" fmla="*/ 6830 w 412361"/>
                            <a:gd name="connsiteY366" fmla="*/ 204779 h 282179"/>
                            <a:gd name="connsiteX367" fmla="*/ 9106 w 412361"/>
                            <a:gd name="connsiteY367" fmla="*/ 202502 h 282179"/>
                            <a:gd name="connsiteX368" fmla="*/ 2276 w 412361"/>
                            <a:gd name="connsiteY368" fmla="*/ 202502 h 282179"/>
                            <a:gd name="connsiteX369" fmla="*/ 9106 w 412361"/>
                            <a:gd name="connsiteY369" fmla="*/ 200226 h 282179"/>
                            <a:gd name="connsiteX370" fmla="*/ 2276 w 412361"/>
                            <a:gd name="connsiteY370" fmla="*/ 197949 h 282179"/>
                            <a:gd name="connsiteX371" fmla="*/ 6830 w 412361"/>
                            <a:gd name="connsiteY371" fmla="*/ 197949 h 282179"/>
                            <a:gd name="connsiteX372" fmla="*/ 9106 w 412361"/>
                            <a:gd name="connsiteY372" fmla="*/ 195673 h 282179"/>
                            <a:gd name="connsiteX373" fmla="*/ 13659 w 412361"/>
                            <a:gd name="connsiteY373" fmla="*/ 195673 h 282179"/>
                            <a:gd name="connsiteX374" fmla="*/ 18213 w 412361"/>
                            <a:gd name="connsiteY374" fmla="*/ 197949 h 282179"/>
                            <a:gd name="connsiteX375" fmla="*/ 31872 w 412361"/>
                            <a:gd name="connsiteY375" fmla="*/ 195673 h 282179"/>
                            <a:gd name="connsiteX376" fmla="*/ 22766 w 412361"/>
                            <a:gd name="connsiteY376" fmla="*/ 195673 h 282179"/>
                            <a:gd name="connsiteX377" fmla="*/ 15936 w 412361"/>
                            <a:gd name="connsiteY377" fmla="*/ 195673 h 282179"/>
                            <a:gd name="connsiteX378" fmla="*/ 4553 w 412361"/>
                            <a:gd name="connsiteY378" fmla="*/ 193396 h 282179"/>
                            <a:gd name="connsiteX379" fmla="*/ 9106 w 412361"/>
                            <a:gd name="connsiteY379" fmla="*/ 193396 h 282179"/>
                            <a:gd name="connsiteX380" fmla="*/ 11383 w 412361"/>
                            <a:gd name="connsiteY380" fmla="*/ 191120 h 282179"/>
                            <a:gd name="connsiteX381" fmla="*/ 13659 w 412361"/>
                            <a:gd name="connsiteY381" fmla="*/ 191120 h 282179"/>
                            <a:gd name="connsiteX382" fmla="*/ 18213 w 412361"/>
                            <a:gd name="connsiteY382" fmla="*/ 188843 h 282179"/>
                            <a:gd name="connsiteX383" fmla="*/ 25042 w 412361"/>
                            <a:gd name="connsiteY383" fmla="*/ 191120 h 282179"/>
                            <a:gd name="connsiteX384" fmla="*/ 20489 w 412361"/>
                            <a:gd name="connsiteY384" fmla="*/ 186567 h 282179"/>
                            <a:gd name="connsiteX385" fmla="*/ 29595 w 412361"/>
                            <a:gd name="connsiteY385" fmla="*/ 188843 h 282179"/>
                            <a:gd name="connsiteX386" fmla="*/ 34149 w 412361"/>
                            <a:gd name="connsiteY386" fmla="*/ 191120 h 282179"/>
                            <a:gd name="connsiteX387" fmla="*/ 38702 w 412361"/>
                            <a:gd name="connsiteY387" fmla="*/ 188843 h 282179"/>
                            <a:gd name="connsiteX388" fmla="*/ 38702 w 412361"/>
                            <a:gd name="connsiteY388" fmla="*/ 186567 h 282179"/>
                            <a:gd name="connsiteX389" fmla="*/ 43255 w 412361"/>
                            <a:gd name="connsiteY389" fmla="*/ 186567 h 282179"/>
                            <a:gd name="connsiteX390" fmla="*/ 34149 w 412361"/>
                            <a:gd name="connsiteY390" fmla="*/ 182014 h 282179"/>
                            <a:gd name="connsiteX391" fmla="*/ 31872 w 412361"/>
                            <a:gd name="connsiteY391" fmla="*/ 182014 h 282179"/>
                            <a:gd name="connsiteX392" fmla="*/ 25042 w 412361"/>
                            <a:gd name="connsiteY392" fmla="*/ 179737 h 282179"/>
                            <a:gd name="connsiteX393" fmla="*/ 36425 w 412361"/>
                            <a:gd name="connsiteY393" fmla="*/ 179737 h 282179"/>
                            <a:gd name="connsiteX394" fmla="*/ 43255 w 412361"/>
                            <a:gd name="connsiteY394" fmla="*/ 179737 h 282179"/>
                            <a:gd name="connsiteX395" fmla="*/ 54638 w 412361"/>
                            <a:gd name="connsiteY395" fmla="*/ 177461 h 282179"/>
                            <a:gd name="connsiteX396" fmla="*/ 43255 w 412361"/>
                            <a:gd name="connsiteY396" fmla="*/ 177461 h 282179"/>
                            <a:gd name="connsiteX397" fmla="*/ 47808 w 412361"/>
                            <a:gd name="connsiteY397" fmla="*/ 175185 h 282179"/>
                            <a:gd name="connsiteX398" fmla="*/ 40978 w 412361"/>
                            <a:gd name="connsiteY398" fmla="*/ 175185 h 282179"/>
                            <a:gd name="connsiteX399" fmla="*/ 36425 w 412361"/>
                            <a:gd name="connsiteY399" fmla="*/ 172908 h 282179"/>
                            <a:gd name="connsiteX400" fmla="*/ 43255 w 412361"/>
                            <a:gd name="connsiteY400" fmla="*/ 172908 h 282179"/>
                            <a:gd name="connsiteX401" fmla="*/ 50085 w 412361"/>
                            <a:gd name="connsiteY401" fmla="*/ 170632 h 282179"/>
                            <a:gd name="connsiteX402" fmla="*/ 54638 w 412361"/>
                            <a:gd name="connsiteY402" fmla="*/ 172908 h 282179"/>
                            <a:gd name="connsiteX403" fmla="*/ 61468 w 412361"/>
                            <a:gd name="connsiteY403" fmla="*/ 177461 h 282179"/>
                            <a:gd name="connsiteX404" fmla="*/ 52362 w 412361"/>
                            <a:gd name="connsiteY404" fmla="*/ 168355 h 282179"/>
                            <a:gd name="connsiteX405" fmla="*/ 56915 w 412361"/>
                            <a:gd name="connsiteY405" fmla="*/ 170632 h 282179"/>
                            <a:gd name="connsiteX406" fmla="*/ 63744 w 412361"/>
                            <a:gd name="connsiteY406" fmla="*/ 172908 h 282179"/>
                            <a:gd name="connsiteX407" fmla="*/ 63744 w 412361"/>
                            <a:gd name="connsiteY407" fmla="*/ 170632 h 282179"/>
                            <a:gd name="connsiteX408" fmla="*/ 61468 w 412361"/>
                            <a:gd name="connsiteY408" fmla="*/ 170632 h 282179"/>
                            <a:gd name="connsiteX409" fmla="*/ 59191 w 412361"/>
                            <a:gd name="connsiteY409" fmla="*/ 168355 h 282179"/>
                            <a:gd name="connsiteX410" fmla="*/ 68298 w 412361"/>
                            <a:gd name="connsiteY410" fmla="*/ 166078 h 282179"/>
                            <a:gd name="connsiteX411" fmla="*/ 63744 w 412361"/>
                            <a:gd name="connsiteY411" fmla="*/ 166078 h 282179"/>
                            <a:gd name="connsiteX412" fmla="*/ 66021 w 412361"/>
                            <a:gd name="connsiteY412" fmla="*/ 163802 h 282179"/>
                            <a:gd name="connsiteX413" fmla="*/ 68298 w 412361"/>
                            <a:gd name="connsiteY413" fmla="*/ 161525 h 282179"/>
                            <a:gd name="connsiteX414" fmla="*/ 70574 w 412361"/>
                            <a:gd name="connsiteY414" fmla="*/ 163802 h 282179"/>
                            <a:gd name="connsiteX415" fmla="*/ 77404 w 412361"/>
                            <a:gd name="connsiteY415" fmla="*/ 161525 h 282179"/>
                            <a:gd name="connsiteX416" fmla="*/ 72851 w 412361"/>
                            <a:gd name="connsiteY416" fmla="*/ 161525 h 282179"/>
                            <a:gd name="connsiteX417" fmla="*/ 81957 w 412361"/>
                            <a:gd name="connsiteY417" fmla="*/ 156973 h 282179"/>
                            <a:gd name="connsiteX418" fmla="*/ 84234 w 412361"/>
                            <a:gd name="connsiteY418" fmla="*/ 163802 h 282179"/>
                            <a:gd name="connsiteX419" fmla="*/ 91063 w 412361"/>
                            <a:gd name="connsiteY419" fmla="*/ 163802 h 282179"/>
                            <a:gd name="connsiteX420" fmla="*/ 93340 w 412361"/>
                            <a:gd name="connsiteY420" fmla="*/ 161525 h 282179"/>
                            <a:gd name="connsiteX421" fmla="*/ 100170 w 412361"/>
                            <a:gd name="connsiteY421" fmla="*/ 161525 h 282179"/>
                            <a:gd name="connsiteX422" fmla="*/ 102446 w 412361"/>
                            <a:gd name="connsiteY422" fmla="*/ 159249 h 282179"/>
                            <a:gd name="connsiteX423" fmla="*/ 97893 w 412361"/>
                            <a:gd name="connsiteY423" fmla="*/ 159249 h 282179"/>
                            <a:gd name="connsiteX424" fmla="*/ 109276 w 412361"/>
                            <a:gd name="connsiteY424" fmla="*/ 154696 h 282179"/>
                            <a:gd name="connsiteX425" fmla="*/ 104723 w 412361"/>
                            <a:gd name="connsiteY425" fmla="*/ 152420 h 282179"/>
                            <a:gd name="connsiteX426" fmla="*/ 111553 w 412361"/>
                            <a:gd name="connsiteY426" fmla="*/ 147867 h 282179"/>
                            <a:gd name="connsiteX427" fmla="*/ 109276 w 412361"/>
                            <a:gd name="connsiteY427" fmla="*/ 147867 h 282179"/>
                            <a:gd name="connsiteX428" fmla="*/ 102271 w 412361"/>
                            <a:gd name="connsiteY428" fmla="*/ 150668 h 282179"/>
                            <a:gd name="connsiteX429" fmla="*/ 102446 w 412361"/>
                            <a:gd name="connsiteY429" fmla="*/ 150143 h 282179"/>
                            <a:gd name="connsiteX430" fmla="*/ 97893 w 412361"/>
                            <a:gd name="connsiteY430" fmla="*/ 152420 h 282179"/>
                            <a:gd name="connsiteX431" fmla="*/ 102271 w 412361"/>
                            <a:gd name="connsiteY431" fmla="*/ 150668 h 282179"/>
                            <a:gd name="connsiteX432" fmla="*/ 100739 w 412361"/>
                            <a:gd name="connsiteY432" fmla="*/ 155265 h 282179"/>
                            <a:gd name="connsiteX433" fmla="*/ 95617 w 412361"/>
                            <a:gd name="connsiteY433" fmla="*/ 156973 h 282179"/>
                            <a:gd name="connsiteX434" fmla="*/ 84234 w 412361"/>
                            <a:gd name="connsiteY434" fmla="*/ 156973 h 282179"/>
                            <a:gd name="connsiteX435" fmla="*/ 88787 w 412361"/>
                            <a:gd name="connsiteY435" fmla="*/ 154696 h 282179"/>
                            <a:gd name="connsiteX436" fmla="*/ 79681 w 412361"/>
                            <a:gd name="connsiteY436" fmla="*/ 156973 h 282179"/>
                            <a:gd name="connsiteX437" fmla="*/ 79681 w 412361"/>
                            <a:gd name="connsiteY437" fmla="*/ 154696 h 282179"/>
                            <a:gd name="connsiteX438" fmla="*/ 91063 w 412361"/>
                            <a:gd name="connsiteY438" fmla="*/ 150143 h 282179"/>
                            <a:gd name="connsiteX439" fmla="*/ 88787 w 412361"/>
                            <a:gd name="connsiteY439" fmla="*/ 150143 h 282179"/>
                            <a:gd name="connsiteX440" fmla="*/ 88787 w 412361"/>
                            <a:gd name="connsiteY440" fmla="*/ 147867 h 282179"/>
                            <a:gd name="connsiteX441" fmla="*/ 93340 w 412361"/>
                            <a:gd name="connsiteY441" fmla="*/ 145590 h 282179"/>
                            <a:gd name="connsiteX442" fmla="*/ 102446 w 412361"/>
                            <a:gd name="connsiteY442" fmla="*/ 136484 h 282179"/>
                            <a:gd name="connsiteX443" fmla="*/ 106227 w 412361"/>
                            <a:gd name="connsiteY443" fmla="*/ 138374 h 282179"/>
                            <a:gd name="connsiteX444" fmla="*/ 104775 w 412361"/>
                            <a:gd name="connsiteY444" fmla="*/ 136923 h 282179"/>
                            <a:gd name="connsiteX445" fmla="*/ 109538 w 412361"/>
                            <a:gd name="connsiteY445" fmla="*/ 139304 h 282179"/>
                            <a:gd name="connsiteX446" fmla="*/ 107157 w 412361"/>
                            <a:gd name="connsiteY446" fmla="*/ 139304 h 282179"/>
                            <a:gd name="connsiteX447" fmla="*/ 107000 w 412361"/>
                            <a:gd name="connsiteY447" fmla="*/ 139147 h 282179"/>
                            <a:gd name="connsiteX448" fmla="*/ 107000 w 412361"/>
                            <a:gd name="connsiteY448" fmla="*/ 141037 h 282179"/>
                            <a:gd name="connsiteX449" fmla="*/ 113829 w 412361"/>
                            <a:gd name="connsiteY449" fmla="*/ 138761 h 282179"/>
                            <a:gd name="connsiteX450" fmla="*/ 113829 w 412361"/>
                            <a:gd name="connsiteY450" fmla="*/ 136484 h 282179"/>
                            <a:gd name="connsiteX451" fmla="*/ 109538 w 412361"/>
                            <a:gd name="connsiteY451" fmla="*/ 136484 h 282179"/>
                            <a:gd name="connsiteX452" fmla="*/ 109538 w 412361"/>
                            <a:gd name="connsiteY452" fmla="*/ 136922 h 282179"/>
                            <a:gd name="connsiteX453" fmla="*/ 107157 w 412361"/>
                            <a:gd name="connsiteY453" fmla="*/ 134541 h 282179"/>
                            <a:gd name="connsiteX454" fmla="*/ 109538 w 412361"/>
                            <a:gd name="connsiteY454" fmla="*/ 134541 h 282179"/>
                            <a:gd name="connsiteX455" fmla="*/ 109538 w 412361"/>
                            <a:gd name="connsiteY455" fmla="*/ 136310 h 282179"/>
                            <a:gd name="connsiteX456" fmla="*/ 116106 w 412361"/>
                            <a:gd name="connsiteY456" fmla="*/ 131931 h 282179"/>
                            <a:gd name="connsiteX457" fmla="*/ 113829 w 412361"/>
                            <a:gd name="connsiteY457" fmla="*/ 131931 h 282179"/>
                            <a:gd name="connsiteX458" fmla="*/ 127489 w 412361"/>
                            <a:gd name="connsiteY458" fmla="*/ 129655 h 282179"/>
                            <a:gd name="connsiteX459" fmla="*/ 107000 w 412361"/>
                            <a:gd name="connsiteY459" fmla="*/ 131931 h 282179"/>
                            <a:gd name="connsiteX460" fmla="*/ 113829 w 412361"/>
                            <a:gd name="connsiteY460" fmla="*/ 129655 h 282179"/>
                            <a:gd name="connsiteX461" fmla="*/ 113829 w 412361"/>
                            <a:gd name="connsiteY461" fmla="*/ 127378 h 282179"/>
                            <a:gd name="connsiteX462" fmla="*/ 118382 w 412361"/>
                            <a:gd name="connsiteY462" fmla="*/ 125102 h 282179"/>
                            <a:gd name="connsiteX463" fmla="*/ 120659 w 412361"/>
                            <a:gd name="connsiteY463" fmla="*/ 125102 h 282179"/>
                            <a:gd name="connsiteX464" fmla="*/ 119400 w 412361"/>
                            <a:gd name="connsiteY464" fmla="*/ 124811 h 282179"/>
                            <a:gd name="connsiteX465" fmla="*/ 127489 w 412361"/>
                            <a:gd name="connsiteY465" fmla="*/ 122500 h 282179"/>
                            <a:gd name="connsiteX466" fmla="*/ 127489 w 412361"/>
                            <a:gd name="connsiteY466" fmla="*/ 122825 h 282179"/>
                            <a:gd name="connsiteX467" fmla="*/ 129765 w 412361"/>
                            <a:gd name="connsiteY467" fmla="*/ 122825 h 282179"/>
                            <a:gd name="connsiteX468" fmla="*/ 134318 w 412361"/>
                            <a:gd name="connsiteY468" fmla="*/ 120549 h 282179"/>
                            <a:gd name="connsiteX469" fmla="*/ 127489 w 412361"/>
                            <a:gd name="connsiteY469" fmla="*/ 122500 h 282179"/>
                            <a:gd name="connsiteX470" fmla="*/ 127489 w 412361"/>
                            <a:gd name="connsiteY470" fmla="*/ 120549 h 282179"/>
                            <a:gd name="connsiteX471" fmla="*/ 122936 w 412361"/>
                            <a:gd name="connsiteY471" fmla="*/ 122825 h 282179"/>
                            <a:gd name="connsiteX472" fmla="*/ 125212 w 412361"/>
                            <a:gd name="connsiteY472" fmla="*/ 115996 h 282179"/>
                            <a:gd name="connsiteX473" fmla="*/ 127489 w 412361"/>
                            <a:gd name="connsiteY473" fmla="*/ 118272 h 282179"/>
                            <a:gd name="connsiteX474" fmla="*/ 132042 w 412361"/>
                            <a:gd name="connsiteY474" fmla="*/ 118272 h 282179"/>
                            <a:gd name="connsiteX475" fmla="*/ 127489 w 412361"/>
                            <a:gd name="connsiteY475" fmla="*/ 115996 h 282179"/>
                            <a:gd name="connsiteX476" fmla="*/ 132042 w 412361"/>
                            <a:gd name="connsiteY476" fmla="*/ 113719 h 282179"/>
                            <a:gd name="connsiteX477" fmla="*/ 138872 w 412361"/>
                            <a:gd name="connsiteY477" fmla="*/ 109166 h 282179"/>
                            <a:gd name="connsiteX478" fmla="*/ 129779 w 412361"/>
                            <a:gd name="connsiteY478" fmla="*/ 104620 h 282179"/>
                            <a:gd name="connsiteX479" fmla="*/ 129779 w 412361"/>
                            <a:gd name="connsiteY479" fmla="*/ 104776 h 282179"/>
                            <a:gd name="connsiteX480" fmla="*/ 129779 w 412361"/>
                            <a:gd name="connsiteY480" fmla="*/ 102394 h 282179"/>
                            <a:gd name="connsiteX481" fmla="*/ 129779 w 412361"/>
                            <a:gd name="connsiteY481" fmla="*/ 104611 h 282179"/>
                            <a:gd name="connsiteX482" fmla="*/ 141148 w 412361"/>
                            <a:gd name="connsiteY482" fmla="*/ 102337 h 282179"/>
                            <a:gd name="connsiteX483" fmla="*/ 143425 w 412361"/>
                            <a:gd name="connsiteY483" fmla="*/ 102337 h 282179"/>
                            <a:gd name="connsiteX484" fmla="*/ 147978 w 412361"/>
                            <a:gd name="connsiteY484" fmla="*/ 102337 h 282179"/>
                            <a:gd name="connsiteX485" fmla="*/ 152531 w 412361"/>
                            <a:gd name="connsiteY485" fmla="*/ 100061 h 282179"/>
                            <a:gd name="connsiteX486" fmla="*/ 136595 w 412361"/>
                            <a:gd name="connsiteY486" fmla="*/ 102337 h 282179"/>
                            <a:gd name="connsiteX487" fmla="*/ 143425 w 412361"/>
                            <a:gd name="connsiteY487" fmla="*/ 100061 h 282179"/>
                            <a:gd name="connsiteX488" fmla="*/ 136595 w 412361"/>
                            <a:gd name="connsiteY488" fmla="*/ 100061 h 282179"/>
                            <a:gd name="connsiteX489" fmla="*/ 136595 w 412361"/>
                            <a:gd name="connsiteY489" fmla="*/ 95508 h 282179"/>
                            <a:gd name="connsiteX490" fmla="*/ 141148 w 412361"/>
                            <a:gd name="connsiteY490" fmla="*/ 95508 h 282179"/>
                            <a:gd name="connsiteX491" fmla="*/ 147978 w 412361"/>
                            <a:gd name="connsiteY491" fmla="*/ 93231 h 282179"/>
                            <a:gd name="connsiteX492" fmla="*/ 143425 w 412361"/>
                            <a:gd name="connsiteY492" fmla="*/ 93231 h 282179"/>
                            <a:gd name="connsiteX493" fmla="*/ 138872 w 412361"/>
                            <a:gd name="connsiteY493" fmla="*/ 90955 h 282179"/>
                            <a:gd name="connsiteX494" fmla="*/ 145132 w 412361"/>
                            <a:gd name="connsiteY494" fmla="*/ 90955 h 282179"/>
                            <a:gd name="connsiteX495" fmla="*/ 145701 w 412361"/>
                            <a:gd name="connsiteY495" fmla="*/ 90955 h 282179"/>
                            <a:gd name="connsiteX496" fmla="*/ 150255 w 412361"/>
                            <a:gd name="connsiteY496" fmla="*/ 88678 h 282179"/>
                            <a:gd name="connsiteX497" fmla="*/ 143425 w 412361"/>
                            <a:gd name="connsiteY497" fmla="*/ 86402 h 282179"/>
                            <a:gd name="connsiteX498" fmla="*/ 150255 w 412361"/>
                            <a:gd name="connsiteY498" fmla="*/ 84125 h 282179"/>
                            <a:gd name="connsiteX499" fmla="*/ 154808 w 412361"/>
                            <a:gd name="connsiteY499" fmla="*/ 84125 h 282179"/>
                            <a:gd name="connsiteX500" fmla="*/ 166191 w 412361"/>
                            <a:gd name="connsiteY500" fmla="*/ 81849 h 282179"/>
                            <a:gd name="connsiteX501" fmla="*/ 173020 w 412361"/>
                            <a:gd name="connsiteY501" fmla="*/ 81849 h 282179"/>
                            <a:gd name="connsiteX502" fmla="*/ 177574 w 412361"/>
                            <a:gd name="connsiteY502" fmla="*/ 79572 h 282179"/>
                            <a:gd name="connsiteX503" fmla="*/ 168467 w 412361"/>
                            <a:gd name="connsiteY503" fmla="*/ 79572 h 282179"/>
                            <a:gd name="connsiteX504" fmla="*/ 157084 w 412361"/>
                            <a:gd name="connsiteY504" fmla="*/ 79572 h 282179"/>
                            <a:gd name="connsiteX505" fmla="*/ 161637 w 412361"/>
                            <a:gd name="connsiteY505" fmla="*/ 75019 h 282179"/>
                            <a:gd name="connsiteX506" fmla="*/ 168467 w 412361"/>
                            <a:gd name="connsiteY506" fmla="*/ 72743 h 282179"/>
                            <a:gd name="connsiteX507" fmla="*/ 166191 w 412361"/>
                            <a:gd name="connsiteY507" fmla="*/ 75019 h 282179"/>
                            <a:gd name="connsiteX508" fmla="*/ 173020 w 412361"/>
                            <a:gd name="connsiteY508" fmla="*/ 75019 h 282179"/>
                            <a:gd name="connsiteX509" fmla="*/ 177574 w 412361"/>
                            <a:gd name="connsiteY509" fmla="*/ 77296 h 282179"/>
                            <a:gd name="connsiteX510" fmla="*/ 179850 w 412361"/>
                            <a:gd name="connsiteY510" fmla="*/ 72743 h 282179"/>
                            <a:gd name="connsiteX511" fmla="*/ 170744 w 412361"/>
                            <a:gd name="connsiteY511" fmla="*/ 72743 h 282179"/>
                            <a:gd name="connsiteX512" fmla="*/ 170744 w 412361"/>
                            <a:gd name="connsiteY512" fmla="*/ 70466 h 282179"/>
                            <a:gd name="connsiteX513" fmla="*/ 175012 w 412361"/>
                            <a:gd name="connsiteY513" fmla="*/ 70466 h 282179"/>
                            <a:gd name="connsiteX514" fmla="*/ 175297 w 412361"/>
                            <a:gd name="connsiteY514" fmla="*/ 70466 h 282179"/>
                            <a:gd name="connsiteX515" fmla="*/ 179850 w 412361"/>
                            <a:gd name="connsiteY515" fmla="*/ 70466 h 282179"/>
                            <a:gd name="connsiteX516" fmla="*/ 163914 w 412361"/>
                            <a:gd name="connsiteY516" fmla="*/ 70466 h 282179"/>
                            <a:gd name="connsiteX517" fmla="*/ 168467 w 412361"/>
                            <a:gd name="connsiteY517" fmla="*/ 68190 h 282179"/>
                            <a:gd name="connsiteX518" fmla="*/ 175297 w 412361"/>
                            <a:gd name="connsiteY518" fmla="*/ 65913 h 282179"/>
                            <a:gd name="connsiteX519" fmla="*/ 182127 w 412361"/>
                            <a:gd name="connsiteY519" fmla="*/ 63637 h 282179"/>
                            <a:gd name="connsiteX520" fmla="*/ 170744 w 412361"/>
                            <a:gd name="connsiteY520" fmla="*/ 63637 h 282179"/>
                            <a:gd name="connsiteX521" fmla="*/ 177574 w 412361"/>
                            <a:gd name="connsiteY521" fmla="*/ 61360 h 282179"/>
                            <a:gd name="connsiteX522" fmla="*/ 182127 w 412361"/>
                            <a:gd name="connsiteY522" fmla="*/ 59084 h 282179"/>
                            <a:gd name="connsiteX523" fmla="*/ 188956 w 412361"/>
                            <a:gd name="connsiteY523" fmla="*/ 65913 h 282179"/>
                            <a:gd name="connsiteX524" fmla="*/ 184403 w 412361"/>
                            <a:gd name="connsiteY524" fmla="*/ 63637 h 282179"/>
                            <a:gd name="connsiteX525" fmla="*/ 186680 w 412361"/>
                            <a:gd name="connsiteY525" fmla="*/ 63637 h 282179"/>
                            <a:gd name="connsiteX526" fmla="*/ 188956 w 412361"/>
                            <a:gd name="connsiteY526" fmla="*/ 61360 h 282179"/>
                            <a:gd name="connsiteX527" fmla="*/ 186680 w 412361"/>
                            <a:gd name="connsiteY527" fmla="*/ 61360 h 282179"/>
                            <a:gd name="connsiteX528" fmla="*/ 188956 w 412361"/>
                            <a:gd name="connsiteY528" fmla="*/ 59084 h 282179"/>
                            <a:gd name="connsiteX529" fmla="*/ 184403 w 412361"/>
                            <a:gd name="connsiteY529" fmla="*/ 59084 h 282179"/>
                            <a:gd name="connsiteX530" fmla="*/ 184403 w 412361"/>
                            <a:gd name="connsiteY530" fmla="*/ 56807 h 282179"/>
                            <a:gd name="connsiteX531" fmla="*/ 193510 w 412361"/>
                            <a:gd name="connsiteY531" fmla="*/ 61360 h 282179"/>
                            <a:gd name="connsiteX532" fmla="*/ 186680 w 412361"/>
                            <a:gd name="connsiteY532" fmla="*/ 56807 h 282179"/>
                            <a:gd name="connsiteX533" fmla="*/ 195786 w 412361"/>
                            <a:gd name="connsiteY533" fmla="*/ 56807 h 282179"/>
                            <a:gd name="connsiteX534" fmla="*/ 200339 w 412361"/>
                            <a:gd name="connsiteY534" fmla="*/ 56807 h 282179"/>
                            <a:gd name="connsiteX535" fmla="*/ 202616 w 412361"/>
                            <a:gd name="connsiteY535" fmla="*/ 59084 h 282179"/>
                            <a:gd name="connsiteX536" fmla="*/ 202616 w 412361"/>
                            <a:gd name="connsiteY536" fmla="*/ 56807 h 282179"/>
                            <a:gd name="connsiteX537" fmla="*/ 207169 w 412361"/>
                            <a:gd name="connsiteY537" fmla="*/ 56807 h 282179"/>
                            <a:gd name="connsiteX538" fmla="*/ 209446 w 412361"/>
                            <a:gd name="connsiteY538" fmla="*/ 54531 h 282179"/>
                            <a:gd name="connsiteX539" fmla="*/ 198063 w 412361"/>
                            <a:gd name="connsiteY539" fmla="*/ 54531 h 282179"/>
                            <a:gd name="connsiteX540" fmla="*/ 188956 w 412361"/>
                            <a:gd name="connsiteY540" fmla="*/ 54531 h 282179"/>
                            <a:gd name="connsiteX541" fmla="*/ 193510 w 412361"/>
                            <a:gd name="connsiteY541" fmla="*/ 49978 h 282179"/>
                            <a:gd name="connsiteX542" fmla="*/ 204893 w 412361"/>
                            <a:gd name="connsiteY542" fmla="*/ 49978 h 282179"/>
                            <a:gd name="connsiteX543" fmla="*/ 202616 w 412361"/>
                            <a:gd name="connsiteY543" fmla="*/ 47701 h 282179"/>
                            <a:gd name="connsiteX544" fmla="*/ 207169 w 412361"/>
                            <a:gd name="connsiteY544" fmla="*/ 47701 h 282179"/>
                            <a:gd name="connsiteX545" fmla="*/ 207169 w 412361"/>
                            <a:gd name="connsiteY545" fmla="*/ 45425 h 282179"/>
                            <a:gd name="connsiteX546" fmla="*/ 213999 w 412361"/>
                            <a:gd name="connsiteY546" fmla="*/ 40872 h 282179"/>
                            <a:gd name="connsiteX547" fmla="*/ 218552 w 412361"/>
                            <a:gd name="connsiteY547" fmla="*/ 38596 h 282179"/>
                            <a:gd name="connsiteX548" fmla="*/ 227658 w 412361"/>
                            <a:gd name="connsiteY548" fmla="*/ 36319 h 282179"/>
                            <a:gd name="connsiteX549" fmla="*/ 219813 w 412361"/>
                            <a:gd name="connsiteY549" fmla="*/ 32397 h 282179"/>
                            <a:gd name="connsiteX550" fmla="*/ 219395 w 412361"/>
                            <a:gd name="connsiteY550" fmla="*/ 32743 h 282179"/>
                            <a:gd name="connsiteX551" fmla="*/ 214143 w 412361"/>
                            <a:gd name="connsiteY551" fmla="*/ 32148 h 282179"/>
                            <a:gd name="connsiteX552" fmla="*/ 217239 w 412361"/>
                            <a:gd name="connsiteY552" fmla="*/ 30481 h 282179"/>
                            <a:gd name="connsiteX553" fmla="*/ 220777 w 412361"/>
                            <a:gd name="connsiteY553" fmla="*/ 29766 h 282179"/>
                            <a:gd name="connsiteX554" fmla="*/ 220777 w 412361"/>
                            <a:gd name="connsiteY554" fmla="*/ 27385 h 282179"/>
                            <a:gd name="connsiteX555" fmla="*/ 220777 w 412361"/>
                            <a:gd name="connsiteY555" fmla="*/ 25004 h 282179"/>
                            <a:gd name="connsiteX556" fmla="*/ 227411 w 412361"/>
                            <a:gd name="connsiteY556" fmla="*/ 27385 h 282179"/>
                            <a:gd name="connsiteX557" fmla="*/ 222989 w 412361"/>
                            <a:gd name="connsiteY557" fmla="*/ 29766 h 282179"/>
                            <a:gd name="connsiteX558" fmla="*/ 219994 w 412361"/>
                            <a:gd name="connsiteY558" fmla="*/ 32247 h 282179"/>
                            <a:gd name="connsiteX559" fmla="*/ 225382 w 412361"/>
                            <a:gd name="connsiteY559" fmla="*/ 34043 h 282179"/>
                            <a:gd name="connsiteX560" fmla="*/ 232212 w 412361"/>
                            <a:gd name="connsiteY560" fmla="*/ 38596 h 282179"/>
                            <a:gd name="connsiteX561" fmla="*/ 232212 w 412361"/>
                            <a:gd name="connsiteY561" fmla="*/ 36319 h 282179"/>
                            <a:gd name="connsiteX562" fmla="*/ 227658 w 412361"/>
                            <a:gd name="connsiteY562" fmla="*/ 34043 h 282179"/>
                            <a:gd name="connsiteX563" fmla="*/ 229935 w 412361"/>
                            <a:gd name="connsiteY563" fmla="*/ 31766 h 282179"/>
                            <a:gd name="connsiteX564" fmla="*/ 225382 w 412361"/>
                            <a:gd name="connsiteY564" fmla="*/ 31766 h 282179"/>
                            <a:gd name="connsiteX565" fmla="*/ 236765 w 412361"/>
                            <a:gd name="connsiteY565" fmla="*/ 27213 h 282179"/>
                            <a:gd name="connsiteX566" fmla="*/ 236765 w 412361"/>
                            <a:gd name="connsiteY566" fmla="*/ 34043 h 282179"/>
                            <a:gd name="connsiteX567" fmla="*/ 241318 w 412361"/>
                            <a:gd name="connsiteY567" fmla="*/ 31766 h 282179"/>
                            <a:gd name="connsiteX568" fmla="*/ 241318 w 412361"/>
                            <a:gd name="connsiteY568" fmla="*/ 27213 h 282179"/>
                            <a:gd name="connsiteX569" fmla="*/ 245871 w 412361"/>
                            <a:gd name="connsiteY569" fmla="*/ 22660 h 282179"/>
                            <a:gd name="connsiteX570" fmla="*/ 241318 w 412361"/>
                            <a:gd name="connsiteY570" fmla="*/ 38596 h 282179"/>
                            <a:gd name="connsiteX571" fmla="*/ 248148 w 412361"/>
                            <a:gd name="connsiteY571" fmla="*/ 31766 h 282179"/>
                            <a:gd name="connsiteX572" fmla="*/ 254977 w 412361"/>
                            <a:gd name="connsiteY572" fmla="*/ 34043 h 282179"/>
                            <a:gd name="connsiteX573" fmla="*/ 251847 w 412361"/>
                            <a:gd name="connsiteY573" fmla="*/ 28636 h 282179"/>
                            <a:gd name="connsiteX574" fmla="*/ 256043 w 412361"/>
                            <a:gd name="connsiteY574" fmla="*/ 25765 h 282179"/>
                            <a:gd name="connsiteX575" fmla="*/ 257538 w 412361"/>
                            <a:gd name="connsiteY575" fmla="*/ 26929 h 282179"/>
                            <a:gd name="connsiteX576" fmla="*/ 261807 w 412361"/>
                            <a:gd name="connsiteY576" fmla="*/ 27213 h 282179"/>
                            <a:gd name="connsiteX577" fmla="*/ 266076 w 412361"/>
                            <a:gd name="connsiteY577" fmla="*/ 23798 h 282179"/>
                            <a:gd name="connsiteX578" fmla="*/ 270913 w 412361"/>
                            <a:gd name="connsiteY578" fmla="*/ 25558 h 282179"/>
                            <a:gd name="connsiteX579" fmla="*/ 270913 w 412361"/>
                            <a:gd name="connsiteY579" fmla="*/ 27213 h 282179"/>
                            <a:gd name="connsiteX580" fmla="*/ 275467 w 412361"/>
                            <a:gd name="connsiteY580" fmla="*/ 27213 h 282179"/>
                            <a:gd name="connsiteX581" fmla="*/ 270913 w 412361"/>
                            <a:gd name="connsiteY581" fmla="*/ 25558 h 282179"/>
                            <a:gd name="connsiteX582" fmla="*/ 270913 w 412361"/>
                            <a:gd name="connsiteY582" fmla="*/ 24937 h 282179"/>
                            <a:gd name="connsiteX583" fmla="*/ 273190 w 412361"/>
                            <a:gd name="connsiteY583" fmla="*/ 24937 h 282179"/>
                            <a:gd name="connsiteX584" fmla="*/ 273190 w 412361"/>
                            <a:gd name="connsiteY584" fmla="*/ 20384 h 282179"/>
                            <a:gd name="connsiteX585" fmla="*/ 259531 w 412361"/>
                            <a:gd name="connsiteY585" fmla="*/ 18107 h 282179"/>
                            <a:gd name="connsiteX586" fmla="*/ 264084 w 412361"/>
                            <a:gd name="connsiteY586" fmla="*/ 18107 h 282179"/>
                            <a:gd name="connsiteX587" fmla="*/ 264084 w 412361"/>
                            <a:gd name="connsiteY587" fmla="*/ 15831 h 282179"/>
                            <a:gd name="connsiteX588" fmla="*/ 268637 w 412361"/>
                            <a:gd name="connsiteY588" fmla="*/ 18107 h 282179"/>
                            <a:gd name="connsiteX589" fmla="*/ 275467 w 412361"/>
                            <a:gd name="connsiteY589" fmla="*/ 15831 h 282179"/>
                            <a:gd name="connsiteX590" fmla="*/ 277743 w 412361"/>
                            <a:gd name="connsiteY590" fmla="*/ 18107 h 282179"/>
                            <a:gd name="connsiteX591" fmla="*/ 284573 w 412361"/>
                            <a:gd name="connsiteY591" fmla="*/ 18107 h 282179"/>
                            <a:gd name="connsiteX592" fmla="*/ 282524 w 412361"/>
                            <a:gd name="connsiteY592" fmla="*/ 20384 h 282179"/>
                            <a:gd name="connsiteX593" fmla="*/ 280020 w 412361"/>
                            <a:gd name="connsiteY593" fmla="*/ 20384 h 282179"/>
                            <a:gd name="connsiteX594" fmla="*/ 277743 w 412361"/>
                            <a:gd name="connsiteY594" fmla="*/ 20384 h 282179"/>
                            <a:gd name="connsiteX595" fmla="*/ 282012 w 412361"/>
                            <a:gd name="connsiteY595" fmla="*/ 20953 h 282179"/>
                            <a:gd name="connsiteX596" fmla="*/ 282524 w 412361"/>
                            <a:gd name="connsiteY596" fmla="*/ 20384 h 282179"/>
                            <a:gd name="connsiteX597" fmla="*/ 286850 w 412361"/>
                            <a:gd name="connsiteY597" fmla="*/ 20384 h 282179"/>
                            <a:gd name="connsiteX598" fmla="*/ 295956 w 412361"/>
                            <a:gd name="connsiteY598" fmla="*/ 22660 h 282179"/>
                            <a:gd name="connsiteX599" fmla="*/ 291403 w 412361"/>
                            <a:gd name="connsiteY599" fmla="*/ 20384 h 282179"/>
                            <a:gd name="connsiteX600" fmla="*/ 291403 w 412361"/>
                            <a:gd name="connsiteY600" fmla="*/ 18107 h 282179"/>
                            <a:gd name="connsiteX601" fmla="*/ 293679 w 412361"/>
                            <a:gd name="connsiteY601" fmla="*/ 18107 h 282179"/>
                            <a:gd name="connsiteX602" fmla="*/ 298232 w 412361"/>
                            <a:gd name="connsiteY602" fmla="*/ 13554 h 282179"/>
                            <a:gd name="connsiteX603" fmla="*/ 307339 w 412361"/>
                            <a:gd name="connsiteY603" fmla="*/ 13554 h 282179"/>
                            <a:gd name="connsiteX604" fmla="*/ 311892 w 412361"/>
                            <a:gd name="connsiteY604" fmla="*/ 9001 h 282179"/>
                            <a:gd name="connsiteX605" fmla="*/ 305062 w 412361"/>
                            <a:gd name="connsiteY605" fmla="*/ 6725 h 282179"/>
                            <a:gd name="connsiteX606" fmla="*/ 311892 w 412361"/>
                            <a:gd name="connsiteY606" fmla="*/ 4448 h 282179"/>
                            <a:gd name="connsiteX607" fmla="*/ 316445 w 412361"/>
                            <a:gd name="connsiteY607" fmla="*/ 4448 h 282179"/>
                            <a:gd name="connsiteX608" fmla="*/ 320998 w 412361"/>
                            <a:gd name="connsiteY608" fmla="*/ 4448 h 282179"/>
                            <a:gd name="connsiteX609" fmla="*/ 325473 w 412361"/>
                            <a:gd name="connsiteY609" fmla="*/ 4448 h 282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Lst>
                          <a:rect l="l" t="t" r="r" b="b"/>
                          <a:pathLst>
                            <a:path w="412361" h="282179">
                              <a:moveTo>
                                <a:pt x="11383" y="250308"/>
                              </a:moveTo>
                              <a:cubicBezTo>
                                <a:pt x="13659" y="250308"/>
                                <a:pt x="15936" y="250308"/>
                                <a:pt x="15936" y="252585"/>
                              </a:cubicBezTo>
                              <a:cubicBezTo>
                                <a:pt x="13659" y="252585"/>
                                <a:pt x="11383" y="252585"/>
                                <a:pt x="11383" y="252585"/>
                              </a:cubicBezTo>
                              <a:close/>
                              <a:moveTo>
                                <a:pt x="4763" y="241698"/>
                              </a:moveTo>
                              <a:lnTo>
                                <a:pt x="7144" y="243483"/>
                              </a:lnTo>
                              <a:lnTo>
                                <a:pt x="7145" y="243484"/>
                              </a:lnTo>
                              <a:lnTo>
                                <a:pt x="7144" y="243484"/>
                              </a:lnTo>
                              <a:lnTo>
                                <a:pt x="2382" y="245270"/>
                              </a:lnTo>
                              <a:cubicBezTo>
                                <a:pt x="2382" y="243484"/>
                                <a:pt x="2382" y="241698"/>
                                <a:pt x="4763" y="241698"/>
                              </a:cubicBezTo>
                              <a:close/>
                              <a:moveTo>
                                <a:pt x="0" y="227410"/>
                              </a:moveTo>
                              <a:cubicBezTo>
                                <a:pt x="0" y="227410"/>
                                <a:pt x="2381" y="229792"/>
                                <a:pt x="2381" y="229792"/>
                              </a:cubicBezTo>
                              <a:cubicBezTo>
                                <a:pt x="2381" y="232173"/>
                                <a:pt x="2381" y="232173"/>
                                <a:pt x="0" y="232173"/>
                              </a:cubicBezTo>
                              <a:cubicBezTo>
                                <a:pt x="0" y="229792"/>
                                <a:pt x="0" y="229792"/>
                                <a:pt x="0" y="227410"/>
                              </a:cubicBezTo>
                              <a:close/>
                              <a:moveTo>
                                <a:pt x="45532" y="204779"/>
                              </a:moveTo>
                              <a:lnTo>
                                <a:pt x="41782" y="210403"/>
                              </a:lnTo>
                              <a:lnTo>
                                <a:pt x="39556" y="211039"/>
                              </a:lnTo>
                              <a:lnTo>
                                <a:pt x="39461" y="211608"/>
                              </a:lnTo>
                              <a:lnTo>
                                <a:pt x="36425" y="211608"/>
                              </a:lnTo>
                              <a:cubicBezTo>
                                <a:pt x="38702" y="209332"/>
                                <a:pt x="38702" y="209332"/>
                                <a:pt x="38702" y="209332"/>
                              </a:cubicBezTo>
                              <a:cubicBezTo>
                                <a:pt x="36425" y="211608"/>
                                <a:pt x="25042" y="211608"/>
                                <a:pt x="29595" y="207055"/>
                              </a:cubicBezTo>
                              <a:cubicBezTo>
                                <a:pt x="27319" y="207055"/>
                                <a:pt x="27319" y="209332"/>
                                <a:pt x="27319" y="211608"/>
                              </a:cubicBezTo>
                              <a:cubicBezTo>
                                <a:pt x="31872" y="209332"/>
                                <a:pt x="38702" y="216161"/>
                                <a:pt x="34149" y="216161"/>
                              </a:cubicBezTo>
                              <a:cubicBezTo>
                                <a:pt x="34149" y="216161"/>
                                <a:pt x="36425" y="216161"/>
                                <a:pt x="38702" y="216161"/>
                              </a:cubicBezTo>
                              <a:lnTo>
                                <a:pt x="39461" y="211608"/>
                              </a:lnTo>
                              <a:lnTo>
                                <a:pt x="40978" y="211608"/>
                              </a:lnTo>
                              <a:lnTo>
                                <a:pt x="41782" y="210403"/>
                              </a:lnTo>
                              <a:lnTo>
                                <a:pt x="45532" y="209332"/>
                              </a:lnTo>
                              <a:cubicBezTo>
                                <a:pt x="40978" y="209332"/>
                                <a:pt x="43255" y="207055"/>
                                <a:pt x="45532" y="204779"/>
                              </a:cubicBezTo>
                              <a:close/>
                              <a:moveTo>
                                <a:pt x="4553" y="188843"/>
                              </a:moveTo>
                              <a:cubicBezTo>
                                <a:pt x="4553" y="186567"/>
                                <a:pt x="9106" y="191120"/>
                                <a:pt x="9106" y="193396"/>
                              </a:cubicBezTo>
                              <a:cubicBezTo>
                                <a:pt x="9106" y="191120"/>
                                <a:pt x="4553" y="191120"/>
                                <a:pt x="4553" y="188843"/>
                              </a:cubicBezTo>
                              <a:close/>
                              <a:moveTo>
                                <a:pt x="19050" y="184548"/>
                              </a:moveTo>
                              <a:cubicBezTo>
                                <a:pt x="19050" y="184548"/>
                                <a:pt x="19050" y="184548"/>
                                <a:pt x="21431" y="184548"/>
                              </a:cubicBezTo>
                              <a:cubicBezTo>
                                <a:pt x="21431" y="186929"/>
                                <a:pt x="19050" y="186929"/>
                                <a:pt x="19050" y="186929"/>
                              </a:cubicBezTo>
                              <a:cubicBezTo>
                                <a:pt x="19050" y="186929"/>
                                <a:pt x="19050" y="184548"/>
                                <a:pt x="19050" y="184548"/>
                              </a:cubicBezTo>
                              <a:close/>
                              <a:moveTo>
                                <a:pt x="46435" y="169069"/>
                              </a:moveTo>
                              <a:cubicBezTo>
                                <a:pt x="46435" y="169069"/>
                                <a:pt x="46435" y="169069"/>
                                <a:pt x="48817" y="170855"/>
                              </a:cubicBezTo>
                              <a:cubicBezTo>
                                <a:pt x="48817" y="170855"/>
                                <a:pt x="48817" y="170855"/>
                                <a:pt x="46435" y="170855"/>
                              </a:cubicBezTo>
                              <a:cubicBezTo>
                                <a:pt x="46435" y="172641"/>
                                <a:pt x="44054" y="170855"/>
                                <a:pt x="44054" y="170855"/>
                              </a:cubicBezTo>
                              <a:cubicBezTo>
                                <a:pt x="46435" y="170855"/>
                                <a:pt x="48817" y="170855"/>
                                <a:pt x="46435" y="169069"/>
                              </a:cubicBezTo>
                              <a:close/>
                              <a:moveTo>
                                <a:pt x="53579" y="161628"/>
                              </a:moveTo>
                              <a:cubicBezTo>
                                <a:pt x="54770" y="161330"/>
                                <a:pt x="55961" y="161925"/>
                                <a:pt x="57151" y="164307"/>
                              </a:cubicBezTo>
                              <a:cubicBezTo>
                                <a:pt x="54770" y="164307"/>
                                <a:pt x="52388" y="164307"/>
                                <a:pt x="50007" y="164307"/>
                              </a:cubicBezTo>
                              <a:cubicBezTo>
                                <a:pt x="51198" y="163116"/>
                                <a:pt x="52388" y="161925"/>
                                <a:pt x="53579" y="161628"/>
                              </a:cubicBezTo>
                              <a:close/>
                              <a:moveTo>
                                <a:pt x="66676" y="157163"/>
                              </a:moveTo>
                              <a:cubicBezTo>
                                <a:pt x="69057" y="157163"/>
                                <a:pt x="71438" y="157163"/>
                                <a:pt x="71438" y="157163"/>
                              </a:cubicBezTo>
                              <a:cubicBezTo>
                                <a:pt x="71438" y="159544"/>
                                <a:pt x="69057" y="161330"/>
                                <a:pt x="66378" y="162223"/>
                              </a:cubicBezTo>
                              <a:lnTo>
                                <a:pt x="64294" y="162133"/>
                              </a:lnTo>
                              <a:lnTo>
                                <a:pt x="64294" y="164306"/>
                              </a:lnTo>
                              <a:lnTo>
                                <a:pt x="62022" y="162034"/>
                              </a:lnTo>
                              <a:lnTo>
                                <a:pt x="59532" y="161926"/>
                              </a:lnTo>
                              <a:cubicBezTo>
                                <a:pt x="59532" y="159544"/>
                                <a:pt x="64295" y="159544"/>
                                <a:pt x="66676" y="159544"/>
                              </a:cubicBezTo>
                              <a:cubicBezTo>
                                <a:pt x="59532" y="157163"/>
                                <a:pt x="66676" y="157163"/>
                                <a:pt x="66676" y="157163"/>
                              </a:cubicBezTo>
                              <a:close/>
                              <a:moveTo>
                                <a:pt x="102395" y="127398"/>
                              </a:moveTo>
                              <a:cubicBezTo>
                                <a:pt x="102395" y="127398"/>
                                <a:pt x="102395" y="127398"/>
                                <a:pt x="104776" y="127398"/>
                              </a:cubicBezTo>
                              <a:cubicBezTo>
                                <a:pt x="102395" y="129779"/>
                                <a:pt x="100013" y="129779"/>
                                <a:pt x="100013" y="129779"/>
                              </a:cubicBezTo>
                              <a:cubicBezTo>
                                <a:pt x="100013" y="129779"/>
                                <a:pt x="100013" y="129779"/>
                                <a:pt x="102395" y="127398"/>
                              </a:cubicBezTo>
                              <a:close/>
                              <a:moveTo>
                                <a:pt x="116959" y="124248"/>
                              </a:moveTo>
                              <a:lnTo>
                                <a:pt x="119400" y="124811"/>
                              </a:lnTo>
                              <a:lnTo>
                                <a:pt x="118382" y="125102"/>
                              </a:lnTo>
                              <a:cubicBezTo>
                                <a:pt x="116106" y="125102"/>
                                <a:pt x="116106" y="124533"/>
                                <a:pt x="116959" y="124248"/>
                              </a:cubicBezTo>
                              <a:close/>
                              <a:moveTo>
                                <a:pt x="132161" y="107156"/>
                              </a:moveTo>
                              <a:cubicBezTo>
                                <a:pt x="132161" y="107156"/>
                                <a:pt x="130176" y="107156"/>
                                <a:pt x="128192" y="109538"/>
                              </a:cubicBezTo>
                              <a:cubicBezTo>
                                <a:pt x="128192" y="109538"/>
                                <a:pt x="128192" y="109538"/>
                                <a:pt x="126207" y="109538"/>
                              </a:cubicBezTo>
                              <a:cubicBezTo>
                                <a:pt x="128192" y="107156"/>
                                <a:pt x="130176" y="104775"/>
                                <a:pt x="132161" y="107156"/>
                              </a:cubicBezTo>
                              <a:close/>
                              <a:moveTo>
                                <a:pt x="143828" y="57150"/>
                              </a:moveTo>
                              <a:cubicBezTo>
                                <a:pt x="145972" y="59531"/>
                                <a:pt x="145972" y="57150"/>
                                <a:pt x="148115" y="57150"/>
                              </a:cubicBezTo>
                              <a:cubicBezTo>
                                <a:pt x="150258" y="57150"/>
                                <a:pt x="150258" y="59531"/>
                                <a:pt x="152401" y="59531"/>
                              </a:cubicBezTo>
                              <a:cubicBezTo>
                                <a:pt x="150258" y="61913"/>
                                <a:pt x="145972" y="61913"/>
                                <a:pt x="141685" y="64294"/>
                              </a:cubicBezTo>
                              <a:cubicBezTo>
                                <a:pt x="141685" y="64294"/>
                                <a:pt x="141685" y="64294"/>
                                <a:pt x="143828" y="61913"/>
                              </a:cubicBezTo>
                              <a:cubicBezTo>
                                <a:pt x="143828" y="61913"/>
                                <a:pt x="143828" y="61913"/>
                                <a:pt x="143828" y="59531"/>
                              </a:cubicBezTo>
                              <a:cubicBezTo>
                                <a:pt x="143828" y="59531"/>
                                <a:pt x="145972" y="59531"/>
                                <a:pt x="143828" y="57150"/>
                              </a:cubicBezTo>
                              <a:close/>
                              <a:moveTo>
                                <a:pt x="166688" y="54769"/>
                              </a:moveTo>
                              <a:cubicBezTo>
                                <a:pt x="166688" y="57150"/>
                                <a:pt x="157163" y="61913"/>
                                <a:pt x="154782" y="59532"/>
                              </a:cubicBezTo>
                              <a:cubicBezTo>
                                <a:pt x="154782" y="59532"/>
                                <a:pt x="161926" y="52388"/>
                                <a:pt x="161926" y="57150"/>
                              </a:cubicBezTo>
                              <a:cubicBezTo>
                                <a:pt x="164307" y="54769"/>
                                <a:pt x="166688" y="54769"/>
                                <a:pt x="166688" y="54769"/>
                              </a:cubicBezTo>
                              <a:close/>
                              <a:moveTo>
                                <a:pt x="159544" y="52388"/>
                              </a:moveTo>
                              <a:cubicBezTo>
                                <a:pt x="161926" y="52388"/>
                                <a:pt x="164307" y="52388"/>
                                <a:pt x="164307" y="52388"/>
                              </a:cubicBezTo>
                              <a:cubicBezTo>
                                <a:pt x="164307" y="54769"/>
                                <a:pt x="161926" y="54769"/>
                                <a:pt x="161926" y="54769"/>
                              </a:cubicBezTo>
                              <a:cubicBezTo>
                                <a:pt x="161926" y="54769"/>
                                <a:pt x="161926" y="54769"/>
                                <a:pt x="159544" y="52388"/>
                              </a:cubicBezTo>
                              <a:close/>
                              <a:moveTo>
                                <a:pt x="175780" y="45244"/>
                              </a:moveTo>
                              <a:cubicBezTo>
                                <a:pt x="180327" y="42863"/>
                                <a:pt x="180327" y="45244"/>
                                <a:pt x="178054" y="47626"/>
                              </a:cubicBezTo>
                              <a:cubicBezTo>
                                <a:pt x="184873" y="45244"/>
                                <a:pt x="178054" y="52388"/>
                                <a:pt x="178054" y="52388"/>
                              </a:cubicBezTo>
                              <a:cubicBezTo>
                                <a:pt x="180327" y="50007"/>
                                <a:pt x="182600" y="47626"/>
                                <a:pt x="184873" y="47626"/>
                              </a:cubicBezTo>
                              <a:cubicBezTo>
                                <a:pt x="184873" y="45244"/>
                                <a:pt x="189419" y="45244"/>
                                <a:pt x="189419" y="47626"/>
                              </a:cubicBezTo>
                              <a:cubicBezTo>
                                <a:pt x="191692" y="47626"/>
                                <a:pt x="189419" y="52388"/>
                                <a:pt x="187146" y="52388"/>
                              </a:cubicBezTo>
                              <a:cubicBezTo>
                                <a:pt x="184873" y="52388"/>
                                <a:pt x="184873" y="52388"/>
                                <a:pt x="182600" y="52388"/>
                              </a:cubicBezTo>
                              <a:cubicBezTo>
                                <a:pt x="182600" y="54769"/>
                                <a:pt x="180327" y="59532"/>
                                <a:pt x="180327" y="54769"/>
                              </a:cubicBezTo>
                              <a:cubicBezTo>
                                <a:pt x="178054" y="54769"/>
                                <a:pt x="178054" y="57151"/>
                                <a:pt x="175780" y="57151"/>
                              </a:cubicBezTo>
                              <a:cubicBezTo>
                                <a:pt x="175780" y="59532"/>
                                <a:pt x="173507" y="57151"/>
                                <a:pt x="171234" y="57151"/>
                              </a:cubicBezTo>
                              <a:cubicBezTo>
                                <a:pt x="171234" y="57151"/>
                                <a:pt x="171234" y="57151"/>
                                <a:pt x="173507" y="54769"/>
                              </a:cubicBezTo>
                              <a:cubicBezTo>
                                <a:pt x="171234" y="54769"/>
                                <a:pt x="168961" y="57151"/>
                                <a:pt x="166688" y="57151"/>
                              </a:cubicBezTo>
                              <a:cubicBezTo>
                                <a:pt x="166688" y="54769"/>
                                <a:pt x="171234" y="54769"/>
                                <a:pt x="168961" y="52388"/>
                              </a:cubicBezTo>
                              <a:cubicBezTo>
                                <a:pt x="171234" y="52388"/>
                                <a:pt x="171234" y="52388"/>
                                <a:pt x="173507" y="52388"/>
                              </a:cubicBezTo>
                              <a:cubicBezTo>
                                <a:pt x="173507" y="52388"/>
                                <a:pt x="173507" y="52388"/>
                                <a:pt x="173507" y="50007"/>
                              </a:cubicBezTo>
                              <a:cubicBezTo>
                                <a:pt x="173507" y="50007"/>
                                <a:pt x="175780" y="50007"/>
                                <a:pt x="175780" y="50007"/>
                              </a:cubicBezTo>
                              <a:cubicBezTo>
                                <a:pt x="173507" y="50007"/>
                                <a:pt x="173507" y="45244"/>
                                <a:pt x="175780" y="45244"/>
                              </a:cubicBezTo>
                              <a:close/>
                              <a:moveTo>
                                <a:pt x="166688" y="42863"/>
                              </a:moveTo>
                              <a:cubicBezTo>
                                <a:pt x="166688" y="42863"/>
                                <a:pt x="171451" y="45244"/>
                                <a:pt x="171451" y="47625"/>
                              </a:cubicBezTo>
                              <a:cubicBezTo>
                                <a:pt x="171451" y="47625"/>
                                <a:pt x="169070" y="50007"/>
                                <a:pt x="171451" y="50007"/>
                              </a:cubicBezTo>
                              <a:cubicBezTo>
                                <a:pt x="169070" y="52388"/>
                                <a:pt x="166688" y="52388"/>
                                <a:pt x="164307" y="52388"/>
                              </a:cubicBezTo>
                              <a:cubicBezTo>
                                <a:pt x="164307" y="52388"/>
                                <a:pt x="164307" y="52388"/>
                                <a:pt x="161926" y="50007"/>
                              </a:cubicBezTo>
                              <a:cubicBezTo>
                                <a:pt x="160140" y="50602"/>
                                <a:pt x="158354" y="51197"/>
                                <a:pt x="157163" y="50007"/>
                              </a:cubicBezTo>
                              <a:cubicBezTo>
                                <a:pt x="159544" y="50007"/>
                                <a:pt x="164307" y="45244"/>
                                <a:pt x="166688" y="47625"/>
                              </a:cubicBezTo>
                              <a:cubicBezTo>
                                <a:pt x="166688" y="45244"/>
                                <a:pt x="166688" y="45244"/>
                                <a:pt x="166688" y="42863"/>
                              </a:cubicBezTo>
                              <a:close/>
                              <a:moveTo>
                                <a:pt x="182167" y="38994"/>
                              </a:moveTo>
                              <a:cubicBezTo>
                                <a:pt x="182167" y="41077"/>
                                <a:pt x="178000" y="43161"/>
                                <a:pt x="175916" y="43161"/>
                              </a:cubicBezTo>
                              <a:cubicBezTo>
                                <a:pt x="175916" y="45245"/>
                                <a:pt x="173832" y="45245"/>
                                <a:pt x="173832" y="45245"/>
                              </a:cubicBezTo>
                              <a:cubicBezTo>
                                <a:pt x="173832" y="41077"/>
                                <a:pt x="180083" y="36910"/>
                                <a:pt x="182167" y="38994"/>
                              </a:cubicBezTo>
                              <a:close/>
                              <a:moveTo>
                                <a:pt x="205318" y="31949"/>
                              </a:moveTo>
                              <a:cubicBezTo>
                                <a:pt x="209816" y="36314"/>
                                <a:pt x="203069" y="29766"/>
                                <a:pt x="207567" y="31949"/>
                              </a:cubicBezTo>
                              <a:cubicBezTo>
                                <a:pt x="209816" y="34132"/>
                                <a:pt x="214314" y="34132"/>
                                <a:pt x="209816" y="34132"/>
                              </a:cubicBezTo>
                              <a:cubicBezTo>
                                <a:pt x="214314" y="31949"/>
                                <a:pt x="212065" y="36314"/>
                                <a:pt x="212065" y="38497"/>
                              </a:cubicBezTo>
                              <a:cubicBezTo>
                                <a:pt x="209816" y="40680"/>
                                <a:pt x="205318" y="38497"/>
                                <a:pt x="203069" y="40680"/>
                              </a:cubicBezTo>
                              <a:cubicBezTo>
                                <a:pt x="200820" y="40680"/>
                                <a:pt x="196322" y="42863"/>
                                <a:pt x="194073" y="40680"/>
                              </a:cubicBezTo>
                              <a:cubicBezTo>
                                <a:pt x="196322" y="40680"/>
                                <a:pt x="196322" y="40680"/>
                                <a:pt x="198571" y="38497"/>
                              </a:cubicBezTo>
                              <a:cubicBezTo>
                                <a:pt x="196322" y="38497"/>
                                <a:pt x="196322" y="38497"/>
                                <a:pt x="198571" y="36314"/>
                              </a:cubicBezTo>
                              <a:cubicBezTo>
                                <a:pt x="198571" y="36314"/>
                                <a:pt x="198571" y="36314"/>
                                <a:pt x="196322" y="38497"/>
                              </a:cubicBezTo>
                              <a:cubicBezTo>
                                <a:pt x="196322" y="36314"/>
                                <a:pt x="196322" y="36314"/>
                                <a:pt x="194073" y="36314"/>
                              </a:cubicBezTo>
                              <a:cubicBezTo>
                                <a:pt x="198571" y="34132"/>
                                <a:pt x="200820" y="36314"/>
                                <a:pt x="203069" y="34132"/>
                              </a:cubicBezTo>
                              <a:cubicBezTo>
                                <a:pt x="203069" y="34132"/>
                                <a:pt x="200820" y="34132"/>
                                <a:pt x="198571" y="34132"/>
                              </a:cubicBezTo>
                              <a:cubicBezTo>
                                <a:pt x="200820" y="31949"/>
                                <a:pt x="209816" y="36314"/>
                                <a:pt x="205318" y="31949"/>
                              </a:cubicBezTo>
                              <a:close/>
                              <a:moveTo>
                                <a:pt x="218566" y="29766"/>
                              </a:moveTo>
                              <a:lnTo>
                                <a:pt x="217239" y="30481"/>
                              </a:lnTo>
                              <a:lnTo>
                                <a:pt x="216355" y="30659"/>
                              </a:lnTo>
                              <a:cubicBezTo>
                                <a:pt x="215249" y="30957"/>
                                <a:pt x="215249" y="30957"/>
                                <a:pt x="218566" y="29766"/>
                              </a:cubicBezTo>
                              <a:close/>
                              <a:moveTo>
                                <a:pt x="252414" y="25004"/>
                              </a:moveTo>
                              <a:cubicBezTo>
                                <a:pt x="252414" y="25004"/>
                                <a:pt x="252414" y="25004"/>
                                <a:pt x="252414" y="27385"/>
                              </a:cubicBezTo>
                              <a:cubicBezTo>
                                <a:pt x="252414" y="27385"/>
                                <a:pt x="252414" y="27385"/>
                                <a:pt x="251223" y="27385"/>
                              </a:cubicBezTo>
                              <a:cubicBezTo>
                                <a:pt x="251223" y="25004"/>
                                <a:pt x="252414" y="25004"/>
                                <a:pt x="252414" y="25004"/>
                              </a:cubicBezTo>
                              <a:close/>
                              <a:moveTo>
                                <a:pt x="398402" y="24937"/>
                              </a:moveTo>
                              <a:lnTo>
                                <a:pt x="398503" y="25004"/>
                              </a:lnTo>
                              <a:lnTo>
                                <a:pt x="398860" y="25004"/>
                              </a:lnTo>
                              <a:lnTo>
                                <a:pt x="398632" y="25090"/>
                              </a:lnTo>
                              <a:lnTo>
                                <a:pt x="405232" y="29490"/>
                              </a:lnTo>
                              <a:cubicBezTo>
                                <a:pt x="405232" y="24937"/>
                                <a:pt x="412062" y="27213"/>
                                <a:pt x="412062" y="29490"/>
                              </a:cubicBezTo>
                              <a:cubicBezTo>
                                <a:pt x="414338" y="34043"/>
                                <a:pt x="402955" y="31766"/>
                                <a:pt x="400679" y="29490"/>
                              </a:cubicBezTo>
                              <a:lnTo>
                                <a:pt x="398503" y="25138"/>
                              </a:lnTo>
                              <a:lnTo>
                                <a:pt x="394097" y="26790"/>
                              </a:lnTo>
                              <a:cubicBezTo>
                                <a:pt x="393502" y="26195"/>
                                <a:pt x="394098" y="25004"/>
                                <a:pt x="396479" y="25004"/>
                              </a:cubicBezTo>
                              <a:lnTo>
                                <a:pt x="398436" y="25004"/>
                              </a:lnTo>
                              <a:close/>
                              <a:moveTo>
                                <a:pt x="254977" y="24937"/>
                              </a:moveTo>
                              <a:cubicBezTo>
                                <a:pt x="254977" y="24937"/>
                                <a:pt x="254977" y="24937"/>
                                <a:pt x="257254" y="24937"/>
                              </a:cubicBezTo>
                              <a:lnTo>
                                <a:pt x="256043" y="25765"/>
                              </a:lnTo>
                              <a:close/>
                              <a:moveTo>
                                <a:pt x="236936" y="22623"/>
                              </a:moveTo>
                              <a:cubicBezTo>
                                <a:pt x="236936" y="22623"/>
                                <a:pt x="236936" y="22623"/>
                                <a:pt x="239317" y="22623"/>
                              </a:cubicBezTo>
                              <a:cubicBezTo>
                                <a:pt x="239317" y="25004"/>
                                <a:pt x="236936" y="25004"/>
                                <a:pt x="234554" y="25004"/>
                              </a:cubicBezTo>
                              <a:cubicBezTo>
                                <a:pt x="234554" y="25004"/>
                                <a:pt x="236936" y="22623"/>
                                <a:pt x="236936" y="22623"/>
                              </a:cubicBezTo>
                              <a:close/>
                              <a:moveTo>
                                <a:pt x="230302" y="20241"/>
                              </a:moveTo>
                              <a:cubicBezTo>
                                <a:pt x="230302" y="20241"/>
                                <a:pt x="232514" y="22622"/>
                                <a:pt x="232514" y="22622"/>
                              </a:cubicBezTo>
                              <a:cubicBezTo>
                                <a:pt x="232514" y="22622"/>
                                <a:pt x="234725" y="22622"/>
                                <a:pt x="236936" y="22622"/>
                              </a:cubicBezTo>
                              <a:cubicBezTo>
                                <a:pt x="234725" y="22622"/>
                                <a:pt x="221457" y="32147"/>
                                <a:pt x="223668" y="22622"/>
                              </a:cubicBezTo>
                              <a:cubicBezTo>
                                <a:pt x="225880" y="22622"/>
                                <a:pt x="228091" y="20241"/>
                                <a:pt x="230302" y="20241"/>
                              </a:cubicBezTo>
                              <a:close/>
                              <a:moveTo>
                                <a:pt x="221457" y="20241"/>
                              </a:moveTo>
                              <a:cubicBezTo>
                                <a:pt x="223839" y="20241"/>
                                <a:pt x="223839" y="20241"/>
                                <a:pt x="226220" y="20241"/>
                              </a:cubicBezTo>
                              <a:cubicBezTo>
                                <a:pt x="223839" y="20241"/>
                                <a:pt x="223839" y="22622"/>
                                <a:pt x="221457" y="22622"/>
                              </a:cubicBezTo>
                              <a:cubicBezTo>
                                <a:pt x="221457" y="22622"/>
                                <a:pt x="221457" y="22622"/>
                                <a:pt x="221457" y="20241"/>
                              </a:cubicBezTo>
                              <a:close/>
                              <a:moveTo>
                                <a:pt x="234554" y="17860"/>
                              </a:moveTo>
                              <a:cubicBezTo>
                                <a:pt x="236935" y="20241"/>
                                <a:pt x="239317" y="22623"/>
                                <a:pt x="244079" y="20241"/>
                              </a:cubicBezTo>
                              <a:cubicBezTo>
                                <a:pt x="241698" y="20241"/>
                                <a:pt x="241698" y="20241"/>
                                <a:pt x="241698" y="20241"/>
                              </a:cubicBezTo>
                              <a:cubicBezTo>
                                <a:pt x="239317" y="17860"/>
                                <a:pt x="236935" y="17860"/>
                                <a:pt x="234554" y="17860"/>
                              </a:cubicBezTo>
                              <a:close/>
                              <a:moveTo>
                                <a:pt x="277416" y="16074"/>
                              </a:moveTo>
                              <a:cubicBezTo>
                                <a:pt x="279797" y="14288"/>
                                <a:pt x="284560" y="16074"/>
                                <a:pt x="286941" y="17860"/>
                              </a:cubicBezTo>
                              <a:cubicBezTo>
                                <a:pt x="286941" y="17860"/>
                                <a:pt x="286941" y="17860"/>
                                <a:pt x="284560" y="17860"/>
                              </a:cubicBezTo>
                              <a:cubicBezTo>
                                <a:pt x="282179" y="17860"/>
                                <a:pt x="279797" y="17860"/>
                                <a:pt x="277416" y="16074"/>
                              </a:cubicBezTo>
                              <a:close/>
                              <a:moveTo>
                                <a:pt x="296467" y="11907"/>
                              </a:moveTo>
                              <a:cubicBezTo>
                                <a:pt x="298848" y="13892"/>
                                <a:pt x="291704" y="15876"/>
                                <a:pt x="289323" y="17861"/>
                              </a:cubicBezTo>
                              <a:cubicBezTo>
                                <a:pt x="289323" y="13892"/>
                                <a:pt x="286941" y="15876"/>
                                <a:pt x="284560" y="13892"/>
                              </a:cubicBezTo>
                              <a:cubicBezTo>
                                <a:pt x="286941" y="11907"/>
                                <a:pt x="291704" y="13892"/>
                                <a:pt x="296467" y="11907"/>
                              </a:cubicBezTo>
                              <a:close/>
                              <a:moveTo>
                                <a:pt x="298372" y="9525"/>
                              </a:moveTo>
                              <a:cubicBezTo>
                                <a:pt x="300515" y="9525"/>
                                <a:pt x="304801" y="9525"/>
                                <a:pt x="302658" y="11906"/>
                              </a:cubicBezTo>
                              <a:cubicBezTo>
                                <a:pt x="298372" y="14288"/>
                                <a:pt x="294085" y="9525"/>
                                <a:pt x="298372" y="9525"/>
                              </a:cubicBezTo>
                              <a:close/>
                              <a:moveTo>
                                <a:pt x="287299" y="7144"/>
                              </a:moveTo>
                              <a:cubicBezTo>
                                <a:pt x="289561" y="7144"/>
                                <a:pt x="291823" y="7144"/>
                                <a:pt x="294085" y="7144"/>
                              </a:cubicBezTo>
                              <a:cubicBezTo>
                                <a:pt x="289561" y="9525"/>
                                <a:pt x="287299" y="11907"/>
                                <a:pt x="282774" y="11907"/>
                              </a:cubicBezTo>
                              <a:cubicBezTo>
                                <a:pt x="280512" y="14288"/>
                                <a:pt x="275988" y="11907"/>
                                <a:pt x="273725" y="14288"/>
                              </a:cubicBezTo>
                              <a:cubicBezTo>
                                <a:pt x="273725" y="14288"/>
                                <a:pt x="273725" y="14288"/>
                                <a:pt x="275988" y="11907"/>
                              </a:cubicBezTo>
                              <a:cubicBezTo>
                                <a:pt x="273725" y="11907"/>
                                <a:pt x="271463" y="11907"/>
                                <a:pt x="271463" y="9525"/>
                              </a:cubicBezTo>
                              <a:cubicBezTo>
                                <a:pt x="273725" y="9525"/>
                                <a:pt x="275988" y="11907"/>
                                <a:pt x="278250" y="9525"/>
                              </a:cubicBezTo>
                              <a:cubicBezTo>
                                <a:pt x="280512" y="7144"/>
                                <a:pt x="282774" y="9525"/>
                                <a:pt x="285036" y="9525"/>
                              </a:cubicBezTo>
                              <a:cubicBezTo>
                                <a:pt x="278250" y="7144"/>
                                <a:pt x="291823" y="11907"/>
                                <a:pt x="287299" y="7144"/>
                              </a:cubicBezTo>
                              <a:close/>
                              <a:moveTo>
                                <a:pt x="321469" y="0"/>
                              </a:moveTo>
                              <a:cubicBezTo>
                                <a:pt x="323612" y="0"/>
                                <a:pt x="325756" y="0"/>
                                <a:pt x="327899" y="0"/>
                              </a:cubicBezTo>
                              <a:cubicBezTo>
                                <a:pt x="330042" y="0"/>
                                <a:pt x="330042" y="0"/>
                                <a:pt x="332185" y="0"/>
                              </a:cubicBezTo>
                              <a:cubicBezTo>
                                <a:pt x="330042" y="2381"/>
                                <a:pt x="330042" y="2381"/>
                                <a:pt x="332185" y="2381"/>
                              </a:cubicBezTo>
                              <a:cubicBezTo>
                                <a:pt x="332185" y="2381"/>
                                <a:pt x="332185" y="2381"/>
                                <a:pt x="330042" y="2381"/>
                              </a:cubicBezTo>
                              <a:lnTo>
                                <a:pt x="326322" y="4448"/>
                              </a:lnTo>
                              <a:lnTo>
                                <a:pt x="330105" y="4448"/>
                              </a:lnTo>
                              <a:cubicBezTo>
                                <a:pt x="327828" y="9001"/>
                                <a:pt x="320998" y="9001"/>
                                <a:pt x="318722" y="13554"/>
                              </a:cubicBezTo>
                              <a:cubicBezTo>
                                <a:pt x="320998" y="13554"/>
                                <a:pt x="320998" y="13554"/>
                                <a:pt x="320998" y="15831"/>
                              </a:cubicBezTo>
                              <a:cubicBezTo>
                                <a:pt x="320998" y="15831"/>
                                <a:pt x="316445" y="18107"/>
                                <a:pt x="318722" y="20384"/>
                              </a:cubicBezTo>
                              <a:cubicBezTo>
                                <a:pt x="318722" y="20384"/>
                                <a:pt x="320998" y="20384"/>
                                <a:pt x="323275" y="20384"/>
                              </a:cubicBezTo>
                              <a:cubicBezTo>
                                <a:pt x="323275" y="18107"/>
                                <a:pt x="323275" y="18107"/>
                                <a:pt x="325551" y="18107"/>
                              </a:cubicBezTo>
                              <a:cubicBezTo>
                                <a:pt x="325551" y="15831"/>
                                <a:pt x="323275" y="15831"/>
                                <a:pt x="325551" y="15831"/>
                              </a:cubicBezTo>
                              <a:cubicBezTo>
                                <a:pt x="327828" y="11278"/>
                                <a:pt x="336934" y="4448"/>
                                <a:pt x="341488" y="2172"/>
                              </a:cubicBezTo>
                              <a:cubicBezTo>
                                <a:pt x="343764" y="6725"/>
                                <a:pt x="343764" y="9001"/>
                                <a:pt x="339211" y="9001"/>
                              </a:cubicBezTo>
                              <a:cubicBezTo>
                                <a:pt x="343764" y="9001"/>
                                <a:pt x="341488" y="13554"/>
                                <a:pt x="341488" y="15831"/>
                              </a:cubicBezTo>
                              <a:cubicBezTo>
                                <a:pt x="343764" y="15831"/>
                                <a:pt x="343764" y="13554"/>
                                <a:pt x="343764" y="13554"/>
                              </a:cubicBezTo>
                              <a:cubicBezTo>
                                <a:pt x="346041" y="11278"/>
                                <a:pt x="348317" y="13554"/>
                                <a:pt x="350594" y="13554"/>
                              </a:cubicBezTo>
                              <a:cubicBezTo>
                                <a:pt x="348317" y="11278"/>
                                <a:pt x="348317" y="11278"/>
                                <a:pt x="348317" y="11278"/>
                              </a:cubicBezTo>
                              <a:cubicBezTo>
                                <a:pt x="348317" y="11278"/>
                                <a:pt x="350594" y="11278"/>
                                <a:pt x="352870" y="11278"/>
                              </a:cubicBezTo>
                              <a:cubicBezTo>
                                <a:pt x="350594" y="11278"/>
                                <a:pt x="350594" y="9001"/>
                                <a:pt x="350594" y="6725"/>
                              </a:cubicBezTo>
                              <a:cubicBezTo>
                                <a:pt x="352870" y="9001"/>
                                <a:pt x="352870" y="4448"/>
                                <a:pt x="355147" y="6725"/>
                              </a:cubicBezTo>
                              <a:cubicBezTo>
                                <a:pt x="355147" y="4448"/>
                                <a:pt x="352870" y="4448"/>
                                <a:pt x="350594" y="4448"/>
                              </a:cubicBezTo>
                              <a:cubicBezTo>
                                <a:pt x="350594" y="4448"/>
                                <a:pt x="364253" y="-2381"/>
                                <a:pt x="364253" y="2172"/>
                              </a:cubicBezTo>
                              <a:cubicBezTo>
                                <a:pt x="364253" y="2172"/>
                                <a:pt x="368806" y="2172"/>
                                <a:pt x="368806" y="4448"/>
                              </a:cubicBezTo>
                              <a:cubicBezTo>
                                <a:pt x="371083" y="4448"/>
                                <a:pt x="361977" y="6725"/>
                                <a:pt x="361977" y="6725"/>
                              </a:cubicBezTo>
                              <a:cubicBezTo>
                                <a:pt x="361977" y="6725"/>
                                <a:pt x="364253" y="6725"/>
                                <a:pt x="364253" y="9001"/>
                              </a:cubicBezTo>
                              <a:cubicBezTo>
                                <a:pt x="361977" y="9001"/>
                                <a:pt x="361977" y="9001"/>
                                <a:pt x="359700" y="11278"/>
                              </a:cubicBezTo>
                              <a:cubicBezTo>
                                <a:pt x="361977" y="9001"/>
                                <a:pt x="366530" y="6725"/>
                                <a:pt x="368806" y="9001"/>
                              </a:cubicBezTo>
                              <a:cubicBezTo>
                                <a:pt x="366530" y="11278"/>
                                <a:pt x="364253" y="11278"/>
                                <a:pt x="361977" y="13554"/>
                              </a:cubicBezTo>
                              <a:cubicBezTo>
                                <a:pt x="364253" y="13554"/>
                                <a:pt x="366530" y="11278"/>
                                <a:pt x="368806" y="13554"/>
                              </a:cubicBezTo>
                              <a:cubicBezTo>
                                <a:pt x="368806" y="13554"/>
                                <a:pt x="366530" y="15831"/>
                                <a:pt x="366530" y="15831"/>
                              </a:cubicBezTo>
                              <a:cubicBezTo>
                                <a:pt x="366530" y="13554"/>
                                <a:pt x="371083" y="11278"/>
                                <a:pt x="373360" y="13554"/>
                              </a:cubicBezTo>
                              <a:cubicBezTo>
                                <a:pt x="366530" y="13554"/>
                                <a:pt x="373360" y="6725"/>
                                <a:pt x="375636" y="4448"/>
                              </a:cubicBezTo>
                              <a:cubicBezTo>
                                <a:pt x="377913" y="4448"/>
                                <a:pt x="387019" y="4448"/>
                                <a:pt x="384743" y="9001"/>
                              </a:cubicBezTo>
                              <a:cubicBezTo>
                                <a:pt x="384743" y="9001"/>
                                <a:pt x="389296" y="6725"/>
                                <a:pt x="391572" y="9001"/>
                              </a:cubicBezTo>
                              <a:cubicBezTo>
                                <a:pt x="393849" y="6725"/>
                                <a:pt x="400679" y="11278"/>
                                <a:pt x="396125" y="11278"/>
                              </a:cubicBezTo>
                              <a:cubicBezTo>
                                <a:pt x="400679" y="11278"/>
                                <a:pt x="407508" y="11278"/>
                                <a:pt x="409785" y="15831"/>
                              </a:cubicBezTo>
                              <a:cubicBezTo>
                                <a:pt x="412062" y="18107"/>
                                <a:pt x="405232" y="18107"/>
                                <a:pt x="405232" y="18107"/>
                              </a:cubicBezTo>
                              <a:cubicBezTo>
                                <a:pt x="400679" y="18107"/>
                                <a:pt x="396125" y="22660"/>
                                <a:pt x="391572" y="20384"/>
                              </a:cubicBezTo>
                              <a:cubicBezTo>
                                <a:pt x="387019" y="20384"/>
                                <a:pt x="380189" y="18107"/>
                                <a:pt x="375636" y="20384"/>
                              </a:cubicBezTo>
                              <a:cubicBezTo>
                                <a:pt x="377913" y="20384"/>
                                <a:pt x="380189" y="20384"/>
                                <a:pt x="382466" y="22660"/>
                              </a:cubicBezTo>
                              <a:cubicBezTo>
                                <a:pt x="384743" y="22660"/>
                                <a:pt x="393849" y="22660"/>
                                <a:pt x="389296" y="24937"/>
                              </a:cubicBezTo>
                              <a:cubicBezTo>
                                <a:pt x="391572" y="24937"/>
                                <a:pt x="396125" y="24937"/>
                                <a:pt x="391572" y="29490"/>
                              </a:cubicBezTo>
                              <a:cubicBezTo>
                                <a:pt x="393849" y="27213"/>
                                <a:pt x="396125" y="27213"/>
                                <a:pt x="396125" y="27213"/>
                              </a:cubicBezTo>
                              <a:cubicBezTo>
                                <a:pt x="396125" y="29490"/>
                                <a:pt x="398402" y="29490"/>
                                <a:pt x="400679" y="29490"/>
                              </a:cubicBezTo>
                              <a:cubicBezTo>
                                <a:pt x="402955" y="34043"/>
                                <a:pt x="398402" y="36319"/>
                                <a:pt x="396125" y="36319"/>
                              </a:cubicBezTo>
                              <a:cubicBezTo>
                                <a:pt x="393849" y="36319"/>
                                <a:pt x="389296" y="36319"/>
                                <a:pt x="389296" y="38596"/>
                              </a:cubicBezTo>
                              <a:cubicBezTo>
                                <a:pt x="389296" y="38596"/>
                                <a:pt x="389296" y="40872"/>
                                <a:pt x="387019" y="43149"/>
                              </a:cubicBezTo>
                              <a:cubicBezTo>
                                <a:pt x="384743" y="43149"/>
                                <a:pt x="382466" y="43149"/>
                                <a:pt x="382466" y="40872"/>
                              </a:cubicBezTo>
                              <a:cubicBezTo>
                                <a:pt x="380189" y="40872"/>
                                <a:pt x="382466" y="38596"/>
                                <a:pt x="384743" y="36319"/>
                              </a:cubicBezTo>
                              <a:cubicBezTo>
                                <a:pt x="387019" y="34043"/>
                                <a:pt x="389296" y="29490"/>
                                <a:pt x="382466" y="29490"/>
                              </a:cubicBezTo>
                              <a:cubicBezTo>
                                <a:pt x="377913" y="27213"/>
                                <a:pt x="373360" y="27213"/>
                                <a:pt x="371083" y="24937"/>
                              </a:cubicBezTo>
                              <a:cubicBezTo>
                                <a:pt x="366530" y="24937"/>
                                <a:pt x="361977" y="20384"/>
                                <a:pt x="357424" y="22660"/>
                              </a:cubicBezTo>
                              <a:cubicBezTo>
                                <a:pt x="348317" y="27213"/>
                                <a:pt x="336934" y="22660"/>
                                <a:pt x="334658" y="31766"/>
                              </a:cubicBezTo>
                              <a:cubicBezTo>
                                <a:pt x="334658" y="34043"/>
                                <a:pt x="332381" y="36319"/>
                                <a:pt x="332381" y="38596"/>
                              </a:cubicBezTo>
                              <a:cubicBezTo>
                                <a:pt x="332381" y="40872"/>
                                <a:pt x="334658" y="43149"/>
                                <a:pt x="332381" y="45425"/>
                              </a:cubicBezTo>
                              <a:cubicBezTo>
                                <a:pt x="330105" y="45425"/>
                                <a:pt x="330105" y="45425"/>
                                <a:pt x="327828" y="45425"/>
                              </a:cubicBezTo>
                              <a:cubicBezTo>
                                <a:pt x="325551" y="47701"/>
                                <a:pt x="325551" y="47701"/>
                                <a:pt x="323275" y="49978"/>
                              </a:cubicBezTo>
                              <a:cubicBezTo>
                                <a:pt x="320998" y="54531"/>
                                <a:pt x="316445" y="49978"/>
                                <a:pt x="311892" y="47701"/>
                              </a:cubicBezTo>
                              <a:cubicBezTo>
                                <a:pt x="311892" y="47701"/>
                                <a:pt x="309615" y="47701"/>
                                <a:pt x="307339" y="47701"/>
                              </a:cubicBezTo>
                              <a:cubicBezTo>
                                <a:pt x="302786" y="45425"/>
                                <a:pt x="302786" y="47701"/>
                                <a:pt x="300509" y="49978"/>
                              </a:cubicBezTo>
                              <a:cubicBezTo>
                                <a:pt x="295956" y="52254"/>
                                <a:pt x="289126" y="52254"/>
                                <a:pt x="282296" y="49978"/>
                              </a:cubicBezTo>
                              <a:cubicBezTo>
                                <a:pt x="280020" y="47701"/>
                                <a:pt x="275467" y="43149"/>
                                <a:pt x="273190" y="40872"/>
                              </a:cubicBezTo>
                              <a:cubicBezTo>
                                <a:pt x="268637" y="38596"/>
                                <a:pt x="264084" y="36319"/>
                                <a:pt x="259531" y="38596"/>
                              </a:cubicBezTo>
                              <a:cubicBezTo>
                                <a:pt x="261807" y="40872"/>
                                <a:pt x="261807" y="40872"/>
                                <a:pt x="261807" y="40872"/>
                              </a:cubicBezTo>
                              <a:cubicBezTo>
                                <a:pt x="257254" y="43149"/>
                                <a:pt x="250424" y="40872"/>
                                <a:pt x="245871" y="43149"/>
                              </a:cubicBezTo>
                              <a:cubicBezTo>
                                <a:pt x="252701" y="45425"/>
                                <a:pt x="248148" y="49978"/>
                                <a:pt x="243594" y="52254"/>
                              </a:cubicBezTo>
                              <a:cubicBezTo>
                                <a:pt x="245871" y="52254"/>
                                <a:pt x="245871" y="54531"/>
                                <a:pt x="248148" y="54531"/>
                              </a:cubicBezTo>
                              <a:cubicBezTo>
                                <a:pt x="241318" y="59084"/>
                                <a:pt x="232212" y="52254"/>
                                <a:pt x="225382" y="54531"/>
                              </a:cubicBezTo>
                              <a:cubicBezTo>
                                <a:pt x="223105" y="54531"/>
                                <a:pt x="218552" y="52254"/>
                                <a:pt x="216275" y="52254"/>
                              </a:cubicBezTo>
                              <a:cubicBezTo>
                                <a:pt x="213999" y="54531"/>
                                <a:pt x="216275" y="56807"/>
                                <a:pt x="216275" y="59084"/>
                              </a:cubicBezTo>
                              <a:cubicBezTo>
                                <a:pt x="213999" y="68190"/>
                                <a:pt x="204893" y="61360"/>
                                <a:pt x="200339" y="63637"/>
                              </a:cubicBezTo>
                              <a:cubicBezTo>
                                <a:pt x="193510" y="65913"/>
                                <a:pt x="191233" y="72743"/>
                                <a:pt x="184403" y="75019"/>
                              </a:cubicBezTo>
                              <a:cubicBezTo>
                                <a:pt x="186680" y="77296"/>
                                <a:pt x="191233" y="79572"/>
                                <a:pt x="188956" y="81849"/>
                              </a:cubicBezTo>
                              <a:cubicBezTo>
                                <a:pt x="188956" y="84125"/>
                                <a:pt x="179850" y="90955"/>
                                <a:pt x="179850" y="93231"/>
                              </a:cubicBezTo>
                              <a:cubicBezTo>
                                <a:pt x="177574" y="93231"/>
                                <a:pt x="177574" y="93231"/>
                                <a:pt x="175297" y="95508"/>
                              </a:cubicBezTo>
                              <a:cubicBezTo>
                                <a:pt x="173020" y="95508"/>
                                <a:pt x="175297" y="97784"/>
                                <a:pt x="175297" y="100061"/>
                              </a:cubicBezTo>
                              <a:cubicBezTo>
                                <a:pt x="173020" y="102337"/>
                                <a:pt x="163914" y="102337"/>
                                <a:pt x="159361" y="102337"/>
                              </a:cubicBezTo>
                              <a:cubicBezTo>
                                <a:pt x="161637" y="104613"/>
                                <a:pt x="161637" y="120549"/>
                                <a:pt x="159361" y="120549"/>
                              </a:cubicBezTo>
                              <a:cubicBezTo>
                                <a:pt x="157084" y="122825"/>
                                <a:pt x="157084" y="127378"/>
                                <a:pt x="154808" y="127378"/>
                              </a:cubicBezTo>
                              <a:cubicBezTo>
                                <a:pt x="150255" y="129655"/>
                                <a:pt x="147978" y="134208"/>
                                <a:pt x="145701" y="136484"/>
                              </a:cubicBezTo>
                              <a:cubicBezTo>
                                <a:pt x="150255" y="138761"/>
                                <a:pt x="157084" y="141037"/>
                                <a:pt x="154808" y="145590"/>
                              </a:cubicBezTo>
                              <a:cubicBezTo>
                                <a:pt x="152531" y="150143"/>
                                <a:pt x="141148" y="147867"/>
                                <a:pt x="136595" y="147867"/>
                              </a:cubicBezTo>
                              <a:cubicBezTo>
                                <a:pt x="134318" y="147867"/>
                                <a:pt x="122936" y="154696"/>
                                <a:pt x="122936" y="159249"/>
                              </a:cubicBezTo>
                              <a:cubicBezTo>
                                <a:pt x="122936" y="161525"/>
                                <a:pt x="120659" y="161525"/>
                                <a:pt x="120659" y="163802"/>
                              </a:cubicBezTo>
                              <a:cubicBezTo>
                                <a:pt x="120659" y="166078"/>
                                <a:pt x="125212" y="170632"/>
                                <a:pt x="122936" y="170632"/>
                              </a:cubicBezTo>
                              <a:cubicBezTo>
                                <a:pt x="120659" y="172908"/>
                                <a:pt x="122936" y="179737"/>
                                <a:pt x="122936" y="182014"/>
                              </a:cubicBezTo>
                              <a:cubicBezTo>
                                <a:pt x="125212" y="188843"/>
                                <a:pt x="122936" y="191120"/>
                                <a:pt x="122936" y="197949"/>
                              </a:cubicBezTo>
                              <a:cubicBezTo>
                                <a:pt x="122936" y="200226"/>
                                <a:pt x="127489" y="202502"/>
                                <a:pt x="132042" y="202502"/>
                              </a:cubicBezTo>
                              <a:cubicBezTo>
                                <a:pt x="132042" y="204779"/>
                                <a:pt x="134318" y="204779"/>
                                <a:pt x="134318" y="207055"/>
                              </a:cubicBezTo>
                              <a:cubicBezTo>
                                <a:pt x="136595" y="207055"/>
                                <a:pt x="134318" y="213885"/>
                                <a:pt x="132042" y="213885"/>
                              </a:cubicBezTo>
                              <a:cubicBezTo>
                                <a:pt x="127489" y="213885"/>
                                <a:pt x="125212" y="213885"/>
                                <a:pt x="125212" y="218438"/>
                              </a:cubicBezTo>
                              <a:cubicBezTo>
                                <a:pt x="127489" y="220714"/>
                                <a:pt x="129765" y="222991"/>
                                <a:pt x="129765" y="225267"/>
                              </a:cubicBezTo>
                              <a:cubicBezTo>
                                <a:pt x="132042" y="227544"/>
                                <a:pt x="129765" y="229820"/>
                                <a:pt x="129765" y="232097"/>
                              </a:cubicBezTo>
                              <a:cubicBezTo>
                                <a:pt x="129765" y="234373"/>
                                <a:pt x="127489" y="236649"/>
                                <a:pt x="125212" y="238926"/>
                              </a:cubicBezTo>
                              <a:cubicBezTo>
                                <a:pt x="122936" y="238926"/>
                                <a:pt x="118382" y="238926"/>
                                <a:pt x="118382" y="241202"/>
                              </a:cubicBezTo>
                              <a:cubicBezTo>
                                <a:pt x="118382" y="243479"/>
                                <a:pt x="118382" y="245755"/>
                                <a:pt x="116106" y="245755"/>
                              </a:cubicBezTo>
                              <a:cubicBezTo>
                                <a:pt x="116106" y="248032"/>
                                <a:pt x="118382" y="250308"/>
                                <a:pt x="118382" y="252585"/>
                              </a:cubicBezTo>
                              <a:cubicBezTo>
                                <a:pt x="118382" y="254861"/>
                                <a:pt x="116106" y="261691"/>
                                <a:pt x="113829" y="261691"/>
                              </a:cubicBezTo>
                              <a:cubicBezTo>
                                <a:pt x="111553" y="261691"/>
                                <a:pt x="111553" y="259414"/>
                                <a:pt x="109276" y="259414"/>
                              </a:cubicBezTo>
                              <a:cubicBezTo>
                                <a:pt x="109276" y="257138"/>
                                <a:pt x="107000" y="257138"/>
                                <a:pt x="104723" y="257138"/>
                              </a:cubicBezTo>
                              <a:cubicBezTo>
                                <a:pt x="102446" y="254861"/>
                                <a:pt x="100170" y="254861"/>
                                <a:pt x="97893" y="250308"/>
                              </a:cubicBezTo>
                              <a:cubicBezTo>
                                <a:pt x="97893" y="248032"/>
                                <a:pt x="97893" y="245755"/>
                                <a:pt x="97893" y="245755"/>
                              </a:cubicBezTo>
                              <a:cubicBezTo>
                                <a:pt x="97893" y="243479"/>
                                <a:pt x="97893" y="238926"/>
                                <a:pt x="100170" y="243479"/>
                              </a:cubicBezTo>
                              <a:cubicBezTo>
                                <a:pt x="100170" y="238926"/>
                                <a:pt x="95617" y="236649"/>
                                <a:pt x="95617" y="241202"/>
                              </a:cubicBezTo>
                              <a:cubicBezTo>
                                <a:pt x="95617" y="243479"/>
                                <a:pt x="97893" y="245755"/>
                                <a:pt x="95617" y="248032"/>
                              </a:cubicBezTo>
                              <a:cubicBezTo>
                                <a:pt x="93340" y="245755"/>
                                <a:pt x="93340" y="245755"/>
                                <a:pt x="93340" y="245755"/>
                              </a:cubicBezTo>
                              <a:cubicBezTo>
                                <a:pt x="93340" y="248032"/>
                                <a:pt x="93340" y="248032"/>
                                <a:pt x="91063" y="248032"/>
                              </a:cubicBezTo>
                              <a:cubicBezTo>
                                <a:pt x="93340" y="250308"/>
                                <a:pt x="93340" y="252585"/>
                                <a:pt x="93340" y="254861"/>
                              </a:cubicBezTo>
                              <a:cubicBezTo>
                                <a:pt x="93340" y="252585"/>
                                <a:pt x="93340" y="254861"/>
                                <a:pt x="91063" y="257138"/>
                              </a:cubicBezTo>
                              <a:cubicBezTo>
                                <a:pt x="91063" y="257138"/>
                                <a:pt x="88787" y="257138"/>
                                <a:pt x="88787" y="259414"/>
                              </a:cubicBezTo>
                              <a:cubicBezTo>
                                <a:pt x="86510" y="259414"/>
                                <a:pt x="86510" y="261691"/>
                                <a:pt x="84234" y="259414"/>
                              </a:cubicBezTo>
                              <a:cubicBezTo>
                                <a:pt x="81957" y="259414"/>
                                <a:pt x="79681" y="257138"/>
                                <a:pt x="79681" y="257138"/>
                              </a:cubicBezTo>
                              <a:cubicBezTo>
                                <a:pt x="84234" y="259414"/>
                                <a:pt x="77404" y="263967"/>
                                <a:pt x="75127" y="261691"/>
                              </a:cubicBezTo>
                              <a:cubicBezTo>
                                <a:pt x="75127" y="263967"/>
                                <a:pt x="75127" y="263967"/>
                                <a:pt x="75127" y="263967"/>
                              </a:cubicBezTo>
                              <a:cubicBezTo>
                                <a:pt x="75127" y="266244"/>
                                <a:pt x="72851" y="266244"/>
                                <a:pt x="70574" y="266244"/>
                              </a:cubicBezTo>
                              <a:cubicBezTo>
                                <a:pt x="70574" y="268520"/>
                                <a:pt x="70574" y="268520"/>
                                <a:pt x="70574" y="268520"/>
                              </a:cubicBezTo>
                              <a:cubicBezTo>
                                <a:pt x="68298" y="268520"/>
                                <a:pt x="66021" y="273073"/>
                                <a:pt x="63744" y="275350"/>
                              </a:cubicBezTo>
                              <a:cubicBezTo>
                                <a:pt x="59191" y="277626"/>
                                <a:pt x="54638" y="277626"/>
                                <a:pt x="50085" y="279903"/>
                              </a:cubicBezTo>
                              <a:cubicBezTo>
                                <a:pt x="47808" y="279903"/>
                                <a:pt x="45532" y="282179"/>
                                <a:pt x="43255" y="282179"/>
                              </a:cubicBezTo>
                              <a:cubicBezTo>
                                <a:pt x="40978" y="282179"/>
                                <a:pt x="40978" y="282179"/>
                                <a:pt x="38702" y="279903"/>
                              </a:cubicBezTo>
                              <a:cubicBezTo>
                                <a:pt x="34149" y="279903"/>
                                <a:pt x="29595" y="282179"/>
                                <a:pt x="27319" y="279903"/>
                              </a:cubicBezTo>
                              <a:cubicBezTo>
                                <a:pt x="27319" y="277626"/>
                                <a:pt x="29595" y="277626"/>
                                <a:pt x="31872" y="275350"/>
                              </a:cubicBezTo>
                              <a:cubicBezTo>
                                <a:pt x="25042" y="279903"/>
                                <a:pt x="2276" y="266244"/>
                                <a:pt x="11383" y="261691"/>
                              </a:cubicBezTo>
                              <a:cubicBezTo>
                                <a:pt x="9106" y="259414"/>
                                <a:pt x="9106" y="259414"/>
                                <a:pt x="9106" y="259414"/>
                              </a:cubicBezTo>
                              <a:cubicBezTo>
                                <a:pt x="13659" y="259414"/>
                                <a:pt x="15936" y="263967"/>
                                <a:pt x="20489" y="263967"/>
                              </a:cubicBezTo>
                              <a:cubicBezTo>
                                <a:pt x="18213" y="261691"/>
                                <a:pt x="18213" y="261691"/>
                                <a:pt x="18213" y="261691"/>
                              </a:cubicBezTo>
                              <a:cubicBezTo>
                                <a:pt x="18213" y="259414"/>
                                <a:pt x="18213" y="257138"/>
                                <a:pt x="15936" y="257138"/>
                              </a:cubicBezTo>
                              <a:cubicBezTo>
                                <a:pt x="15936" y="257138"/>
                                <a:pt x="18213" y="257138"/>
                                <a:pt x="20489" y="257138"/>
                              </a:cubicBezTo>
                              <a:cubicBezTo>
                                <a:pt x="13659" y="254861"/>
                                <a:pt x="25042" y="252585"/>
                                <a:pt x="25042" y="252585"/>
                              </a:cubicBezTo>
                              <a:cubicBezTo>
                                <a:pt x="25042" y="252585"/>
                                <a:pt x="22766" y="252585"/>
                                <a:pt x="22766" y="252585"/>
                              </a:cubicBezTo>
                              <a:cubicBezTo>
                                <a:pt x="20489" y="252585"/>
                                <a:pt x="18213" y="252585"/>
                                <a:pt x="18213" y="252585"/>
                              </a:cubicBezTo>
                              <a:cubicBezTo>
                                <a:pt x="20489" y="250308"/>
                                <a:pt x="22766" y="248032"/>
                                <a:pt x="27319" y="248032"/>
                              </a:cubicBezTo>
                              <a:lnTo>
                                <a:pt x="26433" y="248032"/>
                              </a:lnTo>
                              <a:lnTo>
                                <a:pt x="21432" y="250032"/>
                              </a:lnTo>
                              <a:lnTo>
                                <a:pt x="22432" y="248032"/>
                              </a:lnTo>
                              <a:lnTo>
                                <a:pt x="20489" y="248032"/>
                              </a:lnTo>
                              <a:cubicBezTo>
                                <a:pt x="20489" y="250308"/>
                                <a:pt x="18213" y="250308"/>
                                <a:pt x="15936" y="252585"/>
                              </a:cubicBezTo>
                              <a:cubicBezTo>
                                <a:pt x="15936" y="250308"/>
                                <a:pt x="18213" y="248032"/>
                                <a:pt x="18213" y="248032"/>
                              </a:cubicBezTo>
                              <a:cubicBezTo>
                                <a:pt x="15936" y="248032"/>
                                <a:pt x="13659" y="248032"/>
                                <a:pt x="11383" y="250308"/>
                              </a:cubicBezTo>
                              <a:lnTo>
                                <a:pt x="11383" y="248032"/>
                              </a:lnTo>
                              <a:cubicBezTo>
                                <a:pt x="9106" y="248032"/>
                                <a:pt x="9106" y="250308"/>
                                <a:pt x="9106" y="250308"/>
                              </a:cubicBezTo>
                              <a:cubicBezTo>
                                <a:pt x="13659" y="250308"/>
                                <a:pt x="6830" y="257138"/>
                                <a:pt x="6830" y="250308"/>
                              </a:cubicBezTo>
                              <a:cubicBezTo>
                                <a:pt x="6830" y="252585"/>
                                <a:pt x="6261" y="252585"/>
                                <a:pt x="5691" y="252016"/>
                              </a:cubicBezTo>
                              <a:lnTo>
                                <a:pt x="4763" y="250623"/>
                              </a:lnTo>
                              <a:lnTo>
                                <a:pt x="4763" y="257176"/>
                              </a:lnTo>
                              <a:cubicBezTo>
                                <a:pt x="2382" y="254795"/>
                                <a:pt x="2382" y="254795"/>
                                <a:pt x="2382" y="252413"/>
                              </a:cubicBezTo>
                              <a:lnTo>
                                <a:pt x="4686" y="250109"/>
                              </a:lnTo>
                              <a:lnTo>
                                <a:pt x="9106" y="243479"/>
                              </a:lnTo>
                              <a:cubicBezTo>
                                <a:pt x="9106" y="245755"/>
                                <a:pt x="9106" y="248032"/>
                                <a:pt x="6830" y="248032"/>
                              </a:cubicBezTo>
                              <a:cubicBezTo>
                                <a:pt x="9106" y="250308"/>
                                <a:pt x="9106" y="248032"/>
                                <a:pt x="9106" y="245755"/>
                              </a:cubicBezTo>
                              <a:cubicBezTo>
                                <a:pt x="11383" y="243479"/>
                                <a:pt x="13659" y="245755"/>
                                <a:pt x="15936" y="245755"/>
                              </a:cubicBezTo>
                              <a:cubicBezTo>
                                <a:pt x="11383" y="243479"/>
                                <a:pt x="18213" y="243479"/>
                                <a:pt x="20489" y="241202"/>
                              </a:cubicBezTo>
                              <a:cubicBezTo>
                                <a:pt x="18213" y="243479"/>
                                <a:pt x="13659" y="243479"/>
                                <a:pt x="11383" y="241202"/>
                              </a:cubicBezTo>
                              <a:cubicBezTo>
                                <a:pt x="13659" y="238926"/>
                                <a:pt x="18213" y="234373"/>
                                <a:pt x="22766" y="234373"/>
                              </a:cubicBezTo>
                              <a:cubicBezTo>
                                <a:pt x="15936" y="232097"/>
                                <a:pt x="27319" y="229820"/>
                                <a:pt x="27319" y="227544"/>
                              </a:cubicBezTo>
                              <a:cubicBezTo>
                                <a:pt x="29595" y="229820"/>
                                <a:pt x="27319" y="232097"/>
                                <a:pt x="27319" y="234373"/>
                              </a:cubicBezTo>
                              <a:cubicBezTo>
                                <a:pt x="29595" y="229820"/>
                                <a:pt x="31872" y="227544"/>
                                <a:pt x="36425" y="225267"/>
                              </a:cubicBezTo>
                              <a:cubicBezTo>
                                <a:pt x="31872" y="225267"/>
                                <a:pt x="27319" y="225267"/>
                                <a:pt x="22766" y="227544"/>
                              </a:cubicBezTo>
                              <a:cubicBezTo>
                                <a:pt x="22766" y="227544"/>
                                <a:pt x="18213" y="232097"/>
                                <a:pt x="18213" y="232097"/>
                              </a:cubicBezTo>
                              <a:cubicBezTo>
                                <a:pt x="11383" y="241202"/>
                                <a:pt x="15936" y="232097"/>
                                <a:pt x="11383" y="232097"/>
                              </a:cubicBezTo>
                              <a:cubicBezTo>
                                <a:pt x="11383" y="232097"/>
                                <a:pt x="11383" y="229820"/>
                                <a:pt x="11383" y="227544"/>
                              </a:cubicBezTo>
                              <a:cubicBezTo>
                                <a:pt x="11383" y="229820"/>
                                <a:pt x="9106" y="234373"/>
                                <a:pt x="6830" y="234373"/>
                              </a:cubicBezTo>
                              <a:cubicBezTo>
                                <a:pt x="4553" y="232097"/>
                                <a:pt x="6830" y="229820"/>
                                <a:pt x="4553" y="227544"/>
                              </a:cubicBezTo>
                              <a:cubicBezTo>
                                <a:pt x="4553" y="227544"/>
                                <a:pt x="6830" y="227544"/>
                                <a:pt x="6830" y="225267"/>
                              </a:cubicBezTo>
                              <a:cubicBezTo>
                                <a:pt x="7968" y="228682"/>
                                <a:pt x="9675" y="228682"/>
                                <a:pt x="11098" y="227259"/>
                              </a:cubicBezTo>
                              <a:lnTo>
                                <a:pt x="11181" y="227047"/>
                              </a:lnTo>
                              <a:lnTo>
                                <a:pt x="7169" y="225041"/>
                              </a:lnTo>
                              <a:lnTo>
                                <a:pt x="6830" y="225267"/>
                              </a:lnTo>
                              <a:lnTo>
                                <a:pt x="4210" y="222647"/>
                              </a:lnTo>
                              <a:lnTo>
                                <a:pt x="0" y="218438"/>
                              </a:lnTo>
                              <a:cubicBezTo>
                                <a:pt x="2276" y="218438"/>
                                <a:pt x="4553" y="220714"/>
                                <a:pt x="6830" y="222991"/>
                              </a:cubicBezTo>
                              <a:cubicBezTo>
                                <a:pt x="6830" y="220714"/>
                                <a:pt x="6830" y="218438"/>
                                <a:pt x="9106" y="218438"/>
                              </a:cubicBezTo>
                              <a:cubicBezTo>
                                <a:pt x="6830" y="216161"/>
                                <a:pt x="2276" y="220714"/>
                                <a:pt x="2276" y="216161"/>
                              </a:cubicBezTo>
                              <a:cubicBezTo>
                                <a:pt x="2276" y="218438"/>
                                <a:pt x="4553" y="218438"/>
                                <a:pt x="4553" y="216161"/>
                              </a:cubicBezTo>
                              <a:cubicBezTo>
                                <a:pt x="2276" y="216161"/>
                                <a:pt x="0" y="211608"/>
                                <a:pt x="4553" y="213885"/>
                              </a:cubicBezTo>
                              <a:lnTo>
                                <a:pt x="7588" y="213379"/>
                              </a:lnTo>
                              <a:lnTo>
                                <a:pt x="9106" y="213885"/>
                              </a:lnTo>
                              <a:cubicBezTo>
                                <a:pt x="11383" y="211608"/>
                                <a:pt x="15936" y="211608"/>
                                <a:pt x="20489" y="211608"/>
                              </a:cubicBezTo>
                              <a:lnTo>
                                <a:pt x="18213" y="211608"/>
                              </a:lnTo>
                              <a:lnTo>
                                <a:pt x="7588" y="213379"/>
                              </a:lnTo>
                              <a:lnTo>
                                <a:pt x="2276" y="211608"/>
                              </a:lnTo>
                              <a:cubicBezTo>
                                <a:pt x="6830" y="211608"/>
                                <a:pt x="4553" y="209332"/>
                                <a:pt x="2276" y="207055"/>
                              </a:cubicBezTo>
                              <a:cubicBezTo>
                                <a:pt x="4553" y="204779"/>
                                <a:pt x="4553" y="204779"/>
                                <a:pt x="2276" y="204779"/>
                              </a:cubicBezTo>
                              <a:lnTo>
                                <a:pt x="6830" y="204779"/>
                              </a:lnTo>
                              <a:cubicBezTo>
                                <a:pt x="13659" y="202502"/>
                                <a:pt x="2276" y="202502"/>
                                <a:pt x="9106" y="202502"/>
                              </a:cubicBezTo>
                              <a:cubicBezTo>
                                <a:pt x="6830" y="200226"/>
                                <a:pt x="4553" y="202502"/>
                                <a:pt x="2276" y="202502"/>
                              </a:cubicBezTo>
                              <a:cubicBezTo>
                                <a:pt x="4553" y="202502"/>
                                <a:pt x="6830" y="202502"/>
                                <a:pt x="9106" y="200226"/>
                              </a:cubicBezTo>
                              <a:cubicBezTo>
                                <a:pt x="6830" y="200226"/>
                                <a:pt x="2276" y="202502"/>
                                <a:pt x="2276" y="197949"/>
                              </a:cubicBezTo>
                              <a:cubicBezTo>
                                <a:pt x="2276" y="200226"/>
                                <a:pt x="4553" y="197949"/>
                                <a:pt x="6830" y="197949"/>
                              </a:cubicBezTo>
                              <a:cubicBezTo>
                                <a:pt x="0" y="197949"/>
                                <a:pt x="9106" y="195673"/>
                                <a:pt x="9106" y="195673"/>
                              </a:cubicBezTo>
                              <a:cubicBezTo>
                                <a:pt x="11383" y="195673"/>
                                <a:pt x="13659" y="195673"/>
                                <a:pt x="13659" y="195673"/>
                              </a:cubicBezTo>
                              <a:cubicBezTo>
                                <a:pt x="15936" y="195673"/>
                                <a:pt x="20489" y="195673"/>
                                <a:pt x="18213" y="197949"/>
                              </a:cubicBezTo>
                              <a:cubicBezTo>
                                <a:pt x="18213" y="195673"/>
                                <a:pt x="29595" y="195673"/>
                                <a:pt x="31872" y="195673"/>
                              </a:cubicBezTo>
                              <a:cubicBezTo>
                                <a:pt x="29595" y="195673"/>
                                <a:pt x="27319" y="195673"/>
                                <a:pt x="22766" y="195673"/>
                              </a:cubicBezTo>
                              <a:cubicBezTo>
                                <a:pt x="22766" y="195673"/>
                                <a:pt x="11383" y="195673"/>
                                <a:pt x="15936" y="195673"/>
                              </a:cubicBezTo>
                              <a:cubicBezTo>
                                <a:pt x="13659" y="195673"/>
                                <a:pt x="6830" y="195673"/>
                                <a:pt x="4553" y="193396"/>
                              </a:cubicBezTo>
                              <a:cubicBezTo>
                                <a:pt x="6830" y="193396"/>
                                <a:pt x="6830" y="193396"/>
                                <a:pt x="9106" y="193396"/>
                              </a:cubicBezTo>
                              <a:cubicBezTo>
                                <a:pt x="11383" y="191120"/>
                                <a:pt x="11383" y="191120"/>
                                <a:pt x="11383" y="191120"/>
                              </a:cubicBezTo>
                              <a:cubicBezTo>
                                <a:pt x="9106" y="191120"/>
                                <a:pt x="11383" y="186567"/>
                                <a:pt x="13659" y="191120"/>
                              </a:cubicBezTo>
                              <a:cubicBezTo>
                                <a:pt x="15936" y="188843"/>
                                <a:pt x="18213" y="186567"/>
                                <a:pt x="18213" y="188843"/>
                              </a:cubicBezTo>
                              <a:cubicBezTo>
                                <a:pt x="18213" y="191120"/>
                                <a:pt x="22766" y="191120"/>
                                <a:pt x="25042" y="191120"/>
                              </a:cubicBezTo>
                              <a:cubicBezTo>
                                <a:pt x="22766" y="191120"/>
                                <a:pt x="18213" y="188843"/>
                                <a:pt x="20489" y="186567"/>
                              </a:cubicBezTo>
                              <a:cubicBezTo>
                                <a:pt x="25042" y="184290"/>
                                <a:pt x="25042" y="186567"/>
                                <a:pt x="29595" y="188843"/>
                              </a:cubicBezTo>
                              <a:cubicBezTo>
                                <a:pt x="22766" y="177461"/>
                                <a:pt x="40978" y="186567"/>
                                <a:pt x="34149" y="191120"/>
                              </a:cubicBezTo>
                              <a:cubicBezTo>
                                <a:pt x="36425" y="191120"/>
                                <a:pt x="36425" y="191120"/>
                                <a:pt x="38702" y="188843"/>
                              </a:cubicBezTo>
                              <a:cubicBezTo>
                                <a:pt x="36425" y="188843"/>
                                <a:pt x="36425" y="188843"/>
                                <a:pt x="38702" y="186567"/>
                              </a:cubicBezTo>
                              <a:cubicBezTo>
                                <a:pt x="38702" y="186567"/>
                                <a:pt x="40978" y="186567"/>
                                <a:pt x="43255" y="186567"/>
                              </a:cubicBezTo>
                              <a:cubicBezTo>
                                <a:pt x="36425" y="186567"/>
                                <a:pt x="36425" y="184290"/>
                                <a:pt x="34149" y="182014"/>
                              </a:cubicBezTo>
                              <a:lnTo>
                                <a:pt x="31872" y="182014"/>
                              </a:lnTo>
                              <a:cubicBezTo>
                                <a:pt x="29595" y="179737"/>
                                <a:pt x="27319" y="182014"/>
                                <a:pt x="25042" y="179737"/>
                              </a:cubicBezTo>
                              <a:cubicBezTo>
                                <a:pt x="27319" y="179737"/>
                                <a:pt x="31872" y="177461"/>
                                <a:pt x="36425" y="179737"/>
                              </a:cubicBezTo>
                              <a:lnTo>
                                <a:pt x="43255" y="179737"/>
                              </a:lnTo>
                              <a:cubicBezTo>
                                <a:pt x="45532" y="175185"/>
                                <a:pt x="52362" y="175185"/>
                                <a:pt x="54638" y="177461"/>
                              </a:cubicBezTo>
                              <a:cubicBezTo>
                                <a:pt x="52362" y="172908"/>
                                <a:pt x="45532" y="179737"/>
                                <a:pt x="43255" y="177461"/>
                              </a:cubicBezTo>
                              <a:cubicBezTo>
                                <a:pt x="43255" y="175185"/>
                                <a:pt x="45532" y="175185"/>
                                <a:pt x="47808" y="175185"/>
                              </a:cubicBezTo>
                              <a:lnTo>
                                <a:pt x="40978" y="175185"/>
                              </a:lnTo>
                              <a:cubicBezTo>
                                <a:pt x="38702" y="175185"/>
                                <a:pt x="36425" y="172908"/>
                                <a:pt x="36425" y="172908"/>
                              </a:cubicBezTo>
                              <a:cubicBezTo>
                                <a:pt x="38702" y="170632"/>
                                <a:pt x="40978" y="170632"/>
                                <a:pt x="43255" y="172908"/>
                              </a:cubicBezTo>
                              <a:cubicBezTo>
                                <a:pt x="45532" y="172908"/>
                                <a:pt x="47808" y="170632"/>
                                <a:pt x="50085" y="170632"/>
                              </a:cubicBezTo>
                              <a:cubicBezTo>
                                <a:pt x="52362" y="172908"/>
                                <a:pt x="54638" y="170632"/>
                                <a:pt x="54638" y="172908"/>
                              </a:cubicBezTo>
                              <a:cubicBezTo>
                                <a:pt x="54638" y="175185"/>
                                <a:pt x="59191" y="175185"/>
                                <a:pt x="61468" y="177461"/>
                              </a:cubicBezTo>
                              <a:cubicBezTo>
                                <a:pt x="59191" y="172908"/>
                                <a:pt x="54638" y="172908"/>
                                <a:pt x="52362" y="168355"/>
                              </a:cubicBezTo>
                              <a:cubicBezTo>
                                <a:pt x="54638" y="168355"/>
                                <a:pt x="56915" y="170632"/>
                                <a:pt x="56915" y="170632"/>
                              </a:cubicBezTo>
                              <a:cubicBezTo>
                                <a:pt x="59191" y="172908"/>
                                <a:pt x="59191" y="172908"/>
                                <a:pt x="63744" y="172908"/>
                              </a:cubicBezTo>
                              <a:cubicBezTo>
                                <a:pt x="59191" y="172908"/>
                                <a:pt x="61468" y="170632"/>
                                <a:pt x="63744" y="170632"/>
                              </a:cubicBezTo>
                              <a:lnTo>
                                <a:pt x="61468" y="170632"/>
                              </a:lnTo>
                              <a:cubicBezTo>
                                <a:pt x="61468" y="170632"/>
                                <a:pt x="54638" y="168355"/>
                                <a:pt x="59191" y="168355"/>
                              </a:cubicBezTo>
                              <a:cubicBezTo>
                                <a:pt x="61468" y="166078"/>
                                <a:pt x="66021" y="166078"/>
                                <a:pt x="68298" y="166078"/>
                              </a:cubicBezTo>
                              <a:cubicBezTo>
                                <a:pt x="66021" y="166078"/>
                                <a:pt x="63744" y="166078"/>
                                <a:pt x="63744" y="166078"/>
                              </a:cubicBezTo>
                              <a:cubicBezTo>
                                <a:pt x="63744" y="163802"/>
                                <a:pt x="63744" y="163802"/>
                                <a:pt x="66021" y="163802"/>
                              </a:cubicBezTo>
                              <a:cubicBezTo>
                                <a:pt x="66021" y="161525"/>
                                <a:pt x="68298" y="161525"/>
                                <a:pt x="68298" y="161525"/>
                              </a:cubicBezTo>
                              <a:cubicBezTo>
                                <a:pt x="70574" y="161525"/>
                                <a:pt x="72851" y="161525"/>
                                <a:pt x="70574" y="163802"/>
                              </a:cubicBezTo>
                              <a:cubicBezTo>
                                <a:pt x="72851" y="163802"/>
                                <a:pt x="75127" y="163802"/>
                                <a:pt x="77404" y="161525"/>
                              </a:cubicBezTo>
                              <a:cubicBezTo>
                                <a:pt x="75127" y="161525"/>
                                <a:pt x="75127" y="161525"/>
                                <a:pt x="72851" y="161525"/>
                              </a:cubicBezTo>
                              <a:cubicBezTo>
                                <a:pt x="75127" y="159249"/>
                                <a:pt x="77404" y="159249"/>
                                <a:pt x="81957" y="156973"/>
                              </a:cubicBezTo>
                              <a:cubicBezTo>
                                <a:pt x="84234" y="156973"/>
                                <a:pt x="88787" y="161525"/>
                                <a:pt x="84234" y="163802"/>
                              </a:cubicBezTo>
                              <a:cubicBezTo>
                                <a:pt x="86510" y="163802"/>
                                <a:pt x="88787" y="163802"/>
                                <a:pt x="91063" y="163802"/>
                              </a:cubicBezTo>
                              <a:cubicBezTo>
                                <a:pt x="84234" y="161525"/>
                                <a:pt x="91063" y="161525"/>
                                <a:pt x="93340" y="161525"/>
                              </a:cubicBezTo>
                              <a:cubicBezTo>
                                <a:pt x="95617" y="161525"/>
                                <a:pt x="97893" y="161525"/>
                                <a:pt x="100170" y="161525"/>
                              </a:cubicBezTo>
                              <a:cubicBezTo>
                                <a:pt x="97893" y="159249"/>
                                <a:pt x="100170" y="159249"/>
                                <a:pt x="102446" y="159249"/>
                              </a:cubicBezTo>
                              <a:cubicBezTo>
                                <a:pt x="100170" y="159249"/>
                                <a:pt x="97893" y="159249"/>
                                <a:pt x="97893" y="159249"/>
                              </a:cubicBezTo>
                              <a:cubicBezTo>
                                <a:pt x="100170" y="156973"/>
                                <a:pt x="104723" y="154696"/>
                                <a:pt x="109276" y="154696"/>
                              </a:cubicBezTo>
                              <a:cubicBezTo>
                                <a:pt x="109276" y="152420"/>
                                <a:pt x="107000" y="152420"/>
                                <a:pt x="104723" y="152420"/>
                              </a:cubicBezTo>
                              <a:cubicBezTo>
                                <a:pt x="107000" y="150143"/>
                                <a:pt x="109276" y="150143"/>
                                <a:pt x="111553" y="147867"/>
                              </a:cubicBezTo>
                              <a:cubicBezTo>
                                <a:pt x="109276" y="147867"/>
                                <a:pt x="104723" y="150143"/>
                                <a:pt x="109276" y="147867"/>
                              </a:cubicBezTo>
                              <a:lnTo>
                                <a:pt x="102271" y="150668"/>
                              </a:lnTo>
                              <a:lnTo>
                                <a:pt x="102446" y="150143"/>
                              </a:lnTo>
                              <a:cubicBezTo>
                                <a:pt x="100170" y="152420"/>
                                <a:pt x="100170" y="152420"/>
                                <a:pt x="97893" y="152420"/>
                              </a:cubicBezTo>
                              <a:lnTo>
                                <a:pt x="102271" y="150668"/>
                              </a:lnTo>
                              <a:lnTo>
                                <a:pt x="100739" y="155265"/>
                              </a:lnTo>
                              <a:cubicBezTo>
                                <a:pt x="99031" y="156403"/>
                                <a:pt x="96755" y="156973"/>
                                <a:pt x="95617" y="156973"/>
                              </a:cubicBezTo>
                              <a:cubicBezTo>
                                <a:pt x="88787" y="159249"/>
                                <a:pt x="86510" y="161525"/>
                                <a:pt x="84234" y="156973"/>
                              </a:cubicBezTo>
                              <a:cubicBezTo>
                                <a:pt x="86510" y="156973"/>
                                <a:pt x="86510" y="154696"/>
                                <a:pt x="88787" y="154696"/>
                              </a:cubicBezTo>
                              <a:cubicBezTo>
                                <a:pt x="84234" y="154696"/>
                                <a:pt x="81957" y="154696"/>
                                <a:pt x="79681" y="156973"/>
                              </a:cubicBezTo>
                              <a:cubicBezTo>
                                <a:pt x="81957" y="154696"/>
                                <a:pt x="81957" y="154696"/>
                                <a:pt x="79681" y="154696"/>
                              </a:cubicBezTo>
                              <a:cubicBezTo>
                                <a:pt x="81957" y="152420"/>
                                <a:pt x="86510" y="150143"/>
                                <a:pt x="91063" y="150143"/>
                              </a:cubicBezTo>
                              <a:lnTo>
                                <a:pt x="88787" y="150143"/>
                              </a:lnTo>
                              <a:cubicBezTo>
                                <a:pt x="84234" y="150143"/>
                                <a:pt x="88787" y="147867"/>
                                <a:pt x="88787" y="147867"/>
                              </a:cubicBezTo>
                              <a:cubicBezTo>
                                <a:pt x="91063" y="145590"/>
                                <a:pt x="91063" y="143314"/>
                                <a:pt x="93340" y="145590"/>
                              </a:cubicBezTo>
                              <a:cubicBezTo>
                                <a:pt x="91063" y="138761"/>
                                <a:pt x="102446" y="141037"/>
                                <a:pt x="102446" y="136484"/>
                              </a:cubicBezTo>
                              <a:lnTo>
                                <a:pt x="106227" y="138374"/>
                              </a:lnTo>
                              <a:lnTo>
                                <a:pt x="104775" y="136923"/>
                              </a:lnTo>
                              <a:cubicBezTo>
                                <a:pt x="107157" y="136923"/>
                                <a:pt x="109538" y="139304"/>
                                <a:pt x="109538" y="139304"/>
                              </a:cubicBezTo>
                              <a:cubicBezTo>
                                <a:pt x="109538" y="139304"/>
                                <a:pt x="109538" y="139304"/>
                                <a:pt x="107157" y="139304"/>
                              </a:cubicBezTo>
                              <a:lnTo>
                                <a:pt x="107000" y="139147"/>
                              </a:lnTo>
                              <a:lnTo>
                                <a:pt x="107000" y="141037"/>
                              </a:lnTo>
                              <a:cubicBezTo>
                                <a:pt x="109276" y="141037"/>
                                <a:pt x="111553" y="138761"/>
                                <a:pt x="113829" y="138761"/>
                              </a:cubicBezTo>
                              <a:cubicBezTo>
                                <a:pt x="109276" y="138761"/>
                                <a:pt x="111553" y="136484"/>
                                <a:pt x="113829" y="136484"/>
                              </a:cubicBezTo>
                              <a:lnTo>
                                <a:pt x="109538" y="136484"/>
                              </a:lnTo>
                              <a:lnTo>
                                <a:pt x="109538" y="136922"/>
                              </a:lnTo>
                              <a:cubicBezTo>
                                <a:pt x="107157" y="136922"/>
                                <a:pt x="107157" y="134541"/>
                                <a:pt x="107157" y="134541"/>
                              </a:cubicBezTo>
                              <a:cubicBezTo>
                                <a:pt x="107157" y="134541"/>
                                <a:pt x="107157" y="134541"/>
                                <a:pt x="109538" y="134541"/>
                              </a:cubicBezTo>
                              <a:lnTo>
                                <a:pt x="109538" y="136310"/>
                              </a:lnTo>
                              <a:lnTo>
                                <a:pt x="116106" y="131931"/>
                              </a:lnTo>
                              <a:cubicBezTo>
                                <a:pt x="116106" y="131931"/>
                                <a:pt x="113829" y="131931"/>
                                <a:pt x="113829" y="131931"/>
                              </a:cubicBezTo>
                              <a:cubicBezTo>
                                <a:pt x="116106" y="129655"/>
                                <a:pt x="122936" y="127378"/>
                                <a:pt x="127489" y="129655"/>
                              </a:cubicBezTo>
                              <a:cubicBezTo>
                                <a:pt x="120659" y="125102"/>
                                <a:pt x="113829" y="131931"/>
                                <a:pt x="107000" y="131931"/>
                              </a:cubicBezTo>
                              <a:cubicBezTo>
                                <a:pt x="109276" y="129655"/>
                                <a:pt x="111553" y="129655"/>
                                <a:pt x="113829" y="129655"/>
                              </a:cubicBezTo>
                              <a:cubicBezTo>
                                <a:pt x="107000" y="127378"/>
                                <a:pt x="120659" y="127378"/>
                                <a:pt x="113829" y="127378"/>
                              </a:cubicBezTo>
                              <a:cubicBezTo>
                                <a:pt x="116106" y="127378"/>
                                <a:pt x="116106" y="127378"/>
                                <a:pt x="118382" y="125102"/>
                              </a:cubicBezTo>
                              <a:lnTo>
                                <a:pt x="120659" y="125102"/>
                              </a:lnTo>
                              <a:lnTo>
                                <a:pt x="119400" y="124811"/>
                              </a:lnTo>
                              <a:lnTo>
                                <a:pt x="127489" y="122500"/>
                              </a:lnTo>
                              <a:lnTo>
                                <a:pt x="127489" y="122825"/>
                              </a:lnTo>
                              <a:cubicBezTo>
                                <a:pt x="122936" y="125102"/>
                                <a:pt x="127489" y="125102"/>
                                <a:pt x="129765" y="122825"/>
                              </a:cubicBezTo>
                              <a:cubicBezTo>
                                <a:pt x="132042" y="122825"/>
                                <a:pt x="132042" y="122825"/>
                                <a:pt x="134318" y="120549"/>
                              </a:cubicBezTo>
                              <a:lnTo>
                                <a:pt x="127489" y="122500"/>
                              </a:lnTo>
                              <a:lnTo>
                                <a:pt x="127489" y="120549"/>
                              </a:lnTo>
                              <a:cubicBezTo>
                                <a:pt x="125212" y="120549"/>
                                <a:pt x="122936" y="120549"/>
                                <a:pt x="122936" y="122825"/>
                              </a:cubicBezTo>
                              <a:cubicBezTo>
                                <a:pt x="120659" y="120549"/>
                                <a:pt x="122936" y="115996"/>
                                <a:pt x="125212" y="115996"/>
                              </a:cubicBezTo>
                              <a:cubicBezTo>
                                <a:pt x="127489" y="118272"/>
                                <a:pt x="127489" y="118272"/>
                                <a:pt x="127489" y="118272"/>
                              </a:cubicBezTo>
                              <a:cubicBezTo>
                                <a:pt x="127489" y="120549"/>
                                <a:pt x="129765" y="118272"/>
                                <a:pt x="132042" y="118272"/>
                              </a:cubicBezTo>
                              <a:cubicBezTo>
                                <a:pt x="127489" y="115996"/>
                                <a:pt x="127489" y="115996"/>
                                <a:pt x="127489" y="115996"/>
                              </a:cubicBezTo>
                              <a:cubicBezTo>
                                <a:pt x="122936" y="111443"/>
                                <a:pt x="129765" y="113719"/>
                                <a:pt x="132042" y="113719"/>
                              </a:cubicBezTo>
                              <a:cubicBezTo>
                                <a:pt x="125212" y="111443"/>
                                <a:pt x="132042" y="104613"/>
                                <a:pt x="138872" y="109166"/>
                              </a:cubicBezTo>
                              <a:lnTo>
                                <a:pt x="129779" y="104620"/>
                              </a:lnTo>
                              <a:lnTo>
                                <a:pt x="129779" y="104776"/>
                              </a:lnTo>
                              <a:cubicBezTo>
                                <a:pt x="126207" y="107157"/>
                                <a:pt x="126207" y="100013"/>
                                <a:pt x="129779" y="102394"/>
                              </a:cubicBezTo>
                              <a:lnTo>
                                <a:pt x="129779" y="104611"/>
                              </a:lnTo>
                              <a:lnTo>
                                <a:pt x="141148" y="102337"/>
                              </a:lnTo>
                              <a:cubicBezTo>
                                <a:pt x="143425" y="100061"/>
                                <a:pt x="141148" y="102337"/>
                                <a:pt x="143425" y="102337"/>
                              </a:cubicBezTo>
                              <a:cubicBezTo>
                                <a:pt x="145701" y="104613"/>
                                <a:pt x="145701" y="102337"/>
                                <a:pt x="147978" y="102337"/>
                              </a:cubicBezTo>
                              <a:cubicBezTo>
                                <a:pt x="143425" y="102337"/>
                                <a:pt x="152531" y="100061"/>
                                <a:pt x="152531" y="100061"/>
                              </a:cubicBezTo>
                              <a:cubicBezTo>
                                <a:pt x="147978" y="100061"/>
                                <a:pt x="141148" y="100061"/>
                                <a:pt x="136595" y="102337"/>
                              </a:cubicBezTo>
                              <a:cubicBezTo>
                                <a:pt x="136595" y="100061"/>
                                <a:pt x="141148" y="100061"/>
                                <a:pt x="143425" y="100061"/>
                              </a:cubicBezTo>
                              <a:cubicBezTo>
                                <a:pt x="141148" y="100061"/>
                                <a:pt x="138872" y="100061"/>
                                <a:pt x="136595" y="100061"/>
                              </a:cubicBezTo>
                              <a:cubicBezTo>
                                <a:pt x="138872" y="97784"/>
                                <a:pt x="136595" y="95508"/>
                                <a:pt x="136595" y="95508"/>
                              </a:cubicBezTo>
                              <a:cubicBezTo>
                                <a:pt x="136595" y="93231"/>
                                <a:pt x="138872" y="95508"/>
                                <a:pt x="141148" y="95508"/>
                              </a:cubicBezTo>
                              <a:cubicBezTo>
                                <a:pt x="147978" y="93231"/>
                                <a:pt x="147978" y="93231"/>
                                <a:pt x="147978" y="93231"/>
                              </a:cubicBezTo>
                              <a:lnTo>
                                <a:pt x="143425" y="93231"/>
                              </a:lnTo>
                              <a:cubicBezTo>
                                <a:pt x="141148" y="90955"/>
                                <a:pt x="141148" y="90955"/>
                                <a:pt x="138872" y="90955"/>
                              </a:cubicBezTo>
                              <a:lnTo>
                                <a:pt x="145132" y="90955"/>
                              </a:lnTo>
                              <a:lnTo>
                                <a:pt x="145701" y="90955"/>
                              </a:lnTo>
                              <a:cubicBezTo>
                                <a:pt x="141148" y="88678"/>
                                <a:pt x="150255" y="88678"/>
                                <a:pt x="150255" y="88678"/>
                              </a:cubicBezTo>
                              <a:cubicBezTo>
                                <a:pt x="147978" y="88678"/>
                                <a:pt x="145701" y="86402"/>
                                <a:pt x="143425" y="86402"/>
                              </a:cubicBezTo>
                              <a:cubicBezTo>
                                <a:pt x="145701" y="86402"/>
                                <a:pt x="147978" y="84125"/>
                                <a:pt x="150255" y="84125"/>
                              </a:cubicBezTo>
                              <a:lnTo>
                                <a:pt x="154808" y="84125"/>
                              </a:lnTo>
                              <a:cubicBezTo>
                                <a:pt x="157084" y="79572"/>
                                <a:pt x="166191" y="79572"/>
                                <a:pt x="166191" y="81849"/>
                              </a:cubicBezTo>
                              <a:cubicBezTo>
                                <a:pt x="168467" y="79572"/>
                                <a:pt x="173020" y="79572"/>
                                <a:pt x="173020" y="81849"/>
                              </a:cubicBezTo>
                              <a:cubicBezTo>
                                <a:pt x="173020" y="79572"/>
                                <a:pt x="175297" y="79572"/>
                                <a:pt x="177574" y="79572"/>
                              </a:cubicBezTo>
                              <a:cubicBezTo>
                                <a:pt x="173020" y="79572"/>
                                <a:pt x="170744" y="79572"/>
                                <a:pt x="168467" y="79572"/>
                              </a:cubicBezTo>
                              <a:cubicBezTo>
                                <a:pt x="163914" y="79572"/>
                                <a:pt x="161637" y="79572"/>
                                <a:pt x="157084" y="79572"/>
                              </a:cubicBezTo>
                              <a:cubicBezTo>
                                <a:pt x="159361" y="77296"/>
                                <a:pt x="159361" y="77296"/>
                                <a:pt x="161637" y="75019"/>
                              </a:cubicBezTo>
                              <a:cubicBezTo>
                                <a:pt x="163914" y="72743"/>
                                <a:pt x="166191" y="72743"/>
                                <a:pt x="168467" y="72743"/>
                              </a:cubicBezTo>
                              <a:cubicBezTo>
                                <a:pt x="168467" y="75019"/>
                                <a:pt x="166191" y="75019"/>
                                <a:pt x="166191" y="75019"/>
                              </a:cubicBezTo>
                              <a:cubicBezTo>
                                <a:pt x="168467" y="75019"/>
                                <a:pt x="170744" y="75019"/>
                                <a:pt x="173020" y="75019"/>
                              </a:cubicBezTo>
                              <a:cubicBezTo>
                                <a:pt x="173020" y="75019"/>
                                <a:pt x="175297" y="77296"/>
                                <a:pt x="177574" y="77296"/>
                              </a:cubicBezTo>
                              <a:cubicBezTo>
                                <a:pt x="173020" y="77296"/>
                                <a:pt x="177574" y="72743"/>
                                <a:pt x="179850" y="72743"/>
                              </a:cubicBezTo>
                              <a:cubicBezTo>
                                <a:pt x="177574" y="72743"/>
                                <a:pt x="173020" y="75019"/>
                                <a:pt x="170744" y="72743"/>
                              </a:cubicBezTo>
                              <a:cubicBezTo>
                                <a:pt x="177574" y="72743"/>
                                <a:pt x="166191" y="72743"/>
                                <a:pt x="170744" y="70466"/>
                              </a:cubicBezTo>
                              <a:lnTo>
                                <a:pt x="175012" y="70466"/>
                              </a:lnTo>
                              <a:cubicBezTo>
                                <a:pt x="173590" y="70466"/>
                                <a:pt x="173020" y="70466"/>
                                <a:pt x="175297" y="70466"/>
                              </a:cubicBezTo>
                              <a:lnTo>
                                <a:pt x="179850" y="70466"/>
                              </a:lnTo>
                              <a:cubicBezTo>
                                <a:pt x="175297" y="65913"/>
                                <a:pt x="168467" y="70466"/>
                                <a:pt x="163914" y="70466"/>
                              </a:cubicBezTo>
                              <a:cubicBezTo>
                                <a:pt x="163914" y="70466"/>
                                <a:pt x="166191" y="68190"/>
                                <a:pt x="168467" y="68190"/>
                              </a:cubicBezTo>
                              <a:cubicBezTo>
                                <a:pt x="161637" y="65913"/>
                                <a:pt x="173020" y="65913"/>
                                <a:pt x="175297" y="65913"/>
                              </a:cubicBezTo>
                              <a:cubicBezTo>
                                <a:pt x="175297" y="65913"/>
                                <a:pt x="179850" y="65913"/>
                                <a:pt x="182127" y="63637"/>
                              </a:cubicBezTo>
                              <a:cubicBezTo>
                                <a:pt x="177574" y="61360"/>
                                <a:pt x="175297" y="63637"/>
                                <a:pt x="170744" y="63637"/>
                              </a:cubicBezTo>
                              <a:cubicBezTo>
                                <a:pt x="173020" y="61360"/>
                                <a:pt x="175297" y="61360"/>
                                <a:pt x="177574" y="61360"/>
                              </a:cubicBezTo>
                              <a:cubicBezTo>
                                <a:pt x="173020" y="65913"/>
                                <a:pt x="179850" y="59084"/>
                                <a:pt x="182127" y="59084"/>
                              </a:cubicBezTo>
                              <a:cubicBezTo>
                                <a:pt x="184403" y="61360"/>
                                <a:pt x="184403" y="68190"/>
                                <a:pt x="188956" y="65913"/>
                              </a:cubicBezTo>
                              <a:cubicBezTo>
                                <a:pt x="186680" y="65913"/>
                                <a:pt x="184403" y="65913"/>
                                <a:pt x="184403" y="63637"/>
                              </a:cubicBezTo>
                              <a:cubicBezTo>
                                <a:pt x="186680" y="63637"/>
                                <a:pt x="193510" y="65913"/>
                                <a:pt x="186680" y="63637"/>
                              </a:cubicBezTo>
                              <a:cubicBezTo>
                                <a:pt x="188956" y="65913"/>
                                <a:pt x="188956" y="63637"/>
                                <a:pt x="188956" y="61360"/>
                              </a:cubicBezTo>
                              <a:lnTo>
                                <a:pt x="186680" y="61360"/>
                              </a:lnTo>
                              <a:cubicBezTo>
                                <a:pt x="186680" y="61360"/>
                                <a:pt x="188956" y="59084"/>
                                <a:pt x="188956" y="59084"/>
                              </a:cubicBezTo>
                              <a:cubicBezTo>
                                <a:pt x="186680" y="59084"/>
                                <a:pt x="186680" y="59084"/>
                                <a:pt x="184403" y="59084"/>
                              </a:cubicBezTo>
                              <a:cubicBezTo>
                                <a:pt x="186680" y="59084"/>
                                <a:pt x="186680" y="59084"/>
                                <a:pt x="184403" y="56807"/>
                              </a:cubicBezTo>
                              <a:cubicBezTo>
                                <a:pt x="186680" y="59084"/>
                                <a:pt x="191233" y="59084"/>
                                <a:pt x="193510" y="61360"/>
                              </a:cubicBezTo>
                              <a:cubicBezTo>
                                <a:pt x="191233" y="59084"/>
                                <a:pt x="188956" y="59084"/>
                                <a:pt x="186680" y="56807"/>
                              </a:cubicBezTo>
                              <a:cubicBezTo>
                                <a:pt x="188956" y="56807"/>
                                <a:pt x="193510" y="54531"/>
                                <a:pt x="195786" y="56807"/>
                              </a:cubicBezTo>
                              <a:cubicBezTo>
                                <a:pt x="198063" y="56807"/>
                                <a:pt x="198063" y="56807"/>
                                <a:pt x="200339" y="56807"/>
                              </a:cubicBezTo>
                              <a:cubicBezTo>
                                <a:pt x="202616" y="56807"/>
                                <a:pt x="200339" y="59084"/>
                                <a:pt x="202616" y="59084"/>
                              </a:cubicBezTo>
                              <a:cubicBezTo>
                                <a:pt x="202616" y="59084"/>
                                <a:pt x="202616" y="56807"/>
                                <a:pt x="202616" y="56807"/>
                              </a:cubicBezTo>
                              <a:cubicBezTo>
                                <a:pt x="202616" y="54531"/>
                                <a:pt x="204893" y="56807"/>
                                <a:pt x="207169" y="56807"/>
                              </a:cubicBezTo>
                              <a:cubicBezTo>
                                <a:pt x="200339" y="54531"/>
                                <a:pt x="209446" y="54531"/>
                                <a:pt x="209446" y="54531"/>
                              </a:cubicBezTo>
                              <a:cubicBezTo>
                                <a:pt x="207169" y="54531"/>
                                <a:pt x="202616" y="54531"/>
                                <a:pt x="198063" y="54531"/>
                              </a:cubicBezTo>
                              <a:cubicBezTo>
                                <a:pt x="195786" y="54531"/>
                                <a:pt x="191233" y="54531"/>
                                <a:pt x="188956" y="54531"/>
                              </a:cubicBezTo>
                              <a:cubicBezTo>
                                <a:pt x="191233" y="52254"/>
                                <a:pt x="191233" y="49978"/>
                                <a:pt x="193510" y="49978"/>
                              </a:cubicBezTo>
                              <a:cubicBezTo>
                                <a:pt x="198063" y="49978"/>
                                <a:pt x="202616" y="49978"/>
                                <a:pt x="204893" y="49978"/>
                              </a:cubicBezTo>
                              <a:cubicBezTo>
                                <a:pt x="204893" y="49978"/>
                                <a:pt x="202616" y="47701"/>
                                <a:pt x="202616" y="47701"/>
                              </a:cubicBezTo>
                              <a:cubicBezTo>
                                <a:pt x="202616" y="47701"/>
                                <a:pt x="204893" y="47701"/>
                                <a:pt x="207169" y="47701"/>
                              </a:cubicBezTo>
                              <a:cubicBezTo>
                                <a:pt x="204893" y="47701"/>
                                <a:pt x="204893" y="45425"/>
                                <a:pt x="207169" y="45425"/>
                              </a:cubicBezTo>
                              <a:cubicBezTo>
                                <a:pt x="202616" y="45425"/>
                                <a:pt x="209446" y="38596"/>
                                <a:pt x="213999" y="40872"/>
                              </a:cubicBezTo>
                              <a:cubicBezTo>
                                <a:pt x="207169" y="36319"/>
                                <a:pt x="220829" y="29490"/>
                                <a:pt x="218552" y="38596"/>
                              </a:cubicBezTo>
                              <a:cubicBezTo>
                                <a:pt x="220829" y="34043"/>
                                <a:pt x="223105" y="36319"/>
                                <a:pt x="227658" y="36319"/>
                              </a:cubicBezTo>
                              <a:lnTo>
                                <a:pt x="219813" y="32397"/>
                              </a:lnTo>
                              <a:lnTo>
                                <a:pt x="219395" y="32743"/>
                              </a:lnTo>
                              <a:cubicBezTo>
                                <a:pt x="216908" y="32743"/>
                                <a:pt x="214143" y="32148"/>
                                <a:pt x="214143" y="32148"/>
                              </a:cubicBezTo>
                              <a:lnTo>
                                <a:pt x="217239" y="30481"/>
                              </a:lnTo>
                              <a:lnTo>
                                <a:pt x="220777" y="29766"/>
                              </a:lnTo>
                              <a:cubicBezTo>
                                <a:pt x="216355" y="29766"/>
                                <a:pt x="218566" y="27385"/>
                                <a:pt x="220777" y="27385"/>
                              </a:cubicBezTo>
                              <a:lnTo>
                                <a:pt x="220777" y="25004"/>
                              </a:lnTo>
                              <a:cubicBezTo>
                                <a:pt x="222989" y="25004"/>
                                <a:pt x="225200" y="27385"/>
                                <a:pt x="227411" y="27385"/>
                              </a:cubicBezTo>
                              <a:cubicBezTo>
                                <a:pt x="225200" y="27385"/>
                                <a:pt x="225200" y="29766"/>
                                <a:pt x="222989" y="29766"/>
                              </a:cubicBezTo>
                              <a:lnTo>
                                <a:pt x="219994" y="32247"/>
                              </a:lnTo>
                              <a:lnTo>
                                <a:pt x="225382" y="34043"/>
                              </a:lnTo>
                              <a:cubicBezTo>
                                <a:pt x="227658" y="36319"/>
                                <a:pt x="234488" y="36319"/>
                                <a:pt x="232212" y="38596"/>
                              </a:cubicBezTo>
                              <a:cubicBezTo>
                                <a:pt x="234488" y="38596"/>
                                <a:pt x="234488" y="36319"/>
                                <a:pt x="232212" y="36319"/>
                              </a:cubicBezTo>
                              <a:cubicBezTo>
                                <a:pt x="229935" y="36319"/>
                                <a:pt x="227658" y="36319"/>
                                <a:pt x="227658" y="34043"/>
                              </a:cubicBezTo>
                              <a:cubicBezTo>
                                <a:pt x="227658" y="31766"/>
                                <a:pt x="229935" y="31766"/>
                                <a:pt x="229935" y="31766"/>
                              </a:cubicBezTo>
                              <a:cubicBezTo>
                                <a:pt x="229935" y="31766"/>
                                <a:pt x="227658" y="31766"/>
                                <a:pt x="225382" y="31766"/>
                              </a:cubicBezTo>
                              <a:cubicBezTo>
                                <a:pt x="225382" y="27213"/>
                                <a:pt x="234488" y="27213"/>
                                <a:pt x="236765" y="27213"/>
                              </a:cubicBezTo>
                              <a:cubicBezTo>
                                <a:pt x="236765" y="29490"/>
                                <a:pt x="236765" y="31766"/>
                                <a:pt x="236765" y="34043"/>
                              </a:cubicBezTo>
                              <a:cubicBezTo>
                                <a:pt x="239041" y="34043"/>
                                <a:pt x="239041" y="29490"/>
                                <a:pt x="241318" y="31766"/>
                              </a:cubicBezTo>
                              <a:cubicBezTo>
                                <a:pt x="236765" y="31766"/>
                                <a:pt x="241318" y="24937"/>
                                <a:pt x="241318" y="27213"/>
                              </a:cubicBezTo>
                              <a:cubicBezTo>
                                <a:pt x="243594" y="24937"/>
                                <a:pt x="245871" y="24937"/>
                                <a:pt x="245871" y="22660"/>
                              </a:cubicBezTo>
                              <a:cubicBezTo>
                                <a:pt x="250424" y="24937"/>
                                <a:pt x="243594" y="36319"/>
                                <a:pt x="241318" y="38596"/>
                              </a:cubicBezTo>
                              <a:cubicBezTo>
                                <a:pt x="243594" y="36319"/>
                                <a:pt x="248148" y="36319"/>
                                <a:pt x="248148" y="31766"/>
                              </a:cubicBezTo>
                              <a:cubicBezTo>
                                <a:pt x="250424" y="29490"/>
                                <a:pt x="252701" y="34043"/>
                                <a:pt x="254977" y="34043"/>
                              </a:cubicBezTo>
                              <a:cubicBezTo>
                                <a:pt x="251563" y="32904"/>
                                <a:pt x="250993" y="30628"/>
                                <a:pt x="251847" y="28636"/>
                              </a:cubicBezTo>
                              <a:lnTo>
                                <a:pt x="256043" y="25765"/>
                              </a:lnTo>
                              <a:lnTo>
                                <a:pt x="257538" y="26929"/>
                              </a:lnTo>
                              <a:cubicBezTo>
                                <a:pt x="258392" y="26644"/>
                                <a:pt x="259530" y="26075"/>
                                <a:pt x="261807" y="27213"/>
                              </a:cubicBezTo>
                              <a:cubicBezTo>
                                <a:pt x="259530" y="22660"/>
                                <a:pt x="262376" y="22660"/>
                                <a:pt x="266076" y="23798"/>
                              </a:cubicBezTo>
                              <a:lnTo>
                                <a:pt x="270913" y="25558"/>
                              </a:lnTo>
                              <a:lnTo>
                                <a:pt x="270913" y="27213"/>
                              </a:lnTo>
                              <a:cubicBezTo>
                                <a:pt x="273190" y="27213"/>
                                <a:pt x="273190" y="27213"/>
                                <a:pt x="275467" y="27213"/>
                              </a:cubicBezTo>
                              <a:lnTo>
                                <a:pt x="270913" y="25558"/>
                              </a:lnTo>
                              <a:lnTo>
                                <a:pt x="270913" y="24937"/>
                              </a:lnTo>
                              <a:cubicBezTo>
                                <a:pt x="270913" y="24937"/>
                                <a:pt x="270913" y="22660"/>
                                <a:pt x="273190" y="24937"/>
                              </a:cubicBezTo>
                              <a:cubicBezTo>
                                <a:pt x="273190" y="22660"/>
                                <a:pt x="266360" y="22660"/>
                                <a:pt x="273190" y="20384"/>
                              </a:cubicBezTo>
                              <a:cubicBezTo>
                                <a:pt x="268637" y="22660"/>
                                <a:pt x="261807" y="20384"/>
                                <a:pt x="259531" y="18107"/>
                              </a:cubicBezTo>
                              <a:cubicBezTo>
                                <a:pt x="261807" y="18107"/>
                                <a:pt x="261807" y="18107"/>
                                <a:pt x="264084" y="18107"/>
                              </a:cubicBezTo>
                              <a:cubicBezTo>
                                <a:pt x="264084" y="15831"/>
                                <a:pt x="264084" y="15831"/>
                                <a:pt x="264084" y="15831"/>
                              </a:cubicBezTo>
                              <a:cubicBezTo>
                                <a:pt x="266360" y="18107"/>
                                <a:pt x="266360" y="18107"/>
                                <a:pt x="268637" y="18107"/>
                              </a:cubicBezTo>
                              <a:cubicBezTo>
                                <a:pt x="268637" y="13554"/>
                                <a:pt x="273190" y="18107"/>
                                <a:pt x="275467" y="15831"/>
                              </a:cubicBezTo>
                              <a:lnTo>
                                <a:pt x="277743" y="18107"/>
                              </a:lnTo>
                              <a:lnTo>
                                <a:pt x="284573" y="18107"/>
                              </a:lnTo>
                              <a:lnTo>
                                <a:pt x="282524" y="20384"/>
                              </a:lnTo>
                              <a:lnTo>
                                <a:pt x="280020" y="20384"/>
                              </a:lnTo>
                              <a:lnTo>
                                <a:pt x="277743" y="20384"/>
                              </a:lnTo>
                              <a:cubicBezTo>
                                <a:pt x="278881" y="20384"/>
                                <a:pt x="280589" y="20953"/>
                                <a:pt x="282012" y="20953"/>
                              </a:cubicBezTo>
                              <a:lnTo>
                                <a:pt x="282524" y="20384"/>
                              </a:lnTo>
                              <a:lnTo>
                                <a:pt x="286850" y="20384"/>
                              </a:lnTo>
                              <a:cubicBezTo>
                                <a:pt x="286850" y="24937"/>
                                <a:pt x="293679" y="22660"/>
                                <a:pt x="295956" y="22660"/>
                              </a:cubicBezTo>
                              <a:cubicBezTo>
                                <a:pt x="295956" y="22660"/>
                                <a:pt x="291403" y="22660"/>
                                <a:pt x="291403" y="20384"/>
                              </a:cubicBezTo>
                              <a:cubicBezTo>
                                <a:pt x="293679" y="20384"/>
                                <a:pt x="295956" y="18107"/>
                                <a:pt x="291403" y="18107"/>
                              </a:cubicBezTo>
                              <a:lnTo>
                                <a:pt x="293679" y="18107"/>
                              </a:lnTo>
                              <a:cubicBezTo>
                                <a:pt x="295956" y="18107"/>
                                <a:pt x="295956" y="13554"/>
                                <a:pt x="298232" y="13554"/>
                              </a:cubicBezTo>
                              <a:cubicBezTo>
                                <a:pt x="300509" y="11278"/>
                                <a:pt x="302786" y="13554"/>
                                <a:pt x="307339" y="13554"/>
                              </a:cubicBezTo>
                              <a:cubicBezTo>
                                <a:pt x="302786" y="9001"/>
                                <a:pt x="309615" y="9001"/>
                                <a:pt x="311892" y="9001"/>
                              </a:cubicBezTo>
                              <a:cubicBezTo>
                                <a:pt x="309615" y="6725"/>
                                <a:pt x="307339" y="6725"/>
                                <a:pt x="305062" y="6725"/>
                              </a:cubicBezTo>
                              <a:cubicBezTo>
                                <a:pt x="307339" y="4448"/>
                                <a:pt x="309615" y="6725"/>
                                <a:pt x="311892" y="4448"/>
                              </a:cubicBezTo>
                              <a:cubicBezTo>
                                <a:pt x="307339" y="4448"/>
                                <a:pt x="314169" y="2172"/>
                                <a:pt x="316445" y="4448"/>
                              </a:cubicBezTo>
                              <a:cubicBezTo>
                                <a:pt x="316445" y="4448"/>
                                <a:pt x="325551" y="9001"/>
                                <a:pt x="320998" y="4448"/>
                              </a:cubicBezTo>
                              <a:lnTo>
                                <a:pt x="325473" y="4448"/>
                              </a:lnTo>
                              <a:close/>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66" name="Macedonia">
                          <a:extLst>
                            <a:ext uri="{FF2B5EF4-FFF2-40B4-BE49-F238E27FC236}">
                              <a16:creationId xmlns:a16="http://schemas.microsoft.com/office/drawing/2014/main" id="{8D93CB4E-ACA2-0972-31B2-75A5C1632F90}"/>
                            </a:ext>
                          </a:extLst>
                        </p:cNvPr>
                        <p:cNvSpPr>
                          <a:spLocks/>
                        </p:cNvSpPr>
                        <p:nvPr/>
                      </p:nvSpPr>
                      <p:spPr bwMode="auto">
                        <a:xfrm>
                          <a:off x="4222642" y="2291661"/>
                          <a:ext cx="50960" cy="38827"/>
                        </a:xfrm>
                        <a:custGeom>
                          <a:avLst/>
                          <a:gdLst/>
                          <a:ahLst/>
                          <a:cxnLst>
                            <a:cxn ang="0">
                              <a:pos x="0" y="9"/>
                            </a:cxn>
                            <a:cxn ang="0">
                              <a:pos x="1" y="8"/>
                            </a:cxn>
                            <a:cxn ang="0">
                              <a:pos x="3" y="5"/>
                            </a:cxn>
                            <a:cxn ang="0">
                              <a:pos x="4" y="3"/>
                            </a:cxn>
                            <a:cxn ang="0">
                              <a:pos x="8" y="4"/>
                            </a:cxn>
                            <a:cxn ang="0">
                              <a:pos x="9" y="2"/>
                            </a:cxn>
                            <a:cxn ang="0">
                              <a:pos x="10" y="2"/>
                            </a:cxn>
                            <a:cxn ang="0">
                              <a:pos x="12" y="1"/>
                            </a:cxn>
                            <a:cxn ang="0">
                              <a:pos x="15" y="1"/>
                            </a:cxn>
                            <a:cxn ang="0">
                              <a:pos x="18" y="3"/>
                            </a:cxn>
                            <a:cxn ang="0">
                              <a:pos x="22" y="9"/>
                            </a:cxn>
                            <a:cxn ang="0">
                              <a:pos x="22" y="12"/>
                            </a:cxn>
                            <a:cxn ang="0">
                              <a:pos x="21" y="12"/>
                            </a:cxn>
                            <a:cxn ang="0">
                              <a:pos x="18" y="14"/>
                            </a:cxn>
                            <a:cxn ang="0">
                              <a:pos x="14" y="15"/>
                            </a:cxn>
                            <a:cxn ang="0">
                              <a:pos x="6" y="17"/>
                            </a:cxn>
                            <a:cxn ang="0">
                              <a:pos x="4" y="16"/>
                            </a:cxn>
                            <a:cxn ang="0">
                              <a:pos x="2" y="15"/>
                            </a:cxn>
                            <a:cxn ang="0">
                              <a:pos x="0" y="9"/>
                            </a:cxn>
                          </a:cxnLst>
                          <a:rect l="0" t="0" r="r" b="b"/>
                          <a:pathLst>
                            <a:path w="22" h="17">
                              <a:moveTo>
                                <a:pt x="0" y="9"/>
                              </a:moveTo>
                              <a:cubicBezTo>
                                <a:pt x="2" y="9"/>
                                <a:pt x="1" y="8"/>
                                <a:pt x="1" y="8"/>
                              </a:cubicBezTo>
                              <a:cubicBezTo>
                                <a:pt x="1" y="7"/>
                                <a:pt x="2" y="6"/>
                                <a:pt x="3" y="5"/>
                              </a:cubicBezTo>
                              <a:cubicBezTo>
                                <a:pt x="3" y="4"/>
                                <a:pt x="4" y="4"/>
                                <a:pt x="4" y="3"/>
                              </a:cubicBezTo>
                              <a:cubicBezTo>
                                <a:pt x="6" y="2"/>
                                <a:pt x="6" y="3"/>
                                <a:pt x="8" y="4"/>
                              </a:cubicBezTo>
                              <a:cubicBezTo>
                                <a:pt x="7" y="2"/>
                                <a:pt x="8" y="3"/>
                                <a:pt x="9" y="2"/>
                              </a:cubicBezTo>
                              <a:cubicBezTo>
                                <a:pt x="9" y="2"/>
                                <a:pt x="10" y="2"/>
                                <a:pt x="10" y="2"/>
                              </a:cubicBezTo>
                              <a:cubicBezTo>
                                <a:pt x="11" y="2"/>
                                <a:pt x="11" y="1"/>
                                <a:pt x="12" y="1"/>
                              </a:cubicBezTo>
                              <a:cubicBezTo>
                                <a:pt x="13" y="1"/>
                                <a:pt x="15" y="2"/>
                                <a:pt x="15" y="1"/>
                              </a:cubicBezTo>
                              <a:cubicBezTo>
                                <a:pt x="16" y="0"/>
                                <a:pt x="17" y="2"/>
                                <a:pt x="18" y="3"/>
                              </a:cubicBezTo>
                              <a:cubicBezTo>
                                <a:pt x="20" y="5"/>
                                <a:pt x="22" y="5"/>
                                <a:pt x="22" y="9"/>
                              </a:cubicBezTo>
                              <a:cubicBezTo>
                                <a:pt x="22" y="10"/>
                                <a:pt x="22" y="11"/>
                                <a:pt x="22" y="12"/>
                              </a:cubicBezTo>
                              <a:cubicBezTo>
                                <a:pt x="22" y="12"/>
                                <a:pt x="21" y="11"/>
                                <a:pt x="21" y="12"/>
                              </a:cubicBezTo>
                              <a:cubicBezTo>
                                <a:pt x="21" y="13"/>
                                <a:pt x="19" y="14"/>
                                <a:pt x="18" y="14"/>
                              </a:cubicBezTo>
                              <a:cubicBezTo>
                                <a:pt x="16" y="13"/>
                                <a:pt x="15" y="14"/>
                                <a:pt x="14" y="15"/>
                              </a:cubicBezTo>
                              <a:cubicBezTo>
                                <a:pt x="11" y="16"/>
                                <a:pt x="9" y="16"/>
                                <a:pt x="6" y="17"/>
                              </a:cubicBezTo>
                              <a:cubicBezTo>
                                <a:pt x="5" y="17"/>
                                <a:pt x="5" y="16"/>
                                <a:pt x="4" y="16"/>
                              </a:cubicBezTo>
                              <a:cubicBezTo>
                                <a:pt x="2" y="17"/>
                                <a:pt x="3" y="15"/>
                                <a:pt x="2" y="15"/>
                              </a:cubicBezTo>
                              <a:cubicBezTo>
                                <a:pt x="1" y="13"/>
                                <a:pt x="1" y="11"/>
                                <a:pt x="0" y="9"/>
                              </a:cubicBezTo>
                            </a:path>
                          </a:pathLst>
                        </a:custGeom>
                        <a:solidFill>
                          <a:schemeClr val="accent2">
                            <a:lumMod val="50000"/>
                          </a:schemeClr>
                        </a:solid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67" name="Lithuania">
                          <a:extLst>
                            <a:ext uri="{FF2B5EF4-FFF2-40B4-BE49-F238E27FC236}">
                              <a16:creationId xmlns:a16="http://schemas.microsoft.com/office/drawing/2014/main" id="{88E93D38-3677-AAE6-3CB4-5493298B0F78}"/>
                            </a:ext>
                          </a:extLst>
                        </p:cNvPr>
                        <p:cNvSpPr>
                          <a:spLocks/>
                        </p:cNvSpPr>
                        <p:nvPr/>
                      </p:nvSpPr>
                      <p:spPr bwMode="auto">
                        <a:xfrm>
                          <a:off x="4212934" y="1953142"/>
                          <a:ext cx="106774" cy="61880"/>
                        </a:xfrm>
                        <a:custGeom>
                          <a:avLst/>
                          <a:gdLst/>
                          <a:ahLst/>
                          <a:cxnLst>
                            <a:cxn ang="0">
                              <a:pos x="0" y="4"/>
                            </a:cxn>
                            <a:cxn ang="0">
                              <a:pos x="3" y="3"/>
                            </a:cxn>
                            <a:cxn ang="0">
                              <a:pos x="6" y="2"/>
                            </a:cxn>
                            <a:cxn ang="0">
                              <a:pos x="15" y="1"/>
                            </a:cxn>
                            <a:cxn ang="0">
                              <a:pos x="21" y="2"/>
                            </a:cxn>
                            <a:cxn ang="0">
                              <a:pos x="28" y="1"/>
                            </a:cxn>
                            <a:cxn ang="0">
                              <a:pos x="32" y="3"/>
                            </a:cxn>
                            <a:cxn ang="0">
                              <a:pos x="35" y="4"/>
                            </a:cxn>
                            <a:cxn ang="0">
                              <a:pos x="39" y="5"/>
                            </a:cxn>
                            <a:cxn ang="0">
                              <a:pos x="44" y="8"/>
                            </a:cxn>
                            <a:cxn ang="0">
                              <a:pos x="46" y="12"/>
                            </a:cxn>
                            <a:cxn ang="0">
                              <a:pos x="44" y="14"/>
                            </a:cxn>
                            <a:cxn ang="0">
                              <a:pos x="41" y="16"/>
                            </a:cxn>
                            <a:cxn ang="0">
                              <a:pos x="37" y="22"/>
                            </a:cxn>
                            <a:cxn ang="0">
                              <a:pos x="39" y="23"/>
                            </a:cxn>
                            <a:cxn ang="0">
                              <a:pos x="38" y="24"/>
                            </a:cxn>
                            <a:cxn ang="0">
                              <a:pos x="35" y="23"/>
                            </a:cxn>
                            <a:cxn ang="0">
                              <a:pos x="32" y="25"/>
                            </a:cxn>
                            <a:cxn ang="0">
                              <a:pos x="29" y="26"/>
                            </a:cxn>
                            <a:cxn ang="0">
                              <a:pos x="25" y="26"/>
                            </a:cxn>
                            <a:cxn ang="0">
                              <a:pos x="22" y="26"/>
                            </a:cxn>
                            <a:cxn ang="0">
                              <a:pos x="19" y="22"/>
                            </a:cxn>
                            <a:cxn ang="0">
                              <a:pos x="19" y="17"/>
                            </a:cxn>
                            <a:cxn ang="0">
                              <a:pos x="16" y="14"/>
                            </a:cxn>
                            <a:cxn ang="0">
                              <a:pos x="9" y="13"/>
                            </a:cxn>
                            <a:cxn ang="0">
                              <a:pos x="4" y="13"/>
                            </a:cxn>
                            <a:cxn ang="0">
                              <a:pos x="2" y="9"/>
                            </a:cxn>
                            <a:cxn ang="0">
                              <a:pos x="0" y="4"/>
                            </a:cxn>
                          </a:cxnLst>
                          <a:rect l="0" t="0" r="r" b="b"/>
                          <a:pathLst>
                            <a:path w="46" h="27">
                              <a:moveTo>
                                <a:pt x="0" y="4"/>
                              </a:moveTo>
                              <a:cubicBezTo>
                                <a:pt x="2" y="5"/>
                                <a:pt x="2" y="3"/>
                                <a:pt x="3" y="3"/>
                              </a:cubicBezTo>
                              <a:cubicBezTo>
                                <a:pt x="4" y="2"/>
                                <a:pt x="5" y="2"/>
                                <a:pt x="6" y="2"/>
                              </a:cubicBezTo>
                              <a:cubicBezTo>
                                <a:pt x="9" y="1"/>
                                <a:pt x="12" y="1"/>
                                <a:pt x="15" y="1"/>
                              </a:cubicBezTo>
                              <a:cubicBezTo>
                                <a:pt x="17" y="2"/>
                                <a:pt x="19" y="1"/>
                                <a:pt x="21" y="2"/>
                              </a:cubicBezTo>
                              <a:cubicBezTo>
                                <a:pt x="22" y="2"/>
                                <a:pt x="26" y="3"/>
                                <a:pt x="28" y="1"/>
                              </a:cubicBezTo>
                              <a:cubicBezTo>
                                <a:pt x="31" y="0"/>
                                <a:pt x="31" y="2"/>
                                <a:pt x="32" y="3"/>
                              </a:cubicBezTo>
                              <a:cubicBezTo>
                                <a:pt x="33" y="4"/>
                                <a:pt x="34" y="3"/>
                                <a:pt x="35" y="4"/>
                              </a:cubicBezTo>
                              <a:cubicBezTo>
                                <a:pt x="37" y="4"/>
                                <a:pt x="38" y="4"/>
                                <a:pt x="39" y="5"/>
                              </a:cubicBezTo>
                              <a:cubicBezTo>
                                <a:pt x="40" y="6"/>
                                <a:pt x="44" y="9"/>
                                <a:pt x="44" y="8"/>
                              </a:cubicBezTo>
                              <a:cubicBezTo>
                                <a:pt x="44" y="11"/>
                                <a:pt x="44" y="12"/>
                                <a:pt x="46" y="12"/>
                              </a:cubicBezTo>
                              <a:cubicBezTo>
                                <a:pt x="45" y="13"/>
                                <a:pt x="46" y="14"/>
                                <a:pt x="44" y="14"/>
                              </a:cubicBezTo>
                              <a:cubicBezTo>
                                <a:pt x="42" y="13"/>
                                <a:pt x="42" y="15"/>
                                <a:pt x="41" y="16"/>
                              </a:cubicBezTo>
                              <a:cubicBezTo>
                                <a:pt x="38" y="17"/>
                                <a:pt x="40" y="19"/>
                                <a:pt x="37" y="22"/>
                              </a:cubicBezTo>
                              <a:cubicBezTo>
                                <a:pt x="38" y="22"/>
                                <a:pt x="39" y="22"/>
                                <a:pt x="39" y="23"/>
                              </a:cubicBezTo>
                              <a:cubicBezTo>
                                <a:pt x="40" y="24"/>
                                <a:pt x="38" y="24"/>
                                <a:pt x="38" y="24"/>
                              </a:cubicBezTo>
                              <a:cubicBezTo>
                                <a:pt x="38" y="22"/>
                                <a:pt x="36" y="23"/>
                                <a:pt x="35" y="23"/>
                              </a:cubicBezTo>
                              <a:cubicBezTo>
                                <a:pt x="35" y="25"/>
                                <a:pt x="33" y="24"/>
                                <a:pt x="32" y="25"/>
                              </a:cubicBezTo>
                              <a:cubicBezTo>
                                <a:pt x="31" y="26"/>
                                <a:pt x="30" y="26"/>
                                <a:pt x="29" y="26"/>
                              </a:cubicBezTo>
                              <a:cubicBezTo>
                                <a:pt x="28" y="27"/>
                                <a:pt x="26" y="26"/>
                                <a:pt x="25" y="26"/>
                              </a:cubicBezTo>
                              <a:cubicBezTo>
                                <a:pt x="24" y="26"/>
                                <a:pt x="22" y="27"/>
                                <a:pt x="22" y="26"/>
                              </a:cubicBezTo>
                              <a:cubicBezTo>
                                <a:pt x="21" y="24"/>
                                <a:pt x="20" y="23"/>
                                <a:pt x="19" y="22"/>
                              </a:cubicBezTo>
                              <a:cubicBezTo>
                                <a:pt x="17" y="18"/>
                                <a:pt x="18" y="18"/>
                                <a:pt x="19" y="17"/>
                              </a:cubicBezTo>
                              <a:cubicBezTo>
                                <a:pt x="19" y="16"/>
                                <a:pt x="17" y="14"/>
                                <a:pt x="16" y="14"/>
                              </a:cubicBezTo>
                              <a:cubicBezTo>
                                <a:pt x="15" y="14"/>
                                <a:pt x="11" y="15"/>
                                <a:pt x="9" y="13"/>
                              </a:cubicBezTo>
                              <a:cubicBezTo>
                                <a:pt x="7" y="12"/>
                                <a:pt x="5" y="12"/>
                                <a:pt x="4" y="13"/>
                              </a:cubicBezTo>
                              <a:cubicBezTo>
                                <a:pt x="4" y="12"/>
                                <a:pt x="2" y="10"/>
                                <a:pt x="2" y="9"/>
                              </a:cubicBezTo>
                              <a:cubicBezTo>
                                <a:pt x="1" y="7"/>
                                <a:pt x="1" y="6"/>
                                <a:pt x="0" y="4"/>
                              </a:cubicBezTo>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68" name="Lichtenstien">
                          <a:extLst>
                            <a:ext uri="{FF2B5EF4-FFF2-40B4-BE49-F238E27FC236}">
                              <a16:creationId xmlns:a16="http://schemas.microsoft.com/office/drawing/2014/main" id="{4AE1D490-2781-F30F-6BE6-BE0DDF0DC3D6}"/>
                            </a:ext>
                          </a:extLst>
                        </p:cNvPr>
                        <p:cNvSpPr>
                          <a:spLocks/>
                        </p:cNvSpPr>
                        <p:nvPr/>
                      </p:nvSpPr>
                      <p:spPr bwMode="auto">
                        <a:xfrm>
                          <a:off x="4001814" y="2172754"/>
                          <a:ext cx="4854" cy="4854"/>
                        </a:xfrm>
                        <a:custGeom>
                          <a:avLst/>
                          <a:gdLst/>
                          <a:ahLst/>
                          <a:cxnLst>
                            <a:cxn ang="0">
                              <a:pos x="1" y="0"/>
                            </a:cxn>
                            <a:cxn ang="0">
                              <a:pos x="0" y="2"/>
                            </a:cxn>
                            <a:cxn ang="0">
                              <a:pos x="0" y="2"/>
                            </a:cxn>
                            <a:cxn ang="0">
                              <a:pos x="0" y="2"/>
                            </a:cxn>
                            <a:cxn ang="0">
                              <a:pos x="1" y="2"/>
                            </a:cxn>
                            <a:cxn ang="0">
                              <a:pos x="1" y="2"/>
                            </a:cxn>
                            <a:cxn ang="0">
                              <a:pos x="1" y="2"/>
                            </a:cxn>
                            <a:cxn ang="0">
                              <a:pos x="1" y="1"/>
                            </a:cxn>
                            <a:cxn ang="0">
                              <a:pos x="1" y="0"/>
                            </a:cxn>
                            <a:cxn ang="0">
                              <a:pos x="1" y="0"/>
                            </a:cxn>
                            <a:cxn ang="0">
                              <a:pos x="1" y="0"/>
                            </a:cxn>
                            <a:cxn ang="0">
                              <a:pos x="1" y="0"/>
                            </a:cxn>
                            <a:cxn ang="0">
                              <a:pos x="1" y="0"/>
                            </a:cxn>
                            <a:cxn ang="0">
                              <a:pos x="1" y="0"/>
                            </a:cxn>
                          </a:cxnLst>
                          <a:rect l="0" t="0" r="r" b="b"/>
                          <a:pathLst>
                            <a:path w="2" h="2">
                              <a:moveTo>
                                <a:pt x="1" y="0"/>
                              </a:moveTo>
                              <a:cubicBezTo>
                                <a:pt x="1" y="1"/>
                                <a:pt x="0" y="1"/>
                                <a:pt x="0" y="2"/>
                              </a:cubicBezTo>
                              <a:cubicBezTo>
                                <a:pt x="0" y="2"/>
                                <a:pt x="0" y="2"/>
                                <a:pt x="0" y="2"/>
                              </a:cubicBezTo>
                              <a:cubicBezTo>
                                <a:pt x="0" y="2"/>
                                <a:pt x="0" y="2"/>
                                <a:pt x="0" y="2"/>
                              </a:cubicBezTo>
                              <a:cubicBezTo>
                                <a:pt x="1" y="2"/>
                                <a:pt x="1" y="2"/>
                                <a:pt x="1" y="2"/>
                              </a:cubicBezTo>
                              <a:cubicBezTo>
                                <a:pt x="1" y="2"/>
                                <a:pt x="1" y="2"/>
                                <a:pt x="1" y="2"/>
                              </a:cubicBezTo>
                              <a:cubicBezTo>
                                <a:pt x="1" y="2"/>
                                <a:pt x="1" y="2"/>
                                <a:pt x="1" y="2"/>
                              </a:cubicBezTo>
                              <a:cubicBezTo>
                                <a:pt x="2" y="2"/>
                                <a:pt x="1" y="1"/>
                                <a:pt x="1" y="1"/>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69" name="Kosova">
                          <a:extLst>
                            <a:ext uri="{FF2B5EF4-FFF2-40B4-BE49-F238E27FC236}">
                              <a16:creationId xmlns:a16="http://schemas.microsoft.com/office/drawing/2014/main" id="{8441D7DA-F950-2259-964D-088731BD5109}"/>
                            </a:ext>
                          </a:extLst>
                        </p:cNvPr>
                        <p:cNvSpPr>
                          <a:spLocks/>
                        </p:cNvSpPr>
                        <p:nvPr/>
                      </p:nvSpPr>
                      <p:spPr bwMode="auto">
                        <a:xfrm>
                          <a:off x="4210508" y="2269821"/>
                          <a:ext cx="37614" cy="35187"/>
                        </a:xfrm>
                        <a:custGeom>
                          <a:avLst/>
                          <a:gdLst/>
                          <a:ahLst/>
                          <a:cxnLst>
                            <a:cxn ang="0">
                              <a:pos x="1" y="6"/>
                            </a:cxn>
                            <a:cxn ang="0">
                              <a:pos x="3" y="5"/>
                            </a:cxn>
                            <a:cxn ang="0">
                              <a:pos x="3" y="4"/>
                            </a:cxn>
                            <a:cxn ang="0">
                              <a:pos x="5" y="3"/>
                            </a:cxn>
                            <a:cxn ang="0">
                              <a:pos x="6" y="1"/>
                            </a:cxn>
                            <a:cxn ang="0">
                              <a:pos x="8" y="0"/>
                            </a:cxn>
                            <a:cxn ang="0">
                              <a:pos x="14" y="4"/>
                            </a:cxn>
                            <a:cxn ang="0">
                              <a:pos x="16" y="7"/>
                            </a:cxn>
                            <a:cxn ang="0">
                              <a:pos x="15" y="11"/>
                            </a:cxn>
                            <a:cxn ang="0">
                              <a:pos x="13" y="13"/>
                            </a:cxn>
                            <a:cxn ang="0">
                              <a:pos x="9" y="12"/>
                            </a:cxn>
                            <a:cxn ang="0">
                              <a:pos x="7" y="15"/>
                            </a:cxn>
                            <a:cxn ang="0">
                              <a:pos x="6" y="12"/>
                            </a:cxn>
                            <a:cxn ang="0">
                              <a:pos x="3" y="10"/>
                            </a:cxn>
                            <a:cxn ang="0">
                              <a:pos x="2" y="8"/>
                            </a:cxn>
                            <a:cxn ang="0">
                              <a:pos x="1" y="6"/>
                            </a:cxn>
                          </a:cxnLst>
                          <a:rect l="0" t="0" r="r" b="b"/>
                          <a:pathLst>
                            <a:path w="16" h="15">
                              <a:moveTo>
                                <a:pt x="1" y="6"/>
                              </a:moveTo>
                              <a:cubicBezTo>
                                <a:pt x="1" y="5"/>
                                <a:pt x="2" y="5"/>
                                <a:pt x="3" y="5"/>
                              </a:cubicBezTo>
                              <a:cubicBezTo>
                                <a:pt x="3" y="4"/>
                                <a:pt x="3" y="5"/>
                                <a:pt x="3" y="4"/>
                              </a:cubicBezTo>
                              <a:cubicBezTo>
                                <a:pt x="4" y="3"/>
                                <a:pt x="5" y="4"/>
                                <a:pt x="5" y="3"/>
                              </a:cubicBezTo>
                              <a:cubicBezTo>
                                <a:pt x="6" y="3"/>
                                <a:pt x="6" y="2"/>
                                <a:pt x="6" y="1"/>
                              </a:cubicBezTo>
                              <a:cubicBezTo>
                                <a:pt x="6" y="1"/>
                                <a:pt x="7" y="0"/>
                                <a:pt x="8" y="0"/>
                              </a:cubicBezTo>
                              <a:cubicBezTo>
                                <a:pt x="8" y="2"/>
                                <a:pt x="14" y="2"/>
                                <a:pt x="14" y="4"/>
                              </a:cubicBezTo>
                              <a:cubicBezTo>
                                <a:pt x="13" y="5"/>
                                <a:pt x="16" y="6"/>
                                <a:pt x="16" y="7"/>
                              </a:cubicBezTo>
                              <a:cubicBezTo>
                                <a:pt x="16" y="8"/>
                                <a:pt x="14" y="10"/>
                                <a:pt x="15" y="11"/>
                              </a:cubicBezTo>
                              <a:cubicBezTo>
                                <a:pt x="14" y="11"/>
                                <a:pt x="12" y="11"/>
                                <a:pt x="13" y="13"/>
                              </a:cubicBezTo>
                              <a:cubicBezTo>
                                <a:pt x="11" y="12"/>
                                <a:pt x="11" y="12"/>
                                <a:pt x="9" y="12"/>
                              </a:cubicBezTo>
                              <a:cubicBezTo>
                                <a:pt x="7" y="13"/>
                                <a:pt x="8" y="15"/>
                                <a:pt x="7" y="15"/>
                              </a:cubicBezTo>
                              <a:cubicBezTo>
                                <a:pt x="6" y="15"/>
                                <a:pt x="7" y="12"/>
                                <a:pt x="6" y="12"/>
                              </a:cubicBezTo>
                              <a:cubicBezTo>
                                <a:pt x="5" y="10"/>
                                <a:pt x="4" y="11"/>
                                <a:pt x="3" y="10"/>
                              </a:cubicBezTo>
                              <a:cubicBezTo>
                                <a:pt x="3" y="9"/>
                                <a:pt x="3" y="8"/>
                                <a:pt x="2" y="8"/>
                              </a:cubicBezTo>
                              <a:cubicBezTo>
                                <a:pt x="1" y="7"/>
                                <a:pt x="0" y="6"/>
                                <a:pt x="1" y="6"/>
                              </a:cubicBezTo>
                            </a:path>
                          </a:pathLst>
                        </a:custGeom>
                        <a:solidFill>
                          <a:schemeClr val="accent2">
                            <a:lumMod val="50000"/>
                          </a:schemeClr>
                        </a:solid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70" name="Hungary">
                          <a:extLst>
                            <a:ext uri="{FF2B5EF4-FFF2-40B4-BE49-F238E27FC236}">
                              <a16:creationId xmlns:a16="http://schemas.microsoft.com/office/drawing/2014/main" id="{728FC733-0A89-47E6-4564-58265E0F2CD9}"/>
                            </a:ext>
                          </a:extLst>
                        </p:cNvPr>
                        <p:cNvSpPr>
                          <a:spLocks/>
                        </p:cNvSpPr>
                        <p:nvPr/>
                      </p:nvSpPr>
                      <p:spPr bwMode="auto">
                        <a:xfrm>
                          <a:off x="4131641" y="2139995"/>
                          <a:ext cx="134681" cy="70373"/>
                        </a:xfrm>
                        <a:custGeom>
                          <a:avLst/>
                          <a:gdLst/>
                          <a:ahLst/>
                          <a:cxnLst>
                            <a:cxn ang="0">
                              <a:pos x="0" y="18"/>
                            </a:cxn>
                            <a:cxn ang="0">
                              <a:pos x="3" y="17"/>
                            </a:cxn>
                            <a:cxn ang="0">
                              <a:pos x="3" y="13"/>
                            </a:cxn>
                            <a:cxn ang="0">
                              <a:pos x="5" y="11"/>
                            </a:cxn>
                            <a:cxn ang="0">
                              <a:pos x="4" y="9"/>
                            </a:cxn>
                            <a:cxn ang="0">
                              <a:pos x="7" y="9"/>
                            </a:cxn>
                            <a:cxn ang="0">
                              <a:pos x="9" y="6"/>
                            </a:cxn>
                            <a:cxn ang="0">
                              <a:pos x="11" y="7"/>
                            </a:cxn>
                            <a:cxn ang="0">
                              <a:pos x="23" y="8"/>
                            </a:cxn>
                            <a:cxn ang="0">
                              <a:pos x="25" y="6"/>
                            </a:cxn>
                            <a:cxn ang="0">
                              <a:pos x="28" y="5"/>
                            </a:cxn>
                            <a:cxn ang="0">
                              <a:pos x="30" y="5"/>
                            </a:cxn>
                            <a:cxn ang="0">
                              <a:pos x="35" y="4"/>
                            </a:cxn>
                            <a:cxn ang="0">
                              <a:pos x="36" y="1"/>
                            </a:cxn>
                            <a:cxn ang="0">
                              <a:pos x="42" y="1"/>
                            </a:cxn>
                            <a:cxn ang="0">
                              <a:pos x="45" y="1"/>
                            </a:cxn>
                            <a:cxn ang="0">
                              <a:pos x="49" y="2"/>
                            </a:cxn>
                            <a:cxn ang="0">
                              <a:pos x="55" y="5"/>
                            </a:cxn>
                            <a:cxn ang="0">
                              <a:pos x="55" y="8"/>
                            </a:cxn>
                            <a:cxn ang="0">
                              <a:pos x="51" y="10"/>
                            </a:cxn>
                            <a:cxn ang="0">
                              <a:pos x="49" y="13"/>
                            </a:cxn>
                            <a:cxn ang="0">
                              <a:pos x="46" y="19"/>
                            </a:cxn>
                            <a:cxn ang="0">
                              <a:pos x="44" y="22"/>
                            </a:cxn>
                            <a:cxn ang="0">
                              <a:pos x="42" y="24"/>
                            </a:cxn>
                            <a:cxn ang="0">
                              <a:pos x="39" y="25"/>
                            </a:cxn>
                            <a:cxn ang="0">
                              <a:pos x="37" y="26"/>
                            </a:cxn>
                            <a:cxn ang="0">
                              <a:pos x="32" y="26"/>
                            </a:cxn>
                            <a:cxn ang="0">
                              <a:pos x="29" y="26"/>
                            </a:cxn>
                            <a:cxn ang="0">
                              <a:pos x="26" y="27"/>
                            </a:cxn>
                            <a:cxn ang="0">
                              <a:pos x="23" y="28"/>
                            </a:cxn>
                            <a:cxn ang="0">
                              <a:pos x="20" y="30"/>
                            </a:cxn>
                            <a:cxn ang="0">
                              <a:pos x="13" y="28"/>
                            </a:cxn>
                            <a:cxn ang="0">
                              <a:pos x="10" y="27"/>
                            </a:cxn>
                            <a:cxn ang="0">
                              <a:pos x="6" y="24"/>
                            </a:cxn>
                            <a:cxn ang="0">
                              <a:pos x="3" y="21"/>
                            </a:cxn>
                            <a:cxn ang="0">
                              <a:pos x="0" y="18"/>
                            </a:cxn>
                          </a:cxnLst>
                          <a:rect l="0" t="0" r="r" b="b"/>
                          <a:pathLst>
                            <a:path w="58" h="30">
                              <a:moveTo>
                                <a:pt x="0" y="18"/>
                              </a:moveTo>
                              <a:cubicBezTo>
                                <a:pt x="1" y="17"/>
                                <a:pt x="2" y="17"/>
                                <a:pt x="3" y="17"/>
                              </a:cubicBezTo>
                              <a:cubicBezTo>
                                <a:pt x="3" y="16"/>
                                <a:pt x="3" y="14"/>
                                <a:pt x="3" y="13"/>
                              </a:cubicBezTo>
                              <a:cubicBezTo>
                                <a:pt x="3" y="12"/>
                                <a:pt x="4" y="12"/>
                                <a:pt x="5" y="11"/>
                              </a:cubicBezTo>
                              <a:cubicBezTo>
                                <a:pt x="5" y="10"/>
                                <a:pt x="2" y="10"/>
                                <a:pt x="4" y="9"/>
                              </a:cubicBezTo>
                              <a:cubicBezTo>
                                <a:pt x="5" y="9"/>
                                <a:pt x="6" y="11"/>
                                <a:pt x="7" y="9"/>
                              </a:cubicBezTo>
                              <a:cubicBezTo>
                                <a:pt x="8" y="8"/>
                                <a:pt x="8" y="7"/>
                                <a:pt x="9" y="6"/>
                              </a:cubicBezTo>
                              <a:cubicBezTo>
                                <a:pt x="9" y="6"/>
                                <a:pt x="10" y="6"/>
                                <a:pt x="11" y="7"/>
                              </a:cubicBezTo>
                              <a:cubicBezTo>
                                <a:pt x="15" y="10"/>
                                <a:pt x="18" y="9"/>
                                <a:pt x="23" y="8"/>
                              </a:cubicBezTo>
                              <a:cubicBezTo>
                                <a:pt x="20" y="6"/>
                                <a:pt x="24" y="6"/>
                                <a:pt x="25" y="6"/>
                              </a:cubicBezTo>
                              <a:cubicBezTo>
                                <a:pt x="26" y="6"/>
                                <a:pt x="28" y="6"/>
                                <a:pt x="28" y="5"/>
                              </a:cubicBezTo>
                              <a:cubicBezTo>
                                <a:pt x="28" y="3"/>
                                <a:pt x="29" y="4"/>
                                <a:pt x="30" y="5"/>
                              </a:cubicBezTo>
                              <a:cubicBezTo>
                                <a:pt x="32" y="5"/>
                                <a:pt x="34" y="5"/>
                                <a:pt x="35" y="4"/>
                              </a:cubicBezTo>
                              <a:cubicBezTo>
                                <a:pt x="36" y="3"/>
                                <a:pt x="36" y="1"/>
                                <a:pt x="36" y="1"/>
                              </a:cubicBezTo>
                              <a:cubicBezTo>
                                <a:pt x="38" y="0"/>
                                <a:pt x="41" y="1"/>
                                <a:pt x="42" y="1"/>
                              </a:cubicBezTo>
                              <a:cubicBezTo>
                                <a:pt x="43" y="0"/>
                                <a:pt x="44" y="1"/>
                                <a:pt x="45" y="1"/>
                              </a:cubicBezTo>
                              <a:cubicBezTo>
                                <a:pt x="46" y="3"/>
                                <a:pt x="47" y="3"/>
                                <a:pt x="49" y="2"/>
                              </a:cubicBezTo>
                              <a:cubicBezTo>
                                <a:pt x="51" y="1"/>
                                <a:pt x="53" y="4"/>
                                <a:pt x="55" y="5"/>
                              </a:cubicBezTo>
                              <a:cubicBezTo>
                                <a:pt x="58" y="6"/>
                                <a:pt x="56" y="8"/>
                                <a:pt x="55" y="8"/>
                              </a:cubicBezTo>
                              <a:cubicBezTo>
                                <a:pt x="54" y="9"/>
                                <a:pt x="52" y="8"/>
                                <a:pt x="51" y="10"/>
                              </a:cubicBezTo>
                              <a:cubicBezTo>
                                <a:pt x="51" y="10"/>
                                <a:pt x="49" y="12"/>
                                <a:pt x="49" y="13"/>
                              </a:cubicBezTo>
                              <a:cubicBezTo>
                                <a:pt x="49" y="14"/>
                                <a:pt x="47" y="17"/>
                                <a:pt x="46" y="19"/>
                              </a:cubicBezTo>
                              <a:cubicBezTo>
                                <a:pt x="45" y="20"/>
                                <a:pt x="44" y="21"/>
                                <a:pt x="44" y="22"/>
                              </a:cubicBezTo>
                              <a:cubicBezTo>
                                <a:pt x="43" y="23"/>
                                <a:pt x="44" y="24"/>
                                <a:pt x="42" y="24"/>
                              </a:cubicBezTo>
                              <a:cubicBezTo>
                                <a:pt x="41" y="25"/>
                                <a:pt x="40" y="24"/>
                                <a:pt x="39" y="25"/>
                              </a:cubicBezTo>
                              <a:cubicBezTo>
                                <a:pt x="38" y="26"/>
                                <a:pt x="38" y="25"/>
                                <a:pt x="37" y="26"/>
                              </a:cubicBezTo>
                              <a:cubicBezTo>
                                <a:pt x="35" y="26"/>
                                <a:pt x="34" y="26"/>
                                <a:pt x="32" y="26"/>
                              </a:cubicBezTo>
                              <a:cubicBezTo>
                                <a:pt x="31" y="26"/>
                                <a:pt x="30" y="25"/>
                                <a:pt x="29" y="26"/>
                              </a:cubicBezTo>
                              <a:cubicBezTo>
                                <a:pt x="28" y="27"/>
                                <a:pt x="28" y="27"/>
                                <a:pt x="26" y="27"/>
                              </a:cubicBezTo>
                              <a:cubicBezTo>
                                <a:pt x="25" y="28"/>
                                <a:pt x="24" y="28"/>
                                <a:pt x="23" y="28"/>
                              </a:cubicBezTo>
                              <a:cubicBezTo>
                                <a:pt x="21" y="29"/>
                                <a:pt x="21" y="30"/>
                                <a:pt x="20" y="30"/>
                              </a:cubicBezTo>
                              <a:cubicBezTo>
                                <a:pt x="18" y="30"/>
                                <a:pt x="15" y="30"/>
                                <a:pt x="13" y="28"/>
                              </a:cubicBezTo>
                              <a:cubicBezTo>
                                <a:pt x="12" y="28"/>
                                <a:pt x="11" y="28"/>
                                <a:pt x="10" y="27"/>
                              </a:cubicBezTo>
                              <a:cubicBezTo>
                                <a:pt x="9" y="25"/>
                                <a:pt x="8" y="25"/>
                                <a:pt x="6" y="24"/>
                              </a:cubicBezTo>
                              <a:cubicBezTo>
                                <a:pt x="5" y="23"/>
                                <a:pt x="4" y="22"/>
                                <a:pt x="3" y="21"/>
                              </a:cubicBezTo>
                              <a:cubicBezTo>
                                <a:pt x="2" y="20"/>
                                <a:pt x="2" y="18"/>
                                <a:pt x="0" y="18"/>
                              </a:cubicBezTo>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71" name="Germany">
                          <a:extLst>
                            <a:ext uri="{FF2B5EF4-FFF2-40B4-BE49-F238E27FC236}">
                              <a16:creationId xmlns:a16="http://schemas.microsoft.com/office/drawing/2014/main" id="{7AAA8477-93F5-05A8-36D8-3C2530ED8A23}"/>
                            </a:ext>
                          </a:extLst>
                        </p:cNvPr>
                        <p:cNvSpPr>
                          <a:spLocks noEditPoints="1"/>
                        </p:cNvSpPr>
                        <p:nvPr/>
                      </p:nvSpPr>
                      <p:spPr bwMode="auto">
                        <a:xfrm>
                          <a:off x="3935082" y="1987114"/>
                          <a:ext cx="175934" cy="185641"/>
                        </a:xfrm>
                        <a:custGeom>
                          <a:avLst/>
                          <a:gdLst/>
                          <a:ahLst/>
                          <a:cxnLst>
                            <a:cxn ang="0">
                              <a:pos x="20" y="2"/>
                            </a:cxn>
                            <a:cxn ang="0">
                              <a:pos x="21" y="0"/>
                            </a:cxn>
                            <a:cxn ang="0">
                              <a:pos x="21" y="1"/>
                            </a:cxn>
                            <a:cxn ang="0">
                              <a:pos x="22" y="1"/>
                            </a:cxn>
                            <a:cxn ang="0">
                              <a:pos x="23" y="1"/>
                            </a:cxn>
                            <a:cxn ang="0">
                              <a:pos x="26" y="6"/>
                            </a:cxn>
                            <a:cxn ang="0">
                              <a:pos x="25" y="7"/>
                            </a:cxn>
                            <a:cxn ang="0">
                              <a:pos x="25" y="11"/>
                            </a:cxn>
                            <a:cxn ang="0">
                              <a:pos x="30" y="13"/>
                            </a:cxn>
                            <a:cxn ang="0">
                              <a:pos x="28" y="12"/>
                            </a:cxn>
                            <a:cxn ang="0">
                              <a:pos x="25" y="12"/>
                            </a:cxn>
                            <a:cxn ang="0">
                              <a:pos x="22" y="15"/>
                            </a:cxn>
                            <a:cxn ang="0">
                              <a:pos x="21" y="15"/>
                            </a:cxn>
                            <a:cxn ang="0">
                              <a:pos x="18" y="16"/>
                            </a:cxn>
                            <a:cxn ang="0">
                              <a:pos x="10" y="16"/>
                            </a:cxn>
                            <a:cxn ang="0">
                              <a:pos x="10" y="23"/>
                            </a:cxn>
                            <a:cxn ang="0">
                              <a:pos x="7" y="25"/>
                            </a:cxn>
                            <a:cxn ang="0">
                              <a:pos x="8" y="31"/>
                            </a:cxn>
                            <a:cxn ang="0">
                              <a:pos x="2" y="32"/>
                            </a:cxn>
                            <a:cxn ang="0">
                              <a:pos x="1" y="34"/>
                            </a:cxn>
                            <a:cxn ang="0">
                              <a:pos x="1" y="42"/>
                            </a:cxn>
                            <a:cxn ang="0">
                              <a:pos x="3" y="46"/>
                            </a:cxn>
                            <a:cxn ang="0">
                              <a:pos x="3" y="53"/>
                            </a:cxn>
                            <a:cxn ang="0">
                              <a:pos x="7" y="60"/>
                            </a:cxn>
                            <a:cxn ang="0">
                              <a:pos x="10" y="61"/>
                            </a:cxn>
                            <a:cxn ang="0">
                              <a:pos x="11" y="61"/>
                            </a:cxn>
                            <a:cxn ang="0">
                              <a:pos x="19" y="62"/>
                            </a:cxn>
                            <a:cxn ang="0">
                              <a:pos x="14" y="70"/>
                            </a:cxn>
                            <a:cxn ang="0">
                              <a:pos x="17" y="77"/>
                            </a:cxn>
                            <a:cxn ang="0">
                              <a:pos x="22" y="76"/>
                            </a:cxn>
                            <a:cxn ang="0">
                              <a:pos x="23" y="75"/>
                            </a:cxn>
                            <a:cxn ang="0">
                              <a:pos x="35" y="80"/>
                            </a:cxn>
                            <a:cxn ang="0">
                              <a:pos x="41" y="77"/>
                            </a:cxn>
                            <a:cxn ang="0">
                              <a:pos x="46" y="77"/>
                            </a:cxn>
                            <a:cxn ang="0">
                              <a:pos x="52" y="75"/>
                            </a:cxn>
                            <a:cxn ang="0">
                              <a:pos x="56" y="76"/>
                            </a:cxn>
                            <a:cxn ang="0">
                              <a:pos x="59" y="76"/>
                            </a:cxn>
                            <a:cxn ang="0">
                              <a:pos x="57" y="72"/>
                            </a:cxn>
                            <a:cxn ang="0">
                              <a:pos x="62" y="68"/>
                            </a:cxn>
                            <a:cxn ang="0">
                              <a:pos x="65" y="66"/>
                            </a:cxn>
                            <a:cxn ang="0">
                              <a:pos x="58" y="59"/>
                            </a:cxn>
                            <a:cxn ang="0">
                              <a:pos x="53" y="51"/>
                            </a:cxn>
                            <a:cxn ang="0">
                              <a:pos x="53" y="50"/>
                            </a:cxn>
                            <a:cxn ang="0">
                              <a:pos x="70" y="42"/>
                            </a:cxn>
                            <a:cxn ang="0">
                              <a:pos x="71" y="42"/>
                            </a:cxn>
                            <a:cxn ang="0">
                              <a:pos x="72" y="35"/>
                            </a:cxn>
                            <a:cxn ang="0">
                              <a:pos x="72" y="31"/>
                            </a:cxn>
                            <a:cxn ang="0">
                              <a:pos x="67" y="22"/>
                            </a:cxn>
                            <a:cxn ang="0">
                              <a:pos x="67" y="13"/>
                            </a:cxn>
                            <a:cxn ang="0">
                              <a:pos x="63" y="9"/>
                            </a:cxn>
                            <a:cxn ang="0">
                              <a:pos x="58" y="6"/>
                            </a:cxn>
                            <a:cxn ang="0">
                              <a:pos x="56" y="6"/>
                            </a:cxn>
                            <a:cxn ang="0">
                              <a:pos x="51" y="9"/>
                            </a:cxn>
                            <a:cxn ang="0">
                              <a:pos x="45" y="11"/>
                            </a:cxn>
                            <a:cxn ang="0">
                              <a:pos x="40" y="10"/>
                            </a:cxn>
                            <a:cxn ang="0">
                              <a:pos x="38" y="7"/>
                            </a:cxn>
                            <a:cxn ang="0">
                              <a:pos x="35" y="6"/>
                            </a:cxn>
                            <a:cxn ang="0">
                              <a:pos x="33" y="4"/>
                            </a:cxn>
                            <a:cxn ang="0">
                              <a:pos x="24" y="1"/>
                            </a:cxn>
                          </a:cxnLst>
                          <a:rect l="0" t="0" r="r" b="b"/>
                          <a:pathLst>
                            <a:path w="76" h="80">
                              <a:moveTo>
                                <a:pt x="21" y="0"/>
                              </a:moveTo>
                              <a:cubicBezTo>
                                <a:pt x="20" y="1"/>
                                <a:pt x="20" y="2"/>
                                <a:pt x="20" y="2"/>
                              </a:cubicBezTo>
                              <a:cubicBezTo>
                                <a:pt x="20" y="2"/>
                                <a:pt x="21" y="2"/>
                                <a:pt x="21" y="1"/>
                              </a:cubicBezTo>
                              <a:cubicBezTo>
                                <a:pt x="21" y="1"/>
                                <a:pt x="21" y="1"/>
                                <a:pt x="21" y="0"/>
                              </a:cubicBezTo>
                              <a:moveTo>
                                <a:pt x="22" y="1"/>
                              </a:moveTo>
                              <a:cubicBezTo>
                                <a:pt x="21" y="1"/>
                                <a:pt x="21" y="1"/>
                                <a:pt x="21" y="1"/>
                              </a:cubicBezTo>
                              <a:cubicBezTo>
                                <a:pt x="22" y="1"/>
                                <a:pt x="23" y="1"/>
                                <a:pt x="23" y="1"/>
                              </a:cubicBezTo>
                              <a:cubicBezTo>
                                <a:pt x="22" y="1"/>
                                <a:pt x="22" y="1"/>
                                <a:pt x="22" y="1"/>
                              </a:cubicBezTo>
                              <a:moveTo>
                                <a:pt x="24" y="1"/>
                              </a:moveTo>
                              <a:cubicBezTo>
                                <a:pt x="24" y="1"/>
                                <a:pt x="24" y="1"/>
                                <a:pt x="23" y="1"/>
                              </a:cubicBezTo>
                              <a:cubicBezTo>
                                <a:pt x="24" y="2"/>
                                <a:pt x="24" y="3"/>
                                <a:pt x="24" y="4"/>
                              </a:cubicBezTo>
                              <a:cubicBezTo>
                                <a:pt x="25" y="4"/>
                                <a:pt x="26" y="5"/>
                                <a:pt x="26" y="6"/>
                              </a:cubicBezTo>
                              <a:cubicBezTo>
                                <a:pt x="25" y="7"/>
                                <a:pt x="23" y="6"/>
                                <a:pt x="23" y="7"/>
                              </a:cubicBezTo>
                              <a:cubicBezTo>
                                <a:pt x="24" y="8"/>
                                <a:pt x="24" y="7"/>
                                <a:pt x="25" y="7"/>
                              </a:cubicBezTo>
                              <a:cubicBezTo>
                                <a:pt x="23" y="8"/>
                                <a:pt x="25" y="9"/>
                                <a:pt x="26" y="10"/>
                              </a:cubicBezTo>
                              <a:cubicBezTo>
                                <a:pt x="25" y="10"/>
                                <a:pt x="25" y="10"/>
                                <a:pt x="25" y="11"/>
                              </a:cubicBezTo>
                              <a:cubicBezTo>
                                <a:pt x="26" y="12"/>
                                <a:pt x="27" y="11"/>
                                <a:pt x="28" y="12"/>
                              </a:cubicBezTo>
                              <a:cubicBezTo>
                                <a:pt x="29" y="12"/>
                                <a:pt x="29" y="13"/>
                                <a:pt x="30" y="13"/>
                              </a:cubicBezTo>
                              <a:cubicBezTo>
                                <a:pt x="31" y="14"/>
                                <a:pt x="32" y="14"/>
                                <a:pt x="32" y="15"/>
                              </a:cubicBezTo>
                              <a:cubicBezTo>
                                <a:pt x="30" y="15"/>
                                <a:pt x="30" y="13"/>
                                <a:pt x="28" y="12"/>
                              </a:cubicBezTo>
                              <a:cubicBezTo>
                                <a:pt x="27" y="12"/>
                                <a:pt x="27" y="12"/>
                                <a:pt x="26" y="12"/>
                              </a:cubicBezTo>
                              <a:cubicBezTo>
                                <a:pt x="25" y="12"/>
                                <a:pt x="25" y="12"/>
                                <a:pt x="25" y="12"/>
                              </a:cubicBezTo>
                              <a:cubicBezTo>
                                <a:pt x="23" y="12"/>
                                <a:pt x="22" y="12"/>
                                <a:pt x="22" y="13"/>
                              </a:cubicBezTo>
                              <a:cubicBezTo>
                                <a:pt x="22" y="14"/>
                                <a:pt x="22" y="15"/>
                                <a:pt x="22" y="15"/>
                              </a:cubicBezTo>
                              <a:cubicBezTo>
                                <a:pt x="22" y="16"/>
                                <a:pt x="22" y="16"/>
                                <a:pt x="22" y="17"/>
                              </a:cubicBezTo>
                              <a:cubicBezTo>
                                <a:pt x="22" y="16"/>
                                <a:pt x="22" y="15"/>
                                <a:pt x="21" y="15"/>
                              </a:cubicBezTo>
                              <a:cubicBezTo>
                                <a:pt x="20" y="14"/>
                                <a:pt x="19" y="15"/>
                                <a:pt x="20" y="16"/>
                              </a:cubicBezTo>
                              <a:cubicBezTo>
                                <a:pt x="19" y="16"/>
                                <a:pt x="19" y="16"/>
                                <a:pt x="18" y="16"/>
                              </a:cubicBezTo>
                              <a:cubicBezTo>
                                <a:pt x="21" y="14"/>
                                <a:pt x="13" y="13"/>
                                <a:pt x="12" y="14"/>
                              </a:cubicBezTo>
                              <a:cubicBezTo>
                                <a:pt x="11" y="14"/>
                                <a:pt x="10" y="15"/>
                                <a:pt x="10" y="16"/>
                              </a:cubicBezTo>
                              <a:cubicBezTo>
                                <a:pt x="10" y="17"/>
                                <a:pt x="13" y="18"/>
                                <a:pt x="13" y="18"/>
                              </a:cubicBezTo>
                              <a:cubicBezTo>
                                <a:pt x="11" y="17"/>
                                <a:pt x="10" y="22"/>
                                <a:pt x="10" y="23"/>
                              </a:cubicBezTo>
                              <a:cubicBezTo>
                                <a:pt x="10" y="24"/>
                                <a:pt x="9" y="24"/>
                                <a:pt x="9" y="24"/>
                              </a:cubicBezTo>
                              <a:cubicBezTo>
                                <a:pt x="8" y="24"/>
                                <a:pt x="8" y="24"/>
                                <a:pt x="7" y="25"/>
                              </a:cubicBezTo>
                              <a:cubicBezTo>
                                <a:pt x="6" y="26"/>
                                <a:pt x="9" y="26"/>
                                <a:pt x="9" y="27"/>
                              </a:cubicBezTo>
                              <a:cubicBezTo>
                                <a:pt x="10" y="29"/>
                                <a:pt x="6" y="30"/>
                                <a:pt x="8" y="31"/>
                              </a:cubicBezTo>
                              <a:cubicBezTo>
                                <a:pt x="9" y="33"/>
                                <a:pt x="3" y="32"/>
                                <a:pt x="2" y="32"/>
                              </a:cubicBezTo>
                              <a:cubicBezTo>
                                <a:pt x="3" y="33"/>
                                <a:pt x="2" y="33"/>
                                <a:pt x="2" y="32"/>
                              </a:cubicBezTo>
                              <a:cubicBezTo>
                                <a:pt x="2" y="32"/>
                                <a:pt x="1" y="32"/>
                                <a:pt x="1" y="33"/>
                              </a:cubicBezTo>
                              <a:cubicBezTo>
                                <a:pt x="1" y="33"/>
                                <a:pt x="1" y="33"/>
                                <a:pt x="1" y="34"/>
                              </a:cubicBezTo>
                              <a:cubicBezTo>
                                <a:pt x="2" y="34"/>
                                <a:pt x="3" y="37"/>
                                <a:pt x="3" y="38"/>
                              </a:cubicBezTo>
                              <a:cubicBezTo>
                                <a:pt x="2" y="39"/>
                                <a:pt x="0" y="40"/>
                                <a:pt x="1" y="42"/>
                              </a:cubicBezTo>
                              <a:cubicBezTo>
                                <a:pt x="2" y="43"/>
                                <a:pt x="1" y="44"/>
                                <a:pt x="1" y="44"/>
                              </a:cubicBezTo>
                              <a:cubicBezTo>
                                <a:pt x="2" y="45"/>
                                <a:pt x="4" y="45"/>
                                <a:pt x="3" y="46"/>
                              </a:cubicBezTo>
                              <a:cubicBezTo>
                                <a:pt x="4" y="46"/>
                                <a:pt x="4" y="47"/>
                                <a:pt x="4" y="48"/>
                              </a:cubicBezTo>
                              <a:cubicBezTo>
                                <a:pt x="0" y="48"/>
                                <a:pt x="0" y="51"/>
                                <a:pt x="3" y="53"/>
                              </a:cubicBezTo>
                              <a:cubicBezTo>
                                <a:pt x="6" y="54"/>
                                <a:pt x="3" y="56"/>
                                <a:pt x="4" y="57"/>
                              </a:cubicBezTo>
                              <a:cubicBezTo>
                                <a:pt x="4" y="58"/>
                                <a:pt x="7" y="60"/>
                                <a:pt x="7" y="60"/>
                              </a:cubicBezTo>
                              <a:cubicBezTo>
                                <a:pt x="8" y="60"/>
                                <a:pt x="8" y="60"/>
                                <a:pt x="9" y="60"/>
                              </a:cubicBezTo>
                              <a:cubicBezTo>
                                <a:pt x="9" y="60"/>
                                <a:pt x="9" y="61"/>
                                <a:pt x="10" y="61"/>
                              </a:cubicBezTo>
                              <a:cubicBezTo>
                                <a:pt x="10" y="61"/>
                                <a:pt x="11" y="61"/>
                                <a:pt x="11" y="61"/>
                              </a:cubicBezTo>
                              <a:cubicBezTo>
                                <a:pt x="11" y="61"/>
                                <a:pt x="11" y="61"/>
                                <a:pt x="11" y="61"/>
                              </a:cubicBezTo>
                              <a:cubicBezTo>
                                <a:pt x="13" y="60"/>
                                <a:pt x="13" y="61"/>
                                <a:pt x="15" y="62"/>
                              </a:cubicBezTo>
                              <a:cubicBezTo>
                                <a:pt x="16" y="62"/>
                                <a:pt x="18" y="62"/>
                                <a:pt x="19" y="62"/>
                              </a:cubicBezTo>
                              <a:cubicBezTo>
                                <a:pt x="18" y="63"/>
                                <a:pt x="17" y="64"/>
                                <a:pt x="16" y="66"/>
                              </a:cubicBezTo>
                              <a:cubicBezTo>
                                <a:pt x="15" y="67"/>
                                <a:pt x="15" y="69"/>
                                <a:pt x="14" y="70"/>
                              </a:cubicBezTo>
                              <a:cubicBezTo>
                                <a:pt x="13" y="71"/>
                                <a:pt x="12" y="79"/>
                                <a:pt x="14" y="77"/>
                              </a:cubicBezTo>
                              <a:cubicBezTo>
                                <a:pt x="14" y="77"/>
                                <a:pt x="16" y="77"/>
                                <a:pt x="17" y="77"/>
                              </a:cubicBezTo>
                              <a:cubicBezTo>
                                <a:pt x="18" y="77"/>
                                <a:pt x="18" y="77"/>
                                <a:pt x="19" y="77"/>
                              </a:cubicBezTo>
                              <a:cubicBezTo>
                                <a:pt x="20" y="77"/>
                                <a:pt x="22" y="77"/>
                                <a:pt x="22" y="76"/>
                              </a:cubicBezTo>
                              <a:cubicBezTo>
                                <a:pt x="21" y="76"/>
                                <a:pt x="21" y="76"/>
                                <a:pt x="21" y="75"/>
                              </a:cubicBezTo>
                              <a:cubicBezTo>
                                <a:pt x="21" y="75"/>
                                <a:pt x="22" y="75"/>
                                <a:pt x="23" y="75"/>
                              </a:cubicBezTo>
                              <a:cubicBezTo>
                                <a:pt x="25" y="76"/>
                                <a:pt x="29" y="76"/>
                                <a:pt x="30" y="77"/>
                              </a:cubicBezTo>
                              <a:cubicBezTo>
                                <a:pt x="31" y="78"/>
                                <a:pt x="37" y="78"/>
                                <a:pt x="35" y="80"/>
                              </a:cubicBezTo>
                              <a:cubicBezTo>
                                <a:pt x="37" y="80"/>
                                <a:pt x="37" y="78"/>
                                <a:pt x="38" y="77"/>
                              </a:cubicBezTo>
                              <a:cubicBezTo>
                                <a:pt x="39" y="77"/>
                                <a:pt x="40" y="77"/>
                                <a:pt x="41" y="77"/>
                              </a:cubicBezTo>
                              <a:cubicBezTo>
                                <a:pt x="41" y="78"/>
                                <a:pt x="43" y="78"/>
                                <a:pt x="43" y="79"/>
                              </a:cubicBezTo>
                              <a:cubicBezTo>
                                <a:pt x="44" y="79"/>
                                <a:pt x="45" y="78"/>
                                <a:pt x="46" y="77"/>
                              </a:cubicBezTo>
                              <a:cubicBezTo>
                                <a:pt x="48" y="77"/>
                                <a:pt x="50" y="76"/>
                                <a:pt x="52" y="76"/>
                              </a:cubicBezTo>
                              <a:cubicBezTo>
                                <a:pt x="52" y="75"/>
                                <a:pt x="52" y="75"/>
                                <a:pt x="52" y="75"/>
                              </a:cubicBezTo>
                              <a:cubicBezTo>
                                <a:pt x="53" y="76"/>
                                <a:pt x="54" y="76"/>
                                <a:pt x="55" y="76"/>
                              </a:cubicBezTo>
                              <a:cubicBezTo>
                                <a:pt x="55" y="76"/>
                                <a:pt x="56" y="76"/>
                                <a:pt x="56" y="76"/>
                              </a:cubicBezTo>
                              <a:cubicBezTo>
                                <a:pt x="57" y="76"/>
                                <a:pt x="57" y="77"/>
                                <a:pt x="58" y="77"/>
                              </a:cubicBezTo>
                              <a:cubicBezTo>
                                <a:pt x="59" y="78"/>
                                <a:pt x="59" y="78"/>
                                <a:pt x="59" y="76"/>
                              </a:cubicBezTo>
                              <a:cubicBezTo>
                                <a:pt x="60" y="75"/>
                                <a:pt x="58" y="76"/>
                                <a:pt x="58" y="75"/>
                              </a:cubicBezTo>
                              <a:cubicBezTo>
                                <a:pt x="58" y="73"/>
                                <a:pt x="58" y="73"/>
                                <a:pt x="57" y="72"/>
                              </a:cubicBezTo>
                              <a:cubicBezTo>
                                <a:pt x="57" y="71"/>
                                <a:pt x="57" y="71"/>
                                <a:pt x="58" y="70"/>
                              </a:cubicBezTo>
                              <a:cubicBezTo>
                                <a:pt x="59" y="70"/>
                                <a:pt x="62" y="69"/>
                                <a:pt x="62" y="68"/>
                              </a:cubicBezTo>
                              <a:cubicBezTo>
                                <a:pt x="62" y="66"/>
                                <a:pt x="63" y="67"/>
                                <a:pt x="64" y="67"/>
                              </a:cubicBezTo>
                              <a:cubicBezTo>
                                <a:pt x="64" y="67"/>
                                <a:pt x="65" y="67"/>
                                <a:pt x="65" y="66"/>
                              </a:cubicBezTo>
                              <a:cubicBezTo>
                                <a:pt x="67" y="64"/>
                                <a:pt x="64" y="63"/>
                                <a:pt x="62" y="62"/>
                              </a:cubicBezTo>
                              <a:cubicBezTo>
                                <a:pt x="61" y="61"/>
                                <a:pt x="60" y="60"/>
                                <a:pt x="58" y="59"/>
                              </a:cubicBezTo>
                              <a:cubicBezTo>
                                <a:pt x="56" y="58"/>
                                <a:pt x="56" y="55"/>
                                <a:pt x="54" y="54"/>
                              </a:cubicBezTo>
                              <a:cubicBezTo>
                                <a:pt x="55" y="53"/>
                                <a:pt x="54" y="52"/>
                                <a:pt x="53" y="51"/>
                              </a:cubicBezTo>
                              <a:cubicBezTo>
                                <a:pt x="52" y="50"/>
                                <a:pt x="52" y="49"/>
                                <a:pt x="51" y="48"/>
                              </a:cubicBezTo>
                              <a:cubicBezTo>
                                <a:pt x="52" y="48"/>
                                <a:pt x="52" y="49"/>
                                <a:pt x="53" y="50"/>
                              </a:cubicBezTo>
                              <a:cubicBezTo>
                                <a:pt x="53" y="47"/>
                                <a:pt x="57" y="48"/>
                                <a:pt x="59" y="46"/>
                              </a:cubicBezTo>
                              <a:cubicBezTo>
                                <a:pt x="62" y="44"/>
                                <a:pt x="66" y="43"/>
                                <a:pt x="70" y="42"/>
                              </a:cubicBezTo>
                              <a:cubicBezTo>
                                <a:pt x="69" y="41"/>
                                <a:pt x="69" y="41"/>
                                <a:pt x="69" y="41"/>
                              </a:cubicBezTo>
                              <a:cubicBezTo>
                                <a:pt x="70" y="41"/>
                                <a:pt x="70" y="40"/>
                                <a:pt x="71" y="42"/>
                              </a:cubicBezTo>
                              <a:cubicBezTo>
                                <a:pt x="74" y="45"/>
                                <a:pt x="76" y="39"/>
                                <a:pt x="74" y="37"/>
                              </a:cubicBezTo>
                              <a:cubicBezTo>
                                <a:pt x="74" y="36"/>
                                <a:pt x="72" y="36"/>
                                <a:pt x="72" y="35"/>
                              </a:cubicBezTo>
                              <a:cubicBezTo>
                                <a:pt x="72" y="34"/>
                                <a:pt x="72" y="34"/>
                                <a:pt x="72" y="33"/>
                              </a:cubicBezTo>
                              <a:cubicBezTo>
                                <a:pt x="71" y="32"/>
                                <a:pt x="72" y="32"/>
                                <a:pt x="72" y="31"/>
                              </a:cubicBezTo>
                              <a:cubicBezTo>
                                <a:pt x="73" y="28"/>
                                <a:pt x="70" y="27"/>
                                <a:pt x="71" y="26"/>
                              </a:cubicBezTo>
                              <a:cubicBezTo>
                                <a:pt x="73" y="24"/>
                                <a:pt x="68" y="24"/>
                                <a:pt x="67" y="22"/>
                              </a:cubicBezTo>
                              <a:cubicBezTo>
                                <a:pt x="68" y="21"/>
                                <a:pt x="71" y="17"/>
                                <a:pt x="69" y="16"/>
                              </a:cubicBezTo>
                              <a:cubicBezTo>
                                <a:pt x="69" y="15"/>
                                <a:pt x="68" y="14"/>
                                <a:pt x="67" y="13"/>
                              </a:cubicBezTo>
                              <a:cubicBezTo>
                                <a:pt x="66" y="13"/>
                                <a:pt x="64" y="13"/>
                                <a:pt x="64" y="11"/>
                              </a:cubicBezTo>
                              <a:cubicBezTo>
                                <a:pt x="64" y="11"/>
                                <a:pt x="64" y="9"/>
                                <a:pt x="63" y="9"/>
                              </a:cubicBezTo>
                              <a:cubicBezTo>
                                <a:pt x="62" y="9"/>
                                <a:pt x="61" y="9"/>
                                <a:pt x="62" y="9"/>
                              </a:cubicBezTo>
                              <a:cubicBezTo>
                                <a:pt x="61" y="9"/>
                                <a:pt x="59" y="6"/>
                                <a:pt x="58" y="6"/>
                              </a:cubicBezTo>
                              <a:cubicBezTo>
                                <a:pt x="56" y="6"/>
                                <a:pt x="54" y="6"/>
                                <a:pt x="53" y="8"/>
                              </a:cubicBezTo>
                              <a:cubicBezTo>
                                <a:pt x="52" y="6"/>
                                <a:pt x="55" y="6"/>
                                <a:pt x="56" y="6"/>
                              </a:cubicBezTo>
                              <a:cubicBezTo>
                                <a:pt x="54" y="5"/>
                                <a:pt x="54" y="6"/>
                                <a:pt x="52" y="7"/>
                              </a:cubicBezTo>
                              <a:cubicBezTo>
                                <a:pt x="52" y="8"/>
                                <a:pt x="50" y="8"/>
                                <a:pt x="51" y="9"/>
                              </a:cubicBezTo>
                              <a:cubicBezTo>
                                <a:pt x="51" y="7"/>
                                <a:pt x="47" y="9"/>
                                <a:pt x="46" y="10"/>
                              </a:cubicBezTo>
                              <a:cubicBezTo>
                                <a:pt x="48" y="9"/>
                                <a:pt x="46" y="10"/>
                                <a:pt x="45" y="11"/>
                              </a:cubicBezTo>
                              <a:cubicBezTo>
                                <a:pt x="45" y="11"/>
                                <a:pt x="40" y="10"/>
                                <a:pt x="41" y="11"/>
                              </a:cubicBezTo>
                              <a:cubicBezTo>
                                <a:pt x="41" y="11"/>
                                <a:pt x="41" y="10"/>
                                <a:pt x="40" y="10"/>
                              </a:cubicBezTo>
                              <a:cubicBezTo>
                                <a:pt x="41" y="9"/>
                                <a:pt x="42" y="8"/>
                                <a:pt x="43" y="6"/>
                              </a:cubicBezTo>
                              <a:cubicBezTo>
                                <a:pt x="41" y="7"/>
                                <a:pt x="40" y="7"/>
                                <a:pt x="38" y="7"/>
                              </a:cubicBezTo>
                              <a:cubicBezTo>
                                <a:pt x="37" y="6"/>
                                <a:pt x="36" y="6"/>
                                <a:pt x="35" y="7"/>
                              </a:cubicBezTo>
                              <a:cubicBezTo>
                                <a:pt x="35" y="6"/>
                                <a:pt x="35" y="6"/>
                                <a:pt x="35" y="6"/>
                              </a:cubicBezTo>
                              <a:cubicBezTo>
                                <a:pt x="35" y="5"/>
                                <a:pt x="34" y="5"/>
                                <a:pt x="33" y="6"/>
                              </a:cubicBezTo>
                              <a:cubicBezTo>
                                <a:pt x="33" y="5"/>
                                <a:pt x="35" y="4"/>
                                <a:pt x="33" y="4"/>
                              </a:cubicBezTo>
                              <a:cubicBezTo>
                                <a:pt x="36" y="2"/>
                                <a:pt x="27" y="2"/>
                                <a:pt x="28" y="2"/>
                              </a:cubicBezTo>
                              <a:cubicBezTo>
                                <a:pt x="27" y="1"/>
                                <a:pt x="25" y="1"/>
                                <a:pt x="24" y="1"/>
                              </a:cubicBezTo>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72" name="Estonia">
                          <a:extLst>
                            <a:ext uri="{FF2B5EF4-FFF2-40B4-BE49-F238E27FC236}">
                              <a16:creationId xmlns:a16="http://schemas.microsoft.com/office/drawing/2014/main" id="{2D27590C-62F8-65F0-109C-D86B016FB985}"/>
                            </a:ext>
                          </a:extLst>
                        </p:cNvPr>
                        <p:cNvSpPr>
                          <a:spLocks/>
                        </p:cNvSpPr>
                        <p:nvPr/>
                      </p:nvSpPr>
                      <p:spPr bwMode="auto">
                        <a:xfrm>
                          <a:off x="4225067" y="1880340"/>
                          <a:ext cx="109200" cy="49747"/>
                        </a:xfrm>
                        <a:custGeom>
                          <a:avLst/>
                          <a:gdLst>
                            <a:gd name="connsiteX0" fmla="*/ 13638 w 107156"/>
                            <a:gd name="connsiteY0" fmla="*/ 23813 h 48816"/>
                            <a:gd name="connsiteX1" fmla="*/ 25003 w 107156"/>
                            <a:gd name="connsiteY1" fmla="*/ 28236 h 48816"/>
                            <a:gd name="connsiteX2" fmla="*/ 18184 w 107156"/>
                            <a:gd name="connsiteY2" fmla="*/ 30447 h 48816"/>
                            <a:gd name="connsiteX3" fmla="*/ 15911 w 107156"/>
                            <a:gd name="connsiteY3" fmla="*/ 32658 h 48816"/>
                            <a:gd name="connsiteX4" fmla="*/ 13638 w 107156"/>
                            <a:gd name="connsiteY4" fmla="*/ 32658 h 48816"/>
                            <a:gd name="connsiteX5" fmla="*/ 6819 w 107156"/>
                            <a:gd name="connsiteY5" fmla="*/ 32658 h 48816"/>
                            <a:gd name="connsiteX6" fmla="*/ 4546 w 107156"/>
                            <a:gd name="connsiteY6" fmla="*/ 39292 h 48816"/>
                            <a:gd name="connsiteX7" fmla="*/ 2273 w 107156"/>
                            <a:gd name="connsiteY7" fmla="*/ 32658 h 48816"/>
                            <a:gd name="connsiteX8" fmla="*/ 0 w 107156"/>
                            <a:gd name="connsiteY8" fmla="*/ 26024 h 48816"/>
                            <a:gd name="connsiteX9" fmla="*/ 6819 w 107156"/>
                            <a:gd name="connsiteY9" fmla="*/ 26024 h 48816"/>
                            <a:gd name="connsiteX10" fmla="*/ 13638 w 107156"/>
                            <a:gd name="connsiteY10" fmla="*/ 23813 h 48816"/>
                            <a:gd name="connsiteX11" fmla="*/ 20240 w 107156"/>
                            <a:gd name="connsiteY11" fmla="*/ 23813 h 48816"/>
                            <a:gd name="connsiteX12" fmla="*/ 25002 w 107156"/>
                            <a:gd name="connsiteY12" fmla="*/ 23813 h 48816"/>
                            <a:gd name="connsiteX13" fmla="*/ 22621 w 107156"/>
                            <a:gd name="connsiteY13" fmla="*/ 26194 h 48816"/>
                            <a:gd name="connsiteX14" fmla="*/ 20240 w 107156"/>
                            <a:gd name="connsiteY14" fmla="*/ 23813 h 48816"/>
                            <a:gd name="connsiteX15" fmla="*/ 11225 w 107156"/>
                            <a:gd name="connsiteY15" fmla="*/ 11906 h 48816"/>
                            <a:gd name="connsiteX16" fmla="*/ 17859 w 107156"/>
                            <a:gd name="connsiteY16" fmla="*/ 16669 h 48816"/>
                            <a:gd name="connsiteX17" fmla="*/ 13437 w 107156"/>
                            <a:gd name="connsiteY17" fmla="*/ 19050 h 48816"/>
                            <a:gd name="connsiteX18" fmla="*/ 9014 w 107156"/>
                            <a:gd name="connsiteY18" fmla="*/ 19050 h 48816"/>
                            <a:gd name="connsiteX19" fmla="*/ 2381 w 107156"/>
                            <a:gd name="connsiteY19" fmla="*/ 16669 h 48816"/>
                            <a:gd name="connsiteX20" fmla="*/ 11225 w 107156"/>
                            <a:gd name="connsiteY20" fmla="*/ 11906 h 48816"/>
                            <a:gd name="connsiteX21" fmla="*/ 59234 w 107156"/>
                            <a:gd name="connsiteY21" fmla="*/ 0 h 48816"/>
                            <a:gd name="connsiteX22" fmla="*/ 75208 w 107156"/>
                            <a:gd name="connsiteY22" fmla="*/ 2325 h 48816"/>
                            <a:gd name="connsiteX23" fmla="*/ 86618 w 107156"/>
                            <a:gd name="connsiteY23" fmla="*/ 4649 h 48816"/>
                            <a:gd name="connsiteX24" fmla="*/ 107156 w 107156"/>
                            <a:gd name="connsiteY24" fmla="*/ 6974 h 48816"/>
                            <a:gd name="connsiteX25" fmla="*/ 102592 w 107156"/>
                            <a:gd name="connsiteY25" fmla="*/ 11623 h 48816"/>
                            <a:gd name="connsiteX26" fmla="*/ 95746 w 107156"/>
                            <a:gd name="connsiteY26" fmla="*/ 18597 h 48816"/>
                            <a:gd name="connsiteX27" fmla="*/ 98028 w 107156"/>
                            <a:gd name="connsiteY27" fmla="*/ 25570 h 48816"/>
                            <a:gd name="connsiteX28" fmla="*/ 98028 w 107156"/>
                            <a:gd name="connsiteY28" fmla="*/ 32544 h 48816"/>
                            <a:gd name="connsiteX29" fmla="*/ 102592 w 107156"/>
                            <a:gd name="connsiteY29" fmla="*/ 34869 h 48816"/>
                            <a:gd name="connsiteX30" fmla="*/ 104874 w 107156"/>
                            <a:gd name="connsiteY30" fmla="*/ 39518 h 48816"/>
                            <a:gd name="connsiteX31" fmla="*/ 100310 w 107156"/>
                            <a:gd name="connsiteY31" fmla="*/ 48816 h 48816"/>
                            <a:gd name="connsiteX32" fmla="*/ 91182 w 107156"/>
                            <a:gd name="connsiteY32" fmla="*/ 46491 h 48816"/>
                            <a:gd name="connsiteX33" fmla="*/ 84336 w 107156"/>
                            <a:gd name="connsiteY33" fmla="*/ 48816 h 48816"/>
                            <a:gd name="connsiteX34" fmla="*/ 68362 w 107156"/>
                            <a:gd name="connsiteY34" fmla="*/ 39518 h 48816"/>
                            <a:gd name="connsiteX35" fmla="*/ 63798 w 107156"/>
                            <a:gd name="connsiteY35" fmla="*/ 37193 h 48816"/>
                            <a:gd name="connsiteX36" fmla="*/ 56952 w 107156"/>
                            <a:gd name="connsiteY36" fmla="*/ 37193 h 48816"/>
                            <a:gd name="connsiteX37" fmla="*/ 43259 w 107156"/>
                            <a:gd name="connsiteY37" fmla="*/ 39518 h 48816"/>
                            <a:gd name="connsiteX38" fmla="*/ 45541 w 107156"/>
                            <a:gd name="connsiteY38" fmla="*/ 30219 h 48816"/>
                            <a:gd name="connsiteX39" fmla="*/ 43259 w 107156"/>
                            <a:gd name="connsiteY39" fmla="*/ 30219 h 48816"/>
                            <a:gd name="connsiteX40" fmla="*/ 27285 w 107156"/>
                            <a:gd name="connsiteY40" fmla="*/ 23246 h 48816"/>
                            <a:gd name="connsiteX41" fmla="*/ 34131 w 107156"/>
                            <a:gd name="connsiteY41" fmla="*/ 18597 h 48816"/>
                            <a:gd name="connsiteX42" fmla="*/ 27285 w 107156"/>
                            <a:gd name="connsiteY42" fmla="*/ 18597 h 48816"/>
                            <a:gd name="connsiteX43" fmla="*/ 27285 w 107156"/>
                            <a:gd name="connsiteY43" fmla="*/ 13947 h 48816"/>
                            <a:gd name="connsiteX44" fmla="*/ 25003 w 107156"/>
                            <a:gd name="connsiteY44" fmla="*/ 13947 h 48816"/>
                            <a:gd name="connsiteX45" fmla="*/ 27285 w 107156"/>
                            <a:gd name="connsiteY45" fmla="*/ 9298 h 48816"/>
                            <a:gd name="connsiteX46" fmla="*/ 36413 w 107156"/>
                            <a:gd name="connsiteY46" fmla="*/ 6974 h 48816"/>
                            <a:gd name="connsiteX47" fmla="*/ 36413 w 107156"/>
                            <a:gd name="connsiteY47" fmla="*/ 4649 h 48816"/>
                            <a:gd name="connsiteX48" fmla="*/ 43259 w 107156"/>
                            <a:gd name="connsiteY48" fmla="*/ 4649 h 48816"/>
                            <a:gd name="connsiteX49" fmla="*/ 47823 w 107156"/>
                            <a:gd name="connsiteY49" fmla="*/ 2325 h 48816"/>
                            <a:gd name="connsiteX50" fmla="*/ 59234 w 107156"/>
                            <a:gd name="connsiteY50" fmla="*/ 0 h 48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07156" h="48816">
                              <a:moveTo>
                                <a:pt x="13638" y="23813"/>
                              </a:moveTo>
                              <a:cubicBezTo>
                                <a:pt x="18184" y="23813"/>
                                <a:pt x="20457" y="23813"/>
                                <a:pt x="25003" y="28236"/>
                              </a:cubicBezTo>
                              <a:cubicBezTo>
                                <a:pt x="22730" y="26024"/>
                                <a:pt x="20457" y="28236"/>
                                <a:pt x="18184" y="30447"/>
                              </a:cubicBezTo>
                              <a:cubicBezTo>
                                <a:pt x="18184" y="30447"/>
                                <a:pt x="15911" y="32658"/>
                                <a:pt x="15911" y="32658"/>
                              </a:cubicBezTo>
                              <a:cubicBezTo>
                                <a:pt x="15911" y="32658"/>
                                <a:pt x="13638" y="32658"/>
                                <a:pt x="13638" y="32658"/>
                              </a:cubicBezTo>
                              <a:cubicBezTo>
                                <a:pt x="11365" y="32658"/>
                                <a:pt x="9092" y="32658"/>
                                <a:pt x="6819" y="32658"/>
                              </a:cubicBezTo>
                              <a:cubicBezTo>
                                <a:pt x="6819" y="34869"/>
                                <a:pt x="6819" y="37081"/>
                                <a:pt x="4546" y="39292"/>
                              </a:cubicBezTo>
                              <a:cubicBezTo>
                                <a:pt x="2273" y="37081"/>
                                <a:pt x="6819" y="34869"/>
                                <a:pt x="2273" y="32658"/>
                              </a:cubicBezTo>
                              <a:cubicBezTo>
                                <a:pt x="0" y="30447"/>
                                <a:pt x="2273" y="28236"/>
                                <a:pt x="0" y="26024"/>
                              </a:cubicBezTo>
                              <a:cubicBezTo>
                                <a:pt x="2273" y="26024"/>
                                <a:pt x="4546" y="28236"/>
                                <a:pt x="6819" y="26024"/>
                              </a:cubicBezTo>
                              <a:cubicBezTo>
                                <a:pt x="9092" y="23813"/>
                                <a:pt x="11365" y="23813"/>
                                <a:pt x="13638" y="23813"/>
                              </a:cubicBezTo>
                              <a:close/>
                              <a:moveTo>
                                <a:pt x="20240" y="23813"/>
                              </a:moveTo>
                              <a:cubicBezTo>
                                <a:pt x="22621" y="21431"/>
                                <a:pt x="25002" y="23813"/>
                                <a:pt x="25002" y="23813"/>
                              </a:cubicBezTo>
                              <a:cubicBezTo>
                                <a:pt x="25002" y="26194"/>
                                <a:pt x="22621" y="26194"/>
                                <a:pt x="22621" y="26194"/>
                              </a:cubicBezTo>
                              <a:cubicBezTo>
                                <a:pt x="22621" y="26194"/>
                                <a:pt x="22621" y="26194"/>
                                <a:pt x="20240" y="23813"/>
                              </a:cubicBezTo>
                              <a:close/>
                              <a:moveTo>
                                <a:pt x="11225" y="11906"/>
                              </a:moveTo>
                              <a:cubicBezTo>
                                <a:pt x="13437" y="14287"/>
                                <a:pt x="17859" y="14287"/>
                                <a:pt x="17859" y="16669"/>
                              </a:cubicBezTo>
                              <a:cubicBezTo>
                                <a:pt x="17859" y="19050"/>
                                <a:pt x="15648" y="19050"/>
                                <a:pt x="13437" y="19050"/>
                              </a:cubicBezTo>
                              <a:cubicBezTo>
                                <a:pt x="13437" y="21431"/>
                                <a:pt x="11225" y="21431"/>
                                <a:pt x="9014" y="19050"/>
                              </a:cubicBezTo>
                              <a:cubicBezTo>
                                <a:pt x="9014" y="16669"/>
                                <a:pt x="4592" y="16669"/>
                                <a:pt x="2381" y="16669"/>
                              </a:cubicBezTo>
                              <a:cubicBezTo>
                                <a:pt x="4592" y="16669"/>
                                <a:pt x="9014" y="16669"/>
                                <a:pt x="11225" y="11906"/>
                              </a:cubicBezTo>
                              <a:close/>
                              <a:moveTo>
                                <a:pt x="59234" y="0"/>
                              </a:moveTo>
                              <a:cubicBezTo>
                                <a:pt x="63798" y="2325"/>
                                <a:pt x="70644" y="0"/>
                                <a:pt x="75208" y="2325"/>
                              </a:cubicBezTo>
                              <a:cubicBezTo>
                                <a:pt x="79772" y="2325"/>
                                <a:pt x="84336" y="4649"/>
                                <a:pt x="86618" y="4649"/>
                              </a:cubicBezTo>
                              <a:cubicBezTo>
                                <a:pt x="91182" y="4649"/>
                                <a:pt x="107156" y="2325"/>
                                <a:pt x="107156" y="6974"/>
                              </a:cubicBezTo>
                              <a:cubicBezTo>
                                <a:pt x="104874" y="6974"/>
                                <a:pt x="102592" y="9298"/>
                                <a:pt x="102592" y="11623"/>
                              </a:cubicBezTo>
                              <a:cubicBezTo>
                                <a:pt x="100310" y="16272"/>
                                <a:pt x="95746" y="16272"/>
                                <a:pt x="95746" y="18597"/>
                              </a:cubicBezTo>
                              <a:cubicBezTo>
                                <a:pt x="95746" y="23246"/>
                                <a:pt x="98028" y="23246"/>
                                <a:pt x="98028" y="25570"/>
                              </a:cubicBezTo>
                              <a:cubicBezTo>
                                <a:pt x="100310" y="27895"/>
                                <a:pt x="98028" y="30219"/>
                                <a:pt x="98028" y="32544"/>
                              </a:cubicBezTo>
                              <a:cubicBezTo>
                                <a:pt x="98028" y="32544"/>
                                <a:pt x="100310" y="34869"/>
                                <a:pt x="102592" y="34869"/>
                              </a:cubicBezTo>
                              <a:cubicBezTo>
                                <a:pt x="102592" y="37193"/>
                                <a:pt x="102592" y="39518"/>
                                <a:pt x="104874" y="39518"/>
                              </a:cubicBezTo>
                              <a:cubicBezTo>
                                <a:pt x="102592" y="44167"/>
                                <a:pt x="98028" y="44167"/>
                                <a:pt x="100310" y="48816"/>
                              </a:cubicBezTo>
                              <a:cubicBezTo>
                                <a:pt x="98028" y="48816"/>
                                <a:pt x="93464" y="46491"/>
                                <a:pt x="91182" y="46491"/>
                              </a:cubicBezTo>
                              <a:cubicBezTo>
                                <a:pt x="88900" y="46491"/>
                                <a:pt x="86618" y="48816"/>
                                <a:pt x="84336" y="48816"/>
                              </a:cubicBezTo>
                              <a:cubicBezTo>
                                <a:pt x="77490" y="46491"/>
                                <a:pt x="72926" y="41842"/>
                                <a:pt x="68362" y="39518"/>
                              </a:cubicBezTo>
                              <a:cubicBezTo>
                                <a:pt x="66080" y="39518"/>
                                <a:pt x="63798" y="37193"/>
                                <a:pt x="63798" y="37193"/>
                              </a:cubicBezTo>
                              <a:cubicBezTo>
                                <a:pt x="61516" y="37193"/>
                                <a:pt x="59234" y="37193"/>
                                <a:pt x="56952" y="37193"/>
                              </a:cubicBezTo>
                              <a:cubicBezTo>
                                <a:pt x="52387" y="37193"/>
                                <a:pt x="47823" y="41842"/>
                                <a:pt x="43259" y="39518"/>
                              </a:cubicBezTo>
                              <a:cubicBezTo>
                                <a:pt x="43259" y="37193"/>
                                <a:pt x="45541" y="32544"/>
                                <a:pt x="45541" y="30219"/>
                              </a:cubicBezTo>
                              <a:cubicBezTo>
                                <a:pt x="47823" y="27895"/>
                                <a:pt x="43259" y="27895"/>
                                <a:pt x="43259" y="30219"/>
                              </a:cubicBezTo>
                              <a:cubicBezTo>
                                <a:pt x="38695" y="37193"/>
                                <a:pt x="29567" y="23246"/>
                                <a:pt x="27285" y="23246"/>
                              </a:cubicBezTo>
                              <a:cubicBezTo>
                                <a:pt x="27285" y="20921"/>
                                <a:pt x="31849" y="20921"/>
                                <a:pt x="34131" y="18597"/>
                              </a:cubicBezTo>
                              <a:cubicBezTo>
                                <a:pt x="31849" y="18597"/>
                                <a:pt x="29567" y="20921"/>
                                <a:pt x="27285" y="18597"/>
                              </a:cubicBezTo>
                              <a:cubicBezTo>
                                <a:pt x="25003" y="18597"/>
                                <a:pt x="29567" y="16272"/>
                                <a:pt x="27285" y="13947"/>
                              </a:cubicBezTo>
                              <a:cubicBezTo>
                                <a:pt x="25003" y="13947"/>
                                <a:pt x="25003" y="13947"/>
                                <a:pt x="25003" y="13947"/>
                              </a:cubicBezTo>
                              <a:cubicBezTo>
                                <a:pt x="27285" y="13947"/>
                                <a:pt x="25003" y="11623"/>
                                <a:pt x="27285" y="9298"/>
                              </a:cubicBezTo>
                              <a:cubicBezTo>
                                <a:pt x="29567" y="6974"/>
                                <a:pt x="34131" y="6974"/>
                                <a:pt x="36413" y="6974"/>
                              </a:cubicBezTo>
                              <a:cubicBezTo>
                                <a:pt x="36413" y="6974"/>
                                <a:pt x="36413" y="6974"/>
                                <a:pt x="36413" y="4649"/>
                              </a:cubicBezTo>
                              <a:cubicBezTo>
                                <a:pt x="38695" y="6974"/>
                                <a:pt x="40977" y="2325"/>
                                <a:pt x="43259" y="4649"/>
                              </a:cubicBezTo>
                              <a:cubicBezTo>
                                <a:pt x="43259" y="4649"/>
                                <a:pt x="47823" y="6974"/>
                                <a:pt x="47823" y="2325"/>
                              </a:cubicBezTo>
                              <a:cubicBezTo>
                                <a:pt x="50105" y="2325"/>
                                <a:pt x="61516" y="4649"/>
                                <a:pt x="59234" y="0"/>
                              </a:cubicBezTo>
                              <a:close/>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73" name="Denmark">
                          <a:extLst>
                            <a:ext uri="{FF2B5EF4-FFF2-40B4-BE49-F238E27FC236}">
                              <a16:creationId xmlns:a16="http://schemas.microsoft.com/office/drawing/2014/main" id="{AE5A2A67-FE7A-0925-9858-73C47264B521}"/>
                            </a:ext>
                          </a:extLst>
                        </p:cNvPr>
                        <p:cNvSpPr>
                          <a:spLocks/>
                        </p:cNvSpPr>
                        <p:nvPr/>
                      </p:nvSpPr>
                      <p:spPr bwMode="auto">
                        <a:xfrm>
                          <a:off x="3977626" y="1925233"/>
                          <a:ext cx="128866" cy="76439"/>
                        </a:xfrm>
                        <a:custGeom>
                          <a:avLst/>
                          <a:gdLst>
                            <a:gd name="connsiteX0" fmla="*/ 53501 w 126454"/>
                            <a:gd name="connsiteY0" fmla="*/ 72628 h 75009"/>
                            <a:gd name="connsiteX1" fmla="*/ 58264 w 126454"/>
                            <a:gd name="connsiteY1" fmla="*/ 75009 h 75009"/>
                            <a:gd name="connsiteX2" fmla="*/ 55883 w 126454"/>
                            <a:gd name="connsiteY2" fmla="*/ 75009 h 75009"/>
                            <a:gd name="connsiteX3" fmla="*/ 53501 w 126454"/>
                            <a:gd name="connsiteY3" fmla="*/ 72628 h 75009"/>
                            <a:gd name="connsiteX4" fmla="*/ 28498 w 126454"/>
                            <a:gd name="connsiteY4" fmla="*/ 60721 h 75009"/>
                            <a:gd name="connsiteX5" fmla="*/ 35642 w 126454"/>
                            <a:gd name="connsiteY5" fmla="*/ 65484 h 75009"/>
                            <a:gd name="connsiteX6" fmla="*/ 28498 w 126454"/>
                            <a:gd name="connsiteY6" fmla="*/ 60721 h 75009"/>
                            <a:gd name="connsiteX7" fmla="*/ 74932 w 126454"/>
                            <a:gd name="connsiteY7" fmla="*/ 60721 h 75009"/>
                            <a:gd name="connsiteX8" fmla="*/ 80886 w 126454"/>
                            <a:gd name="connsiteY8" fmla="*/ 60721 h 75009"/>
                            <a:gd name="connsiteX9" fmla="*/ 74932 w 126454"/>
                            <a:gd name="connsiteY9" fmla="*/ 63102 h 75009"/>
                            <a:gd name="connsiteX10" fmla="*/ 74932 w 126454"/>
                            <a:gd name="connsiteY10" fmla="*/ 60721 h 75009"/>
                            <a:gd name="connsiteX11" fmla="*/ 46358 w 126454"/>
                            <a:gd name="connsiteY11" fmla="*/ 60126 h 75009"/>
                            <a:gd name="connsiteX12" fmla="*/ 47548 w 126454"/>
                            <a:gd name="connsiteY12" fmla="*/ 63103 h 75009"/>
                            <a:gd name="connsiteX13" fmla="*/ 45167 w 126454"/>
                            <a:gd name="connsiteY13" fmla="*/ 60722 h 75009"/>
                            <a:gd name="connsiteX14" fmla="*/ 46358 w 126454"/>
                            <a:gd name="connsiteY14" fmla="*/ 60126 h 75009"/>
                            <a:gd name="connsiteX15" fmla="*/ 51120 w 126454"/>
                            <a:gd name="connsiteY15" fmla="*/ 58340 h 75009"/>
                            <a:gd name="connsiteX16" fmla="*/ 49334 w 126454"/>
                            <a:gd name="connsiteY16" fmla="*/ 67865 h 75009"/>
                            <a:gd name="connsiteX17" fmla="*/ 47548 w 126454"/>
                            <a:gd name="connsiteY17" fmla="*/ 63103 h 75009"/>
                            <a:gd name="connsiteX18" fmla="*/ 51120 w 126454"/>
                            <a:gd name="connsiteY18" fmla="*/ 58340 h 75009"/>
                            <a:gd name="connsiteX19" fmla="*/ 124225 w 126454"/>
                            <a:gd name="connsiteY19" fmla="*/ 56853 h 75009"/>
                            <a:gd name="connsiteX20" fmla="*/ 119938 w 126454"/>
                            <a:gd name="connsiteY20" fmla="*/ 61020 h 75009"/>
                            <a:gd name="connsiteX21" fmla="*/ 124225 w 126454"/>
                            <a:gd name="connsiteY21" fmla="*/ 56853 h 75009"/>
                            <a:gd name="connsiteX22" fmla="*/ 45167 w 126454"/>
                            <a:gd name="connsiteY22" fmla="*/ 38100 h 75009"/>
                            <a:gd name="connsiteX23" fmla="*/ 47548 w 126454"/>
                            <a:gd name="connsiteY23" fmla="*/ 40482 h 75009"/>
                            <a:gd name="connsiteX24" fmla="*/ 45167 w 126454"/>
                            <a:gd name="connsiteY24" fmla="*/ 42863 h 75009"/>
                            <a:gd name="connsiteX25" fmla="*/ 45167 w 126454"/>
                            <a:gd name="connsiteY25" fmla="*/ 38100 h 75009"/>
                            <a:gd name="connsiteX26" fmla="*/ 76091 w 126454"/>
                            <a:gd name="connsiteY26" fmla="*/ 35359 h 75009"/>
                            <a:gd name="connsiteX27" fmla="*/ 80971 w 126454"/>
                            <a:gd name="connsiteY27" fmla="*/ 37960 h 75009"/>
                            <a:gd name="connsiteX28" fmla="*/ 78675 w 126454"/>
                            <a:gd name="connsiteY28" fmla="*/ 47204 h 75009"/>
                            <a:gd name="connsiteX29" fmla="*/ 76378 w 126454"/>
                            <a:gd name="connsiteY29" fmla="*/ 51827 h 75009"/>
                            <a:gd name="connsiteX30" fmla="*/ 76378 w 126454"/>
                            <a:gd name="connsiteY30" fmla="*/ 56449 h 75009"/>
                            <a:gd name="connsiteX31" fmla="*/ 74082 w 126454"/>
                            <a:gd name="connsiteY31" fmla="*/ 61072 h 75009"/>
                            <a:gd name="connsiteX32" fmla="*/ 69490 w 126454"/>
                            <a:gd name="connsiteY32" fmla="*/ 61072 h 75009"/>
                            <a:gd name="connsiteX33" fmla="*/ 74082 w 126454"/>
                            <a:gd name="connsiteY33" fmla="*/ 65694 h 75009"/>
                            <a:gd name="connsiteX34" fmla="*/ 69490 w 126454"/>
                            <a:gd name="connsiteY34" fmla="*/ 72628 h 75009"/>
                            <a:gd name="connsiteX35" fmla="*/ 68342 w 126454"/>
                            <a:gd name="connsiteY35" fmla="*/ 67139 h 75009"/>
                            <a:gd name="connsiteX36" fmla="*/ 68035 w 126454"/>
                            <a:gd name="connsiteY36" fmla="*/ 66137 h 75009"/>
                            <a:gd name="connsiteX37" fmla="*/ 67789 w 126454"/>
                            <a:gd name="connsiteY37" fmla="*/ 67865 h 75009"/>
                            <a:gd name="connsiteX38" fmla="*/ 53501 w 126454"/>
                            <a:gd name="connsiteY38" fmla="*/ 65483 h 75009"/>
                            <a:gd name="connsiteX39" fmla="*/ 55882 w 126454"/>
                            <a:gd name="connsiteY39" fmla="*/ 65483 h 75009"/>
                            <a:gd name="connsiteX40" fmla="*/ 53501 w 126454"/>
                            <a:gd name="connsiteY40" fmla="*/ 63102 h 75009"/>
                            <a:gd name="connsiteX41" fmla="*/ 63026 w 126454"/>
                            <a:gd name="connsiteY41" fmla="*/ 65483 h 75009"/>
                            <a:gd name="connsiteX42" fmla="*/ 67924 w 126454"/>
                            <a:gd name="connsiteY42" fmla="*/ 65772 h 75009"/>
                            <a:gd name="connsiteX43" fmla="*/ 67194 w 126454"/>
                            <a:gd name="connsiteY43" fmla="*/ 63383 h 75009"/>
                            <a:gd name="connsiteX44" fmla="*/ 67194 w 126454"/>
                            <a:gd name="connsiteY44" fmla="*/ 61072 h 75009"/>
                            <a:gd name="connsiteX45" fmla="*/ 64897 w 126454"/>
                            <a:gd name="connsiteY45" fmla="*/ 58761 h 75009"/>
                            <a:gd name="connsiteX46" fmla="*/ 62601 w 126454"/>
                            <a:gd name="connsiteY46" fmla="*/ 56449 h 75009"/>
                            <a:gd name="connsiteX47" fmla="*/ 58009 w 126454"/>
                            <a:gd name="connsiteY47" fmla="*/ 56449 h 75009"/>
                            <a:gd name="connsiteX48" fmla="*/ 53416 w 126454"/>
                            <a:gd name="connsiteY48" fmla="*/ 54138 h 75009"/>
                            <a:gd name="connsiteX49" fmla="*/ 51120 w 126454"/>
                            <a:gd name="connsiteY49" fmla="*/ 44893 h 75009"/>
                            <a:gd name="connsiteX50" fmla="*/ 60305 w 126454"/>
                            <a:gd name="connsiteY50" fmla="*/ 40271 h 75009"/>
                            <a:gd name="connsiteX51" fmla="*/ 64897 w 126454"/>
                            <a:gd name="connsiteY51" fmla="*/ 40271 h 75009"/>
                            <a:gd name="connsiteX52" fmla="*/ 67194 w 126454"/>
                            <a:gd name="connsiteY52" fmla="*/ 44893 h 75009"/>
                            <a:gd name="connsiteX53" fmla="*/ 69490 w 126454"/>
                            <a:gd name="connsiteY53" fmla="*/ 40271 h 75009"/>
                            <a:gd name="connsiteX54" fmla="*/ 69490 w 126454"/>
                            <a:gd name="connsiteY54" fmla="*/ 47204 h 75009"/>
                            <a:gd name="connsiteX55" fmla="*/ 69490 w 126454"/>
                            <a:gd name="connsiteY55" fmla="*/ 37960 h 75009"/>
                            <a:gd name="connsiteX56" fmla="*/ 76091 w 126454"/>
                            <a:gd name="connsiteY56" fmla="*/ 35359 h 75009"/>
                            <a:gd name="connsiteX57" fmla="*/ 53501 w 126454"/>
                            <a:gd name="connsiteY57" fmla="*/ 8334 h 75009"/>
                            <a:gd name="connsiteX58" fmla="*/ 51120 w 126454"/>
                            <a:gd name="connsiteY58" fmla="*/ 10715 h 75009"/>
                            <a:gd name="connsiteX59" fmla="*/ 48738 w 126454"/>
                            <a:gd name="connsiteY59" fmla="*/ 10715 h 75009"/>
                            <a:gd name="connsiteX60" fmla="*/ 53501 w 126454"/>
                            <a:gd name="connsiteY60" fmla="*/ 8334 h 75009"/>
                            <a:gd name="connsiteX61" fmla="*/ 45230 w 126454"/>
                            <a:gd name="connsiteY61" fmla="*/ 0 h 75009"/>
                            <a:gd name="connsiteX62" fmla="*/ 45230 w 126454"/>
                            <a:gd name="connsiteY62" fmla="*/ 11366 h 75009"/>
                            <a:gd name="connsiteX63" fmla="*/ 33637 w 126454"/>
                            <a:gd name="connsiteY63" fmla="*/ 13639 h 75009"/>
                            <a:gd name="connsiteX64" fmla="*/ 28011 w 126454"/>
                            <a:gd name="connsiteY64" fmla="*/ 15477 h 75009"/>
                            <a:gd name="connsiteX65" fmla="*/ 30681 w 126454"/>
                            <a:gd name="connsiteY65" fmla="*/ 15477 h 75009"/>
                            <a:gd name="connsiteX66" fmla="*/ 37527 w 126454"/>
                            <a:gd name="connsiteY66" fmla="*/ 15477 h 75009"/>
                            <a:gd name="connsiteX67" fmla="*/ 39809 w 126454"/>
                            <a:gd name="connsiteY67" fmla="*/ 22296 h 75009"/>
                            <a:gd name="connsiteX68" fmla="*/ 37527 w 126454"/>
                            <a:gd name="connsiteY68" fmla="*/ 26842 h 75009"/>
                            <a:gd name="connsiteX69" fmla="*/ 51219 w 126454"/>
                            <a:gd name="connsiteY69" fmla="*/ 26842 h 75009"/>
                            <a:gd name="connsiteX70" fmla="*/ 46655 w 126454"/>
                            <a:gd name="connsiteY70" fmla="*/ 33661 h 75009"/>
                            <a:gd name="connsiteX71" fmla="*/ 44373 w 126454"/>
                            <a:gd name="connsiteY71" fmla="*/ 35934 h 75009"/>
                            <a:gd name="connsiteX72" fmla="*/ 44373 w 126454"/>
                            <a:gd name="connsiteY72" fmla="*/ 33661 h 75009"/>
                            <a:gd name="connsiteX73" fmla="*/ 39809 w 126454"/>
                            <a:gd name="connsiteY73" fmla="*/ 38208 h 75009"/>
                            <a:gd name="connsiteX74" fmla="*/ 32963 w 126454"/>
                            <a:gd name="connsiteY74" fmla="*/ 42754 h 75009"/>
                            <a:gd name="connsiteX75" fmla="*/ 35245 w 126454"/>
                            <a:gd name="connsiteY75" fmla="*/ 45027 h 75009"/>
                            <a:gd name="connsiteX76" fmla="*/ 26117 w 126454"/>
                            <a:gd name="connsiteY76" fmla="*/ 45027 h 75009"/>
                            <a:gd name="connsiteX77" fmla="*/ 30681 w 126454"/>
                            <a:gd name="connsiteY77" fmla="*/ 47300 h 75009"/>
                            <a:gd name="connsiteX78" fmla="*/ 28587 w 126454"/>
                            <a:gd name="connsiteY78" fmla="*/ 49803 h 75009"/>
                            <a:gd name="connsiteX79" fmla="*/ 37830 w 126454"/>
                            <a:gd name="connsiteY79" fmla="*/ 49262 h 75009"/>
                            <a:gd name="connsiteX80" fmla="*/ 42071 w 126454"/>
                            <a:gd name="connsiteY80" fmla="*/ 51991 h 75009"/>
                            <a:gd name="connsiteX81" fmla="*/ 46596 w 126454"/>
                            <a:gd name="connsiteY81" fmla="*/ 47625 h 75009"/>
                            <a:gd name="connsiteX82" fmla="*/ 46596 w 126454"/>
                            <a:gd name="connsiteY82" fmla="*/ 49808 h 75009"/>
                            <a:gd name="connsiteX83" fmla="*/ 44334 w 126454"/>
                            <a:gd name="connsiteY83" fmla="*/ 51991 h 75009"/>
                            <a:gd name="connsiteX84" fmla="*/ 44334 w 126454"/>
                            <a:gd name="connsiteY84" fmla="*/ 60722 h 75009"/>
                            <a:gd name="connsiteX85" fmla="*/ 37547 w 126454"/>
                            <a:gd name="connsiteY85" fmla="*/ 58539 h 75009"/>
                            <a:gd name="connsiteX86" fmla="*/ 35285 w 126454"/>
                            <a:gd name="connsiteY86" fmla="*/ 58539 h 75009"/>
                            <a:gd name="connsiteX87" fmla="*/ 28539 w 126454"/>
                            <a:gd name="connsiteY87" fmla="*/ 49860 h 75009"/>
                            <a:gd name="connsiteX88" fmla="*/ 27828 w 126454"/>
                            <a:gd name="connsiteY88" fmla="*/ 50709 h 75009"/>
                            <a:gd name="connsiteX89" fmla="*/ 28399 w 126454"/>
                            <a:gd name="connsiteY89" fmla="*/ 54119 h 75009"/>
                            <a:gd name="connsiteX90" fmla="*/ 23835 w 126454"/>
                            <a:gd name="connsiteY90" fmla="*/ 60938 h 75009"/>
                            <a:gd name="connsiteX91" fmla="*/ 30681 w 126454"/>
                            <a:gd name="connsiteY91" fmla="*/ 65484 h 75009"/>
                            <a:gd name="connsiteX92" fmla="*/ 26117 w 126454"/>
                            <a:gd name="connsiteY92" fmla="*/ 65484 h 75009"/>
                            <a:gd name="connsiteX93" fmla="*/ 19271 w 126454"/>
                            <a:gd name="connsiteY93" fmla="*/ 65484 h 75009"/>
                            <a:gd name="connsiteX94" fmla="*/ 10142 w 126454"/>
                            <a:gd name="connsiteY94" fmla="*/ 58665 h 75009"/>
                            <a:gd name="connsiteX95" fmla="*/ 7860 w 126454"/>
                            <a:gd name="connsiteY95" fmla="*/ 56392 h 75009"/>
                            <a:gd name="connsiteX96" fmla="*/ 3296 w 126454"/>
                            <a:gd name="connsiteY96" fmla="*/ 47300 h 75009"/>
                            <a:gd name="connsiteX97" fmla="*/ 1014 w 126454"/>
                            <a:gd name="connsiteY97" fmla="*/ 47300 h 75009"/>
                            <a:gd name="connsiteX98" fmla="*/ 1014 w 126454"/>
                            <a:gd name="connsiteY98" fmla="*/ 38208 h 75009"/>
                            <a:gd name="connsiteX99" fmla="*/ 5578 w 126454"/>
                            <a:gd name="connsiteY99" fmla="*/ 40481 h 75009"/>
                            <a:gd name="connsiteX100" fmla="*/ 1014 w 126454"/>
                            <a:gd name="connsiteY100" fmla="*/ 38208 h 75009"/>
                            <a:gd name="connsiteX101" fmla="*/ 1014 w 126454"/>
                            <a:gd name="connsiteY101" fmla="*/ 24569 h 75009"/>
                            <a:gd name="connsiteX102" fmla="*/ 3296 w 126454"/>
                            <a:gd name="connsiteY102" fmla="*/ 22296 h 75009"/>
                            <a:gd name="connsiteX103" fmla="*/ 7860 w 126454"/>
                            <a:gd name="connsiteY103" fmla="*/ 24569 h 75009"/>
                            <a:gd name="connsiteX104" fmla="*/ 12424 w 126454"/>
                            <a:gd name="connsiteY104" fmla="*/ 24569 h 75009"/>
                            <a:gd name="connsiteX105" fmla="*/ 16988 w 126454"/>
                            <a:gd name="connsiteY105" fmla="*/ 24569 h 75009"/>
                            <a:gd name="connsiteX106" fmla="*/ 21553 w 126454"/>
                            <a:gd name="connsiteY106" fmla="*/ 26842 h 75009"/>
                            <a:gd name="connsiteX107" fmla="*/ 19271 w 126454"/>
                            <a:gd name="connsiteY107" fmla="*/ 22296 h 75009"/>
                            <a:gd name="connsiteX108" fmla="*/ 21407 w 126454"/>
                            <a:gd name="connsiteY108" fmla="*/ 15912 h 75009"/>
                            <a:gd name="connsiteX109" fmla="*/ 17407 w 126454"/>
                            <a:gd name="connsiteY109" fmla="*/ 15912 h 75009"/>
                            <a:gd name="connsiteX110" fmla="*/ 11448 w 126454"/>
                            <a:gd name="connsiteY110" fmla="*/ 17859 h 75009"/>
                            <a:gd name="connsiteX111" fmla="*/ 15401 w 126454"/>
                            <a:gd name="connsiteY111" fmla="*/ 17859 h 75009"/>
                            <a:gd name="connsiteX112" fmla="*/ 10638 w 126454"/>
                            <a:gd name="connsiteY112" fmla="*/ 22622 h 75009"/>
                            <a:gd name="connsiteX113" fmla="*/ 8257 w 126454"/>
                            <a:gd name="connsiteY113" fmla="*/ 22622 h 75009"/>
                            <a:gd name="connsiteX114" fmla="*/ 10480 w 126454"/>
                            <a:gd name="connsiteY114" fmla="*/ 18175 h 75009"/>
                            <a:gd name="connsiteX115" fmla="*/ 10451 w 126454"/>
                            <a:gd name="connsiteY115" fmla="*/ 18185 h 75009"/>
                            <a:gd name="connsiteX116" fmla="*/ 5814 w 126454"/>
                            <a:gd name="connsiteY116" fmla="*/ 22731 h 75009"/>
                            <a:gd name="connsiteX117" fmla="*/ 8132 w 126454"/>
                            <a:gd name="connsiteY117" fmla="*/ 13639 h 75009"/>
                            <a:gd name="connsiteX118" fmla="*/ 24363 w 126454"/>
                            <a:gd name="connsiteY118" fmla="*/ 13639 h 75009"/>
                            <a:gd name="connsiteX119" fmla="*/ 31319 w 126454"/>
                            <a:gd name="connsiteY119" fmla="*/ 4546 h 75009"/>
                            <a:gd name="connsiteX120" fmla="*/ 45230 w 126454"/>
                            <a:gd name="connsiteY120" fmla="*/ 0 h 75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126454" h="75009">
                              <a:moveTo>
                                <a:pt x="53501" y="72628"/>
                              </a:moveTo>
                              <a:cubicBezTo>
                                <a:pt x="55883" y="72628"/>
                                <a:pt x="58264" y="72628"/>
                                <a:pt x="58264" y="75009"/>
                              </a:cubicBezTo>
                              <a:cubicBezTo>
                                <a:pt x="58264" y="75009"/>
                                <a:pt x="55883" y="75009"/>
                                <a:pt x="55883" y="75009"/>
                              </a:cubicBezTo>
                              <a:cubicBezTo>
                                <a:pt x="55883" y="75009"/>
                                <a:pt x="55883" y="75009"/>
                                <a:pt x="53501" y="72628"/>
                              </a:cubicBezTo>
                              <a:close/>
                              <a:moveTo>
                                <a:pt x="28498" y="60721"/>
                              </a:moveTo>
                              <a:cubicBezTo>
                                <a:pt x="30879" y="58340"/>
                                <a:pt x="38023" y="63103"/>
                                <a:pt x="35642" y="65484"/>
                              </a:cubicBezTo>
                              <a:cubicBezTo>
                                <a:pt x="33261" y="65484"/>
                                <a:pt x="30879" y="60721"/>
                                <a:pt x="28498" y="60721"/>
                              </a:cubicBezTo>
                              <a:close/>
                              <a:moveTo>
                                <a:pt x="74932" y="60721"/>
                              </a:moveTo>
                              <a:cubicBezTo>
                                <a:pt x="76917" y="60721"/>
                                <a:pt x="78901" y="60721"/>
                                <a:pt x="80886" y="60721"/>
                              </a:cubicBezTo>
                              <a:cubicBezTo>
                                <a:pt x="80886" y="63102"/>
                                <a:pt x="74932" y="63102"/>
                                <a:pt x="74932" y="63102"/>
                              </a:cubicBezTo>
                              <a:cubicBezTo>
                                <a:pt x="74932" y="63102"/>
                                <a:pt x="74932" y="63102"/>
                                <a:pt x="74932" y="60721"/>
                              </a:cubicBezTo>
                              <a:close/>
                              <a:moveTo>
                                <a:pt x="46358" y="60126"/>
                              </a:moveTo>
                              <a:cubicBezTo>
                                <a:pt x="46953" y="60126"/>
                                <a:pt x="47548" y="60722"/>
                                <a:pt x="47548" y="63103"/>
                              </a:cubicBezTo>
                              <a:cubicBezTo>
                                <a:pt x="47548" y="63103"/>
                                <a:pt x="47548" y="63103"/>
                                <a:pt x="45167" y="60722"/>
                              </a:cubicBezTo>
                              <a:cubicBezTo>
                                <a:pt x="45167" y="60722"/>
                                <a:pt x="45762" y="60126"/>
                                <a:pt x="46358" y="60126"/>
                              </a:cubicBezTo>
                              <a:close/>
                              <a:moveTo>
                                <a:pt x="51120" y="58340"/>
                              </a:moveTo>
                              <a:cubicBezTo>
                                <a:pt x="51120" y="63103"/>
                                <a:pt x="49334" y="65484"/>
                                <a:pt x="49334" y="67865"/>
                              </a:cubicBezTo>
                              <a:cubicBezTo>
                                <a:pt x="47548" y="65484"/>
                                <a:pt x="47548" y="65484"/>
                                <a:pt x="47548" y="63103"/>
                              </a:cubicBezTo>
                              <a:cubicBezTo>
                                <a:pt x="49334" y="60721"/>
                                <a:pt x="49334" y="60721"/>
                                <a:pt x="51120" y="58340"/>
                              </a:cubicBezTo>
                              <a:close/>
                              <a:moveTo>
                                <a:pt x="124225" y="56853"/>
                              </a:moveTo>
                              <a:cubicBezTo>
                                <a:pt x="128511" y="58937"/>
                                <a:pt x="126368" y="63104"/>
                                <a:pt x="119938" y="61020"/>
                              </a:cubicBezTo>
                              <a:cubicBezTo>
                                <a:pt x="117795" y="56853"/>
                                <a:pt x="122082" y="54769"/>
                                <a:pt x="124225" y="56853"/>
                              </a:cubicBezTo>
                              <a:close/>
                              <a:moveTo>
                                <a:pt x="45167" y="38100"/>
                              </a:moveTo>
                              <a:cubicBezTo>
                                <a:pt x="45167" y="40482"/>
                                <a:pt x="45167" y="40482"/>
                                <a:pt x="47548" y="40482"/>
                              </a:cubicBezTo>
                              <a:cubicBezTo>
                                <a:pt x="47548" y="42863"/>
                                <a:pt x="47548" y="42863"/>
                                <a:pt x="45167" y="42863"/>
                              </a:cubicBezTo>
                              <a:cubicBezTo>
                                <a:pt x="45167" y="42863"/>
                                <a:pt x="45167" y="40482"/>
                                <a:pt x="45167" y="38100"/>
                              </a:cubicBezTo>
                              <a:close/>
                              <a:moveTo>
                                <a:pt x="76091" y="35359"/>
                              </a:moveTo>
                              <a:cubicBezTo>
                                <a:pt x="78101" y="35071"/>
                                <a:pt x="79823" y="35648"/>
                                <a:pt x="80971" y="37960"/>
                              </a:cubicBezTo>
                              <a:cubicBezTo>
                                <a:pt x="78675" y="40271"/>
                                <a:pt x="83267" y="44893"/>
                                <a:pt x="78675" y="47204"/>
                              </a:cubicBezTo>
                              <a:cubicBezTo>
                                <a:pt x="78675" y="47204"/>
                                <a:pt x="71786" y="49516"/>
                                <a:pt x="76378" y="51827"/>
                              </a:cubicBezTo>
                              <a:cubicBezTo>
                                <a:pt x="76378" y="51827"/>
                                <a:pt x="80971" y="54138"/>
                                <a:pt x="76378" y="56449"/>
                              </a:cubicBezTo>
                              <a:cubicBezTo>
                                <a:pt x="74082" y="56449"/>
                                <a:pt x="71786" y="58761"/>
                                <a:pt x="74082" y="61072"/>
                              </a:cubicBezTo>
                              <a:cubicBezTo>
                                <a:pt x="71786" y="63383"/>
                                <a:pt x="71786" y="63383"/>
                                <a:pt x="69490" y="61072"/>
                              </a:cubicBezTo>
                              <a:cubicBezTo>
                                <a:pt x="69490" y="63383"/>
                                <a:pt x="74082" y="63383"/>
                                <a:pt x="74082" y="65694"/>
                              </a:cubicBezTo>
                              <a:cubicBezTo>
                                <a:pt x="74082" y="68006"/>
                                <a:pt x="69490" y="70317"/>
                                <a:pt x="69490" y="72628"/>
                              </a:cubicBezTo>
                              <a:cubicBezTo>
                                <a:pt x="69490" y="71472"/>
                                <a:pt x="68916" y="69161"/>
                                <a:pt x="68342" y="67139"/>
                              </a:cubicBezTo>
                              <a:lnTo>
                                <a:pt x="68035" y="66137"/>
                              </a:lnTo>
                              <a:lnTo>
                                <a:pt x="67789" y="67865"/>
                              </a:lnTo>
                              <a:cubicBezTo>
                                <a:pt x="65407" y="72627"/>
                                <a:pt x="55882" y="67865"/>
                                <a:pt x="53501" y="65483"/>
                              </a:cubicBezTo>
                              <a:cubicBezTo>
                                <a:pt x="53501" y="65483"/>
                                <a:pt x="53501" y="65483"/>
                                <a:pt x="55882" y="65483"/>
                              </a:cubicBezTo>
                              <a:cubicBezTo>
                                <a:pt x="55882" y="65483"/>
                                <a:pt x="55882" y="65483"/>
                                <a:pt x="53501" y="63102"/>
                              </a:cubicBezTo>
                              <a:cubicBezTo>
                                <a:pt x="58264" y="60721"/>
                                <a:pt x="58264" y="65483"/>
                                <a:pt x="63026" y="65483"/>
                              </a:cubicBezTo>
                              <a:lnTo>
                                <a:pt x="67924" y="65772"/>
                              </a:lnTo>
                              <a:lnTo>
                                <a:pt x="67194" y="63383"/>
                              </a:lnTo>
                              <a:cubicBezTo>
                                <a:pt x="67194" y="63383"/>
                                <a:pt x="67194" y="63383"/>
                                <a:pt x="67194" y="61072"/>
                              </a:cubicBezTo>
                              <a:cubicBezTo>
                                <a:pt x="67194" y="61072"/>
                                <a:pt x="64897" y="61072"/>
                                <a:pt x="64897" y="58761"/>
                              </a:cubicBezTo>
                              <a:cubicBezTo>
                                <a:pt x="67194" y="61072"/>
                                <a:pt x="67194" y="56449"/>
                                <a:pt x="62601" y="56449"/>
                              </a:cubicBezTo>
                              <a:cubicBezTo>
                                <a:pt x="60305" y="56449"/>
                                <a:pt x="60305" y="56449"/>
                                <a:pt x="58009" y="56449"/>
                              </a:cubicBezTo>
                              <a:cubicBezTo>
                                <a:pt x="55713" y="56449"/>
                                <a:pt x="55713" y="54138"/>
                                <a:pt x="53416" y="54138"/>
                              </a:cubicBezTo>
                              <a:cubicBezTo>
                                <a:pt x="60305" y="54138"/>
                                <a:pt x="53416" y="44893"/>
                                <a:pt x="51120" y="44893"/>
                              </a:cubicBezTo>
                              <a:cubicBezTo>
                                <a:pt x="53416" y="44893"/>
                                <a:pt x="60305" y="44893"/>
                                <a:pt x="60305" y="40271"/>
                              </a:cubicBezTo>
                              <a:cubicBezTo>
                                <a:pt x="60305" y="40271"/>
                                <a:pt x="64897" y="37960"/>
                                <a:pt x="64897" y="40271"/>
                              </a:cubicBezTo>
                              <a:cubicBezTo>
                                <a:pt x="64897" y="40271"/>
                                <a:pt x="64897" y="44893"/>
                                <a:pt x="67194" y="44893"/>
                              </a:cubicBezTo>
                              <a:cubicBezTo>
                                <a:pt x="67194" y="47204"/>
                                <a:pt x="69490" y="40271"/>
                                <a:pt x="69490" y="40271"/>
                              </a:cubicBezTo>
                              <a:cubicBezTo>
                                <a:pt x="71786" y="42582"/>
                                <a:pt x="69490" y="44893"/>
                                <a:pt x="69490" y="47204"/>
                              </a:cubicBezTo>
                              <a:cubicBezTo>
                                <a:pt x="74082" y="47204"/>
                                <a:pt x="71786" y="40271"/>
                                <a:pt x="69490" y="37960"/>
                              </a:cubicBezTo>
                              <a:cubicBezTo>
                                <a:pt x="71786" y="36804"/>
                                <a:pt x="74082" y="35648"/>
                                <a:pt x="76091" y="35359"/>
                              </a:cubicBezTo>
                              <a:close/>
                              <a:moveTo>
                                <a:pt x="53501" y="8334"/>
                              </a:moveTo>
                              <a:cubicBezTo>
                                <a:pt x="53501" y="8334"/>
                                <a:pt x="53501" y="10715"/>
                                <a:pt x="51120" y="10715"/>
                              </a:cubicBezTo>
                              <a:cubicBezTo>
                                <a:pt x="51120" y="10715"/>
                                <a:pt x="51120" y="10715"/>
                                <a:pt x="48738" y="10715"/>
                              </a:cubicBezTo>
                              <a:cubicBezTo>
                                <a:pt x="51120" y="8334"/>
                                <a:pt x="53501" y="8334"/>
                                <a:pt x="53501" y="8334"/>
                              </a:cubicBezTo>
                              <a:close/>
                              <a:moveTo>
                                <a:pt x="45230" y="0"/>
                              </a:moveTo>
                              <a:cubicBezTo>
                                <a:pt x="40593" y="2273"/>
                                <a:pt x="47549" y="6819"/>
                                <a:pt x="45230" y="11366"/>
                              </a:cubicBezTo>
                              <a:cubicBezTo>
                                <a:pt x="42912" y="15912"/>
                                <a:pt x="38275" y="15912"/>
                                <a:pt x="33637" y="13639"/>
                              </a:cubicBezTo>
                              <a:lnTo>
                                <a:pt x="28011" y="15477"/>
                              </a:lnTo>
                              <a:lnTo>
                                <a:pt x="30681" y="15477"/>
                              </a:lnTo>
                              <a:cubicBezTo>
                                <a:pt x="32963" y="15477"/>
                                <a:pt x="35245" y="15477"/>
                                <a:pt x="37527" y="15477"/>
                              </a:cubicBezTo>
                              <a:cubicBezTo>
                                <a:pt x="39809" y="15477"/>
                                <a:pt x="39809" y="20023"/>
                                <a:pt x="39809" y="22296"/>
                              </a:cubicBezTo>
                              <a:cubicBezTo>
                                <a:pt x="42091" y="24569"/>
                                <a:pt x="37527" y="26842"/>
                                <a:pt x="37527" y="26842"/>
                              </a:cubicBezTo>
                              <a:cubicBezTo>
                                <a:pt x="39809" y="24569"/>
                                <a:pt x="48937" y="26842"/>
                                <a:pt x="51219" y="26842"/>
                              </a:cubicBezTo>
                              <a:cubicBezTo>
                                <a:pt x="53501" y="29115"/>
                                <a:pt x="48937" y="33661"/>
                                <a:pt x="46655" y="33661"/>
                              </a:cubicBezTo>
                              <a:cubicBezTo>
                                <a:pt x="46655" y="33661"/>
                                <a:pt x="44373" y="33661"/>
                                <a:pt x="44373" y="35934"/>
                              </a:cubicBezTo>
                              <a:cubicBezTo>
                                <a:pt x="42091" y="35934"/>
                                <a:pt x="42091" y="33661"/>
                                <a:pt x="44373" y="33661"/>
                              </a:cubicBezTo>
                              <a:cubicBezTo>
                                <a:pt x="39809" y="31388"/>
                                <a:pt x="39809" y="33661"/>
                                <a:pt x="39809" y="38208"/>
                              </a:cubicBezTo>
                              <a:cubicBezTo>
                                <a:pt x="39809" y="42754"/>
                                <a:pt x="35245" y="40481"/>
                                <a:pt x="32963" y="42754"/>
                              </a:cubicBezTo>
                              <a:cubicBezTo>
                                <a:pt x="32963" y="42754"/>
                                <a:pt x="35245" y="42754"/>
                                <a:pt x="35245" y="45027"/>
                              </a:cubicBezTo>
                              <a:cubicBezTo>
                                <a:pt x="32963" y="47300"/>
                                <a:pt x="28399" y="45027"/>
                                <a:pt x="26117" y="45027"/>
                              </a:cubicBezTo>
                              <a:cubicBezTo>
                                <a:pt x="28399" y="45027"/>
                                <a:pt x="30681" y="47300"/>
                                <a:pt x="30681" y="47300"/>
                              </a:cubicBezTo>
                              <a:lnTo>
                                <a:pt x="28587" y="49803"/>
                              </a:lnTo>
                              <a:lnTo>
                                <a:pt x="37830" y="49262"/>
                              </a:lnTo>
                              <a:cubicBezTo>
                                <a:pt x="41506" y="49262"/>
                                <a:pt x="44334" y="49808"/>
                                <a:pt x="42071" y="51991"/>
                              </a:cubicBezTo>
                              <a:cubicBezTo>
                                <a:pt x="44334" y="51991"/>
                                <a:pt x="46596" y="49808"/>
                                <a:pt x="46596" y="47625"/>
                              </a:cubicBezTo>
                              <a:cubicBezTo>
                                <a:pt x="46596" y="47625"/>
                                <a:pt x="46596" y="49808"/>
                                <a:pt x="46596" y="49808"/>
                              </a:cubicBezTo>
                              <a:cubicBezTo>
                                <a:pt x="46596" y="49808"/>
                                <a:pt x="46596" y="49808"/>
                                <a:pt x="44334" y="51991"/>
                              </a:cubicBezTo>
                              <a:cubicBezTo>
                                <a:pt x="51120" y="51991"/>
                                <a:pt x="51120" y="58539"/>
                                <a:pt x="44334" y="60722"/>
                              </a:cubicBezTo>
                              <a:cubicBezTo>
                                <a:pt x="44334" y="60722"/>
                                <a:pt x="37547" y="60722"/>
                                <a:pt x="37547" y="58539"/>
                              </a:cubicBezTo>
                              <a:cubicBezTo>
                                <a:pt x="37547" y="56356"/>
                                <a:pt x="35285" y="56356"/>
                                <a:pt x="35285" y="58539"/>
                              </a:cubicBezTo>
                              <a:lnTo>
                                <a:pt x="28539" y="49860"/>
                              </a:lnTo>
                              <a:lnTo>
                                <a:pt x="27828" y="50709"/>
                              </a:lnTo>
                              <a:cubicBezTo>
                                <a:pt x="27258" y="51277"/>
                                <a:pt x="27258" y="51846"/>
                                <a:pt x="28399" y="54119"/>
                              </a:cubicBezTo>
                              <a:cubicBezTo>
                                <a:pt x="30681" y="56392"/>
                                <a:pt x="23835" y="56392"/>
                                <a:pt x="23835" y="60938"/>
                              </a:cubicBezTo>
                              <a:cubicBezTo>
                                <a:pt x="28399" y="60938"/>
                                <a:pt x="30681" y="60938"/>
                                <a:pt x="30681" y="65484"/>
                              </a:cubicBezTo>
                              <a:cubicBezTo>
                                <a:pt x="28399" y="65484"/>
                                <a:pt x="28399" y="63211"/>
                                <a:pt x="26117" y="65484"/>
                              </a:cubicBezTo>
                              <a:cubicBezTo>
                                <a:pt x="23835" y="65484"/>
                                <a:pt x="21553" y="65484"/>
                                <a:pt x="19271" y="65484"/>
                              </a:cubicBezTo>
                              <a:cubicBezTo>
                                <a:pt x="16988" y="63211"/>
                                <a:pt x="7860" y="65484"/>
                                <a:pt x="10142" y="58665"/>
                              </a:cubicBezTo>
                              <a:cubicBezTo>
                                <a:pt x="7860" y="60938"/>
                                <a:pt x="7860" y="58665"/>
                                <a:pt x="7860" y="56392"/>
                              </a:cubicBezTo>
                              <a:cubicBezTo>
                                <a:pt x="16988" y="56392"/>
                                <a:pt x="5578" y="49573"/>
                                <a:pt x="3296" y="47300"/>
                              </a:cubicBezTo>
                              <a:cubicBezTo>
                                <a:pt x="3296" y="51846"/>
                                <a:pt x="1014" y="47300"/>
                                <a:pt x="1014" y="47300"/>
                              </a:cubicBezTo>
                              <a:cubicBezTo>
                                <a:pt x="1014" y="42754"/>
                                <a:pt x="1014" y="40481"/>
                                <a:pt x="1014" y="38208"/>
                              </a:cubicBezTo>
                              <a:cubicBezTo>
                                <a:pt x="1014" y="40481"/>
                                <a:pt x="5578" y="45027"/>
                                <a:pt x="5578" y="40481"/>
                              </a:cubicBezTo>
                              <a:cubicBezTo>
                                <a:pt x="5578" y="38208"/>
                                <a:pt x="1014" y="33661"/>
                                <a:pt x="1014" y="38208"/>
                              </a:cubicBezTo>
                              <a:cubicBezTo>
                                <a:pt x="-1268" y="35934"/>
                                <a:pt x="1014" y="29115"/>
                                <a:pt x="1014" y="24569"/>
                              </a:cubicBezTo>
                              <a:cubicBezTo>
                                <a:pt x="3296" y="22296"/>
                                <a:pt x="3296" y="22296"/>
                                <a:pt x="3296" y="22296"/>
                              </a:cubicBezTo>
                              <a:cubicBezTo>
                                <a:pt x="3296" y="24569"/>
                                <a:pt x="7860" y="26842"/>
                                <a:pt x="7860" y="24569"/>
                              </a:cubicBezTo>
                              <a:cubicBezTo>
                                <a:pt x="10142" y="29115"/>
                                <a:pt x="12424" y="26842"/>
                                <a:pt x="12424" y="24569"/>
                              </a:cubicBezTo>
                              <a:cubicBezTo>
                                <a:pt x="14706" y="20023"/>
                                <a:pt x="21553" y="22296"/>
                                <a:pt x="16988" y="24569"/>
                              </a:cubicBezTo>
                              <a:cubicBezTo>
                                <a:pt x="19271" y="24569"/>
                                <a:pt x="21553" y="24569"/>
                                <a:pt x="21553" y="26842"/>
                              </a:cubicBezTo>
                              <a:cubicBezTo>
                                <a:pt x="23835" y="24569"/>
                                <a:pt x="23835" y="22296"/>
                                <a:pt x="19271" y="22296"/>
                              </a:cubicBezTo>
                              <a:lnTo>
                                <a:pt x="21407" y="15912"/>
                              </a:lnTo>
                              <a:lnTo>
                                <a:pt x="17407" y="15912"/>
                              </a:lnTo>
                              <a:lnTo>
                                <a:pt x="11448" y="17859"/>
                              </a:lnTo>
                              <a:lnTo>
                                <a:pt x="15401" y="17859"/>
                              </a:lnTo>
                              <a:cubicBezTo>
                                <a:pt x="15401" y="20241"/>
                                <a:pt x="15401" y="22622"/>
                                <a:pt x="10638" y="22622"/>
                              </a:cubicBezTo>
                              <a:cubicBezTo>
                                <a:pt x="10638" y="22622"/>
                                <a:pt x="10638" y="22622"/>
                                <a:pt x="8257" y="22622"/>
                              </a:cubicBezTo>
                              <a:lnTo>
                                <a:pt x="10480" y="18175"/>
                              </a:lnTo>
                              <a:lnTo>
                                <a:pt x="10451" y="18185"/>
                              </a:lnTo>
                              <a:cubicBezTo>
                                <a:pt x="10451" y="20458"/>
                                <a:pt x="8132" y="22731"/>
                                <a:pt x="5814" y="22731"/>
                              </a:cubicBezTo>
                              <a:cubicBezTo>
                                <a:pt x="3495" y="20458"/>
                                <a:pt x="5814" y="15912"/>
                                <a:pt x="8132" y="13639"/>
                              </a:cubicBezTo>
                              <a:cubicBezTo>
                                <a:pt x="12770" y="11366"/>
                                <a:pt x="19726" y="13639"/>
                                <a:pt x="24363" y="13639"/>
                              </a:cubicBezTo>
                              <a:cubicBezTo>
                                <a:pt x="26681" y="11366"/>
                                <a:pt x="29000" y="9092"/>
                                <a:pt x="31319" y="4546"/>
                              </a:cubicBezTo>
                              <a:cubicBezTo>
                                <a:pt x="33637" y="2273"/>
                                <a:pt x="42912" y="0"/>
                                <a:pt x="45230" y="0"/>
                              </a:cubicBezTo>
                              <a:close/>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74" name="Czech Republic">
                          <a:extLst>
                            <a:ext uri="{FF2B5EF4-FFF2-40B4-BE49-F238E27FC236}">
                              <a16:creationId xmlns:a16="http://schemas.microsoft.com/office/drawing/2014/main" id="{50A113CB-7A76-CB24-3BBA-12A53B621759}"/>
                            </a:ext>
                          </a:extLst>
                        </p:cNvPr>
                        <p:cNvSpPr>
                          <a:spLocks/>
                        </p:cNvSpPr>
                        <p:nvPr/>
                      </p:nvSpPr>
                      <p:spPr bwMode="auto">
                        <a:xfrm>
                          <a:off x="4053987" y="2082968"/>
                          <a:ext cx="131041" cy="57027"/>
                        </a:xfrm>
                        <a:custGeom>
                          <a:avLst/>
                          <a:gdLst/>
                          <a:ahLst/>
                          <a:cxnLst>
                            <a:cxn ang="0">
                              <a:pos x="0" y="7"/>
                            </a:cxn>
                            <a:cxn ang="0">
                              <a:pos x="2" y="9"/>
                            </a:cxn>
                            <a:cxn ang="0">
                              <a:pos x="8" y="6"/>
                            </a:cxn>
                            <a:cxn ang="0">
                              <a:pos x="19" y="1"/>
                            </a:cxn>
                            <a:cxn ang="0">
                              <a:pos x="18" y="0"/>
                            </a:cxn>
                            <a:cxn ang="0">
                              <a:pos x="20" y="0"/>
                            </a:cxn>
                            <a:cxn ang="0">
                              <a:pos x="22" y="2"/>
                            </a:cxn>
                            <a:cxn ang="0">
                              <a:pos x="24" y="1"/>
                            </a:cxn>
                            <a:cxn ang="0">
                              <a:pos x="25" y="0"/>
                            </a:cxn>
                            <a:cxn ang="0">
                              <a:pos x="26" y="2"/>
                            </a:cxn>
                            <a:cxn ang="0">
                              <a:pos x="32" y="4"/>
                            </a:cxn>
                            <a:cxn ang="0">
                              <a:pos x="34" y="4"/>
                            </a:cxn>
                            <a:cxn ang="0">
                              <a:pos x="34" y="6"/>
                            </a:cxn>
                            <a:cxn ang="0">
                              <a:pos x="37" y="9"/>
                            </a:cxn>
                            <a:cxn ang="0">
                              <a:pos x="40" y="8"/>
                            </a:cxn>
                            <a:cxn ang="0">
                              <a:pos x="39" y="6"/>
                            </a:cxn>
                            <a:cxn ang="0">
                              <a:pos x="46" y="8"/>
                            </a:cxn>
                            <a:cxn ang="0">
                              <a:pos x="48" y="11"/>
                            </a:cxn>
                            <a:cxn ang="0">
                              <a:pos x="51" y="11"/>
                            </a:cxn>
                            <a:cxn ang="0">
                              <a:pos x="54" y="13"/>
                            </a:cxn>
                            <a:cxn ang="0">
                              <a:pos x="57" y="16"/>
                            </a:cxn>
                            <a:cxn ang="0">
                              <a:pos x="51" y="18"/>
                            </a:cxn>
                            <a:cxn ang="0">
                              <a:pos x="49" y="21"/>
                            </a:cxn>
                            <a:cxn ang="0">
                              <a:pos x="44" y="23"/>
                            </a:cxn>
                            <a:cxn ang="0">
                              <a:pos x="40" y="25"/>
                            </a:cxn>
                            <a:cxn ang="0">
                              <a:pos x="34" y="23"/>
                            </a:cxn>
                            <a:cxn ang="0">
                              <a:pos x="29" y="22"/>
                            </a:cxn>
                            <a:cxn ang="0">
                              <a:pos x="24" y="21"/>
                            </a:cxn>
                            <a:cxn ang="0">
                              <a:pos x="24" y="23"/>
                            </a:cxn>
                            <a:cxn ang="0">
                              <a:pos x="22" y="25"/>
                            </a:cxn>
                            <a:cxn ang="0">
                              <a:pos x="18" y="25"/>
                            </a:cxn>
                            <a:cxn ang="0">
                              <a:pos x="15" y="23"/>
                            </a:cxn>
                            <a:cxn ang="0">
                              <a:pos x="11" y="21"/>
                            </a:cxn>
                            <a:cxn ang="0">
                              <a:pos x="7" y="18"/>
                            </a:cxn>
                            <a:cxn ang="0">
                              <a:pos x="3" y="13"/>
                            </a:cxn>
                            <a:cxn ang="0">
                              <a:pos x="0" y="7"/>
                            </a:cxn>
                          </a:cxnLst>
                          <a:rect l="0" t="0" r="r" b="b"/>
                          <a:pathLst>
                            <a:path w="57" h="25">
                              <a:moveTo>
                                <a:pt x="0" y="7"/>
                              </a:moveTo>
                              <a:cubicBezTo>
                                <a:pt x="1" y="7"/>
                                <a:pt x="2" y="8"/>
                                <a:pt x="2" y="9"/>
                              </a:cubicBezTo>
                              <a:cubicBezTo>
                                <a:pt x="2" y="6"/>
                                <a:pt x="7" y="6"/>
                                <a:pt x="8" y="6"/>
                              </a:cubicBezTo>
                              <a:cubicBezTo>
                                <a:pt x="11" y="3"/>
                                <a:pt x="15" y="2"/>
                                <a:pt x="19" y="1"/>
                              </a:cubicBezTo>
                              <a:cubicBezTo>
                                <a:pt x="18" y="0"/>
                                <a:pt x="18" y="0"/>
                                <a:pt x="18" y="0"/>
                              </a:cubicBezTo>
                              <a:cubicBezTo>
                                <a:pt x="18" y="0"/>
                                <a:pt x="19" y="0"/>
                                <a:pt x="20" y="0"/>
                              </a:cubicBezTo>
                              <a:cubicBezTo>
                                <a:pt x="20" y="1"/>
                                <a:pt x="21" y="2"/>
                                <a:pt x="22" y="2"/>
                              </a:cubicBezTo>
                              <a:cubicBezTo>
                                <a:pt x="23" y="1"/>
                                <a:pt x="23" y="2"/>
                                <a:pt x="24" y="1"/>
                              </a:cubicBezTo>
                              <a:cubicBezTo>
                                <a:pt x="24" y="0"/>
                                <a:pt x="24" y="0"/>
                                <a:pt x="25" y="0"/>
                              </a:cubicBezTo>
                              <a:cubicBezTo>
                                <a:pt x="26" y="1"/>
                                <a:pt x="26" y="1"/>
                                <a:pt x="26" y="2"/>
                              </a:cubicBezTo>
                              <a:cubicBezTo>
                                <a:pt x="27" y="4"/>
                                <a:pt x="32" y="1"/>
                                <a:pt x="32" y="4"/>
                              </a:cubicBezTo>
                              <a:cubicBezTo>
                                <a:pt x="33" y="4"/>
                                <a:pt x="34" y="4"/>
                                <a:pt x="34" y="4"/>
                              </a:cubicBezTo>
                              <a:cubicBezTo>
                                <a:pt x="37" y="4"/>
                                <a:pt x="34" y="5"/>
                                <a:pt x="34" y="6"/>
                              </a:cubicBezTo>
                              <a:cubicBezTo>
                                <a:pt x="35" y="7"/>
                                <a:pt x="36" y="8"/>
                                <a:pt x="37" y="9"/>
                              </a:cubicBezTo>
                              <a:cubicBezTo>
                                <a:pt x="38" y="10"/>
                                <a:pt x="39" y="8"/>
                                <a:pt x="40" y="8"/>
                              </a:cubicBezTo>
                              <a:cubicBezTo>
                                <a:pt x="40" y="7"/>
                                <a:pt x="39" y="7"/>
                                <a:pt x="39" y="6"/>
                              </a:cubicBezTo>
                              <a:cubicBezTo>
                                <a:pt x="42" y="7"/>
                                <a:pt x="44" y="8"/>
                                <a:pt x="46" y="8"/>
                              </a:cubicBezTo>
                              <a:cubicBezTo>
                                <a:pt x="46" y="9"/>
                                <a:pt x="46" y="11"/>
                                <a:pt x="48" y="11"/>
                              </a:cubicBezTo>
                              <a:cubicBezTo>
                                <a:pt x="49" y="10"/>
                                <a:pt x="49" y="10"/>
                                <a:pt x="51" y="11"/>
                              </a:cubicBezTo>
                              <a:cubicBezTo>
                                <a:pt x="53" y="12"/>
                                <a:pt x="53" y="11"/>
                                <a:pt x="54" y="13"/>
                              </a:cubicBezTo>
                              <a:cubicBezTo>
                                <a:pt x="52" y="12"/>
                                <a:pt x="55" y="13"/>
                                <a:pt x="57" y="16"/>
                              </a:cubicBezTo>
                              <a:cubicBezTo>
                                <a:pt x="55" y="17"/>
                                <a:pt x="53" y="17"/>
                                <a:pt x="51" y="18"/>
                              </a:cubicBezTo>
                              <a:cubicBezTo>
                                <a:pt x="50" y="19"/>
                                <a:pt x="50" y="20"/>
                                <a:pt x="49" y="21"/>
                              </a:cubicBezTo>
                              <a:cubicBezTo>
                                <a:pt x="48" y="21"/>
                                <a:pt x="47" y="23"/>
                                <a:pt x="44" y="23"/>
                              </a:cubicBezTo>
                              <a:cubicBezTo>
                                <a:pt x="43" y="23"/>
                                <a:pt x="41" y="23"/>
                                <a:pt x="40" y="25"/>
                              </a:cubicBezTo>
                              <a:cubicBezTo>
                                <a:pt x="40" y="22"/>
                                <a:pt x="36" y="24"/>
                                <a:pt x="34" y="23"/>
                              </a:cubicBezTo>
                              <a:cubicBezTo>
                                <a:pt x="32" y="23"/>
                                <a:pt x="31" y="22"/>
                                <a:pt x="29" y="22"/>
                              </a:cubicBezTo>
                              <a:cubicBezTo>
                                <a:pt x="28" y="21"/>
                                <a:pt x="25" y="21"/>
                                <a:pt x="24" y="21"/>
                              </a:cubicBezTo>
                              <a:cubicBezTo>
                                <a:pt x="24" y="22"/>
                                <a:pt x="24" y="22"/>
                                <a:pt x="24" y="23"/>
                              </a:cubicBezTo>
                              <a:cubicBezTo>
                                <a:pt x="23" y="23"/>
                                <a:pt x="22" y="24"/>
                                <a:pt x="22" y="25"/>
                              </a:cubicBezTo>
                              <a:cubicBezTo>
                                <a:pt x="20" y="25"/>
                                <a:pt x="20" y="25"/>
                                <a:pt x="18" y="25"/>
                              </a:cubicBezTo>
                              <a:cubicBezTo>
                                <a:pt x="17" y="25"/>
                                <a:pt x="16" y="24"/>
                                <a:pt x="15" y="23"/>
                              </a:cubicBezTo>
                              <a:cubicBezTo>
                                <a:pt x="14" y="22"/>
                                <a:pt x="12" y="22"/>
                                <a:pt x="11" y="21"/>
                              </a:cubicBezTo>
                              <a:cubicBezTo>
                                <a:pt x="10" y="20"/>
                                <a:pt x="8" y="18"/>
                                <a:pt x="7" y="18"/>
                              </a:cubicBezTo>
                              <a:cubicBezTo>
                                <a:pt x="5" y="17"/>
                                <a:pt x="4" y="14"/>
                                <a:pt x="3" y="13"/>
                              </a:cubicBezTo>
                              <a:cubicBezTo>
                                <a:pt x="5" y="11"/>
                                <a:pt x="0" y="11"/>
                                <a:pt x="0" y="7"/>
                              </a:cubicBezTo>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75" name="Austria">
                          <a:extLst>
                            <a:ext uri="{FF2B5EF4-FFF2-40B4-BE49-F238E27FC236}">
                              <a16:creationId xmlns:a16="http://schemas.microsoft.com/office/drawing/2014/main" id="{732A5C64-87A5-07BB-433D-7BA181BCBD7A}"/>
                            </a:ext>
                          </a:extLst>
                        </p:cNvPr>
                        <p:cNvSpPr>
                          <a:spLocks/>
                        </p:cNvSpPr>
                        <p:nvPr/>
                      </p:nvSpPr>
                      <p:spPr bwMode="auto">
                        <a:xfrm>
                          <a:off x="4004241" y="2131500"/>
                          <a:ext cx="149241" cy="64308"/>
                        </a:xfrm>
                        <a:custGeom>
                          <a:avLst/>
                          <a:gdLst/>
                          <a:ahLst/>
                          <a:cxnLst>
                            <a:cxn ang="0">
                              <a:pos x="0" y="18"/>
                            </a:cxn>
                            <a:cxn ang="0">
                              <a:pos x="0" y="15"/>
                            </a:cxn>
                            <a:cxn ang="0">
                              <a:pos x="5" y="18"/>
                            </a:cxn>
                            <a:cxn ang="0">
                              <a:pos x="8" y="15"/>
                            </a:cxn>
                            <a:cxn ang="0">
                              <a:pos x="11" y="15"/>
                            </a:cxn>
                            <a:cxn ang="0">
                              <a:pos x="13" y="16"/>
                            </a:cxn>
                            <a:cxn ang="0">
                              <a:pos x="16" y="16"/>
                            </a:cxn>
                            <a:cxn ang="0">
                              <a:pos x="22" y="14"/>
                            </a:cxn>
                            <a:cxn ang="0">
                              <a:pos x="22" y="13"/>
                            </a:cxn>
                            <a:cxn ang="0">
                              <a:pos x="25" y="14"/>
                            </a:cxn>
                            <a:cxn ang="0">
                              <a:pos x="28" y="16"/>
                            </a:cxn>
                            <a:cxn ang="0">
                              <a:pos x="29" y="13"/>
                            </a:cxn>
                            <a:cxn ang="0">
                              <a:pos x="28" y="11"/>
                            </a:cxn>
                            <a:cxn ang="0">
                              <a:pos x="27" y="10"/>
                            </a:cxn>
                            <a:cxn ang="0">
                              <a:pos x="32" y="7"/>
                            </a:cxn>
                            <a:cxn ang="0">
                              <a:pos x="33" y="5"/>
                            </a:cxn>
                            <a:cxn ang="0">
                              <a:pos x="35" y="1"/>
                            </a:cxn>
                            <a:cxn ang="0">
                              <a:pos x="39" y="4"/>
                            </a:cxn>
                            <a:cxn ang="0">
                              <a:pos x="43" y="4"/>
                            </a:cxn>
                            <a:cxn ang="0">
                              <a:pos x="44" y="2"/>
                            </a:cxn>
                            <a:cxn ang="0">
                              <a:pos x="45" y="0"/>
                            </a:cxn>
                            <a:cxn ang="0">
                              <a:pos x="51" y="1"/>
                            </a:cxn>
                            <a:cxn ang="0">
                              <a:pos x="53" y="2"/>
                            </a:cxn>
                            <a:cxn ang="0">
                              <a:pos x="56" y="2"/>
                            </a:cxn>
                            <a:cxn ang="0">
                              <a:pos x="62" y="4"/>
                            </a:cxn>
                            <a:cxn ang="0">
                              <a:pos x="62" y="6"/>
                            </a:cxn>
                            <a:cxn ang="0">
                              <a:pos x="62" y="9"/>
                            </a:cxn>
                            <a:cxn ang="0">
                              <a:pos x="64" y="10"/>
                            </a:cxn>
                            <a:cxn ang="0">
                              <a:pos x="62" y="13"/>
                            </a:cxn>
                            <a:cxn ang="0">
                              <a:pos x="60" y="14"/>
                            </a:cxn>
                            <a:cxn ang="0">
                              <a:pos x="58" y="13"/>
                            </a:cxn>
                            <a:cxn ang="0">
                              <a:pos x="59" y="16"/>
                            </a:cxn>
                            <a:cxn ang="0">
                              <a:pos x="58" y="21"/>
                            </a:cxn>
                            <a:cxn ang="0">
                              <a:pos x="55" y="24"/>
                            </a:cxn>
                            <a:cxn ang="0">
                              <a:pos x="50" y="25"/>
                            </a:cxn>
                            <a:cxn ang="0">
                              <a:pos x="48" y="25"/>
                            </a:cxn>
                            <a:cxn ang="0">
                              <a:pos x="46" y="25"/>
                            </a:cxn>
                            <a:cxn ang="0">
                              <a:pos x="43" y="27"/>
                            </a:cxn>
                            <a:cxn ang="0">
                              <a:pos x="36" y="26"/>
                            </a:cxn>
                            <a:cxn ang="0">
                              <a:pos x="26" y="25"/>
                            </a:cxn>
                            <a:cxn ang="0">
                              <a:pos x="22" y="20"/>
                            </a:cxn>
                            <a:cxn ang="0">
                              <a:pos x="19" y="21"/>
                            </a:cxn>
                            <a:cxn ang="0">
                              <a:pos x="14" y="21"/>
                            </a:cxn>
                            <a:cxn ang="0">
                              <a:pos x="11" y="23"/>
                            </a:cxn>
                            <a:cxn ang="0">
                              <a:pos x="8" y="22"/>
                            </a:cxn>
                            <a:cxn ang="0">
                              <a:pos x="7" y="21"/>
                            </a:cxn>
                            <a:cxn ang="0">
                              <a:pos x="6" y="22"/>
                            </a:cxn>
                            <a:cxn ang="0">
                              <a:pos x="2" y="21"/>
                            </a:cxn>
                            <a:cxn ang="0">
                              <a:pos x="0" y="20"/>
                            </a:cxn>
                            <a:cxn ang="0">
                              <a:pos x="0" y="18"/>
                            </a:cxn>
                          </a:cxnLst>
                          <a:rect l="0" t="0" r="r" b="b"/>
                          <a:pathLst>
                            <a:path w="64" h="28">
                              <a:moveTo>
                                <a:pt x="0" y="18"/>
                              </a:moveTo>
                              <a:cubicBezTo>
                                <a:pt x="1" y="16"/>
                                <a:pt x="1" y="17"/>
                                <a:pt x="0" y="15"/>
                              </a:cubicBezTo>
                              <a:cubicBezTo>
                                <a:pt x="0" y="15"/>
                                <a:pt x="7" y="15"/>
                                <a:pt x="5" y="18"/>
                              </a:cubicBezTo>
                              <a:cubicBezTo>
                                <a:pt x="7" y="18"/>
                                <a:pt x="7" y="16"/>
                                <a:pt x="8" y="15"/>
                              </a:cubicBezTo>
                              <a:cubicBezTo>
                                <a:pt x="8" y="15"/>
                                <a:pt x="10" y="15"/>
                                <a:pt x="11" y="15"/>
                              </a:cubicBezTo>
                              <a:cubicBezTo>
                                <a:pt x="11" y="16"/>
                                <a:pt x="13" y="17"/>
                                <a:pt x="13" y="16"/>
                              </a:cubicBezTo>
                              <a:cubicBezTo>
                                <a:pt x="14" y="17"/>
                                <a:pt x="15" y="16"/>
                                <a:pt x="16" y="16"/>
                              </a:cubicBezTo>
                              <a:cubicBezTo>
                                <a:pt x="17" y="15"/>
                                <a:pt x="20" y="14"/>
                                <a:pt x="22" y="14"/>
                              </a:cubicBezTo>
                              <a:cubicBezTo>
                                <a:pt x="22" y="13"/>
                                <a:pt x="22" y="13"/>
                                <a:pt x="22" y="13"/>
                              </a:cubicBezTo>
                              <a:cubicBezTo>
                                <a:pt x="23" y="14"/>
                                <a:pt x="24" y="14"/>
                                <a:pt x="25" y="14"/>
                              </a:cubicBezTo>
                              <a:cubicBezTo>
                                <a:pt x="27" y="13"/>
                                <a:pt x="27" y="15"/>
                                <a:pt x="28" y="16"/>
                              </a:cubicBezTo>
                              <a:cubicBezTo>
                                <a:pt x="29" y="16"/>
                                <a:pt x="30" y="14"/>
                                <a:pt x="29" y="13"/>
                              </a:cubicBezTo>
                              <a:cubicBezTo>
                                <a:pt x="28" y="13"/>
                                <a:pt x="28" y="12"/>
                                <a:pt x="28" y="11"/>
                              </a:cubicBezTo>
                              <a:cubicBezTo>
                                <a:pt x="28" y="11"/>
                                <a:pt x="27" y="10"/>
                                <a:pt x="27" y="10"/>
                              </a:cubicBezTo>
                              <a:cubicBezTo>
                                <a:pt x="26" y="8"/>
                                <a:pt x="31" y="7"/>
                                <a:pt x="32" y="7"/>
                              </a:cubicBezTo>
                              <a:cubicBezTo>
                                <a:pt x="33" y="6"/>
                                <a:pt x="32" y="4"/>
                                <a:pt x="33" y="5"/>
                              </a:cubicBezTo>
                              <a:cubicBezTo>
                                <a:pt x="35" y="5"/>
                                <a:pt x="34" y="3"/>
                                <a:pt x="35" y="1"/>
                              </a:cubicBezTo>
                              <a:cubicBezTo>
                                <a:pt x="36" y="2"/>
                                <a:pt x="38" y="4"/>
                                <a:pt x="39" y="4"/>
                              </a:cubicBezTo>
                              <a:cubicBezTo>
                                <a:pt x="42" y="4"/>
                                <a:pt x="42" y="4"/>
                                <a:pt x="43" y="4"/>
                              </a:cubicBezTo>
                              <a:cubicBezTo>
                                <a:pt x="43" y="3"/>
                                <a:pt x="43" y="3"/>
                                <a:pt x="44" y="2"/>
                              </a:cubicBezTo>
                              <a:cubicBezTo>
                                <a:pt x="45" y="2"/>
                                <a:pt x="45" y="1"/>
                                <a:pt x="45" y="0"/>
                              </a:cubicBezTo>
                              <a:cubicBezTo>
                                <a:pt x="47" y="0"/>
                                <a:pt x="49" y="0"/>
                                <a:pt x="51" y="1"/>
                              </a:cubicBezTo>
                              <a:cubicBezTo>
                                <a:pt x="51" y="1"/>
                                <a:pt x="52" y="1"/>
                                <a:pt x="53" y="2"/>
                              </a:cubicBezTo>
                              <a:cubicBezTo>
                                <a:pt x="54" y="2"/>
                                <a:pt x="55" y="3"/>
                                <a:pt x="56" y="2"/>
                              </a:cubicBezTo>
                              <a:cubicBezTo>
                                <a:pt x="58" y="2"/>
                                <a:pt x="61" y="2"/>
                                <a:pt x="62" y="4"/>
                              </a:cubicBezTo>
                              <a:cubicBezTo>
                                <a:pt x="62" y="4"/>
                                <a:pt x="62" y="5"/>
                                <a:pt x="62" y="6"/>
                              </a:cubicBezTo>
                              <a:cubicBezTo>
                                <a:pt x="62" y="7"/>
                                <a:pt x="62" y="8"/>
                                <a:pt x="62" y="9"/>
                              </a:cubicBezTo>
                              <a:cubicBezTo>
                                <a:pt x="63" y="10"/>
                                <a:pt x="64" y="10"/>
                                <a:pt x="64" y="10"/>
                              </a:cubicBezTo>
                              <a:cubicBezTo>
                                <a:pt x="64" y="11"/>
                                <a:pt x="63" y="12"/>
                                <a:pt x="62" y="13"/>
                              </a:cubicBezTo>
                              <a:cubicBezTo>
                                <a:pt x="62" y="14"/>
                                <a:pt x="61" y="14"/>
                                <a:pt x="60" y="14"/>
                              </a:cubicBezTo>
                              <a:cubicBezTo>
                                <a:pt x="60" y="13"/>
                                <a:pt x="59" y="13"/>
                                <a:pt x="58" y="13"/>
                              </a:cubicBezTo>
                              <a:cubicBezTo>
                                <a:pt x="57" y="14"/>
                                <a:pt x="62" y="15"/>
                                <a:pt x="59" y="16"/>
                              </a:cubicBezTo>
                              <a:cubicBezTo>
                                <a:pt x="57" y="17"/>
                                <a:pt x="58" y="19"/>
                                <a:pt x="58" y="21"/>
                              </a:cubicBezTo>
                              <a:cubicBezTo>
                                <a:pt x="57" y="21"/>
                                <a:pt x="53" y="23"/>
                                <a:pt x="55" y="24"/>
                              </a:cubicBezTo>
                              <a:cubicBezTo>
                                <a:pt x="53" y="23"/>
                                <a:pt x="52" y="25"/>
                                <a:pt x="50" y="25"/>
                              </a:cubicBezTo>
                              <a:cubicBezTo>
                                <a:pt x="49" y="25"/>
                                <a:pt x="49" y="25"/>
                                <a:pt x="48" y="25"/>
                              </a:cubicBezTo>
                              <a:cubicBezTo>
                                <a:pt x="48" y="25"/>
                                <a:pt x="47" y="24"/>
                                <a:pt x="46" y="25"/>
                              </a:cubicBezTo>
                              <a:cubicBezTo>
                                <a:pt x="45" y="25"/>
                                <a:pt x="43" y="27"/>
                                <a:pt x="43" y="27"/>
                              </a:cubicBezTo>
                              <a:cubicBezTo>
                                <a:pt x="41" y="28"/>
                                <a:pt x="38" y="26"/>
                                <a:pt x="36" y="26"/>
                              </a:cubicBezTo>
                              <a:cubicBezTo>
                                <a:pt x="33" y="25"/>
                                <a:pt x="29" y="26"/>
                                <a:pt x="26" y="25"/>
                              </a:cubicBezTo>
                              <a:cubicBezTo>
                                <a:pt x="25" y="24"/>
                                <a:pt x="20" y="21"/>
                                <a:pt x="22" y="20"/>
                              </a:cubicBezTo>
                              <a:cubicBezTo>
                                <a:pt x="21" y="20"/>
                                <a:pt x="20" y="21"/>
                                <a:pt x="19" y="21"/>
                              </a:cubicBezTo>
                              <a:cubicBezTo>
                                <a:pt x="17" y="21"/>
                                <a:pt x="16" y="21"/>
                                <a:pt x="14" y="21"/>
                              </a:cubicBezTo>
                              <a:cubicBezTo>
                                <a:pt x="13" y="22"/>
                                <a:pt x="12" y="23"/>
                                <a:pt x="11" y="23"/>
                              </a:cubicBezTo>
                              <a:cubicBezTo>
                                <a:pt x="10" y="23"/>
                                <a:pt x="9" y="23"/>
                                <a:pt x="8" y="22"/>
                              </a:cubicBezTo>
                              <a:cubicBezTo>
                                <a:pt x="7" y="22"/>
                                <a:pt x="8" y="21"/>
                                <a:pt x="7" y="21"/>
                              </a:cubicBezTo>
                              <a:cubicBezTo>
                                <a:pt x="6" y="21"/>
                                <a:pt x="6" y="22"/>
                                <a:pt x="6" y="22"/>
                              </a:cubicBezTo>
                              <a:cubicBezTo>
                                <a:pt x="5" y="23"/>
                                <a:pt x="3" y="22"/>
                                <a:pt x="2" y="21"/>
                              </a:cubicBezTo>
                              <a:cubicBezTo>
                                <a:pt x="1" y="20"/>
                                <a:pt x="1" y="20"/>
                                <a:pt x="0" y="20"/>
                              </a:cubicBezTo>
                              <a:cubicBezTo>
                                <a:pt x="1" y="19"/>
                                <a:pt x="0" y="19"/>
                                <a:pt x="0" y="18"/>
                              </a:cubicBezTo>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grpSp>
                </p:grpSp>
              </p:grpSp>
            </p:grpSp>
          </p:grpSp>
        </p:grpSp>
        <p:grpSp>
          <p:nvGrpSpPr>
            <p:cNvPr id="94" name="Group 197">
              <a:extLst>
                <a:ext uri="{FF2B5EF4-FFF2-40B4-BE49-F238E27FC236}">
                  <a16:creationId xmlns:a16="http://schemas.microsoft.com/office/drawing/2014/main" id="{AD45CFF0-C40E-63BC-9031-916B35D8119B}"/>
                </a:ext>
              </a:extLst>
            </p:cNvPr>
            <p:cNvGrpSpPr/>
            <p:nvPr/>
          </p:nvGrpSpPr>
          <p:grpSpPr>
            <a:xfrm>
              <a:off x="2275449" y="1471903"/>
              <a:ext cx="1135476" cy="1223039"/>
              <a:chOff x="3415772" y="2290778"/>
              <a:chExt cx="1784016" cy="1921596"/>
            </a:xfrm>
            <a:solidFill>
              <a:schemeClr val="accent2">
                <a:lumMod val="50000"/>
              </a:schemeClr>
            </a:solidFill>
          </p:grpSpPr>
          <p:sp>
            <p:nvSpPr>
              <p:cNvPr id="95" name="Iraq">
                <a:extLst>
                  <a:ext uri="{FF2B5EF4-FFF2-40B4-BE49-F238E27FC236}">
                    <a16:creationId xmlns:a16="http://schemas.microsoft.com/office/drawing/2014/main" id="{9D03AFBA-24E4-A523-E2D6-263044EB8A02}"/>
                  </a:ext>
                </a:extLst>
              </p:cNvPr>
              <p:cNvSpPr>
                <a:spLocks/>
              </p:cNvSpPr>
              <p:nvPr/>
            </p:nvSpPr>
            <p:spPr bwMode="auto">
              <a:xfrm>
                <a:off x="4632419" y="2355544"/>
                <a:ext cx="226173" cy="229378"/>
              </a:xfrm>
              <a:custGeom>
                <a:avLst/>
                <a:gdLst/>
                <a:ahLst/>
                <a:cxnLst>
                  <a:cxn ang="0">
                    <a:pos x="0" y="43"/>
                  </a:cxn>
                  <a:cxn ang="0">
                    <a:pos x="15" y="34"/>
                  </a:cxn>
                  <a:cxn ang="0">
                    <a:pos x="19" y="31"/>
                  </a:cxn>
                  <a:cxn ang="0">
                    <a:pos x="19" y="24"/>
                  </a:cxn>
                  <a:cxn ang="0">
                    <a:pos x="20" y="17"/>
                  </a:cxn>
                  <a:cxn ang="0">
                    <a:pos x="19" y="9"/>
                  </a:cxn>
                  <a:cxn ang="0">
                    <a:pos x="24" y="7"/>
                  </a:cxn>
                  <a:cxn ang="0">
                    <a:pos x="27" y="3"/>
                  </a:cxn>
                  <a:cxn ang="0">
                    <a:pos x="28" y="3"/>
                  </a:cxn>
                  <a:cxn ang="0">
                    <a:pos x="30" y="0"/>
                  </a:cxn>
                  <a:cxn ang="0">
                    <a:pos x="36" y="1"/>
                  </a:cxn>
                  <a:cxn ang="0">
                    <a:pos x="39" y="2"/>
                  </a:cxn>
                  <a:cxn ang="0">
                    <a:pos x="42" y="1"/>
                  </a:cxn>
                  <a:cxn ang="0">
                    <a:pos x="45" y="4"/>
                  </a:cxn>
                  <a:cxn ang="0">
                    <a:pos x="48" y="2"/>
                  </a:cxn>
                  <a:cxn ang="0">
                    <a:pos x="50" y="6"/>
                  </a:cxn>
                  <a:cxn ang="0">
                    <a:pos x="52" y="7"/>
                  </a:cxn>
                  <a:cxn ang="0">
                    <a:pos x="52" y="10"/>
                  </a:cxn>
                  <a:cxn ang="0">
                    <a:pos x="55" y="15"/>
                  </a:cxn>
                  <a:cxn ang="0">
                    <a:pos x="59" y="16"/>
                  </a:cxn>
                  <a:cxn ang="0">
                    <a:pos x="64" y="17"/>
                  </a:cxn>
                  <a:cxn ang="0">
                    <a:pos x="62" y="19"/>
                  </a:cxn>
                  <a:cxn ang="0">
                    <a:pos x="64" y="24"/>
                  </a:cxn>
                  <a:cxn ang="0">
                    <a:pos x="61" y="26"/>
                  </a:cxn>
                  <a:cxn ang="0">
                    <a:pos x="60" y="27"/>
                  </a:cxn>
                  <a:cxn ang="0">
                    <a:pos x="61" y="30"/>
                  </a:cxn>
                  <a:cxn ang="0">
                    <a:pos x="59" y="30"/>
                  </a:cxn>
                  <a:cxn ang="0">
                    <a:pos x="59" y="32"/>
                  </a:cxn>
                  <a:cxn ang="0">
                    <a:pos x="60" y="34"/>
                  </a:cxn>
                  <a:cxn ang="0">
                    <a:pos x="59" y="37"/>
                  </a:cxn>
                  <a:cxn ang="0">
                    <a:pos x="62" y="40"/>
                  </a:cxn>
                  <a:cxn ang="0">
                    <a:pos x="65" y="46"/>
                  </a:cxn>
                  <a:cxn ang="0">
                    <a:pos x="67" y="47"/>
                  </a:cxn>
                  <a:cxn ang="0">
                    <a:pos x="71" y="49"/>
                  </a:cxn>
                  <a:cxn ang="0">
                    <a:pos x="77" y="53"/>
                  </a:cxn>
                  <a:cxn ang="0">
                    <a:pos x="82" y="58"/>
                  </a:cxn>
                  <a:cxn ang="0">
                    <a:pos x="82" y="64"/>
                  </a:cxn>
                  <a:cxn ang="0">
                    <a:pos x="84" y="68"/>
                  </a:cxn>
                  <a:cxn ang="0">
                    <a:pos x="86" y="69"/>
                  </a:cxn>
                  <a:cxn ang="0">
                    <a:pos x="86" y="72"/>
                  </a:cxn>
                  <a:cxn ang="0">
                    <a:pos x="89" y="76"/>
                  </a:cxn>
                  <a:cxn ang="0">
                    <a:pos x="92" y="79"/>
                  </a:cxn>
                  <a:cxn ang="0">
                    <a:pos x="86" y="78"/>
                  </a:cxn>
                  <a:cxn ang="0">
                    <a:pos x="83" y="78"/>
                  </a:cxn>
                  <a:cxn ang="0">
                    <a:pos x="78" y="80"/>
                  </a:cxn>
                  <a:cxn ang="0">
                    <a:pos x="72" y="89"/>
                  </a:cxn>
                  <a:cxn ang="0">
                    <a:pos x="59" y="88"/>
                  </a:cxn>
                  <a:cxn ang="0">
                    <a:pos x="50" y="82"/>
                  </a:cxn>
                  <a:cxn ang="0">
                    <a:pos x="16" y="59"/>
                  </a:cxn>
                  <a:cxn ang="0">
                    <a:pos x="4" y="56"/>
                  </a:cxn>
                  <a:cxn ang="0">
                    <a:pos x="3" y="54"/>
                  </a:cxn>
                  <a:cxn ang="0">
                    <a:pos x="3" y="52"/>
                  </a:cxn>
                  <a:cxn ang="0">
                    <a:pos x="2" y="50"/>
                  </a:cxn>
                  <a:cxn ang="0">
                    <a:pos x="0" y="43"/>
                  </a:cxn>
                </a:cxnLst>
                <a:rect l="0" t="0" r="r" b="b"/>
                <a:pathLst>
                  <a:path w="92" h="90">
                    <a:moveTo>
                      <a:pt x="0" y="43"/>
                    </a:moveTo>
                    <a:cubicBezTo>
                      <a:pt x="5" y="40"/>
                      <a:pt x="10" y="38"/>
                      <a:pt x="15" y="34"/>
                    </a:cubicBezTo>
                    <a:cubicBezTo>
                      <a:pt x="16" y="33"/>
                      <a:pt x="18" y="32"/>
                      <a:pt x="19" y="31"/>
                    </a:cubicBezTo>
                    <a:cubicBezTo>
                      <a:pt x="20" y="28"/>
                      <a:pt x="19" y="25"/>
                      <a:pt x="19" y="24"/>
                    </a:cubicBezTo>
                    <a:cubicBezTo>
                      <a:pt x="20" y="20"/>
                      <a:pt x="21" y="19"/>
                      <a:pt x="20" y="17"/>
                    </a:cubicBezTo>
                    <a:cubicBezTo>
                      <a:pt x="20" y="15"/>
                      <a:pt x="17" y="11"/>
                      <a:pt x="19" y="9"/>
                    </a:cubicBezTo>
                    <a:cubicBezTo>
                      <a:pt x="21" y="8"/>
                      <a:pt x="22" y="8"/>
                      <a:pt x="24" y="7"/>
                    </a:cubicBezTo>
                    <a:cubicBezTo>
                      <a:pt x="25" y="6"/>
                      <a:pt x="28" y="4"/>
                      <a:pt x="27" y="3"/>
                    </a:cubicBezTo>
                    <a:cubicBezTo>
                      <a:pt x="27" y="2"/>
                      <a:pt x="28" y="3"/>
                      <a:pt x="28" y="3"/>
                    </a:cubicBezTo>
                    <a:cubicBezTo>
                      <a:pt x="29" y="2"/>
                      <a:pt x="30" y="1"/>
                      <a:pt x="30" y="0"/>
                    </a:cubicBezTo>
                    <a:cubicBezTo>
                      <a:pt x="31" y="0"/>
                      <a:pt x="35" y="0"/>
                      <a:pt x="36" y="1"/>
                    </a:cubicBezTo>
                    <a:cubicBezTo>
                      <a:pt x="37" y="1"/>
                      <a:pt x="38" y="1"/>
                      <a:pt x="39" y="2"/>
                    </a:cubicBezTo>
                    <a:cubicBezTo>
                      <a:pt x="40" y="2"/>
                      <a:pt x="41" y="1"/>
                      <a:pt x="42" y="1"/>
                    </a:cubicBezTo>
                    <a:cubicBezTo>
                      <a:pt x="45" y="0"/>
                      <a:pt x="43" y="4"/>
                      <a:pt x="45" y="4"/>
                    </a:cubicBezTo>
                    <a:cubicBezTo>
                      <a:pt x="46" y="4"/>
                      <a:pt x="46" y="2"/>
                      <a:pt x="48" y="2"/>
                    </a:cubicBezTo>
                    <a:cubicBezTo>
                      <a:pt x="50" y="2"/>
                      <a:pt x="50" y="5"/>
                      <a:pt x="50" y="6"/>
                    </a:cubicBezTo>
                    <a:cubicBezTo>
                      <a:pt x="51" y="7"/>
                      <a:pt x="51" y="7"/>
                      <a:pt x="52" y="7"/>
                    </a:cubicBezTo>
                    <a:cubicBezTo>
                      <a:pt x="52" y="8"/>
                      <a:pt x="51" y="9"/>
                      <a:pt x="52" y="10"/>
                    </a:cubicBezTo>
                    <a:cubicBezTo>
                      <a:pt x="53" y="11"/>
                      <a:pt x="56" y="12"/>
                      <a:pt x="55" y="15"/>
                    </a:cubicBezTo>
                    <a:cubicBezTo>
                      <a:pt x="57" y="14"/>
                      <a:pt x="58" y="16"/>
                      <a:pt x="59" y="16"/>
                    </a:cubicBezTo>
                    <a:cubicBezTo>
                      <a:pt x="61" y="17"/>
                      <a:pt x="61" y="16"/>
                      <a:pt x="64" y="17"/>
                    </a:cubicBezTo>
                    <a:cubicBezTo>
                      <a:pt x="64" y="18"/>
                      <a:pt x="62" y="18"/>
                      <a:pt x="62" y="19"/>
                    </a:cubicBezTo>
                    <a:cubicBezTo>
                      <a:pt x="61" y="21"/>
                      <a:pt x="64" y="22"/>
                      <a:pt x="64" y="24"/>
                    </a:cubicBezTo>
                    <a:cubicBezTo>
                      <a:pt x="64" y="26"/>
                      <a:pt x="61" y="23"/>
                      <a:pt x="61" y="26"/>
                    </a:cubicBezTo>
                    <a:cubicBezTo>
                      <a:pt x="62" y="27"/>
                      <a:pt x="60" y="26"/>
                      <a:pt x="60" y="27"/>
                    </a:cubicBezTo>
                    <a:cubicBezTo>
                      <a:pt x="60" y="28"/>
                      <a:pt x="60" y="29"/>
                      <a:pt x="61" y="30"/>
                    </a:cubicBezTo>
                    <a:cubicBezTo>
                      <a:pt x="60" y="30"/>
                      <a:pt x="59" y="30"/>
                      <a:pt x="59" y="30"/>
                    </a:cubicBezTo>
                    <a:cubicBezTo>
                      <a:pt x="59" y="31"/>
                      <a:pt x="58" y="31"/>
                      <a:pt x="59" y="32"/>
                    </a:cubicBezTo>
                    <a:cubicBezTo>
                      <a:pt x="59" y="33"/>
                      <a:pt x="60" y="33"/>
                      <a:pt x="60" y="34"/>
                    </a:cubicBezTo>
                    <a:cubicBezTo>
                      <a:pt x="59" y="36"/>
                      <a:pt x="58" y="36"/>
                      <a:pt x="59" y="37"/>
                    </a:cubicBezTo>
                    <a:cubicBezTo>
                      <a:pt x="60" y="38"/>
                      <a:pt x="61" y="39"/>
                      <a:pt x="62" y="40"/>
                    </a:cubicBezTo>
                    <a:cubicBezTo>
                      <a:pt x="63" y="40"/>
                      <a:pt x="68" y="45"/>
                      <a:pt x="65" y="46"/>
                    </a:cubicBezTo>
                    <a:cubicBezTo>
                      <a:pt x="67" y="46"/>
                      <a:pt x="66" y="48"/>
                      <a:pt x="67" y="47"/>
                    </a:cubicBezTo>
                    <a:cubicBezTo>
                      <a:pt x="69" y="47"/>
                      <a:pt x="69" y="48"/>
                      <a:pt x="71" y="49"/>
                    </a:cubicBezTo>
                    <a:cubicBezTo>
                      <a:pt x="73" y="50"/>
                      <a:pt x="74" y="52"/>
                      <a:pt x="77" y="53"/>
                    </a:cubicBezTo>
                    <a:cubicBezTo>
                      <a:pt x="78" y="53"/>
                      <a:pt x="81" y="57"/>
                      <a:pt x="82" y="58"/>
                    </a:cubicBezTo>
                    <a:cubicBezTo>
                      <a:pt x="84" y="60"/>
                      <a:pt x="83" y="62"/>
                      <a:pt x="82" y="64"/>
                    </a:cubicBezTo>
                    <a:cubicBezTo>
                      <a:pt x="82" y="65"/>
                      <a:pt x="82" y="68"/>
                      <a:pt x="84" y="68"/>
                    </a:cubicBezTo>
                    <a:cubicBezTo>
                      <a:pt x="84" y="68"/>
                      <a:pt x="85" y="68"/>
                      <a:pt x="86" y="69"/>
                    </a:cubicBezTo>
                    <a:cubicBezTo>
                      <a:pt x="86" y="69"/>
                      <a:pt x="86" y="71"/>
                      <a:pt x="86" y="72"/>
                    </a:cubicBezTo>
                    <a:cubicBezTo>
                      <a:pt x="86" y="74"/>
                      <a:pt x="87" y="74"/>
                      <a:pt x="89" y="76"/>
                    </a:cubicBezTo>
                    <a:cubicBezTo>
                      <a:pt x="90" y="77"/>
                      <a:pt x="90" y="79"/>
                      <a:pt x="92" y="79"/>
                    </a:cubicBezTo>
                    <a:cubicBezTo>
                      <a:pt x="91" y="80"/>
                      <a:pt x="86" y="79"/>
                      <a:pt x="86" y="78"/>
                    </a:cubicBezTo>
                    <a:cubicBezTo>
                      <a:pt x="87" y="80"/>
                      <a:pt x="84" y="78"/>
                      <a:pt x="83" y="78"/>
                    </a:cubicBezTo>
                    <a:cubicBezTo>
                      <a:pt x="81" y="78"/>
                      <a:pt x="79" y="79"/>
                      <a:pt x="78" y="80"/>
                    </a:cubicBezTo>
                    <a:cubicBezTo>
                      <a:pt x="77" y="83"/>
                      <a:pt x="77" y="90"/>
                      <a:pt x="72" y="89"/>
                    </a:cubicBezTo>
                    <a:cubicBezTo>
                      <a:pt x="59" y="88"/>
                      <a:pt x="59" y="88"/>
                      <a:pt x="59" y="88"/>
                    </a:cubicBezTo>
                    <a:cubicBezTo>
                      <a:pt x="55" y="87"/>
                      <a:pt x="54" y="85"/>
                      <a:pt x="50" y="82"/>
                    </a:cubicBezTo>
                    <a:cubicBezTo>
                      <a:pt x="39" y="74"/>
                      <a:pt x="29" y="64"/>
                      <a:pt x="16" y="59"/>
                    </a:cubicBezTo>
                    <a:cubicBezTo>
                      <a:pt x="12" y="57"/>
                      <a:pt x="8" y="57"/>
                      <a:pt x="4" y="56"/>
                    </a:cubicBezTo>
                    <a:cubicBezTo>
                      <a:pt x="7" y="54"/>
                      <a:pt x="4" y="55"/>
                      <a:pt x="3" y="54"/>
                    </a:cubicBezTo>
                    <a:cubicBezTo>
                      <a:pt x="3" y="52"/>
                      <a:pt x="3" y="52"/>
                      <a:pt x="3" y="52"/>
                    </a:cubicBezTo>
                    <a:cubicBezTo>
                      <a:pt x="3" y="52"/>
                      <a:pt x="3" y="51"/>
                      <a:pt x="2" y="50"/>
                    </a:cubicBezTo>
                    <a:cubicBezTo>
                      <a:pt x="1" y="48"/>
                      <a:pt x="0" y="45"/>
                      <a:pt x="0" y="43"/>
                    </a:cubicBezTo>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96" name="Iran">
                <a:extLst>
                  <a:ext uri="{FF2B5EF4-FFF2-40B4-BE49-F238E27FC236}">
                    <a16:creationId xmlns:a16="http://schemas.microsoft.com/office/drawing/2014/main" id="{AD3C2DCC-43AB-6E45-91FF-1570D06E2A42}"/>
                  </a:ext>
                </a:extLst>
              </p:cNvPr>
              <p:cNvSpPr>
                <a:spLocks/>
              </p:cNvSpPr>
              <p:nvPr/>
            </p:nvSpPr>
            <p:spPr bwMode="auto">
              <a:xfrm>
                <a:off x="4728058" y="2290778"/>
                <a:ext cx="471730" cy="399890"/>
              </a:xfrm>
              <a:custGeom>
                <a:avLst/>
                <a:gdLst>
                  <a:gd name="connsiteX0" fmla="*/ 237156 w 462899"/>
                  <a:gd name="connsiteY0" fmla="*/ 346219 h 392405"/>
                  <a:gd name="connsiteX1" fmla="*/ 242229 w 462899"/>
                  <a:gd name="connsiteY1" fmla="*/ 346219 h 392405"/>
                  <a:gd name="connsiteX2" fmla="*/ 239693 w 462899"/>
                  <a:gd name="connsiteY2" fmla="*/ 347528 h 392405"/>
                  <a:gd name="connsiteX3" fmla="*/ 237156 w 462899"/>
                  <a:gd name="connsiteY3" fmla="*/ 346219 h 392405"/>
                  <a:gd name="connsiteX4" fmla="*/ 302152 w 462899"/>
                  <a:gd name="connsiteY4" fmla="*/ 342317 h 392405"/>
                  <a:gd name="connsiteX5" fmla="*/ 308176 w 462899"/>
                  <a:gd name="connsiteY5" fmla="*/ 343228 h 392405"/>
                  <a:gd name="connsiteX6" fmla="*/ 300947 w 462899"/>
                  <a:gd name="connsiteY6" fmla="*/ 348089 h 392405"/>
                  <a:gd name="connsiteX7" fmla="*/ 296128 w 462899"/>
                  <a:gd name="connsiteY7" fmla="*/ 350519 h 392405"/>
                  <a:gd name="connsiteX8" fmla="*/ 286490 w 462899"/>
                  <a:gd name="connsiteY8" fmla="*/ 350519 h 392405"/>
                  <a:gd name="connsiteX9" fmla="*/ 296128 w 462899"/>
                  <a:gd name="connsiteY9" fmla="*/ 343228 h 392405"/>
                  <a:gd name="connsiteX10" fmla="*/ 302152 w 462899"/>
                  <a:gd name="connsiteY10" fmla="*/ 342317 h 392405"/>
                  <a:gd name="connsiteX11" fmla="*/ 213273 w 462899"/>
                  <a:gd name="connsiteY11" fmla="*/ 75686 h 392405"/>
                  <a:gd name="connsiteX12" fmla="*/ 220544 w 462899"/>
                  <a:gd name="connsiteY12" fmla="*/ 75686 h 392405"/>
                  <a:gd name="connsiteX13" fmla="*/ 213945 w 462899"/>
                  <a:gd name="connsiteY13" fmla="*/ 76051 h 392405"/>
                  <a:gd name="connsiteX14" fmla="*/ 9997 w 462899"/>
                  <a:gd name="connsiteY14" fmla="*/ 0 h 392405"/>
                  <a:gd name="connsiteX15" fmla="*/ 14541 w 462899"/>
                  <a:gd name="connsiteY15" fmla="*/ 625 h 392405"/>
                  <a:gd name="connsiteX16" fmla="*/ 19389 w 462899"/>
                  <a:gd name="connsiteY16" fmla="*/ 8131 h 392405"/>
                  <a:gd name="connsiteX17" fmla="*/ 26659 w 462899"/>
                  <a:gd name="connsiteY17" fmla="*/ 15637 h 392405"/>
                  <a:gd name="connsiteX18" fmla="*/ 41201 w 462899"/>
                  <a:gd name="connsiteY18" fmla="*/ 23143 h 392405"/>
                  <a:gd name="connsiteX19" fmla="*/ 53318 w 462899"/>
                  <a:gd name="connsiteY19" fmla="*/ 23143 h 392405"/>
                  <a:gd name="connsiteX20" fmla="*/ 65436 w 462899"/>
                  <a:gd name="connsiteY20" fmla="*/ 13135 h 392405"/>
                  <a:gd name="connsiteX21" fmla="*/ 70283 w 462899"/>
                  <a:gd name="connsiteY21" fmla="*/ 8131 h 392405"/>
                  <a:gd name="connsiteX22" fmla="*/ 77554 w 462899"/>
                  <a:gd name="connsiteY22" fmla="*/ 3127 h 392405"/>
                  <a:gd name="connsiteX23" fmla="*/ 92095 w 462899"/>
                  <a:gd name="connsiteY23" fmla="*/ 8131 h 392405"/>
                  <a:gd name="connsiteX24" fmla="*/ 89672 w 462899"/>
                  <a:gd name="connsiteY24" fmla="*/ 20641 h 392405"/>
                  <a:gd name="connsiteX25" fmla="*/ 94519 w 462899"/>
                  <a:gd name="connsiteY25" fmla="*/ 30650 h 392405"/>
                  <a:gd name="connsiteX26" fmla="*/ 101789 w 462899"/>
                  <a:gd name="connsiteY26" fmla="*/ 35654 h 392405"/>
                  <a:gd name="connsiteX27" fmla="*/ 106637 w 462899"/>
                  <a:gd name="connsiteY27" fmla="*/ 35654 h 392405"/>
                  <a:gd name="connsiteX28" fmla="*/ 116331 w 462899"/>
                  <a:gd name="connsiteY28" fmla="*/ 58172 h 392405"/>
                  <a:gd name="connsiteX29" fmla="*/ 135719 w 462899"/>
                  <a:gd name="connsiteY29" fmla="*/ 63176 h 392405"/>
                  <a:gd name="connsiteX30" fmla="*/ 145413 w 462899"/>
                  <a:gd name="connsiteY30" fmla="*/ 70682 h 392405"/>
                  <a:gd name="connsiteX31" fmla="*/ 159955 w 462899"/>
                  <a:gd name="connsiteY31" fmla="*/ 78188 h 392405"/>
                  <a:gd name="connsiteX32" fmla="*/ 186614 w 462899"/>
                  <a:gd name="connsiteY32" fmla="*/ 83192 h 392405"/>
                  <a:gd name="connsiteX33" fmla="*/ 203579 w 462899"/>
                  <a:gd name="connsiteY33" fmla="*/ 76625 h 392405"/>
                  <a:gd name="connsiteX34" fmla="*/ 213945 w 462899"/>
                  <a:gd name="connsiteY34" fmla="*/ 76051 h 392405"/>
                  <a:gd name="connsiteX35" fmla="*/ 219029 w 462899"/>
                  <a:gd name="connsiteY35" fmla="*/ 78814 h 392405"/>
                  <a:gd name="connsiteX36" fmla="*/ 222967 w 462899"/>
                  <a:gd name="connsiteY36" fmla="*/ 78188 h 392405"/>
                  <a:gd name="connsiteX37" fmla="*/ 218120 w 462899"/>
                  <a:gd name="connsiteY37" fmla="*/ 63176 h 392405"/>
                  <a:gd name="connsiteX38" fmla="*/ 232661 w 462899"/>
                  <a:gd name="connsiteY38" fmla="*/ 63176 h 392405"/>
                  <a:gd name="connsiteX39" fmla="*/ 237509 w 462899"/>
                  <a:gd name="connsiteY39" fmla="*/ 53168 h 392405"/>
                  <a:gd name="connsiteX40" fmla="*/ 249626 w 462899"/>
                  <a:gd name="connsiteY40" fmla="*/ 43160 h 392405"/>
                  <a:gd name="connsiteX41" fmla="*/ 266591 w 462899"/>
                  <a:gd name="connsiteY41" fmla="*/ 43160 h 392405"/>
                  <a:gd name="connsiteX42" fmla="*/ 271438 w 462899"/>
                  <a:gd name="connsiteY42" fmla="*/ 40658 h 392405"/>
                  <a:gd name="connsiteX43" fmla="*/ 283556 w 462899"/>
                  <a:gd name="connsiteY43" fmla="*/ 40658 h 392405"/>
                  <a:gd name="connsiteX44" fmla="*/ 288403 w 462899"/>
                  <a:gd name="connsiteY44" fmla="*/ 45662 h 392405"/>
                  <a:gd name="connsiteX45" fmla="*/ 302945 w 462899"/>
                  <a:gd name="connsiteY45" fmla="*/ 50666 h 392405"/>
                  <a:gd name="connsiteX46" fmla="*/ 315062 w 462899"/>
                  <a:gd name="connsiteY46" fmla="*/ 55670 h 392405"/>
                  <a:gd name="connsiteX47" fmla="*/ 329604 w 462899"/>
                  <a:gd name="connsiteY47" fmla="*/ 58172 h 392405"/>
                  <a:gd name="connsiteX48" fmla="*/ 339298 w 462899"/>
                  <a:gd name="connsiteY48" fmla="*/ 65678 h 392405"/>
                  <a:gd name="connsiteX49" fmla="*/ 351416 w 462899"/>
                  <a:gd name="connsiteY49" fmla="*/ 73184 h 392405"/>
                  <a:gd name="connsiteX50" fmla="*/ 358686 w 462899"/>
                  <a:gd name="connsiteY50" fmla="*/ 80690 h 392405"/>
                  <a:gd name="connsiteX51" fmla="*/ 378075 w 462899"/>
                  <a:gd name="connsiteY51" fmla="*/ 83192 h 392405"/>
                  <a:gd name="connsiteX52" fmla="*/ 380498 w 462899"/>
                  <a:gd name="connsiteY52" fmla="*/ 95703 h 392405"/>
                  <a:gd name="connsiteX53" fmla="*/ 380498 w 462899"/>
                  <a:gd name="connsiteY53" fmla="*/ 100707 h 392405"/>
                  <a:gd name="connsiteX54" fmla="*/ 385345 w 462899"/>
                  <a:gd name="connsiteY54" fmla="*/ 110715 h 392405"/>
                  <a:gd name="connsiteX55" fmla="*/ 382922 w 462899"/>
                  <a:gd name="connsiteY55" fmla="*/ 120723 h 392405"/>
                  <a:gd name="connsiteX56" fmla="*/ 378075 w 462899"/>
                  <a:gd name="connsiteY56" fmla="*/ 138237 h 392405"/>
                  <a:gd name="connsiteX57" fmla="*/ 380498 w 462899"/>
                  <a:gd name="connsiteY57" fmla="*/ 143241 h 392405"/>
                  <a:gd name="connsiteX58" fmla="*/ 375651 w 462899"/>
                  <a:gd name="connsiteY58" fmla="*/ 148245 h 392405"/>
                  <a:gd name="connsiteX59" fmla="*/ 382922 w 462899"/>
                  <a:gd name="connsiteY59" fmla="*/ 165760 h 392405"/>
                  <a:gd name="connsiteX60" fmla="*/ 382922 w 462899"/>
                  <a:gd name="connsiteY60" fmla="*/ 175768 h 392405"/>
                  <a:gd name="connsiteX61" fmla="*/ 390193 w 462899"/>
                  <a:gd name="connsiteY61" fmla="*/ 200788 h 392405"/>
                  <a:gd name="connsiteX62" fmla="*/ 395040 w 462899"/>
                  <a:gd name="connsiteY62" fmla="*/ 218302 h 392405"/>
                  <a:gd name="connsiteX63" fmla="*/ 412005 w 462899"/>
                  <a:gd name="connsiteY63" fmla="*/ 223306 h 392405"/>
                  <a:gd name="connsiteX64" fmla="*/ 416852 w 462899"/>
                  <a:gd name="connsiteY64" fmla="*/ 238319 h 392405"/>
                  <a:gd name="connsiteX65" fmla="*/ 407157 w 462899"/>
                  <a:gd name="connsiteY65" fmla="*/ 250829 h 392405"/>
                  <a:gd name="connsiteX66" fmla="*/ 399887 w 462899"/>
                  <a:gd name="connsiteY66" fmla="*/ 265841 h 392405"/>
                  <a:gd name="connsiteX67" fmla="*/ 404734 w 462899"/>
                  <a:gd name="connsiteY67" fmla="*/ 270845 h 392405"/>
                  <a:gd name="connsiteX68" fmla="*/ 428969 w 462899"/>
                  <a:gd name="connsiteY68" fmla="*/ 298368 h 392405"/>
                  <a:gd name="connsiteX69" fmla="*/ 436240 w 462899"/>
                  <a:gd name="connsiteY69" fmla="*/ 303372 h 392405"/>
                  <a:gd name="connsiteX70" fmla="*/ 445934 w 462899"/>
                  <a:gd name="connsiteY70" fmla="*/ 308376 h 392405"/>
                  <a:gd name="connsiteX71" fmla="*/ 450781 w 462899"/>
                  <a:gd name="connsiteY71" fmla="*/ 325890 h 392405"/>
                  <a:gd name="connsiteX72" fmla="*/ 460476 w 462899"/>
                  <a:gd name="connsiteY72" fmla="*/ 335898 h 392405"/>
                  <a:gd name="connsiteX73" fmla="*/ 462899 w 462899"/>
                  <a:gd name="connsiteY73" fmla="*/ 348408 h 392405"/>
                  <a:gd name="connsiteX74" fmla="*/ 441087 w 462899"/>
                  <a:gd name="connsiteY74" fmla="*/ 358417 h 392405"/>
                  <a:gd name="connsiteX75" fmla="*/ 433817 w 462899"/>
                  <a:gd name="connsiteY75" fmla="*/ 360919 h 392405"/>
                  <a:gd name="connsiteX76" fmla="*/ 431393 w 462899"/>
                  <a:gd name="connsiteY76" fmla="*/ 383437 h 392405"/>
                  <a:gd name="connsiteX77" fmla="*/ 428969 w 462899"/>
                  <a:gd name="connsiteY77" fmla="*/ 388441 h 392405"/>
                  <a:gd name="connsiteX78" fmla="*/ 414428 w 462899"/>
                  <a:gd name="connsiteY78" fmla="*/ 388441 h 392405"/>
                  <a:gd name="connsiteX79" fmla="*/ 407157 w 462899"/>
                  <a:gd name="connsiteY79" fmla="*/ 385939 h 392405"/>
                  <a:gd name="connsiteX80" fmla="*/ 404734 w 462899"/>
                  <a:gd name="connsiteY80" fmla="*/ 385939 h 392405"/>
                  <a:gd name="connsiteX81" fmla="*/ 390193 w 462899"/>
                  <a:gd name="connsiteY81" fmla="*/ 385939 h 392405"/>
                  <a:gd name="connsiteX82" fmla="*/ 375651 w 462899"/>
                  <a:gd name="connsiteY82" fmla="*/ 383437 h 392405"/>
                  <a:gd name="connsiteX83" fmla="*/ 368381 w 462899"/>
                  <a:gd name="connsiteY83" fmla="*/ 380935 h 392405"/>
                  <a:gd name="connsiteX84" fmla="*/ 358686 w 462899"/>
                  <a:gd name="connsiteY84" fmla="*/ 378433 h 392405"/>
                  <a:gd name="connsiteX85" fmla="*/ 348992 w 462899"/>
                  <a:gd name="connsiteY85" fmla="*/ 380935 h 392405"/>
                  <a:gd name="connsiteX86" fmla="*/ 344145 w 462899"/>
                  <a:gd name="connsiteY86" fmla="*/ 378433 h 392405"/>
                  <a:gd name="connsiteX87" fmla="*/ 332027 w 462899"/>
                  <a:gd name="connsiteY87" fmla="*/ 373429 h 392405"/>
                  <a:gd name="connsiteX88" fmla="*/ 324757 w 462899"/>
                  <a:gd name="connsiteY88" fmla="*/ 348408 h 392405"/>
                  <a:gd name="connsiteX89" fmla="*/ 307792 w 462899"/>
                  <a:gd name="connsiteY89" fmla="*/ 335898 h 392405"/>
                  <a:gd name="connsiteX90" fmla="*/ 298097 w 462899"/>
                  <a:gd name="connsiteY90" fmla="*/ 340902 h 392405"/>
                  <a:gd name="connsiteX91" fmla="*/ 290827 w 462899"/>
                  <a:gd name="connsiteY91" fmla="*/ 345906 h 392405"/>
                  <a:gd name="connsiteX92" fmla="*/ 283556 w 462899"/>
                  <a:gd name="connsiteY92" fmla="*/ 348408 h 392405"/>
                  <a:gd name="connsiteX93" fmla="*/ 276286 w 462899"/>
                  <a:gd name="connsiteY93" fmla="*/ 353412 h 392405"/>
                  <a:gd name="connsiteX94" fmla="*/ 259321 w 462899"/>
                  <a:gd name="connsiteY94" fmla="*/ 348408 h 392405"/>
                  <a:gd name="connsiteX95" fmla="*/ 244779 w 462899"/>
                  <a:gd name="connsiteY95" fmla="*/ 343404 h 392405"/>
                  <a:gd name="connsiteX96" fmla="*/ 235085 w 462899"/>
                  <a:gd name="connsiteY96" fmla="*/ 338400 h 392405"/>
                  <a:gd name="connsiteX97" fmla="*/ 222967 w 462899"/>
                  <a:gd name="connsiteY97" fmla="*/ 330894 h 392405"/>
                  <a:gd name="connsiteX98" fmla="*/ 215697 w 462899"/>
                  <a:gd name="connsiteY98" fmla="*/ 323388 h 392405"/>
                  <a:gd name="connsiteX99" fmla="*/ 208426 w 462899"/>
                  <a:gd name="connsiteY99" fmla="*/ 318384 h 392405"/>
                  <a:gd name="connsiteX100" fmla="*/ 198732 w 462899"/>
                  <a:gd name="connsiteY100" fmla="*/ 318384 h 392405"/>
                  <a:gd name="connsiteX101" fmla="*/ 189037 w 462899"/>
                  <a:gd name="connsiteY101" fmla="*/ 303372 h 392405"/>
                  <a:gd name="connsiteX102" fmla="*/ 184190 w 462899"/>
                  <a:gd name="connsiteY102" fmla="*/ 293364 h 392405"/>
                  <a:gd name="connsiteX103" fmla="*/ 179343 w 462899"/>
                  <a:gd name="connsiteY103" fmla="*/ 288359 h 392405"/>
                  <a:gd name="connsiteX104" fmla="*/ 179343 w 462899"/>
                  <a:gd name="connsiteY104" fmla="*/ 285857 h 392405"/>
                  <a:gd name="connsiteX105" fmla="*/ 176920 w 462899"/>
                  <a:gd name="connsiteY105" fmla="*/ 280853 h 392405"/>
                  <a:gd name="connsiteX106" fmla="*/ 169649 w 462899"/>
                  <a:gd name="connsiteY106" fmla="*/ 270845 h 392405"/>
                  <a:gd name="connsiteX107" fmla="*/ 162378 w 462899"/>
                  <a:gd name="connsiteY107" fmla="*/ 258335 h 392405"/>
                  <a:gd name="connsiteX108" fmla="*/ 147837 w 462899"/>
                  <a:gd name="connsiteY108" fmla="*/ 258335 h 392405"/>
                  <a:gd name="connsiteX109" fmla="*/ 140566 w 462899"/>
                  <a:gd name="connsiteY109" fmla="*/ 255833 h 392405"/>
                  <a:gd name="connsiteX110" fmla="*/ 135719 w 462899"/>
                  <a:gd name="connsiteY110" fmla="*/ 250829 h 392405"/>
                  <a:gd name="connsiteX111" fmla="*/ 140566 w 462899"/>
                  <a:gd name="connsiteY111" fmla="*/ 250829 h 392405"/>
                  <a:gd name="connsiteX112" fmla="*/ 135719 w 462899"/>
                  <a:gd name="connsiteY112" fmla="*/ 248327 h 392405"/>
                  <a:gd name="connsiteX113" fmla="*/ 135719 w 462899"/>
                  <a:gd name="connsiteY113" fmla="*/ 250829 h 392405"/>
                  <a:gd name="connsiteX114" fmla="*/ 128449 w 462899"/>
                  <a:gd name="connsiteY114" fmla="*/ 258335 h 392405"/>
                  <a:gd name="connsiteX115" fmla="*/ 126025 w 462899"/>
                  <a:gd name="connsiteY115" fmla="*/ 260837 h 392405"/>
                  <a:gd name="connsiteX116" fmla="*/ 123601 w 462899"/>
                  <a:gd name="connsiteY116" fmla="*/ 255833 h 392405"/>
                  <a:gd name="connsiteX117" fmla="*/ 113907 w 462899"/>
                  <a:gd name="connsiteY117" fmla="*/ 245825 h 392405"/>
                  <a:gd name="connsiteX118" fmla="*/ 111484 w 462899"/>
                  <a:gd name="connsiteY118" fmla="*/ 233315 h 392405"/>
                  <a:gd name="connsiteX119" fmla="*/ 106637 w 462899"/>
                  <a:gd name="connsiteY119" fmla="*/ 218302 h 392405"/>
                  <a:gd name="connsiteX120" fmla="*/ 99366 w 462899"/>
                  <a:gd name="connsiteY120" fmla="*/ 203290 h 392405"/>
                  <a:gd name="connsiteX121" fmla="*/ 89672 w 462899"/>
                  <a:gd name="connsiteY121" fmla="*/ 195784 h 392405"/>
                  <a:gd name="connsiteX122" fmla="*/ 77554 w 462899"/>
                  <a:gd name="connsiteY122" fmla="*/ 185776 h 392405"/>
                  <a:gd name="connsiteX123" fmla="*/ 70283 w 462899"/>
                  <a:gd name="connsiteY123" fmla="*/ 180772 h 392405"/>
                  <a:gd name="connsiteX124" fmla="*/ 63013 w 462899"/>
                  <a:gd name="connsiteY124" fmla="*/ 178270 h 392405"/>
                  <a:gd name="connsiteX125" fmla="*/ 53318 w 462899"/>
                  <a:gd name="connsiteY125" fmla="*/ 160756 h 392405"/>
                  <a:gd name="connsiteX126" fmla="*/ 48471 w 462899"/>
                  <a:gd name="connsiteY126" fmla="*/ 155751 h 392405"/>
                  <a:gd name="connsiteX127" fmla="*/ 48471 w 462899"/>
                  <a:gd name="connsiteY127" fmla="*/ 150747 h 392405"/>
                  <a:gd name="connsiteX128" fmla="*/ 48471 w 462899"/>
                  <a:gd name="connsiteY128" fmla="*/ 143241 h 392405"/>
                  <a:gd name="connsiteX129" fmla="*/ 48471 w 462899"/>
                  <a:gd name="connsiteY129" fmla="*/ 138237 h 392405"/>
                  <a:gd name="connsiteX130" fmla="*/ 53318 w 462899"/>
                  <a:gd name="connsiteY130" fmla="*/ 138237 h 392405"/>
                  <a:gd name="connsiteX131" fmla="*/ 50895 w 462899"/>
                  <a:gd name="connsiteY131" fmla="*/ 133233 h 392405"/>
                  <a:gd name="connsiteX132" fmla="*/ 53318 w 462899"/>
                  <a:gd name="connsiteY132" fmla="*/ 128229 h 392405"/>
                  <a:gd name="connsiteX133" fmla="*/ 58165 w 462899"/>
                  <a:gd name="connsiteY133" fmla="*/ 125727 h 392405"/>
                  <a:gd name="connsiteX134" fmla="*/ 60589 w 462899"/>
                  <a:gd name="connsiteY134" fmla="*/ 120723 h 392405"/>
                  <a:gd name="connsiteX135" fmla="*/ 55742 w 462899"/>
                  <a:gd name="connsiteY135" fmla="*/ 110715 h 392405"/>
                  <a:gd name="connsiteX136" fmla="*/ 60589 w 462899"/>
                  <a:gd name="connsiteY136" fmla="*/ 105711 h 392405"/>
                  <a:gd name="connsiteX137" fmla="*/ 55742 w 462899"/>
                  <a:gd name="connsiteY137" fmla="*/ 103209 h 392405"/>
                  <a:gd name="connsiteX138" fmla="*/ 48471 w 462899"/>
                  <a:gd name="connsiteY138" fmla="*/ 103209 h 392405"/>
                  <a:gd name="connsiteX139" fmla="*/ 38777 w 462899"/>
                  <a:gd name="connsiteY139" fmla="*/ 100707 h 392405"/>
                  <a:gd name="connsiteX140" fmla="*/ 31506 w 462899"/>
                  <a:gd name="connsiteY140" fmla="*/ 85694 h 392405"/>
                  <a:gd name="connsiteX141" fmla="*/ 29083 w 462899"/>
                  <a:gd name="connsiteY141" fmla="*/ 78188 h 392405"/>
                  <a:gd name="connsiteX142" fmla="*/ 24236 w 462899"/>
                  <a:gd name="connsiteY142" fmla="*/ 68180 h 392405"/>
                  <a:gd name="connsiteX143" fmla="*/ 19389 w 462899"/>
                  <a:gd name="connsiteY143" fmla="*/ 60674 h 392405"/>
                  <a:gd name="connsiteX144" fmla="*/ 14541 w 462899"/>
                  <a:gd name="connsiteY144" fmla="*/ 53168 h 392405"/>
                  <a:gd name="connsiteX145" fmla="*/ 9694 w 462899"/>
                  <a:gd name="connsiteY145" fmla="*/ 48164 h 392405"/>
                  <a:gd name="connsiteX146" fmla="*/ 12118 w 462899"/>
                  <a:gd name="connsiteY146" fmla="*/ 38156 h 392405"/>
                  <a:gd name="connsiteX147" fmla="*/ 7271 w 462899"/>
                  <a:gd name="connsiteY147" fmla="*/ 23143 h 392405"/>
                  <a:gd name="connsiteX148" fmla="*/ 4847 w 462899"/>
                  <a:gd name="connsiteY148" fmla="*/ 18139 h 392405"/>
                  <a:gd name="connsiteX149" fmla="*/ 0 w 462899"/>
                  <a:gd name="connsiteY149" fmla="*/ 10633 h 392405"/>
                  <a:gd name="connsiteX150" fmla="*/ 7271 w 462899"/>
                  <a:gd name="connsiteY150" fmla="*/ 3127 h 392405"/>
                  <a:gd name="connsiteX151" fmla="*/ 9997 w 462899"/>
                  <a:gd name="connsiteY151" fmla="*/ 0 h 392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462899" h="392405">
                    <a:moveTo>
                      <a:pt x="237156" y="346219"/>
                    </a:moveTo>
                    <a:cubicBezTo>
                      <a:pt x="239693" y="346219"/>
                      <a:pt x="242229" y="346219"/>
                      <a:pt x="242229" y="346219"/>
                    </a:cubicBezTo>
                    <a:cubicBezTo>
                      <a:pt x="242229" y="346219"/>
                      <a:pt x="242229" y="346219"/>
                      <a:pt x="239693" y="347528"/>
                    </a:cubicBezTo>
                    <a:cubicBezTo>
                      <a:pt x="239693" y="347528"/>
                      <a:pt x="239693" y="347528"/>
                      <a:pt x="237156" y="346219"/>
                    </a:cubicBezTo>
                    <a:close/>
                    <a:moveTo>
                      <a:pt x="302152" y="342317"/>
                    </a:moveTo>
                    <a:cubicBezTo>
                      <a:pt x="303959" y="341405"/>
                      <a:pt x="305767" y="340798"/>
                      <a:pt x="308176" y="343228"/>
                    </a:cubicBezTo>
                    <a:cubicBezTo>
                      <a:pt x="303357" y="343228"/>
                      <a:pt x="303357" y="348089"/>
                      <a:pt x="300947" y="348089"/>
                    </a:cubicBezTo>
                    <a:cubicBezTo>
                      <a:pt x="298538" y="350519"/>
                      <a:pt x="296128" y="348089"/>
                      <a:pt x="296128" y="350519"/>
                    </a:cubicBezTo>
                    <a:cubicBezTo>
                      <a:pt x="293719" y="350519"/>
                      <a:pt x="284080" y="355380"/>
                      <a:pt x="286490" y="350519"/>
                    </a:cubicBezTo>
                    <a:cubicBezTo>
                      <a:pt x="291309" y="350519"/>
                      <a:pt x="293719" y="345658"/>
                      <a:pt x="296128" y="343228"/>
                    </a:cubicBezTo>
                    <a:cubicBezTo>
                      <a:pt x="298538" y="344443"/>
                      <a:pt x="300345" y="343228"/>
                      <a:pt x="302152" y="342317"/>
                    </a:cubicBezTo>
                    <a:close/>
                    <a:moveTo>
                      <a:pt x="213273" y="75686"/>
                    </a:moveTo>
                    <a:cubicBezTo>
                      <a:pt x="215697" y="75686"/>
                      <a:pt x="218120" y="75686"/>
                      <a:pt x="220544" y="75686"/>
                    </a:cubicBezTo>
                    <a:lnTo>
                      <a:pt x="213945" y="76051"/>
                    </a:lnTo>
                    <a:close/>
                    <a:moveTo>
                      <a:pt x="9997" y="0"/>
                    </a:moveTo>
                    <a:cubicBezTo>
                      <a:pt x="11512" y="0"/>
                      <a:pt x="13330" y="625"/>
                      <a:pt x="14541" y="625"/>
                    </a:cubicBezTo>
                    <a:cubicBezTo>
                      <a:pt x="16965" y="3127"/>
                      <a:pt x="16965" y="5629"/>
                      <a:pt x="19389" y="8131"/>
                    </a:cubicBezTo>
                    <a:cubicBezTo>
                      <a:pt x="21812" y="10633"/>
                      <a:pt x="24236" y="13135"/>
                      <a:pt x="26659" y="15637"/>
                    </a:cubicBezTo>
                    <a:cubicBezTo>
                      <a:pt x="31506" y="18139"/>
                      <a:pt x="33930" y="20641"/>
                      <a:pt x="41201" y="23143"/>
                    </a:cubicBezTo>
                    <a:cubicBezTo>
                      <a:pt x="43624" y="23143"/>
                      <a:pt x="50895" y="23143"/>
                      <a:pt x="53318" y="23143"/>
                    </a:cubicBezTo>
                    <a:cubicBezTo>
                      <a:pt x="55742" y="20641"/>
                      <a:pt x="63013" y="15637"/>
                      <a:pt x="65436" y="13135"/>
                    </a:cubicBezTo>
                    <a:cubicBezTo>
                      <a:pt x="65436" y="10633"/>
                      <a:pt x="67860" y="10633"/>
                      <a:pt x="70283" y="8131"/>
                    </a:cubicBezTo>
                    <a:cubicBezTo>
                      <a:pt x="72707" y="5629"/>
                      <a:pt x="75130" y="3127"/>
                      <a:pt x="77554" y="3127"/>
                    </a:cubicBezTo>
                    <a:cubicBezTo>
                      <a:pt x="82401" y="-1877"/>
                      <a:pt x="87248" y="5629"/>
                      <a:pt x="92095" y="8131"/>
                    </a:cubicBezTo>
                    <a:cubicBezTo>
                      <a:pt x="84825" y="13135"/>
                      <a:pt x="94519" y="18139"/>
                      <a:pt x="89672" y="20641"/>
                    </a:cubicBezTo>
                    <a:cubicBezTo>
                      <a:pt x="82401" y="23143"/>
                      <a:pt x="89672" y="28148"/>
                      <a:pt x="94519" y="30650"/>
                    </a:cubicBezTo>
                    <a:cubicBezTo>
                      <a:pt x="96942" y="30650"/>
                      <a:pt x="99366" y="33152"/>
                      <a:pt x="101789" y="35654"/>
                    </a:cubicBezTo>
                    <a:cubicBezTo>
                      <a:pt x="101789" y="35654"/>
                      <a:pt x="106637" y="35654"/>
                      <a:pt x="106637" y="35654"/>
                    </a:cubicBezTo>
                    <a:cubicBezTo>
                      <a:pt x="109060" y="43160"/>
                      <a:pt x="109060" y="53168"/>
                      <a:pt x="116331" y="58172"/>
                    </a:cubicBezTo>
                    <a:cubicBezTo>
                      <a:pt x="123601" y="60674"/>
                      <a:pt x="130872" y="60674"/>
                      <a:pt x="135719" y="63176"/>
                    </a:cubicBezTo>
                    <a:cubicBezTo>
                      <a:pt x="140566" y="63176"/>
                      <a:pt x="142990" y="68180"/>
                      <a:pt x="145413" y="70682"/>
                    </a:cubicBezTo>
                    <a:cubicBezTo>
                      <a:pt x="150261" y="75686"/>
                      <a:pt x="155108" y="78188"/>
                      <a:pt x="159955" y="78188"/>
                    </a:cubicBezTo>
                    <a:cubicBezTo>
                      <a:pt x="167225" y="83192"/>
                      <a:pt x="176920" y="85694"/>
                      <a:pt x="186614" y="83192"/>
                    </a:cubicBezTo>
                    <a:cubicBezTo>
                      <a:pt x="191461" y="80690"/>
                      <a:pt x="197520" y="78188"/>
                      <a:pt x="203579" y="76625"/>
                    </a:cubicBezTo>
                    <a:lnTo>
                      <a:pt x="213945" y="76051"/>
                    </a:lnTo>
                    <a:lnTo>
                      <a:pt x="219029" y="78814"/>
                    </a:lnTo>
                    <a:cubicBezTo>
                      <a:pt x="221150" y="79439"/>
                      <a:pt x="222967" y="79439"/>
                      <a:pt x="222967" y="78188"/>
                    </a:cubicBezTo>
                    <a:cubicBezTo>
                      <a:pt x="222967" y="73184"/>
                      <a:pt x="218120" y="65678"/>
                      <a:pt x="218120" y="63176"/>
                    </a:cubicBezTo>
                    <a:cubicBezTo>
                      <a:pt x="222967" y="63176"/>
                      <a:pt x="227814" y="63176"/>
                      <a:pt x="232661" y="63176"/>
                    </a:cubicBezTo>
                    <a:cubicBezTo>
                      <a:pt x="237509" y="60674"/>
                      <a:pt x="235085" y="58172"/>
                      <a:pt x="237509" y="53168"/>
                    </a:cubicBezTo>
                    <a:cubicBezTo>
                      <a:pt x="239932" y="50666"/>
                      <a:pt x="244779" y="45662"/>
                      <a:pt x="249626" y="43160"/>
                    </a:cubicBezTo>
                    <a:cubicBezTo>
                      <a:pt x="254473" y="40658"/>
                      <a:pt x="261744" y="45662"/>
                      <a:pt x="266591" y="43160"/>
                    </a:cubicBezTo>
                    <a:cubicBezTo>
                      <a:pt x="264168" y="40658"/>
                      <a:pt x="269015" y="40658"/>
                      <a:pt x="271438" y="40658"/>
                    </a:cubicBezTo>
                    <a:cubicBezTo>
                      <a:pt x="276286" y="40658"/>
                      <a:pt x="278709" y="40658"/>
                      <a:pt x="283556" y="40658"/>
                    </a:cubicBezTo>
                    <a:cubicBezTo>
                      <a:pt x="288403" y="40658"/>
                      <a:pt x="288403" y="40658"/>
                      <a:pt x="288403" y="45662"/>
                    </a:cubicBezTo>
                    <a:cubicBezTo>
                      <a:pt x="290827" y="48164"/>
                      <a:pt x="298097" y="48164"/>
                      <a:pt x="302945" y="50666"/>
                    </a:cubicBezTo>
                    <a:cubicBezTo>
                      <a:pt x="305368" y="50666"/>
                      <a:pt x="310215" y="55670"/>
                      <a:pt x="315062" y="55670"/>
                    </a:cubicBezTo>
                    <a:cubicBezTo>
                      <a:pt x="319909" y="55670"/>
                      <a:pt x="324757" y="55670"/>
                      <a:pt x="329604" y="58172"/>
                    </a:cubicBezTo>
                    <a:cubicBezTo>
                      <a:pt x="334451" y="58172"/>
                      <a:pt x="334451" y="60674"/>
                      <a:pt x="339298" y="65678"/>
                    </a:cubicBezTo>
                    <a:cubicBezTo>
                      <a:pt x="341721" y="70682"/>
                      <a:pt x="346569" y="68180"/>
                      <a:pt x="351416" y="73184"/>
                    </a:cubicBezTo>
                    <a:cubicBezTo>
                      <a:pt x="353839" y="75686"/>
                      <a:pt x="356263" y="78188"/>
                      <a:pt x="358686" y="80690"/>
                    </a:cubicBezTo>
                    <a:cubicBezTo>
                      <a:pt x="363533" y="83192"/>
                      <a:pt x="373228" y="78188"/>
                      <a:pt x="378075" y="83192"/>
                    </a:cubicBezTo>
                    <a:cubicBezTo>
                      <a:pt x="380498" y="85694"/>
                      <a:pt x="380498" y="93201"/>
                      <a:pt x="380498" y="95703"/>
                    </a:cubicBezTo>
                    <a:cubicBezTo>
                      <a:pt x="380498" y="100707"/>
                      <a:pt x="378075" y="98205"/>
                      <a:pt x="380498" y="100707"/>
                    </a:cubicBezTo>
                    <a:cubicBezTo>
                      <a:pt x="382922" y="103209"/>
                      <a:pt x="385345" y="110715"/>
                      <a:pt x="385345" y="110715"/>
                    </a:cubicBezTo>
                    <a:cubicBezTo>
                      <a:pt x="385345" y="115719"/>
                      <a:pt x="382922" y="118221"/>
                      <a:pt x="382922" y="120723"/>
                    </a:cubicBezTo>
                    <a:cubicBezTo>
                      <a:pt x="382922" y="125727"/>
                      <a:pt x="385345" y="138237"/>
                      <a:pt x="378075" y="138237"/>
                    </a:cubicBezTo>
                    <a:cubicBezTo>
                      <a:pt x="378075" y="140739"/>
                      <a:pt x="380498" y="143241"/>
                      <a:pt x="380498" y="143241"/>
                    </a:cubicBezTo>
                    <a:cubicBezTo>
                      <a:pt x="380498" y="145743"/>
                      <a:pt x="375651" y="145743"/>
                      <a:pt x="375651" y="148245"/>
                    </a:cubicBezTo>
                    <a:cubicBezTo>
                      <a:pt x="373228" y="153249"/>
                      <a:pt x="375651" y="165760"/>
                      <a:pt x="382922" y="165760"/>
                    </a:cubicBezTo>
                    <a:cubicBezTo>
                      <a:pt x="390193" y="165760"/>
                      <a:pt x="382922" y="170764"/>
                      <a:pt x="382922" y="175768"/>
                    </a:cubicBezTo>
                    <a:cubicBezTo>
                      <a:pt x="380498" y="180772"/>
                      <a:pt x="387769" y="193282"/>
                      <a:pt x="390193" y="200788"/>
                    </a:cubicBezTo>
                    <a:cubicBezTo>
                      <a:pt x="390193" y="208294"/>
                      <a:pt x="390193" y="213298"/>
                      <a:pt x="395040" y="218302"/>
                    </a:cubicBezTo>
                    <a:cubicBezTo>
                      <a:pt x="399887" y="223306"/>
                      <a:pt x="407157" y="220804"/>
                      <a:pt x="412005" y="223306"/>
                    </a:cubicBezTo>
                    <a:cubicBezTo>
                      <a:pt x="416852" y="225809"/>
                      <a:pt x="416852" y="235817"/>
                      <a:pt x="416852" y="238319"/>
                    </a:cubicBezTo>
                    <a:cubicBezTo>
                      <a:pt x="414428" y="243323"/>
                      <a:pt x="409581" y="248327"/>
                      <a:pt x="407157" y="250829"/>
                    </a:cubicBezTo>
                    <a:cubicBezTo>
                      <a:pt x="407157" y="255833"/>
                      <a:pt x="402310" y="263339"/>
                      <a:pt x="399887" y="265841"/>
                    </a:cubicBezTo>
                    <a:cubicBezTo>
                      <a:pt x="402310" y="268343"/>
                      <a:pt x="404734" y="268343"/>
                      <a:pt x="404734" y="270845"/>
                    </a:cubicBezTo>
                    <a:cubicBezTo>
                      <a:pt x="416852" y="280853"/>
                      <a:pt x="419275" y="293364"/>
                      <a:pt x="428969" y="298368"/>
                    </a:cubicBezTo>
                    <a:cubicBezTo>
                      <a:pt x="431393" y="300870"/>
                      <a:pt x="433817" y="300870"/>
                      <a:pt x="436240" y="303372"/>
                    </a:cubicBezTo>
                    <a:cubicBezTo>
                      <a:pt x="438664" y="305874"/>
                      <a:pt x="441087" y="305874"/>
                      <a:pt x="445934" y="308376"/>
                    </a:cubicBezTo>
                    <a:cubicBezTo>
                      <a:pt x="448358" y="308376"/>
                      <a:pt x="450781" y="320886"/>
                      <a:pt x="450781" y="325890"/>
                    </a:cubicBezTo>
                    <a:cubicBezTo>
                      <a:pt x="450781" y="338400"/>
                      <a:pt x="453205" y="335898"/>
                      <a:pt x="460476" y="335898"/>
                    </a:cubicBezTo>
                    <a:cubicBezTo>
                      <a:pt x="462899" y="335898"/>
                      <a:pt x="462899" y="343404"/>
                      <a:pt x="462899" y="348408"/>
                    </a:cubicBezTo>
                    <a:cubicBezTo>
                      <a:pt x="460476" y="355914"/>
                      <a:pt x="438664" y="348408"/>
                      <a:pt x="441087" y="358417"/>
                    </a:cubicBezTo>
                    <a:cubicBezTo>
                      <a:pt x="438664" y="358417"/>
                      <a:pt x="436240" y="360919"/>
                      <a:pt x="433817" y="360919"/>
                    </a:cubicBezTo>
                    <a:cubicBezTo>
                      <a:pt x="431393" y="365923"/>
                      <a:pt x="431393" y="375931"/>
                      <a:pt x="431393" y="383437"/>
                    </a:cubicBezTo>
                    <a:cubicBezTo>
                      <a:pt x="431393" y="385939"/>
                      <a:pt x="431393" y="390943"/>
                      <a:pt x="428969" y="388441"/>
                    </a:cubicBezTo>
                    <a:cubicBezTo>
                      <a:pt x="428969" y="395947"/>
                      <a:pt x="416852" y="390943"/>
                      <a:pt x="414428" y="388441"/>
                    </a:cubicBezTo>
                    <a:cubicBezTo>
                      <a:pt x="412005" y="388441"/>
                      <a:pt x="407157" y="388441"/>
                      <a:pt x="407157" y="385939"/>
                    </a:cubicBezTo>
                    <a:cubicBezTo>
                      <a:pt x="407157" y="380935"/>
                      <a:pt x="402310" y="383437"/>
                      <a:pt x="404734" y="385939"/>
                    </a:cubicBezTo>
                    <a:cubicBezTo>
                      <a:pt x="402310" y="385939"/>
                      <a:pt x="392616" y="385939"/>
                      <a:pt x="390193" y="385939"/>
                    </a:cubicBezTo>
                    <a:cubicBezTo>
                      <a:pt x="387769" y="383437"/>
                      <a:pt x="380498" y="383437"/>
                      <a:pt x="375651" y="383437"/>
                    </a:cubicBezTo>
                    <a:cubicBezTo>
                      <a:pt x="373228" y="385939"/>
                      <a:pt x="370804" y="383437"/>
                      <a:pt x="368381" y="380935"/>
                    </a:cubicBezTo>
                    <a:cubicBezTo>
                      <a:pt x="365957" y="378433"/>
                      <a:pt x="361110" y="380935"/>
                      <a:pt x="358686" y="378433"/>
                    </a:cubicBezTo>
                    <a:cubicBezTo>
                      <a:pt x="356263" y="378433"/>
                      <a:pt x="353839" y="380935"/>
                      <a:pt x="348992" y="380935"/>
                    </a:cubicBezTo>
                    <a:cubicBezTo>
                      <a:pt x="346569" y="378433"/>
                      <a:pt x="346569" y="375931"/>
                      <a:pt x="344145" y="378433"/>
                    </a:cubicBezTo>
                    <a:cubicBezTo>
                      <a:pt x="344145" y="373429"/>
                      <a:pt x="334451" y="375931"/>
                      <a:pt x="332027" y="373429"/>
                    </a:cubicBezTo>
                    <a:cubicBezTo>
                      <a:pt x="327180" y="368425"/>
                      <a:pt x="324757" y="355914"/>
                      <a:pt x="324757" y="348408"/>
                    </a:cubicBezTo>
                    <a:cubicBezTo>
                      <a:pt x="322333" y="340902"/>
                      <a:pt x="315062" y="335898"/>
                      <a:pt x="307792" y="335898"/>
                    </a:cubicBezTo>
                    <a:cubicBezTo>
                      <a:pt x="302945" y="335898"/>
                      <a:pt x="300521" y="340902"/>
                      <a:pt x="298097" y="340902"/>
                    </a:cubicBezTo>
                    <a:cubicBezTo>
                      <a:pt x="293250" y="340902"/>
                      <a:pt x="290827" y="343404"/>
                      <a:pt x="290827" y="345906"/>
                    </a:cubicBezTo>
                    <a:cubicBezTo>
                      <a:pt x="293250" y="348408"/>
                      <a:pt x="285980" y="348408"/>
                      <a:pt x="283556" y="348408"/>
                    </a:cubicBezTo>
                    <a:cubicBezTo>
                      <a:pt x="281133" y="348408"/>
                      <a:pt x="278709" y="353412"/>
                      <a:pt x="276286" y="353412"/>
                    </a:cubicBezTo>
                    <a:cubicBezTo>
                      <a:pt x="271438" y="358417"/>
                      <a:pt x="264168" y="348408"/>
                      <a:pt x="259321" y="348408"/>
                    </a:cubicBezTo>
                    <a:cubicBezTo>
                      <a:pt x="254473" y="348408"/>
                      <a:pt x="249626" y="350910"/>
                      <a:pt x="244779" y="343404"/>
                    </a:cubicBezTo>
                    <a:cubicBezTo>
                      <a:pt x="242356" y="340902"/>
                      <a:pt x="239932" y="340902"/>
                      <a:pt x="235085" y="338400"/>
                    </a:cubicBezTo>
                    <a:cubicBezTo>
                      <a:pt x="232661" y="335898"/>
                      <a:pt x="227814" y="333396"/>
                      <a:pt x="222967" y="330894"/>
                    </a:cubicBezTo>
                    <a:cubicBezTo>
                      <a:pt x="227814" y="328392"/>
                      <a:pt x="218120" y="323388"/>
                      <a:pt x="215697" y="323388"/>
                    </a:cubicBezTo>
                    <a:cubicBezTo>
                      <a:pt x="213273" y="320886"/>
                      <a:pt x="210849" y="320886"/>
                      <a:pt x="208426" y="318384"/>
                    </a:cubicBezTo>
                    <a:cubicBezTo>
                      <a:pt x="206002" y="318384"/>
                      <a:pt x="201155" y="320886"/>
                      <a:pt x="198732" y="318384"/>
                    </a:cubicBezTo>
                    <a:cubicBezTo>
                      <a:pt x="193885" y="313380"/>
                      <a:pt x="191461" y="308376"/>
                      <a:pt x="189037" y="303372"/>
                    </a:cubicBezTo>
                    <a:cubicBezTo>
                      <a:pt x="186614" y="300870"/>
                      <a:pt x="186614" y="295866"/>
                      <a:pt x="184190" y="293364"/>
                    </a:cubicBezTo>
                    <a:cubicBezTo>
                      <a:pt x="181767" y="293364"/>
                      <a:pt x="179343" y="290861"/>
                      <a:pt x="179343" y="288359"/>
                    </a:cubicBezTo>
                    <a:cubicBezTo>
                      <a:pt x="184190" y="288359"/>
                      <a:pt x="181767" y="285857"/>
                      <a:pt x="179343" y="285857"/>
                    </a:cubicBezTo>
                    <a:cubicBezTo>
                      <a:pt x="179343" y="283355"/>
                      <a:pt x="174496" y="285857"/>
                      <a:pt x="176920" y="280853"/>
                    </a:cubicBezTo>
                    <a:cubicBezTo>
                      <a:pt x="179343" y="278351"/>
                      <a:pt x="172073" y="273347"/>
                      <a:pt x="169649" y="270845"/>
                    </a:cubicBezTo>
                    <a:cubicBezTo>
                      <a:pt x="164802" y="265841"/>
                      <a:pt x="162378" y="263339"/>
                      <a:pt x="162378" y="258335"/>
                    </a:cubicBezTo>
                    <a:cubicBezTo>
                      <a:pt x="157531" y="248327"/>
                      <a:pt x="152684" y="263339"/>
                      <a:pt x="147837" y="258335"/>
                    </a:cubicBezTo>
                    <a:cubicBezTo>
                      <a:pt x="145413" y="255833"/>
                      <a:pt x="142990" y="258335"/>
                      <a:pt x="140566" y="255833"/>
                    </a:cubicBezTo>
                    <a:cubicBezTo>
                      <a:pt x="140566" y="253331"/>
                      <a:pt x="135719" y="253331"/>
                      <a:pt x="135719" y="250829"/>
                    </a:cubicBezTo>
                    <a:cubicBezTo>
                      <a:pt x="135719" y="250829"/>
                      <a:pt x="138143" y="250829"/>
                      <a:pt x="140566" y="250829"/>
                    </a:cubicBezTo>
                    <a:cubicBezTo>
                      <a:pt x="140566" y="248327"/>
                      <a:pt x="138143" y="245825"/>
                      <a:pt x="135719" y="248327"/>
                    </a:cubicBezTo>
                    <a:cubicBezTo>
                      <a:pt x="135719" y="250829"/>
                      <a:pt x="135719" y="250829"/>
                      <a:pt x="135719" y="250829"/>
                    </a:cubicBezTo>
                    <a:cubicBezTo>
                      <a:pt x="130872" y="248327"/>
                      <a:pt x="140566" y="263339"/>
                      <a:pt x="128449" y="258335"/>
                    </a:cubicBezTo>
                    <a:cubicBezTo>
                      <a:pt x="130872" y="260837"/>
                      <a:pt x="128449" y="263339"/>
                      <a:pt x="126025" y="260837"/>
                    </a:cubicBezTo>
                    <a:cubicBezTo>
                      <a:pt x="123601" y="260837"/>
                      <a:pt x="123601" y="258335"/>
                      <a:pt x="123601" y="255833"/>
                    </a:cubicBezTo>
                    <a:cubicBezTo>
                      <a:pt x="121178" y="250829"/>
                      <a:pt x="113907" y="250829"/>
                      <a:pt x="113907" y="245825"/>
                    </a:cubicBezTo>
                    <a:cubicBezTo>
                      <a:pt x="113907" y="240821"/>
                      <a:pt x="116331" y="233315"/>
                      <a:pt x="111484" y="233315"/>
                    </a:cubicBezTo>
                    <a:cubicBezTo>
                      <a:pt x="101789" y="233315"/>
                      <a:pt x="104213" y="223306"/>
                      <a:pt x="106637" y="218302"/>
                    </a:cubicBezTo>
                    <a:cubicBezTo>
                      <a:pt x="106637" y="210796"/>
                      <a:pt x="104213" y="208294"/>
                      <a:pt x="99366" y="203290"/>
                    </a:cubicBezTo>
                    <a:cubicBezTo>
                      <a:pt x="94519" y="198286"/>
                      <a:pt x="96942" y="195784"/>
                      <a:pt x="89672" y="195784"/>
                    </a:cubicBezTo>
                    <a:cubicBezTo>
                      <a:pt x="84825" y="193282"/>
                      <a:pt x="79977" y="188278"/>
                      <a:pt x="77554" y="185776"/>
                    </a:cubicBezTo>
                    <a:cubicBezTo>
                      <a:pt x="75130" y="183274"/>
                      <a:pt x="72707" y="180772"/>
                      <a:pt x="70283" y="180772"/>
                    </a:cubicBezTo>
                    <a:cubicBezTo>
                      <a:pt x="65436" y="180772"/>
                      <a:pt x="67860" y="178270"/>
                      <a:pt x="63013" y="178270"/>
                    </a:cubicBezTo>
                    <a:cubicBezTo>
                      <a:pt x="70283" y="175768"/>
                      <a:pt x="55742" y="163258"/>
                      <a:pt x="53318" y="160756"/>
                    </a:cubicBezTo>
                    <a:cubicBezTo>
                      <a:pt x="50895" y="158253"/>
                      <a:pt x="50895" y="158253"/>
                      <a:pt x="48471" y="155751"/>
                    </a:cubicBezTo>
                    <a:cubicBezTo>
                      <a:pt x="46048" y="153249"/>
                      <a:pt x="48471" y="153249"/>
                      <a:pt x="48471" y="150747"/>
                    </a:cubicBezTo>
                    <a:cubicBezTo>
                      <a:pt x="50895" y="145743"/>
                      <a:pt x="50895" y="145743"/>
                      <a:pt x="48471" y="143241"/>
                    </a:cubicBezTo>
                    <a:cubicBezTo>
                      <a:pt x="46048" y="143241"/>
                      <a:pt x="48471" y="138237"/>
                      <a:pt x="48471" y="138237"/>
                    </a:cubicBezTo>
                    <a:cubicBezTo>
                      <a:pt x="48471" y="138237"/>
                      <a:pt x="50895" y="138237"/>
                      <a:pt x="53318" y="138237"/>
                    </a:cubicBezTo>
                    <a:cubicBezTo>
                      <a:pt x="50895" y="135735"/>
                      <a:pt x="50895" y="135735"/>
                      <a:pt x="50895" y="133233"/>
                    </a:cubicBezTo>
                    <a:cubicBezTo>
                      <a:pt x="50895" y="128229"/>
                      <a:pt x="53318" y="130731"/>
                      <a:pt x="53318" y="128229"/>
                    </a:cubicBezTo>
                    <a:cubicBezTo>
                      <a:pt x="55742" y="123225"/>
                      <a:pt x="55742" y="125727"/>
                      <a:pt x="58165" y="125727"/>
                    </a:cubicBezTo>
                    <a:cubicBezTo>
                      <a:pt x="60589" y="125727"/>
                      <a:pt x="60589" y="123225"/>
                      <a:pt x="60589" y="120723"/>
                    </a:cubicBezTo>
                    <a:cubicBezTo>
                      <a:pt x="58165" y="118221"/>
                      <a:pt x="53318" y="115719"/>
                      <a:pt x="55742" y="110715"/>
                    </a:cubicBezTo>
                    <a:cubicBezTo>
                      <a:pt x="55742" y="108213"/>
                      <a:pt x="60589" y="108213"/>
                      <a:pt x="60589" y="105711"/>
                    </a:cubicBezTo>
                    <a:cubicBezTo>
                      <a:pt x="60589" y="105711"/>
                      <a:pt x="58165" y="103209"/>
                      <a:pt x="55742" y="103209"/>
                    </a:cubicBezTo>
                    <a:cubicBezTo>
                      <a:pt x="53318" y="103209"/>
                      <a:pt x="50895" y="105711"/>
                      <a:pt x="48471" y="103209"/>
                    </a:cubicBezTo>
                    <a:cubicBezTo>
                      <a:pt x="43624" y="103209"/>
                      <a:pt x="43624" y="98205"/>
                      <a:pt x="38777" y="100707"/>
                    </a:cubicBezTo>
                    <a:cubicBezTo>
                      <a:pt x="43624" y="93201"/>
                      <a:pt x="29083" y="90698"/>
                      <a:pt x="31506" y="85694"/>
                    </a:cubicBezTo>
                    <a:cubicBezTo>
                      <a:pt x="31506" y="80690"/>
                      <a:pt x="31506" y="80690"/>
                      <a:pt x="29083" y="78188"/>
                    </a:cubicBezTo>
                    <a:cubicBezTo>
                      <a:pt x="26659" y="78188"/>
                      <a:pt x="21812" y="68180"/>
                      <a:pt x="24236" y="68180"/>
                    </a:cubicBezTo>
                    <a:cubicBezTo>
                      <a:pt x="24236" y="63176"/>
                      <a:pt x="21812" y="65678"/>
                      <a:pt x="19389" y="60674"/>
                    </a:cubicBezTo>
                    <a:cubicBezTo>
                      <a:pt x="16965" y="58172"/>
                      <a:pt x="16965" y="53168"/>
                      <a:pt x="14541" y="53168"/>
                    </a:cubicBezTo>
                    <a:cubicBezTo>
                      <a:pt x="14541" y="50666"/>
                      <a:pt x="9694" y="50666"/>
                      <a:pt x="9694" y="48164"/>
                    </a:cubicBezTo>
                    <a:cubicBezTo>
                      <a:pt x="9694" y="43160"/>
                      <a:pt x="9694" y="40658"/>
                      <a:pt x="12118" y="38156"/>
                    </a:cubicBezTo>
                    <a:cubicBezTo>
                      <a:pt x="7271" y="35654"/>
                      <a:pt x="9694" y="28148"/>
                      <a:pt x="7271" y="23143"/>
                    </a:cubicBezTo>
                    <a:cubicBezTo>
                      <a:pt x="4847" y="23143"/>
                      <a:pt x="4847" y="20641"/>
                      <a:pt x="4847" y="18139"/>
                    </a:cubicBezTo>
                    <a:cubicBezTo>
                      <a:pt x="4847" y="18139"/>
                      <a:pt x="2424" y="13135"/>
                      <a:pt x="0" y="10633"/>
                    </a:cubicBezTo>
                    <a:cubicBezTo>
                      <a:pt x="4847" y="8131"/>
                      <a:pt x="7271" y="13135"/>
                      <a:pt x="7271" y="3127"/>
                    </a:cubicBezTo>
                    <a:cubicBezTo>
                      <a:pt x="7271" y="625"/>
                      <a:pt x="8483" y="0"/>
                      <a:pt x="9997" y="0"/>
                    </a:cubicBezTo>
                    <a:close/>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grpSp>
            <p:nvGrpSpPr>
              <p:cNvPr id="97" name="Group 196">
                <a:extLst>
                  <a:ext uri="{FF2B5EF4-FFF2-40B4-BE49-F238E27FC236}">
                    <a16:creationId xmlns:a16="http://schemas.microsoft.com/office/drawing/2014/main" id="{09A74F40-2077-F758-7E3D-DAC359ECA780}"/>
                  </a:ext>
                </a:extLst>
              </p:cNvPr>
              <p:cNvGrpSpPr/>
              <p:nvPr/>
            </p:nvGrpSpPr>
            <p:grpSpPr>
              <a:xfrm>
                <a:off x="3415772" y="2416635"/>
                <a:ext cx="1716426" cy="1795739"/>
                <a:chOff x="3415772" y="2416635"/>
                <a:chExt cx="1716426" cy="1795739"/>
              </a:xfrm>
              <a:grpFill/>
            </p:grpSpPr>
            <p:sp>
              <p:nvSpPr>
                <p:cNvPr id="98" name="Oman">
                  <a:extLst>
                    <a:ext uri="{FF2B5EF4-FFF2-40B4-BE49-F238E27FC236}">
                      <a16:creationId xmlns:a16="http://schemas.microsoft.com/office/drawing/2014/main" id="{FFBCCD84-B72F-8DBA-9CED-2CA829140C32}"/>
                    </a:ext>
                  </a:extLst>
                </p:cNvPr>
                <p:cNvSpPr>
                  <a:spLocks/>
                </p:cNvSpPr>
                <p:nvPr/>
              </p:nvSpPr>
              <p:spPr bwMode="auto">
                <a:xfrm>
                  <a:off x="4958108" y="2694276"/>
                  <a:ext cx="174090" cy="226711"/>
                </a:xfrm>
                <a:custGeom>
                  <a:avLst/>
                  <a:gdLst>
                    <a:gd name="connsiteX0" fmla="*/ 152186 w 170831"/>
                    <a:gd name="connsiteY0" fmla="*/ 115159 h 222467"/>
                    <a:gd name="connsiteX1" fmla="*/ 154722 w 170831"/>
                    <a:gd name="connsiteY1" fmla="*/ 119957 h 222467"/>
                    <a:gd name="connsiteX2" fmla="*/ 152186 w 170831"/>
                    <a:gd name="connsiteY2" fmla="*/ 122357 h 222467"/>
                    <a:gd name="connsiteX3" fmla="*/ 149650 w 170831"/>
                    <a:gd name="connsiteY3" fmla="*/ 129554 h 222467"/>
                    <a:gd name="connsiteX4" fmla="*/ 152186 w 170831"/>
                    <a:gd name="connsiteY4" fmla="*/ 115159 h 222467"/>
                    <a:gd name="connsiteX5" fmla="*/ 77275 w 170831"/>
                    <a:gd name="connsiteY5" fmla="*/ 0 h 222467"/>
                    <a:gd name="connsiteX6" fmla="*/ 82104 w 170831"/>
                    <a:gd name="connsiteY6" fmla="*/ 4999 h 222467"/>
                    <a:gd name="connsiteX7" fmla="*/ 84519 w 170831"/>
                    <a:gd name="connsiteY7" fmla="*/ 2500 h 222467"/>
                    <a:gd name="connsiteX8" fmla="*/ 89349 w 170831"/>
                    <a:gd name="connsiteY8" fmla="*/ 4999 h 222467"/>
                    <a:gd name="connsiteX9" fmla="*/ 101423 w 170831"/>
                    <a:gd name="connsiteY9" fmla="*/ 19997 h 222467"/>
                    <a:gd name="connsiteX10" fmla="*/ 125571 w 170831"/>
                    <a:gd name="connsiteY10" fmla="*/ 32495 h 222467"/>
                    <a:gd name="connsiteX11" fmla="*/ 137645 w 170831"/>
                    <a:gd name="connsiteY11" fmla="*/ 37495 h 222467"/>
                    <a:gd name="connsiteX12" fmla="*/ 152134 w 170831"/>
                    <a:gd name="connsiteY12" fmla="*/ 49993 h 222467"/>
                    <a:gd name="connsiteX13" fmla="*/ 159378 w 170831"/>
                    <a:gd name="connsiteY13" fmla="*/ 59991 h 222467"/>
                    <a:gd name="connsiteX14" fmla="*/ 166623 w 170831"/>
                    <a:gd name="connsiteY14" fmla="*/ 64990 h 222467"/>
                    <a:gd name="connsiteX15" fmla="*/ 164208 w 170831"/>
                    <a:gd name="connsiteY15" fmla="*/ 87487 h 222467"/>
                    <a:gd name="connsiteX16" fmla="*/ 147304 w 170831"/>
                    <a:gd name="connsiteY16" fmla="*/ 114983 h 222467"/>
                    <a:gd name="connsiteX17" fmla="*/ 142475 w 170831"/>
                    <a:gd name="connsiteY17" fmla="*/ 122482 h 222467"/>
                    <a:gd name="connsiteX18" fmla="*/ 135230 w 170831"/>
                    <a:gd name="connsiteY18" fmla="*/ 117483 h 222467"/>
                    <a:gd name="connsiteX19" fmla="*/ 130401 w 170831"/>
                    <a:gd name="connsiteY19" fmla="*/ 137480 h 222467"/>
                    <a:gd name="connsiteX20" fmla="*/ 130401 w 170831"/>
                    <a:gd name="connsiteY20" fmla="*/ 152478 h 222467"/>
                    <a:gd name="connsiteX21" fmla="*/ 127986 w 170831"/>
                    <a:gd name="connsiteY21" fmla="*/ 162476 h 222467"/>
                    <a:gd name="connsiteX22" fmla="*/ 106252 w 170831"/>
                    <a:gd name="connsiteY22" fmla="*/ 174974 h 222467"/>
                    <a:gd name="connsiteX23" fmla="*/ 103838 w 170831"/>
                    <a:gd name="connsiteY23" fmla="*/ 184973 h 222467"/>
                    <a:gd name="connsiteX24" fmla="*/ 89349 w 170831"/>
                    <a:gd name="connsiteY24" fmla="*/ 189972 h 222467"/>
                    <a:gd name="connsiteX25" fmla="*/ 79689 w 170831"/>
                    <a:gd name="connsiteY25" fmla="*/ 194971 h 222467"/>
                    <a:gd name="connsiteX26" fmla="*/ 77275 w 170831"/>
                    <a:gd name="connsiteY26" fmla="*/ 204970 h 222467"/>
                    <a:gd name="connsiteX27" fmla="*/ 70030 w 170831"/>
                    <a:gd name="connsiteY27" fmla="*/ 214968 h 222467"/>
                    <a:gd name="connsiteX28" fmla="*/ 65200 w 170831"/>
                    <a:gd name="connsiteY28" fmla="*/ 214968 h 222467"/>
                    <a:gd name="connsiteX29" fmla="*/ 57956 w 170831"/>
                    <a:gd name="connsiteY29" fmla="*/ 212469 h 222467"/>
                    <a:gd name="connsiteX30" fmla="*/ 31393 w 170831"/>
                    <a:gd name="connsiteY30" fmla="*/ 222467 h 222467"/>
                    <a:gd name="connsiteX31" fmla="*/ 19319 w 170831"/>
                    <a:gd name="connsiteY31" fmla="*/ 204970 h 222467"/>
                    <a:gd name="connsiteX32" fmla="*/ 14489 w 170831"/>
                    <a:gd name="connsiteY32" fmla="*/ 189972 h 222467"/>
                    <a:gd name="connsiteX33" fmla="*/ 0 w 170831"/>
                    <a:gd name="connsiteY33" fmla="*/ 157477 h 222467"/>
                    <a:gd name="connsiteX34" fmla="*/ 2415 w 170831"/>
                    <a:gd name="connsiteY34" fmla="*/ 157477 h 222467"/>
                    <a:gd name="connsiteX35" fmla="*/ 67615 w 170831"/>
                    <a:gd name="connsiteY35" fmla="*/ 134980 h 222467"/>
                    <a:gd name="connsiteX36" fmla="*/ 70030 w 170831"/>
                    <a:gd name="connsiteY36" fmla="*/ 127481 h 222467"/>
                    <a:gd name="connsiteX37" fmla="*/ 74860 w 170831"/>
                    <a:gd name="connsiteY37" fmla="*/ 97486 h 222467"/>
                    <a:gd name="connsiteX38" fmla="*/ 77275 w 170831"/>
                    <a:gd name="connsiteY38" fmla="*/ 74989 h 222467"/>
                    <a:gd name="connsiteX39" fmla="*/ 67615 w 170831"/>
                    <a:gd name="connsiteY39" fmla="*/ 59991 h 222467"/>
                    <a:gd name="connsiteX40" fmla="*/ 70030 w 170831"/>
                    <a:gd name="connsiteY40" fmla="*/ 27496 h 222467"/>
                    <a:gd name="connsiteX41" fmla="*/ 79689 w 170831"/>
                    <a:gd name="connsiteY41" fmla="*/ 24996 h 222467"/>
                    <a:gd name="connsiteX42" fmla="*/ 77275 w 170831"/>
                    <a:gd name="connsiteY42" fmla="*/ 19997 h 222467"/>
                    <a:gd name="connsiteX43" fmla="*/ 77275 w 170831"/>
                    <a:gd name="connsiteY43" fmla="*/ 0 h 222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70831" h="222467">
                      <a:moveTo>
                        <a:pt x="152186" y="115159"/>
                      </a:moveTo>
                      <a:cubicBezTo>
                        <a:pt x="152186" y="115159"/>
                        <a:pt x="154722" y="119957"/>
                        <a:pt x="154722" y="119957"/>
                      </a:cubicBezTo>
                      <a:cubicBezTo>
                        <a:pt x="154722" y="119957"/>
                        <a:pt x="154722" y="119957"/>
                        <a:pt x="152186" y="122357"/>
                      </a:cubicBezTo>
                      <a:cubicBezTo>
                        <a:pt x="152186" y="124756"/>
                        <a:pt x="149650" y="127155"/>
                        <a:pt x="149650" y="129554"/>
                      </a:cubicBezTo>
                      <a:cubicBezTo>
                        <a:pt x="147113" y="122357"/>
                        <a:pt x="152186" y="119957"/>
                        <a:pt x="152186" y="115159"/>
                      </a:cubicBezTo>
                      <a:close/>
                      <a:moveTo>
                        <a:pt x="77275" y="0"/>
                      </a:moveTo>
                      <a:cubicBezTo>
                        <a:pt x="79689" y="0"/>
                        <a:pt x="82104" y="2500"/>
                        <a:pt x="82104" y="4999"/>
                      </a:cubicBezTo>
                      <a:cubicBezTo>
                        <a:pt x="79689" y="9999"/>
                        <a:pt x="84519" y="2500"/>
                        <a:pt x="84519" y="2500"/>
                      </a:cubicBezTo>
                      <a:cubicBezTo>
                        <a:pt x="89349" y="0"/>
                        <a:pt x="89349" y="0"/>
                        <a:pt x="89349" y="4999"/>
                      </a:cubicBezTo>
                      <a:cubicBezTo>
                        <a:pt x="91763" y="9999"/>
                        <a:pt x="96593" y="14998"/>
                        <a:pt x="101423" y="19997"/>
                      </a:cubicBezTo>
                      <a:cubicBezTo>
                        <a:pt x="106252" y="27496"/>
                        <a:pt x="115912" y="29996"/>
                        <a:pt x="125571" y="32495"/>
                      </a:cubicBezTo>
                      <a:cubicBezTo>
                        <a:pt x="130401" y="34995"/>
                        <a:pt x="135230" y="34995"/>
                        <a:pt x="137645" y="37495"/>
                      </a:cubicBezTo>
                      <a:cubicBezTo>
                        <a:pt x="144890" y="37495"/>
                        <a:pt x="147304" y="44993"/>
                        <a:pt x="152134" y="49993"/>
                      </a:cubicBezTo>
                      <a:cubicBezTo>
                        <a:pt x="154549" y="52492"/>
                        <a:pt x="156964" y="57492"/>
                        <a:pt x="159378" y="59991"/>
                      </a:cubicBezTo>
                      <a:cubicBezTo>
                        <a:pt x="161793" y="62491"/>
                        <a:pt x="164208" y="62491"/>
                        <a:pt x="166623" y="64990"/>
                      </a:cubicBezTo>
                      <a:cubicBezTo>
                        <a:pt x="176282" y="69990"/>
                        <a:pt x="166623" y="82488"/>
                        <a:pt x="164208" y="87487"/>
                      </a:cubicBezTo>
                      <a:cubicBezTo>
                        <a:pt x="161793" y="97486"/>
                        <a:pt x="149719" y="102485"/>
                        <a:pt x="147304" y="114983"/>
                      </a:cubicBezTo>
                      <a:cubicBezTo>
                        <a:pt x="147304" y="117483"/>
                        <a:pt x="144890" y="124982"/>
                        <a:pt x="142475" y="122482"/>
                      </a:cubicBezTo>
                      <a:cubicBezTo>
                        <a:pt x="137645" y="122482"/>
                        <a:pt x="140060" y="114983"/>
                        <a:pt x="135230" y="117483"/>
                      </a:cubicBezTo>
                      <a:cubicBezTo>
                        <a:pt x="130401" y="122482"/>
                        <a:pt x="130401" y="132480"/>
                        <a:pt x="130401" y="137480"/>
                      </a:cubicBezTo>
                      <a:cubicBezTo>
                        <a:pt x="127986" y="142479"/>
                        <a:pt x="130401" y="147478"/>
                        <a:pt x="130401" y="152478"/>
                      </a:cubicBezTo>
                      <a:cubicBezTo>
                        <a:pt x="132815" y="157477"/>
                        <a:pt x="132815" y="162476"/>
                        <a:pt x="127986" y="162476"/>
                      </a:cubicBezTo>
                      <a:cubicBezTo>
                        <a:pt x="118327" y="162476"/>
                        <a:pt x="108667" y="164976"/>
                        <a:pt x="106252" y="174974"/>
                      </a:cubicBezTo>
                      <a:cubicBezTo>
                        <a:pt x="106252" y="177474"/>
                        <a:pt x="106252" y="182473"/>
                        <a:pt x="103838" y="184973"/>
                      </a:cubicBezTo>
                      <a:cubicBezTo>
                        <a:pt x="101423" y="189972"/>
                        <a:pt x="94178" y="189972"/>
                        <a:pt x="89349" y="189972"/>
                      </a:cubicBezTo>
                      <a:cubicBezTo>
                        <a:pt x="84519" y="189972"/>
                        <a:pt x="82104" y="189972"/>
                        <a:pt x="79689" y="194971"/>
                      </a:cubicBezTo>
                      <a:cubicBezTo>
                        <a:pt x="74860" y="199970"/>
                        <a:pt x="77275" y="199970"/>
                        <a:pt x="77275" y="204970"/>
                      </a:cubicBezTo>
                      <a:cubicBezTo>
                        <a:pt x="77275" y="209969"/>
                        <a:pt x="72445" y="212469"/>
                        <a:pt x="70030" y="214968"/>
                      </a:cubicBezTo>
                      <a:cubicBezTo>
                        <a:pt x="70030" y="214968"/>
                        <a:pt x="67615" y="214968"/>
                        <a:pt x="65200" y="214968"/>
                      </a:cubicBezTo>
                      <a:cubicBezTo>
                        <a:pt x="62786" y="212469"/>
                        <a:pt x="60371" y="212469"/>
                        <a:pt x="57956" y="212469"/>
                      </a:cubicBezTo>
                      <a:cubicBezTo>
                        <a:pt x="48297" y="212469"/>
                        <a:pt x="41052" y="222467"/>
                        <a:pt x="31393" y="222467"/>
                      </a:cubicBezTo>
                      <a:cubicBezTo>
                        <a:pt x="24148" y="222467"/>
                        <a:pt x="26563" y="207469"/>
                        <a:pt x="19319" y="204970"/>
                      </a:cubicBezTo>
                      <a:cubicBezTo>
                        <a:pt x="24148" y="202470"/>
                        <a:pt x="16904" y="192472"/>
                        <a:pt x="14489" y="189972"/>
                      </a:cubicBezTo>
                      <a:cubicBezTo>
                        <a:pt x="9659" y="179973"/>
                        <a:pt x="4830" y="167475"/>
                        <a:pt x="0" y="157477"/>
                      </a:cubicBezTo>
                      <a:lnTo>
                        <a:pt x="2415" y="157477"/>
                      </a:lnTo>
                      <a:cubicBezTo>
                        <a:pt x="33808" y="149978"/>
                        <a:pt x="53126" y="142479"/>
                        <a:pt x="67615" y="134980"/>
                      </a:cubicBezTo>
                      <a:cubicBezTo>
                        <a:pt x="72445" y="122482"/>
                        <a:pt x="65200" y="139979"/>
                        <a:pt x="70030" y="127481"/>
                      </a:cubicBezTo>
                      <a:cubicBezTo>
                        <a:pt x="72445" y="117483"/>
                        <a:pt x="72445" y="107484"/>
                        <a:pt x="74860" y="97486"/>
                      </a:cubicBezTo>
                      <a:cubicBezTo>
                        <a:pt x="77275" y="89987"/>
                        <a:pt x="79689" y="82488"/>
                        <a:pt x="77275" y="74989"/>
                      </a:cubicBezTo>
                      <a:cubicBezTo>
                        <a:pt x="74860" y="69990"/>
                        <a:pt x="67615" y="64990"/>
                        <a:pt x="67615" y="59991"/>
                      </a:cubicBezTo>
                      <a:cubicBezTo>
                        <a:pt x="65200" y="54992"/>
                        <a:pt x="77275" y="32495"/>
                        <a:pt x="70030" y="27496"/>
                      </a:cubicBezTo>
                      <a:cubicBezTo>
                        <a:pt x="72445" y="24996"/>
                        <a:pt x="77275" y="27496"/>
                        <a:pt x="79689" y="24996"/>
                      </a:cubicBezTo>
                      <a:cubicBezTo>
                        <a:pt x="82104" y="19997"/>
                        <a:pt x="79689" y="22497"/>
                        <a:pt x="77275" y="19997"/>
                      </a:cubicBezTo>
                      <a:cubicBezTo>
                        <a:pt x="74860" y="14998"/>
                        <a:pt x="74860" y="4999"/>
                        <a:pt x="77275" y="0"/>
                      </a:cubicBezTo>
                      <a:close/>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grpSp>
              <p:nvGrpSpPr>
                <p:cNvPr id="99" name="Group 195">
                  <a:extLst>
                    <a:ext uri="{FF2B5EF4-FFF2-40B4-BE49-F238E27FC236}">
                      <a16:creationId xmlns:a16="http://schemas.microsoft.com/office/drawing/2014/main" id="{EAE47FC4-0EE3-2653-00A0-2410E11D9198}"/>
                    </a:ext>
                  </a:extLst>
                </p:cNvPr>
                <p:cNvGrpSpPr/>
                <p:nvPr/>
              </p:nvGrpSpPr>
              <p:grpSpPr>
                <a:xfrm>
                  <a:off x="3415772" y="2416635"/>
                  <a:ext cx="1632676" cy="1795739"/>
                  <a:chOff x="3415772" y="2416635"/>
                  <a:chExt cx="1632676" cy="1795739"/>
                </a:xfrm>
                <a:grpFill/>
              </p:grpSpPr>
              <p:sp>
                <p:nvSpPr>
                  <p:cNvPr id="100" name="Zimbabwe">
                    <a:extLst>
                      <a:ext uri="{FF2B5EF4-FFF2-40B4-BE49-F238E27FC236}">
                        <a16:creationId xmlns:a16="http://schemas.microsoft.com/office/drawing/2014/main" id="{566328E7-2135-8861-57CB-2EA6B4E544CA}"/>
                      </a:ext>
                    </a:extLst>
                  </p:cNvPr>
                  <p:cNvSpPr>
                    <a:spLocks/>
                  </p:cNvSpPr>
                  <p:nvPr/>
                </p:nvSpPr>
                <p:spPr bwMode="auto">
                  <a:xfrm>
                    <a:off x="4342762" y="3735532"/>
                    <a:ext cx="172294" cy="168654"/>
                  </a:xfrm>
                  <a:custGeom>
                    <a:avLst/>
                    <a:gdLst/>
                    <a:ahLst/>
                    <a:cxnLst>
                      <a:cxn ang="0">
                        <a:pos x="0" y="23"/>
                      </a:cxn>
                      <a:cxn ang="0">
                        <a:pos x="4" y="23"/>
                      </a:cxn>
                      <a:cxn ang="0">
                        <a:pos x="6" y="25"/>
                      </a:cxn>
                      <a:cxn ang="0">
                        <a:pos x="10" y="24"/>
                      </a:cxn>
                      <a:cxn ang="0">
                        <a:pos x="13" y="25"/>
                      </a:cxn>
                      <a:cxn ang="0">
                        <a:pos x="19" y="22"/>
                      </a:cxn>
                      <a:cxn ang="0">
                        <a:pos x="24" y="15"/>
                      </a:cxn>
                      <a:cxn ang="0">
                        <a:pos x="26" y="13"/>
                      </a:cxn>
                      <a:cxn ang="0">
                        <a:pos x="30" y="11"/>
                      </a:cxn>
                      <a:cxn ang="0">
                        <a:pos x="34" y="5"/>
                      </a:cxn>
                      <a:cxn ang="0">
                        <a:pos x="39" y="1"/>
                      </a:cxn>
                      <a:cxn ang="0">
                        <a:pos x="43" y="0"/>
                      </a:cxn>
                      <a:cxn ang="0">
                        <a:pos x="49" y="0"/>
                      </a:cxn>
                      <a:cxn ang="0">
                        <a:pos x="53" y="4"/>
                      </a:cxn>
                      <a:cxn ang="0">
                        <a:pos x="59" y="5"/>
                      </a:cxn>
                      <a:cxn ang="0">
                        <a:pos x="65" y="8"/>
                      </a:cxn>
                      <a:cxn ang="0">
                        <a:pos x="70" y="10"/>
                      </a:cxn>
                      <a:cxn ang="0">
                        <a:pos x="73" y="11"/>
                      </a:cxn>
                      <a:cxn ang="0">
                        <a:pos x="72" y="16"/>
                      </a:cxn>
                      <a:cxn ang="0">
                        <a:pos x="73" y="21"/>
                      </a:cxn>
                      <a:cxn ang="0">
                        <a:pos x="72" y="27"/>
                      </a:cxn>
                      <a:cxn ang="0">
                        <a:pos x="72" y="30"/>
                      </a:cxn>
                      <a:cxn ang="0">
                        <a:pos x="72" y="33"/>
                      </a:cxn>
                      <a:cxn ang="0">
                        <a:pos x="70" y="35"/>
                      </a:cxn>
                      <a:cxn ang="0">
                        <a:pos x="71" y="37"/>
                      </a:cxn>
                      <a:cxn ang="0">
                        <a:pos x="71" y="38"/>
                      </a:cxn>
                      <a:cxn ang="0">
                        <a:pos x="70" y="40"/>
                      </a:cxn>
                      <a:cxn ang="0">
                        <a:pos x="71" y="43"/>
                      </a:cxn>
                      <a:cxn ang="0">
                        <a:pos x="72" y="43"/>
                      </a:cxn>
                      <a:cxn ang="0">
                        <a:pos x="71" y="48"/>
                      </a:cxn>
                      <a:cxn ang="0">
                        <a:pos x="68" y="53"/>
                      </a:cxn>
                      <a:cxn ang="0">
                        <a:pos x="67" y="56"/>
                      </a:cxn>
                      <a:cxn ang="0">
                        <a:pos x="67" y="61"/>
                      </a:cxn>
                      <a:cxn ang="0">
                        <a:pos x="57" y="71"/>
                      </a:cxn>
                      <a:cxn ang="0">
                        <a:pos x="55" y="73"/>
                      </a:cxn>
                      <a:cxn ang="0">
                        <a:pos x="48" y="72"/>
                      </a:cxn>
                      <a:cxn ang="0">
                        <a:pos x="42" y="70"/>
                      </a:cxn>
                      <a:cxn ang="0">
                        <a:pos x="37" y="70"/>
                      </a:cxn>
                      <a:cxn ang="0">
                        <a:pos x="35" y="69"/>
                      </a:cxn>
                      <a:cxn ang="0">
                        <a:pos x="34" y="66"/>
                      </a:cxn>
                      <a:cxn ang="0">
                        <a:pos x="25" y="63"/>
                      </a:cxn>
                      <a:cxn ang="0">
                        <a:pos x="22" y="55"/>
                      </a:cxn>
                      <a:cxn ang="0">
                        <a:pos x="19" y="52"/>
                      </a:cxn>
                      <a:cxn ang="0">
                        <a:pos x="15" y="46"/>
                      </a:cxn>
                      <a:cxn ang="0">
                        <a:pos x="8" y="41"/>
                      </a:cxn>
                      <a:cxn ang="0">
                        <a:pos x="4" y="31"/>
                      </a:cxn>
                      <a:cxn ang="0">
                        <a:pos x="0" y="23"/>
                      </a:cxn>
                    </a:cxnLst>
                    <a:rect l="0" t="0" r="r" b="b"/>
                    <a:pathLst>
                      <a:path w="74" h="73">
                        <a:moveTo>
                          <a:pt x="0" y="23"/>
                        </a:moveTo>
                        <a:cubicBezTo>
                          <a:pt x="2" y="23"/>
                          <a:pt x="3" y="24"/>
                          <a:pt x="4" y="23"/>
                        </a:cubicBezTo>
                        <a:cubicBezTo>
                          <a:pt x="5" y="23"/>
                          <a:pt x="6" y="25"/>
                          <a:pt x="6" y="25"/>
                        </a:cubicBezTo>
                        <a:cubicBezTo>
                          <a:pt x="7" y="26"/>
                          <a:pt x="9" y="24"/>
                          <a:pt x="10" y="24"/>
                        </a:cubicBezTo>
                        <a:cubicBezTo>
                          <a:pt x="11" y="24"/>
                          <a:pt x="12" y="25"/>
                          <a:pt x="13" y="25"/>
                        </a:cubicBezTo>
                        <a:cubicBezTo>
                          <a:pt x="16" y="27"/>
                          <a:pt x="17" y="24"/>
                          <a:pt x="19" y="22"/>
                        </a:cubicBezTo>
                        <a:cubicBezTo>
                          <a:pt x="20" y="20"/>
                          <a:pt x="22" y="17"/>
                          <a:pt x="24" y="15"/>
                        </a:cubicBezTo>
                        <a:cubicBezTo>
                          <a:pt x="24" y="14"/>
                          <a:pt x="25" y="14"/>
                          <a:pt x="26" y="13"/>
                        </a:cubicBezTo>
                        <a:cubicBezTo>
                          <a:pt x="27" y="12"/>
                          <a:pt x="29" y="11"/>
                          <a:pt x="30" y="11"/>
                        </a:cubicBezTo>
                        <a:cubicBezTo>
                          <a:pt x="34" y="9"/>
                          <a:pt x="34" y="9"/>
                          <a:pt x="34" y="5"/>
                        </a:cubicBezTo>
                        <a:cubicBezTo>
                          <a:pt x="34" y="4"/>
                          <a:pt x="37" y="2"/>
                          <a:pt x="39" y="1"/>
                        </a:cubicBezTo>
                        <a:cubicBezTo>
                          <a:pt x="40" y="0"/>
                          <a:pt x="42" y="0"/>
                          <a:pt x="43" y="0"/>
                        </a:cubicBezTo>
                        <a:cubicBezTo>
                          <a:pt x="45" y="0"/>
                          <a:pt x="47" y="0"/>
                          <a:pt x="49" y="0"/>
                        </a:cubicBezTo>
                        <a:cubicBezTo>
                          <a:pt x="49" y="3"/>
                          <a:pt x="49" y="4"/>
                          <a:pt x="53" y="4"/>
                        </a:cubicBezTo>
                        <a:cubicBezTo>
                          <a:pt x="55" y="4"/>
                          <a:pt x="57" y="4"/>
                          <a:pt x="59" y="5"/>
                        </a:cubicBezTo>
                        <a:cubicBezTo>
                          <a:pt x="60" y="6"/>
                          <a:pt x="63" y="8"/>
                          <a:pt x="65" y="8"/>
                        </a:cubicBezTo>
                        <a:cubicBezTo>
                          <a:pt x="67" y="9"/>
                          <a:pt x="70" y="9"/>
                          <a:pt x="70" y="10"/>
                        </a:cubicBezTo>
                        <a:cubicBezTo>
                          <a:pt x="71" y="11"/>
                          <a:pt x="72" y="12"/>
                          <a:pt x="73" y="11"/>
                        </a:cubicBezTo>
                        <a:cubicBezTo>
                          <a:pt x="73" y="13"/>
                          <a:pt x="72" y="14"/>
                          <a:pt x="72" y="16"/>
                        </a:cubicBezTo>
                        <a:cubicBezTo>
                          <a:pt x="73" y="18"/>
                          <a:pt x="72" y="19"/>
                          <a:pt x="73" y="21"/>
                        </a:cubicBezTo>
                        <a:cubicBezTo>
                          <a:pt x="73" y="23"/>
                          <a:pt x="72" y="25"/>
                          <a:pt x="72" y="27"/>
                        </a:cubicBezTo>
                        <a:cubicBezTo>
                          <a:pt x="73" y="28"/>
                          <a:pt x="74" y="29"/>
                          <a:pt x="72" y="30"/>
                        </a:cubicBezTo>
                        <a:cubicBezTo>
                          <a:pt x="71" y="31"/>
                          <a:pt x="72" y="33"/>
                          <a:pt x="72" y="33"/>
                        </a:cubicBezTo>
                        <a:cubicBezTo>
                          <a:pt x="70" y="34"/>
                          <a:pt x="70" y="34"/>
                          <a:pt x="70" y="35"/>
                        </a:cubicBezTo>
                        <a:cubicBezTo>
                          <a:pt x="69" y="36"/>
                          <a:pt x="71" y="36"/>
                          <a:pt x="71" y="37"/>
                        </a:cubicBezTo>
                        <a:cubicBezTo>
                          <a:pt x="71" y="38"/>
                          <a:pt x="71" y="38"/>
                          <a:pt x="71" y="38"/>
                        </a:cubicBezTo>
                        <a:cubicBezTo>
                          <a:pt x="71" y="39"/>
                          <a:pt x="70" y="39"/>
                          <a:pt x="70" y="40"/>
                        </a:cubicBezTo>
                        <a:cubicBezTo>
                          <a:pt x="70" y="41"/>
                          <a:pt x="71" y="43"/>
                          <a:pt x="71" y="43"/>
                        </a:cubicBezTo>
                        <a:cubicBezTo>
                          <a:pt x="72" y="43"/>
                          <a:pt x="72" y="43"/>
                          <a:pt x="72" y="43"/>
                        </a:cubicBezTo>
                        <a:cubicBezTo>
                          <a:pt x="72" y="45"/>
                          <a:pt x="72" y="46"/>
                          <a:pt x="71" y="48"/>
                        </a:cubicBezTo>
                        <a:cubicBezTo>
                          <a:pt x="70" y="49"/>
                          <a:pt x="70" y="52"/>
                          <a:pt x="68" y="53"/>
                        </a:cubicBezTo>
                        <a:cubicBezTo>
                          <a:pt x="66" y="54"/>
                          <a:pt x="67" y="55"/>
                          <a:pt x="67" y="56"/>
                        </a:cubicBezTo>
                        <a:cubicBezTo>
                          <a:pt x="67" y="58"/>
                          <a:pt x="65" y="59"/>
                          <a:pt x="67" y="61"/>
                        </a:cubicBezTo>
                        <a:cubicBezTo>
                          <a:pt x="65" y="60"/>
                          <a:pt x="58" y="70"/>
                          <a:pt x="57" y="71"/>
                        </a:cubicBezTo>
                        <a:cubicBezTo>
                          <a:pt x="56" y="71"/>
                          <a:pt x="55" y="73"/>
                          <a:pt x="55" y="73"/>
                        </a:cubicBezTo>
                        <a:cubicBezTo>
                          <a:pt x="54" y="71"/>
                          <a:pt x="50" y="72"/>
                          <a:pt x="48" y="72"/>
                        </a:cubicBezTo>
                        <a:cubicBezTo>
                          <a:pt x="46" y="72"/>
                          <a:pt x="44" y="71"/>
                          <a:pt x="42" y="70"/>
                        </a:cubicBezTo>
                        <a:cubicBezTo>
                          <a:pt x="39" y="69"/>
                          <a:pt x="37" y="70"/>
                          <a:pt x="37" y="70"/>
                        </a:cubicBezTo>
                        <a:cubicBezTo>
                          <a:pt x="36" y="69"/>
                          <a:pt x="36" y="69"/>
                          <a:pt x="35" y="69"/>
                        </a:cubicBezTo>
                        <a:cubicBezTo>
                          <a:pt x="34" y="68"/>
                          <a:pt x="35" y="67"/>
                          <a:pt x="34" y="66"/>
                        </a:cubicBezTo>
                        <a:cubicBezTo>
                          <a:pt x="33" y="64"/>
                          <a:pt x="26" y="65"/>
                          <a:pt x="25" y="63"/>
                        </a:cubicBezTo>
                        <a:cubicBezTo>
                          <a:pt x="24" y="60"/>
                          <a:pt x="22" y="58"/>
                          <a:pt x="22" y="55"/>
                        </a:cubicBezTo>
                        <a:cubicBezTo>
                          <a:pt x="24" y="52"/>
                          <a:pt x="22" y="51"/>
                          <a:pt x="19" y="52"/>
                        </a:cubicBezTo>
                        <a:cubicBezTo>
                          <a:pt x="19" y="49"/>
                          <a:pt x="18" y="47"/>
                          <a:pt x="15" y="46"/>
                        </a:cubicBezTo>
                        <a:cubicBezTo>
                          <a:pt x="13" y="46"/>
                          <a:pt x="10" y="43"/>
                          <a:pt x="8" y="41"/>
                        </a:cubicBezTo>
                        <a:cubicBezTo>
                          <a:pt x="6" y="38"/>
                          <a:pt x="6" y="34"/>
                          <a:pt x="4" y="31"/>
                        </a:cubicBezTo>
                        <a:cubicBezTo>
                          <a:pt x="3" y="30"/>
                          <a:pt x="0" y="25"/>
                          <a:pt x="0" y="23"/>
                        </a:cubicBezTo>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01" name="Zambia">
                    <a:extLst>
                      <a:ext uri="{FF2B5EF4-FFF2-40B4-BE49-F238E27FC236}">
                        <a16:creationId xmlns:a16="http://schemas.microsoft.com/office/drawing/2014/main" id="{E7603057-20F9-7F62-9126-53CBDF1D58FE}"/>
                      </a:ext>
                    </a:extLst>
                  </p:cNvPr>
                  <p:cNvSpPr>
                    <a:spLocks/>
                  </p:cNvSpPr>
                  <p:nvPr/>
                </p:nvSpPr>
                <p:spPr bwMode="auto">
                  <a:xfrm>
                    <a:off x="4273601" y="3549892"/>
                    <a:ext cx="257228" cy="249948"/>
                  </a:xfrm>
                  <a:custGeom>
                    <a:avLst/>
                    <a:gdLst/>
                    <a:ahLst/>
                    <a:cxnLst>
                      <a:cxn ang="0">
                        <a:pos x="0" y="55"/>
                      </a:cxn>
                      <a:cxn ang="0">
                        <a:pos x="6" y="51"/>
                      </a:cxn>
                      <a:cxn ang="0">
                        <a:pos x="19" y="46"/>
                      </a:cxn>
                      <a:cxn ang="0">
                        <a:pos x="20" y="29"/>
                      </a:cxn>
                      <a:cxn ang="0">
                        <a:pos x="23" y="34"/>
                      </a:cxn>
                      <a:cxn ang="0">
                        <a:pos x="32" y="32"/>
                      </a:cxn>
                      <a:cxn ang="0">
                        <a:pos x="37" y="38"/>
                      </a:cxn>
                      <a:cxn ang="0">
                        <a:pos x="48" y="38"/>
                      </a:cxn>
                      <a:cxn ang="0">
                        <a:pos x="53" y="43"/>
                      </a:cxn>
                      <a:cxn ang="0">
                        <a:pos x="60" y="46"/>
                      </a:cxn>
                      <a:cxn ang="0">
                        <a:pos x="66" y="55"/>
                      </a:cxn>
                      <a:cxn ang="0">
                        <a:pos x="73" y="56"/>
                      </a:cxn>
                      <a:cxn ang="0">
                        <a:pos x="74" y="42"/>
                      </a:cxn>
                      <a:cxn ang="0">
                        <a:pos x="71" y="45"/>
                      </a:cxn>
                      <a:cxn ang="0">
                        <a:pos x="61" y="33"/>
                      </a:cxn>
                      <a:cxn ang="0">
                        <a:pos x="63" y="21"/>
                      </a:cxn>
                      <a:cxn ang="0">
                        <a:pos x="66" y="3"/>
                      </a:cxn>
                      <a:cxn ang="0">
                        <a:pos x="81" y="3"/>
                      </a:cxn>
                      <a:cxn ang="0">
                        <a:pos x="85" y="5"/>
                      </a:cxn>
                      <a:cxn ang="0">
                        <a:pos x="92" y="7"/>
                      </a:cxn>
                      <a:cxn ang="0">
                        <a:pos x="96" y="9"/>
                      </a:cxn>
                      <a:cxn ang="0">
                        <a:pos x="102" y="12"/>
                      </a:cxn>
                      <a:cxn ang="0">
                        <a:pos x="105" y="14"/>
                      </a:cxn>
                      <a:cxn ang="0">
                        <a:pos x="108" y="19"/>
                      </a:cxn>
                      <a:cxn ang="0">
                        <a:pos x="111" y="25"/>
                      </a:cxn>
                      <a:cxn ang="0">
                        <a:pos x="108" y="31"/>
                      </a:cxn>
                      <a:cxn ang="0">
                        <a:pos x="109" y="45"/>
                      </a:cxn>
                      <a:cxn ang="0">
                        <a:pos x="104" y="53"/>
                      </a:cxn>
                      <a:cxn ang="0">
                        <a:pos x="103" y="62"/>
                      </a:cxn>
                      <a:cxn ang="0">
                        <a:pos x="78" y="73"/>
                      </a:cxn>
                      <a:cxn ang="0">
                        <a:pos x="75" y="80"/>
                      </a:cxn>
                      <a:cxn ang="0">
                        <a:pos x="64" y="85"/>
                      </a:cxn>
                      <a:cxn ang="0">
                        <a:pos x="60" y="91"/>
                      </a:cxn>
                      <a:cxn ang="0">
                        <a:pos x="43" y="105"/>
                      </a:cxn>
                      <a:cxn ang="0">
                        <a:pos x="36" y="105"/>
                      </a:cxn>
                      <a:cxn ang="0">
                        <a:pos x="30" y="103"/>
                      </a:cxn>
                      <a:cxn ang="0">
                        <a:pos x="22" y="100"/>
                      </a:cxn>
                      <a:cxn ang="0">
                        <a:pos x="13" y="101"/>
                      </a:cxn>
                      <a:cxn ang="0">
                        <a:pos x="2" y="90"/>
                      </a:cxn>
                    </a:cxnLst>
                    <a:rect l="0" t="0" r="r" b="b"/>
                    <a:pathLst>
                      <a:path w="111" h="108">
                        <a:moveTo>
                          <a:pt x="0" y="86"/>
                        </a:moveTo>
                        <a:cubicBezTo>
                          <a:pt x="0" y="75"/>
                          <a:pt x="0" y="65"/>
                          <a:pt x="0" y="55"/>
                        </a:cubicBezTo>
                        <a:cubicBezTo>
                          <a:pt x="0" y="54"/>
                          <a:pt x="0" y="52"/>
                          <a:pt x="2" y="51"/>
                        </a:cubicBezTo>
                        <a:cubicBezTo>
                          <a:pt x="3" y="51"/>
                          <a:pt x="4" y="51"/>
                          <a:pt x="6" y="51"/>
                        </a:cubicBezTo>
                        <a:cubicBezTo>
                          <a:pt x="10" y="52"/>
                          <a:pt x="15" y="52"/>
                          <a:pt x="20" y="51"/>
                        </a:cubicBezTo>
                        <a:cubicBezTo>
                          <a:pt x="18" y="49"/>
                          <a:pt x="19" y="48"/>
                          <a:pt x="19" y="46"/>
                        </a:cubicBezTo>
                        <a:cubicBezTo>
                          <a:pt x="20" y="44"/>
                          <a:pt x="19" y="43"/>
                          <a:pt x="19" y="41"/>
                        </a:cubicBezTo>
                        <a:cubicBezTo>
                          <a:pt x="20" y="37"/>
                          <a:pt x="21" y="32"/>
                          <a:pt x="20" y="29"/>
                        </a:cubicBezTo>
                        <a:cubicBezTo>
                          <a:pt x="21" y="29"/>
                          <a:pt x="21" y="30"/>
                          <a:pt x="22" y="31"/>
                        </a:cubicBezTo>
                        <a:cubicBezTo>
                          <a:pt x="24" y="31"/>
                          <a:pt x="23" y="33"/>
                          <a:pt x="23" y="34"/>
                        </a:cubicBezTo>
                        <a:cubicBezTo>
                          <a:pt x="25" y="35"/>
                          <a:pt x="24" y="35"/>
                          <a:pt x="26" y="34"/>
                        </a:cubicBezTo>
                        <a:cubicBezTo>
                          <a:pt x="28" y="33"/>
                          <a:pt x="30" y="32"/>
                          <a:pt x="32" y="32"/>
                        </a:cubicBezTo>
                        <a:cubicBezTo>
                          <a:pt x="32" y="34"/>
                          <a:pt x="32" y="36"/>
                          <a:pt x="33" y="38"/>
                        </a:cubicBezTo>
                        <a:cubicBezTo>
                          <a:pt x="34" y="38"/>
                          <a:pt x="35" y="38"/>
                          <a:pt x="37" y="38"/>
                        </a:cubicBezTo>
                        <a:cubicBezTo>
                          <a:pt x="38" y="39"/>
                          <a:pt x="39" y="40"/>
                          <a:pt x="41" y="40"/>
                        </a:cubicBezTo>
                        <a:cubicBezTo>
                          <a:pt x="44" y="40"/>
                          <a:pt x="47" y="42"/>
                          <a:pt x="48" y="38"/>
                        </a:cubicBezTo>
                        <a:cubicBezTo>
                          <a:pt x="49" y="34"/>
                          <a:pt x="50" y="39"/>
                          <a:pt x="52" y="40"/>
                        </a:cubicBezTo>
                        <a:cubicBezTo>
                          <a:pt x="53" y="41"/>
                          <a:pt x="53" y="42"/>
                          <a:pt x="53" y="43"/>
                        </a:cubicBezTo>
                        <a:cubicBezTo>
                          <a:pt x="54" y="45"/>
                          <a:pt x="56" y="43"/>
                          <a:pt x="57" y="44"/>
                        </a:cubicBezTo>
                        <a:cubicBezTo>
                          <a:pt x="58" y="45"/>
                          <a:pt x="59" y="46"/>
                          <a:pt x="60" y="46"/>
                        </a:cubicBezTo>
                        <a:cubicBezTo>
                          <a:pt x="62" y="46"/>
                          <a:pt x="62" y="49"/>
                          <a:pt x="63" y="50"/>
                        </a:cubicBezTo>
                        <a:cubicBezTo>
                          <a:pt x="65" y="52"/>
                          <a:pt x="65" y="53"/>
                          <a:pt x="66" y="55"/>
                        </a:cubicBezTo>
                        <a:cubicBezTo>
                          <a:pt x="68" y="58"/>
                          <a:pt x="71" y="53"/>
                          <a:pt x="73" y="54"/>
                        </a:cubicBezTo>
                        <a:cubicBezTo>
                          <a:pt x="72" y="55"/>
                          <a:pt x="72" y="56"/>
                          <a:pt x="73" y="56"/>
                        </a:cubicBezTo>
                        <a:cubicBezTo>
                          <a:pt x="74" y="57"/>
                          <a:pt x="74" y="54"/>
                          <a:pt x="74" y="53"/>
                        </a:cubicBezTo>
                        <a:cubicBezTo>
                          <a:pt x="74" y="50"/>
                          <a:pt x="74" y="46"/>
                          <a:pt x="74" y="42"/>
                        </a:cubicBezTo>
                        <a:cubicBezTo>
                          <a:pt x="74" y="43"/>
                          <a:pt x="73" y="43"/>
                          <a:pt x="72" y="43"/>
                        </a:cubicBezTo>
                        <a:cubicBezTo>
                          <a:pt x="71" y="43"/>
                          <a:pt x="71" y="44"/>
                          <a:pt x="71" y="45"/>
                        </a:cubicBezTo>
                        <a:cubicBezTo>
                          <a:pt x="70" y="46"/>
                          <a:pt x="66" y="43"/>
                          <a:pt x="65" y="42"/>
                        </a:cubicBezTo>
                        <a:cubicBezTo>
                          <a:pt x="63" y="40"/>
                          <a:pt x="60" y="37"/>
                          <a:pt x="61" y="33"/>
                        </a:cubicBezTo>
                        <a:cubicBezTo>
                          <a:pt x="62" y="30"/>
                          <a:pt x="63" y="28"/>
                          <a:pt x="64" y="26"/>
                        </a:cubicBezTo>
                        <a:cubicBezTo>
                          <a:pt x="64" y="25"/>
                          <a:pt x="63" y="23"/>
                          <a:pt x="63" y="21"/>
                        </a:cubicBezTo>
                        <a:cubicBezTo>
                          <a:pt x="63" y="18"/>
                          <a:pt x="65" y="13"/>
                          <a:pt x="61" y="12"/>
                        </a:cubicBezTo>
                        <a:cubicBezTo>
                          <a:pt x="62" y="9"/>
                          <a:pt x="69" y="7"/>
                          <a:pt x="66" y="3"/>
                        </a:cubicBezTo>
                        <a:cubicBezTo>
                          <a:pt x="72" y="2"/>
                          <a:pt x="76" y="2"/>
                          <a:pt x="82" y="0"/>
                        </a:cubicBezTo>
                        <a:cubicBezTo>
                          <a:pt x="82" y="1"/>
                          <a:pt x="81" y="3"/>
                          <a:pt x="81" y="3"/>
                        </a:cubicBezTo>
                        <a:cubicBezTo>
                          <a:pt x="81" y="3"/>
                          <a:pt x="83" y="3"/>
                          <a:pt x="82" y="4"/>
                        </a:cubicBezTo>
                        <a:cubicBezTo>
                          <a:pt x="82" y="4"/>
                          <a:pt x="83" y="3"/>
                          <a:pt x="85" y="5"/>
                        </a:cubicBezTo>
                        <a:cubicBezTo>
                          <a:pt x="87" y="7"/>
                          <a:pt x="88" y="5"/>
                          <a:pt x="88" y="4"/>
                        </a:cubicBezTo>
                        <a:cubicBezTo>
                          <a:pt x="90" y="4"/>
                          <a:pt x="91" y="5"/>
                          <a:pt x="92" y="7"/>
                        </a:cubicBezTo>
                        <a:cubicBezTo>
                          <a:pt x="92" y="8"/>
                          <a:pt x="93" y="8"/>
                          <a:pt x="94" y="7"/>
                        </a:cubicBezTo>
                        <a:cubicBezTo>
                          <a:pt x="95" y="7"/>
                          <a:pt x="95" y="9"/>
                          <a:pt x="96" y="9"/>
                        </a:cubicBezTo>
                        <a:cubicBezTo>
                          <a:pt x="97" y="10"/>
                          <a:pt x="100" y="9"/>
                          <a:pt x="100" y="11"/>
                        </a:cubicBezTo>
                        <a:cubicBezTo>
                          <a:pt x="101" y="12"/>
                          <a:pt x="102" y="11"/>
                          <a:pt x="102" y="12"/>
                        </a:cubicBezTo>
                        <a:cubicBezTo>
                          <a:pt x="103" y="12"/>
                          <a:pt x="104" y="12"/>
                          <a:pt x="104" y="13"/>
                        </a:cubicBezTo>
                        <a:cubicBezTo>
                          <a:pt x="105" y="13"/>
                          <a:pt x="105" y="14"/>
                          <a:pt x="105" y="14"/>
                        </a:cubicBezTo>
                        <a:cubicBezTo>
                          <a:pt x="104" y="16"/>
                          <a:pt x="108" y="15"/>
                          <a:pt x="108" y="17"/>
                        </a:cubicBezTo>
                        <a:cubicBezTo>
                          <a:pt x="108" y="18"/>
                          <a:pt x="108" y="19"/>
                          <a:pt x="108" y="19"/>
                        </a:cubicBezTo>
                        <a:cubicBezTo>
                          <a:pt x="108" y="20"/>
                          <a:pt x="109" y="21"/>
                          <a:pt x="110" y="21"/>
                        </a:cubicBezTo>
                        <a:cubicBezTo>
                          <a:pt x="110" y="22"/>
                          <a:pt x="111" y="24"/>
                          <a:pt x="111" y="25"/>
                        </a:cubicBezTo>
                        <a:cubicBezTo>
                          <a:pt x="111" y="26"/>
                          <a:pt x="110" y="28"/>
                          <a:pt x="108" y="28"/>
                        </a:cubicBezTo>
                        <a:cubicBezTo>
                          <a:pt x="107" y="29"/>
                          <a:pt x="107" y="30"/>
                          <a:pt x="108" y="31"/>
                        </a:cubicBezTo>
                        <a:cubicBezTo>
                          <a:pt x="108" y="33"/>
                          <a:pt x="107" y="34"/>
                          <a:pt x="107" y="36"/>
                        </a:cubicBezTo>
                        <a:cubicBezTo>
                          <a:pt x="107" y="38"/>
                          <a:pt x="106" y="44"/>
                          <a:pt x="109" y="45"/>
                        </a:cubicBezTo>
                        <a:cubicBezTo>
                          <a:pt x="108" y="46"/>
                          <a:pt x="104" y="47"/>
                          <a:pt x="104" y="49"/>
                        </a:cubicBezTo>
                        <a:cubicBezTo>
                          <a:pt x="104" y="51"/>
                          <a:pt x="104" y="51"/>
                          <a:pt x="104" y="53"/>
                        </a:cubicBezTo>
                        <a:cubicBezTo>
                          <a:pt x="104" y="56"/>
                          <a:pt x="102" y="57"/>
                          <a:pt x="101" y="59"/>
                        </a:cubicBezTo>
                        <a:cubicBezTo>
                          <a:pt x="101" y="60"/>
                          <a:pt x="102" y="61"/>
                          <a:pt x="103" y="62"/>
                        </a:cubicBezTo>
                        <a:cubicBezTo>
                          <a:pt x="104" y="62"/>
                          <a:pt x="105" y="62"/>
                          <a:pt x="105" y="63"/>
                        </a:cubicBezTo>
                        <a:cubicBezTo>
                          <a:pt x="96" y="67"/>
                          <a:pt x="87" y="69"/>
                          <a:pt x="78" y="73"/>
                        </a:cubicBezTo>
                        <a:cubicBezTo>
                          <a:pt x="77" y="74"/>
                          <a:pt x="80" y="78"/>
                          <a:pt x="79" y="80"/>
                        </a:cubicBezTo>
                        <a:cubicBezTo>
                          <a:pt x="78" y="80"/>
                          <a:pt x="76" y="80"/>
                          <a:pt x="75" y="80"/>
                        </a:cubicBezTo>
                        <a:cubicBezTo>
                          <a:pt x="73" y="79"/>
                          <a:pt x="71" y="80"/>
                          <a:pt x="70" y="81"/>
                        </a:cubicBezTo>
                        <a:cubicBezTo>
                          <a:pt x="68" y="82"/>
                          <a:pt x="65" y="83"/>
                          <a:pt x="64" y="85"/>
                        </a:cubicBezTo>
                        <a:cubicBezTo>
                          <a:pt x="64" y="86"/>
                          <a:pt x="64" y="88"/>
                          <a:pt x="64" y="89"/>
                        </a:cubicBezTo>
                        <a:cubicBezTo>
                          <a:pt x="63" y="90"/>
                          <a:pt x="61" y="90"/>
                          <a:pt x="60" y="91"/>
                        </a:cubicBezTo>
                        <a:cubicBezTo>
                          <a:pt x="58" y="92"/>
                          <a:pt x="55" y="94"/>
                          <a:pt x="53" y="96"/>
                        </a:cubicBezTo>
                        <a:cubicBezTo>
                          <a:pt x="52" y="98"/>
                          <a:pt x="47" y="108"/>
                          <a:pt x="43" y="105"/>
                        </a:cubicBezTo>
                        <a:cubicBezTo>
                          <a:pt x="42" y="105"/>
                          <a:pt x="41" y="105"/>
                          <a:pt x="40" y="104"/>
                        </a:cubicBezTo>
                        <a:cubicBezTo>
                          <a:pt x="39" y="104"/>
                          <a:pt x="38" y="106"/>
                          <a:pt x="36" y="105"/>
                        </a:cubicBezTo>
                        <a:cubicBezTo>
                          <a:pt x="36" y="105"/>
                          <a:pt x="35" y="103"/>
                          <a:pt x="34" y="103"/>
                        </a:cubicBezTo>
                        <a:cubicBezTo>
                          <a:pt x="34" y="103"/>
                          <a:pt x="31" y="104"/>
                          <a:pt x="30" y="103"/>
                        </a:cubicBezTo>
                        <a:cubicBezTo>
                          <a:pt x="28" y="101"/>
                          <a:pt x="28" y="100"/>
                          <a:pt x="26" y="100"/>
                        </a:cubicBezTo>
                        <a:cubicBezTo>
                          <a:pt x="25" y="100"/>
                          <a:pt x="24" y="101"/>
                          <a:pt x="22" y="100"/>
                        </a:cubicBezTo>
                        <a:cubicBezTo>
                          <a:pt x="20" y="99"/>
                          <a:pt x="19" y="100"/>
                          <a:pt x="17" y="100"/>
                        </a:cubicBezTo>
                        <a:cubicBezTo>
                          <a:pt x="16" y="100"/>
                          <a:pt x="14" y="101"/>
                          <a:pt x="13" y="101"/>
                        </a:cubicBezTo>
                        <a:cubicBezTo>
                          <a:pt x="10" y="100"/>
                          <a:pt x="8" y="96"/>
                          <a:pt x="6" y="94"/>
                        </a:cubicBezTo>
                        <a:cubicBezTo>
                          <a:pt x="5" y="92"/>
                          <a:pt x="4" y="91"/>
                          <a:pt x="2" y="90"/>
                        </a:cubicBezTo>
                        <a:cubicBezTo>
                          <a:pt x="1" y="89"/>
                          <a:pt x="1" y="87"/>
                          <a:pt x="0" y="86"/>
                        </a:cubicBezTo>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02" name="Yemen">
                    <a:extLst>
                      <a:ext uri="{FF2B5EF4-FFF2-40B4-BE49-F238E27FC236}">
                        <a16:creationId xmlns:a16="http://schemas.microsoft.com/office/drawing/2014/main" id="{604164B8-3B55-CD8C-A8C6-54FFA1E35956}"/>
                      </a:ext>
                    </a:extLst>
                  </p:cNvPr>
                  <p:cNvSpPr>
                    <a:spLocks/>
                  </p:cNvSpPr>
                  <p:nvPr/>
                </p:nvSpPr>
                <p:spPr bwMode="auto">
                  <a:xfrm>
                    <a:off x="4746152" y="2854308"/>
                    <a:ext cx="244265" cy="178702"/>
                  </a:xfrm>
                  <a:custGeom>
                    <a:avLst/>
                    <a:gdLst/>
                    <a:ahLst/>
                    <a:cxnLst>
                      <a:cxn ang="0">
                        <a:pos x="99" y="26"/>
                      </a:cxn>
                      <a:cxn ang="0">
                        <a:pos x="95" y="19"/>
                      </a:cxn>
                      <a:cxn ang="0">
                        <a:pos x="90" y="8"/>
                      </a:cxn>
                      <a:cxn ang="0">
                        <a:pos x="87" y="0"/>
                      </a:cxn>
                      <a:cxn ang="0">
                        <a:pos x="60" y="5"/>
                      </a:cxn>
                      <a:cxn ang="0">
                        <a:pos x="48" y="15"/>
                      </a:cxn>
                      <a:cxn ang="0">
                        <a:pos x="42" y="23"/>
                      </a:cxn>
                      <a:cxn ang="0">
                        <a:pos x="37" y="19"/>
                      </a:cxn>
                      <a:cxn ang="0">
                        <a:pos x="29" y="19"/>
                      </a:cxn>
                      <a:cxn ang="0">
                        <a:pos x="23" y="17"/>
                      </a:cxn>
                      <a:cxn ang="0">
                        <a:pos x="18" y="18"/>
                      </a:cxn>
                      <a:cxn ang="0">
                        <a:pos x="11" y="19"/>
                      </a:cxn>
                      <a:cxn ang="0">
                        <a:pos x="8" y="17"/>
                      </a:cxn>
                      <a:cxn ang="0">
                        <a:pos x="5" y="19"/>
                      </a:cxn>
                      <a:cxn ang="0">
                        <a:pos x="5" y="23"/>
                      </a:cxn>
                      <a:cxn ang="0">
                        <a:pos x="6" y="25"/>
                      </a:cxn>
                      <a:cxn ang="0">
                        <a:pos x="4" y="28"/>
                      </a:cxn>
                      <a:cxn ang="0">
                        <a:pos x="3" y="29"/>
                      </a:cxn>
                      <a:cxn ang="0">
                        <a:pos x="2" y="31"/>
                      </a:cxn>
                      <a:cxn ang="0">
                        <a:pos x="1" y="36"/>
                      </a:cxn>
                      <a:cxn ang="0">
                        <a:pos x="2" y="41"/>
                      </a:cxn>
                      <a:cxn ang="0">
                        <a:pos x="1" y="42"/>
                      </a:cxn>
                      <a:cxn ang="0">
                        <a:pos x="2" y="42"/>
                      </a:cxn>
                      <a:cxn ang="0">
                        <a:pos x="4" y="46"/>
                      </a:cxn>
                      <a:cxn ang="0">
                        <a:pos x="6" y="54"/>
                      </a:cxn>
                      <a:cxn ang="0">
                        <a:pos x="7" y="57"/>
                      </a:cxn>
                      <a:cxn ang="0">
                        <a:pos x="7" y="61"/>
                      </a:cxn>
                      <a:cxn ang="0">
                        <a:pos x="10" y="69"/>
                      </a:cxn>
                      <a:cxn ang="0">
                        <a:pos x="13" y="69"/>
                      </a:cxn>
                      <a:cxn ang="0">
                        <a:pos x="16" y="69"/>
                      </a:cxn>
                      <a:cxn ang="0">
                        <a:pos x="23" y="68"/>
                      </a:cxn>
                      <a:cxn ang="0">
                        <a:pos x="24" y="68"/>
                      </a:cxn>
                      <a:cxn ang="0">
                        <a:pos x="25" y="66"/>
                      </a:cxn>
                      <a:cxn ang="0">
                        <a:pos x="28" y="65"/>
                      </a:cxn>
                      <a:cxn ang="0">
                        <a:pos x="32" y="61"/>
                      </a:cxn>
                      <a:cxn ang="0">
                        <a:pos x="39" y="61"/>
                      </a:cxn>
                      <a:cxn ang="0">
                        <a:pos x="45" y="59"/>
                      </a:cxn>
                      <a:cxn ang="0">
                        <a:pos x="50" y="55"/>
                      </a:cxn>
                      <a:cxn ang="0">
                        <a:pos x="52" y="54"/>
                      </a:cxn>
                      <a:cxn ang="0">
                        <a:pos x="54" y="55"/>
                      </a:cxn>
                      <a:cxn ang="0">
                        <a:pos x="56" y="54"/>
                      </a:cxn>
                      <a:cxn ang="0">
                        <a:pos x="65" y="47"/>
                      </a:cxn>
                      <a:cxn ang="0">
                        <a:pos x="71" y="46"/>
                      </a:cxn>
                      <a:cxn ang="0">
                        <a:pos x="78" y="43"/>
                      </a:cxn>
                      <a:cxn ang="0">
                        <a:pos x="83" y="42"/>
                      </a:cxn>
                      <a:cxn ang="0">
                        <a:pos x="86" y="39"/>
                      </a:cxn>
                      <a:cxn ang="0">
                        <a:pos x="90" y="37"/>
                      </a:cxn>
                      <a:cxn ang="0">
                        <a:pos x="90" y="32"/>
                      </a:cxn>
                      <a:cxn ang="0">
                        <a:pos x="99" y="26"/>
                      </a:cxn>
                    </a:cxnLst>
                    <a:rect l="0" t="0" r="r" b="b"/>
                    <a:pathLst>
                      <a:path w="99" h="70">
                        <a:moveTo>
                          <a:pt x="99" y="26"/>
                        </a:moveTo>
                        <a:cubicBezTo>
                          <a:pt x="96" y="26"/>
                          <a:pt x="98" y="20"/>
                          <a:pt x="95" y="19"/>
                        </a:cubicBezTo>
                        <a:cubicBezTo>
                          <a:pt x="96" y="17"/>
                          <a:pt x="91" y="11"/>
                          <a:pt x="90" y="8"/>
                        </a:cubicBezTo>
                        <a:cubicBezTo>
                          <a:pt x="87" y="0"/>
                          <a:pt x="87" y="0"/>
                          <a:pt x="87" y="0"/>
                        </a:cubicBezTo>
                        <a:cubicBezTo>
                          <a:pt x="78" y="2"/>
                          <a:pt x="69" y="4"/>
                          <a:pt x="60" y="5"/>
                        </a:cubicBezTo>
                        <a:cubicBezTo>
                          <a:pt x="53" y="7"/>
                          <a:pt x="49" y="11"/>
                          <a:pt x="48" y="15"/>
                        </a:cubicBezTo>
                        <a:cubicBezTo>
                          <a:pt x="46" y="17"/>
                          <a:pt x="45" y="23"/>
                          <a:pt x="42" y="23"/>
                        </a:cubicBezTo>
                        <a:cubicBezTo>
                          <a:pt x="39" y="22"/>
                          <a:pt x="39" y="19"/>
                          <a:pt x="37" y="19"/>
                        </a:cubicBezTo>
                        <a:cubicBezTo>
                          <a:pt x="34" y="19"/>
                          <a:pt x="32" y="19"/>
                          <a:pt x="29" y="19"/>
                        </a:cubicBezTo>
                        <a:cubicBezTo>
                          <a:pt x="27" y="19"/>
                          <a:pt x="25" y="17"/>
                          <a:pt x="23" y="17"/>
                        </a:cubicBezTo>
                        <a:cubicBezTo>
                          <a:pt x="22" y="17"/>
                          <a:pt x="20" y="18"/>
                          <a:pt x="18" y="18"/>
                        </a:cubicBezTo>
                        <a:cubicBezTo>
                          <a:pt x="16" y="18"/>
                          <a:pt x="14" y="19"/>
                          <a:pt x="11" y="19"/>
                        </a:cubicBezTo>
                        <a:cubicBezTo>
                          <a:pt x="10" y="19"/>
                          <a:pt x="9" y="17"/>
                          <a:pt x="8" y="17"/>
                        </a:cubicBezTo>
                        <a:cubicBezTo>
                          <a:pt x="7" y="17"/>
                          <a:pt x="6" y="18"/>
                          <a:pt x="5" y="19"/>
                        </a:cubicBezTo>
                        <a:cubicBezTo>
                          <a:pt x="5" y="20"/>
                          <a:pt x="5" y="22"/>
                          <a:pt x="5" y="23"/>
                        </a:cubicBezTo>
                        <a:cubicBezTo>
                          <a:pt x="5" y="24"/>
                          <a:pt x="6" y="24"/>
                          <a:pt x="6" y="25"/>
                        </a:cubicBezTo>
                        <a:cubicBezTo>
                          <a:pt x="5" y="26"/>
                          <a:pt x="4" y="27"/>
                          <a:pt x="4" y="28"/>
                        </a:cubicBezTo>
                        <a:cubicBezTo>
                          <a:pt x="3" y="28"/>
                          <a:pt x="3" y="29"/>
                          <a:pt x="3" y="29"/>
                        </a:cubicBezTo>
                        <a:cubicBezTo>
                          <a:pt x="1" y="30"/>
                          <a:pt x="2" y="30"/>
                          <a:pt x="2" y="31"/>
                        </a:cubicBezTo>
                        <a:cubicBezTo>
                          <a:pt x="3" y="33"/>
                          <a:pt x="2" y="34"/>
                          <a:pt x="1" y="36"/>
                        </a:cubicBezTo>
                        <a:cubicBezTo>
                          <a:pt x="1" y="38"/>
                          <a:pt x="3" y="39"/>
                          <a:pt x="2" y="41"/>
                        </a:cubicBezTo>
                        <a:cubicBezTo>
                          <a:pt x="2" y="41"/>
                          <a:pt x="0" y="41"/>
                          <a:pt x="1" y="42"/>
                        </a:cubicBezTo>
                        <a:cubicBezTo>
                          <a:pt x="2" y="42"/>
                          <a:pt x="2" y="42"/>
                          <a:pt x="2" y="42"/>
                        </a:cubicBezTo>
                        <a:cubicBezTo>
                          <a:pt x="3" y="43"/>
                          <a:pt x="4" y="45"/>
                          <a:pt x="4" y="46"/>
                        </a:cubicBezTo>
                        <a:cubicBezTo>
                          <a:pt x="5" y="49"/>
                          <a:pt x="5" y="52"/>
                          <a:pt x="6" y="54"/>
                        </a:cubicBezTo>
                        <a:cubicBezTo>
                          <a:pt x="6" y="55"/>
                          <a:pt x="7" y="56"/>
                          <a:pt x="7" y="57"/>
                        </a:cubicBezTo>
                        <a:cubicBezTo>
                          <a:pt x="8" y="59"/>
                          <a:pt x="7" y="60"/>
                          <a:pt x="7" y="61"/>
                        </a:cubicBezTo>
                        <a:cubicBezTo>
                          <a:pt x="7" y="64"/>
                          <a:pt x="10" y="66"/>
                          <a:pt x="10" y="69"/>
                        </a:cubicBezTo>
                        <a:cubicBezTo>
                          <a:pt x="11" y="69"/>
                          <a:pt x="11" y="68"/>
                          <a:pt x="13" y="69"/>
                        </a:cubicBezTo>
                        <a:cubicBezTo>
                          <a:pt x="14" y="69"/>
                          <a:pt x="15" y="70"/>
                          <a:pt x="16" y="69"/>
                        </a:cubicBezTo>
                        <a:cubicBezTo>
                          <a:pt x="19" y="69"/>
                          <a:pt x="20" y="67"/>
                          <a:pt x="23" y="68"/>
                        </a:cubicBezTo>
                        <a:cubicBezTo>
                          <a:pt x="23" y="67"/>
                          <a:pt x="24" y="67"/>
                          <a:pt x="24" y="68"/>
                        </a:cubicBezTo>
                        <a:cubicBezTo>
                          <a:pt x="24" y="67"/>
                          <a:pt x="25" y="67"/>
                          <a:pt x="25" y="66"/>
                        </a:cubicBezTo>
                        <a:cubicBezTo>
                          <a:pt x="26" y="65"/>
                          <a:pt x="27" y="65"/>
                          <a:pt x="28" y="65"/>
                        </a:cubicBezTo>
                        <a:cubicBezTo>
                          <a:pt x="29" y="63"/>
                          <a:pt x="30" y="62"/>
                          <a:pt x="32" y="61"/>
                        </a:cubicBezTo>
                        <a:cubicBezTo>
                          <a:pt x="35" y="61"/>
                          <a:pt x="37" y="61"/>
                          <a:pt x="39" y="61"/>
                        </a:cubicBezTo>
                        <a:cubicBezTo>
                          <a:pt x="41" y="61"/>
                          <a:pt x="43" y="59"/>
                          <a:pt x="45" y="59"/>
                        </a:cubicBezTo>
                        <a:cubicBezTo>
                          <a:pt x="47" y="58"/>
                          <a:pt x="48" y="56"/>
                          <a:pt x="50" y="55"/>
                        </a:cubicBezTo>
                        <a:cubicBezTo>
                          <a:pt x="50" y="55"/>
                          <a:pt x="51" y="54"/>
                          <a:pt x="52" y="54"/>
                        </a:cubicBezTo>
                        <a:cubicBezTo>
                          <a:pt x="52" y="54"/>
                          <a:pt x="53" y="54"/>
                          <a:pt x="54" y="55"/>
                        </a:cubicBezTo>
                        <a:cubicBezTo>
                          <a:pt x="54" y="55"/>
                          <a:pt x="55" y="55"/>
                          <a:pt x="56" y="54"/>
                        </a:cubicBezTo>
                        <a:cubicBezTo>
                          <a:pt x="60" y="54"/>
                          <a:pt x="61" y="49"/>
                          <a:pt x="65" y="47"/>
                        </a:cubicBezTo>
                        <a:cubicBezTo>
                          <a:pt x="67" y="46"/>
                          <a:pt x="69" y="46"/>
                          <a:pt x="71" y="46"/>
                        </a:cubicBezTo>
                        <a:cubicBezTo>
                          <a:pt x="73" y="45"/>
                          <a:pt x="75" y="43"/>
                          <a:pt x="78" y="43"/>
                        </a:cubicBezTo>
                        <a:cubicBezTo>
                          <a:pt x="79" y="42"/>
                          <a:pt x="81" y="42"/>
                          <a:pt x="83" y="42"/>
                        </a:cubicBezTo>
                        <a:cubicBezTo>
                          <a:pt x="84" y="41"/>
                          <a:pt x="85" y="40"/>
                          <a:pt x="86" y="39"/>
                        </a:cubicBezTo>
                        <a:cubicBezTo>
                          <a:pt x="88" y="38"/>
                          <a:pt x="90" y="38"/>
                          <a:pt x="90" y="37"/>
                        </a:cubicBezTo>
                        <a:cubicBezTo>
                          <a:pt x="91" y="35"/>
                          <a:pt x="90" y="33"/>
                          <a:pt x="90" y="32"/>
                        </a:cubicBezTo>
                        <a:cubicBezTo>
                          <a:pt x="92" y="28"/>
                          <a:pt x="96" y="28"/>
                          <a:pt x="99" y="26"/>
                        </a:cubicBezTo>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03" name="Western Sahara">
                    <a:extLst>
                      <a:ext uri="{FF2B5EF4-FFF2-40B4-BE49-F238E27FC236}">
                        <a16:creationId xmlns:a16="http://schemas.microsoft.com/office/drawing/2014/main" id="{D2CD6179-8658-CD4F-E0E8-DD6413CB3971}"/>
                      </a:ext>
                    </a:extLst>
                  </p:cNvPr>
                  <p:cNvSpPr>
                    <a:spLocks/>
                  </p:cNvSpPr>
                  <p:nvPr/>
                </p:nvSpPr>
                <p:spPr bwMode="auto">
                  <a:xfrm>
                    <a:off x="3427905" y="2654449"/>
                    <a:ext cx="189281" cy="174720"/>
                  </a:xfrm>
                  <a:custGeom>
                    <a:avLst/>
                    <a:gdLst/>
                    <a:ahLst/>
                    <a:cxnLst>
                      <a:cxn ang="0">
                        <a:pos x="1" y="75"/>
                      </a:cxn>
                      <a:cxn ang="0">
                        <a:pos x="2" y="65"/>
                      </a:cxn>
                      <a:cxn ang="0">
                        <a:pos x="4" y="60"/>
                      </a:cxn>
                      <a:cxn ang="0">
                        <a:pos x="8" y="56"/>
                      </a:cxn>
                      <a:cxn ang="0">
                        <a:pos x="10" y="52"/>
                      </a:cxn>
                      <a:cxn ang="0">
                        <a:pos x="11" y="49"/>
                      </a:cxn>
                      <a:cxn ang="0">
                        <a:pos x="14" y="42"/>
                      </a:cxn>
                      <a:cxn ang="0">
                        <a:pos x="13" y="44"/>
                      </a:cxn>
                      <a:cxn ang="0">
                        <a:pos x="21" y="35"/>
                      </a:cxn>
                      <a:cxn ang="0">
                        <a:pos x="25" y="24"/>
                      </a:cxn>
                      <a:cxn ang="0">
                        <a:pos x="31" y="15"/>
                      </a:cxn>
                      <a:cxn ang="0">
                        <a:pos x="38" y="7"/>
                      </a:cxn>
                      <a:cxn ang="0">
                        <a:pos x="40" y="1"/>
                      </a:cxn>
                      <a:cxn ang="0">
                        <a:pos x="82" y="1"/>
                      </a:cxn>
                      <a:cxn ang="0">
                        <a:pos x="81" y="19"/>
                      </a:cxn>
                      <a:cxn ang="0">
                        <a:pos x="50" y="19"/>
                      </a:cxn>
                      <a:cxn ang="0">
                        <a:pos x="49" y="46"/>
                      </a:cxn>
                      <a:cxn ang="0">
                        <a:pos x="43" y="49"/>
                      </a:cxn>
                      <a:cxn ang="0">
                        <a:pos x="39" y="56"/>
                      </a:cxn>
                      <a:cxn ang="0">
                        <a:pos x="38" y="69"/>
                      </a:cxn>
                      <a:cxn ang="0">
                        <a:pos x="4" y="69"/>
                      </a:cxn>
                      <a:cxn ang="0">
                        <a:pos x="1" y="75"/>
                      </a:cxn>
                    </a:cxnLst>
                    <a:rect l="0" t="0" r="r" b="b"/>
                    <a:pathLst>
                      <a:path w="82" h="75">
                        <a:moveTo>
                          <a:pt x="1" y="75"/>
                        </a:moveTo>
                        <a:cubicBezTo>
                          <a:pt x="0" y="73"/>
                          <a:pt x="2" y="68"/>
                          <a:pt x="2" y="65"/>
                        </a:cubicBezTo>
                        <a:cubicBezTo>
                          <a:pt x="3" y="64"/>
                          <a:pt x="3" y="62"/>
                          <a:pt x="4" y="60"/>
                        </a:cubicBezTo>
                        <a:cubicBezTo>
                          <a:pt x="5" y="58"/>
                          <a:pt x="8" y="58"/>
                          <a:pt x="8" y="56"/>
                        </a:cubicBezTo>
                        <a:cubicBezTo>
                          <a:pt x="9" y="55"/>
                          <a:pt x="9" y="53"/>
                          <a:pt x="10" y="52"/>
                        </a:cubicBezTo>
                        <a:cubicBezTo>
                          <a:pt x="11" y="52"/>
                          <a:pt x="10" y="50"/>
                          <a:pt x="11" y="49"/>
                        </a:cubicBezTo>
                        <a:cubicBezTo>
                          <a:pt x="12" y="48"/>
                          <a:pt x="15" y="44"/>
                          <a:pt x="14" y="42"/>
                        </a:cubicBezTo>
                        <a:cubicBezTo>
                          <a:pt x="13" y="43"/>
                          <a:pt x="13" y="43"/>
                          <a:pt x="13" y="44"/>
                        </a:cubicBezTo>
                        <a:cubicBezTo>
                          <a:pt x="14" y="40"/>
                          <a:pt x="18" y="38"/>
                          <a:pt x="21" y="35"/>
                        </a:cubicBezTo>
                        <a:cubicBezTo>
                          <a:pt x="24" y="32"/>
                          <a:pt x="23" y="28"/>
                          <a:pt x="25" y="24"/>
                        </a:cubicBezTo>
                        <a:cubicBezTo>
                          <a:pt x="26" y="20"/>
                          <a:pt x="27" y="17"/>
                          <a:pt x="31" y="15"/>
                        </a:cubicBezTo>
                        <a:cubicBezTo>
                          <a:pt x="34" y="13"/>
                          <a:pt x="36" y="11"/>
                          <a:pt x="38" y="7"/>
                        </a:cubicBezTo>
                        <a:cubicBezTo>
                          <a:pt x="39" y="4"/>
                          <a:pt x="41" y="0"/>
                          <a:pt x="40" y="1"/>
                        </a:cubicBezTo>
                        <a:cubicBezTo>
                          <a:pt x="82" y="1"/>
                          <a:pt x="82" y="1"/>
                          <a:pt x="82" y="1"/>
                        </a:cubicBezTo>
                        <a:cubicBezTo>
                          <a:pt x="81" y="19"/>
                          <a:pt x="81" y="19"/>
                          <a:pt x="81" y="19"/>
                        </a:cubicBezTo>
                        <a:cubicBezTo>
                          <a:pt x="50" y="19"/>
                          <a:pt x="50" y="19"/>
                          <a:pt x="50" y="19"/>
                        </a:cubicBezTo>
                        <a:cubicBezTo>
                          <a:pt x="49" y="46"/>
                          <a:pt x="49" y="46"/>
                          <a:pt x="49" y="46"/>
                        </a:cubicBezTo>
                        <a:cubicBezTo>
                          <a:pt x="47" y="48"/>
                          <a:pt x="45" y="48"/>
                          <a:pt x="43" y="49"/>
                        </a:cubicBezTo>
                        <a:cubicBezTo>
                          <a:pt x="40" y="51"/>
                          <a:pt x="39" y="53"/>
                          <a:pt x="39" y="56"/>
                        </a:cubicBezTo>
                        <a:cubicBezTo>
                          <a:pt x="39" y="58"/>
                          <a:pt x="40" y="68"/>
                          <a:pt x="38" y="69"/>
                        </a:cubicBezTo>
                        <a:cubicBezTo>
                          <a:pt x="4" y="69"/>
                          <a:pt x="4" y="69"/>
                          <a:pt x="4" y="69"/>
                        </a:cubicBezTo>
                        <a:cubicBezTo>
                          <a:pt x="1" y="69"/>
                          <a:pt x="1" y="73"/>
                          <a:pt x="1" y="75"/>
                        </a:cubicBezTo>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04" name="Uganda">
                    <a:extLst>
                      <a:ext uri="{FF2B5EF4-FFF2-40B4-BE49-F238E27FC236}">
                        <a16:creationId xmlns:a16="http://schemas.microsoft.com/office/drawing/2014/main" id="{D9434A8F-BF14-B6E3-D8D6-697A619E9EC1}"/>
                      </a:ext>
                    </a:extLst>
                  </p:cNvPr>
                  <p:cNvSpPr>
                    <a:spLocks/>
                  </p:cNvSpPr>
                  <p:nvPr/>
                </p:nvSpPr>
                <p:spPr bwMode="auto">
                  <a:xfrm>
                    <a:off x="4442256" y="3241704"/>
                    <a:ext cx="123761" cy="140748"/>
                  </a:xfrm>
                  <a:custGeom>
                    <a:avLst/>
                    <a:gdLst/>
                    <a:ahLst/>
                    <a:cxnLst>
                      <a:cxn ang="0">
                        <a:pos x="0" y="57"/>
                      </a:cxn>
                      <a:cxn ang="0">
                        <a:pos x="1" y="52"/>
                      </a:cxn>
                      <a:cxn ang="0">
                        <a:pos x="2" y="45"/>
                      </a:cxn>
                      <a:cxn ang="0">
                        <a:pos x="4" y="39"/>
                      </a:cxn>
                      <a:cxn ang="0">
                        <a:pos x="4" y="37"/>
                      </a:cxn>
                      <a:cxn ang="0">
                        <a:pos x="6" y="35"/>
                      </a:cxn>
                      <a:cxn ang="0">
                        <a:pos x="14" y="27"/>
                      </a:cxn>
                      <a:cxn ang="0">
                        <a:pos x="17" y="22"/>
                      </a:cxn>
                      <a:cxn ang="0">
                        <a:pos x="14" y="20"/>
                      </a:cxn>
                      <a:cxn ang="0">
                        <a:pos x="12" y="19"/>
                      </a:cxn>
                      <a:cxn ang="0">
                        <a:pos x="12" y="16"/>
                      </a:cxn>
                      <a:cxn ang="0">
                        <a:pos x="13" y="9"/>
                      </a:cxn>
                      <a:cxn ang="0">
                        <a:pos x="12" y="7"/>
                      </a:cxn>
                      <a:cxn ang="0">
                        <a:pos x="14" y="5"/>
                      </a:cxn>
                      <a:cxn ang="0">
                        <a:pos x="16" y="4"/>
                      </a:cxn>
                      <a:cxn ang="0">
                        <a:pos x="19" y="6"/>
                      </a:cxn>
                      <a:cxn ang="0">
                        <a:pos x="22" y="5"/>
                      </a:cxn>
                      <a:cxn ang="0">
                        <a:pos x="25" y="7"/>
                      </a:cxn>
                      <a:cxn ang="0">
                        <a:pos x="28" y="5"/>
                      </a:cxn>
                      <a:cxn ang="0">
                        <a:pos x="33" y="4"/>
                      </a:cxn>
                      <a:cxn ang="0">
                        <a:pos x="38" y="4"/>
                      </a:cxn>
                      <a:cxn ang="0">
                        <a:pos x="42" y="0"/>
                      </a:cxn>
                      <a:cxn ang="0">
                        <a:pos x="43" y="3"/>
                      </a:cxn>
                      <a:cxn ang="0">
                        <a:pos x="45" y="5"/>
                      </a:cxn>
                      <a:cxn ang="0">
                        <a:pos x="46" y="7"/>
                      </a:cxn>
                      <a:cxn ang="0">
                        <a:pos x="49" y="15"/>
                      </a:cxn>
                      <a:cxn ang="0">
                        <a:pos x="51" y="18"/>
                      </a:cxn>
                      <a:cxn ang="0">
                        <a:pos x="52" y="22"/>
                      </a:cxn>
                      <a:cxn ang="0">
                        <a:pos x="51" y="28"/>
                      </a:cxn>
                      <a:cxn ang="0">
                        <a:pos x="50" y="31"/>
                      </a:cxn>
                      <a:cxn ang="0">
                        <a:pos x="48" y="33"/>
                      </a:cxn>
                      <a:cxn ang="0">
                        <a:pos x="46" y="37"/>
                      </a:cxn>
                      <a:cxn ang="0">
                        <a:pos x="44" y="39"/>
                      </a:cxn>
                      <a:cxn ang="0">
                        <a:pos x="42" y="43"/>
                      </a:cxn>
                      <a:cxn ang="0">
                        <a:pos x="40" y="42"/>
                      </a:cxn>
                      <a:cxn ang="0">
                        <a:pos x="38" y="43"/>
                      </a:cxn>
                      <a:cxn ang="0">
                        <a:pos x="37" y="42"/>
                      </a:cxn>
                      <a:cxn ang="0">
                        <a:pos x="36" y="40"/>
                      </a:cxn>
                      <a:cxn ang="0">
                        <a:pos x="35" y="40"/>
                      </a:cxn>
                      <a:cxn ang="0">
                        <a:pos x="35" y="41"/>
                      </a:cxn>
                      <a:cxn ang="0">
                        <a:pos x="33" y="43"/>
                      </a:cxn>
                      <a:cxn ang="0">
                        <a:pos x="30" y="44"/>
                      </a:cxn>
                      <a:cxn ang="0">
                        <a:pos x="30" y="42"/>
                      </a:cxn>
                      <a:cxn ang="0">
                        <a:pos x="27" y="44"/>
                      </a:cxn>
                      <a:cxn ang="0">
                        <a:pos x="25" y="45"/>
                      </a:cxn>
                      <a:cxn ang="0">
                        <a:pos x="23" y="46"/>
                      </a:cxn>
                      <a:cxn ang="0">
                        <a:pos x="21" y="52"/>
                      </a:cxn>
                      <a:cxn ang="0">
                        <a:pos x="22" y="56"/>
                      </a:cxn>
                      <a:cxn ang="0">
                        <a:pos x="15" y="56"/>
                      </a:cxn>
                      <a:cxn ang="0">
                        <a:pos x="6" y="58"/>
                      </a:cxn>
                      <a:cxn ang="0">
                        <a:pos x="4" y="60"/>
                      </a:cxn>
                      <a:cxn ang="0">
                        <a:pos x="3" y="59"/>
                      </a:cxn>
                      <a:cxn ang="0">
                        <a:pos x="0" y="61"/>
                      </a:cxn>
                      <a:cxn ang="0">
                        <a:pos x="0" y="57"/>
                      </a:cxn>
                    </a:cxnLst>
                    <a:rect l="0" t="0" r="r" b="b"/>
                    <a:pathLst>
                      <a:path w="53" h="61">
                        <a:moveTo>
                          <a:pt x="0" y="57"/>
                        </a:moveTo>
                        <a:cubicBezTo>
                          <a:pt x="1" y="56"/>
                          <a:pt x="1" y="53"/>
                          <a:pt x="1" y="52"/>
                        </a:cubicBezTo>
                        <a:cubicBezTo>
                          <a:pt x="1" y="49"/>
                          <a:pt x="1" y="47"/>
                          <a:pt x="2" y="45"/>
                        </a:cubicBezTo>
                        <a:cubicBezTo>
                          <a:pt x="2" y="42"/>
                          <a:pt x="4" y="41"/>
                          <a:pt x="4" y="39"/>
                        </a:cubicBezTo>
                        <a:cubicBezTo>
                          <a:pt x="4" y="38"/>
                          <a:pt x="4" y="37"/>
                          <a:pt x="4" y="37"/>
                        </a:cubicBezTo>
                        <a:cubicBezTo>
                          <a:pt x="4" y="35"/>
                          <a:pt x="6" y="36"/>
                          <a:pt x="6" y="35"/>
                        </a:cubicBezTo>
                        <a:cubicBezTo>
                          <a:pt x="8" y="32"/>
                          <a:pt x="11" y="29"/>
                          <a:pt x="14" y="27"/>
                        </a:cubicBezTo>
                        <a:cubicBezTo>
                          <a:pt x="15" y="26"/>
                          <a:pt x="16" y="24"/>
                          <a:pt x="17" y="22"/>
                        </a:cubicBezTo>
                        <a:cubicBezTo>
                          <a:pt x="17" y="21"/>
                          <a:pt x="15" y="20"/>
                          <a:pt x="14" y="20"/>
                        </a:cubicBezTo>
                        <a:cubicBezTo>
                          <a:pt x="13" y="19"/>
                          <a:pt x="12" y="20"/>
                          <a:pt x="12" y="19"/>
                        </a:cubicBezTo>
                        <a:cubicBezTo>
                          <a:pt x="11" y="18"/>
                          <a:pt x="12" y="17"/>
                          <a:pt x="12" y="16"/>
                        </a:cubicBezTo>
                        <a:cubicBezTo>
                          <a:pt x="12" y="14"/>
                          <a:pt x="11" y="11"/>
                          <a:pt x="13" y="9"/>
                        </a:cubicBezTo>
                        <a:cubicBezTo>
                          <a:pt x="13" y="8"/>
                          <a:pt x="12" y="8"/>
                          <a:pt x="12" y="7"/>
                        </a:cubicBezTo>
                        <a:cubicBezTo>
                          <a:pt x="13" y="6"/>
                          <a:pt x="13" y="6"/>
                          <a:pt x="14" y="5"/>
                        </a:cubicBezTo>
                        <a:cubicBezTo>
                          <a:pt x="15" y="5"/>
                          <a:pt x="15" y="4"/>
                          <a:pt x="16" y="4"/>
                        </a:cubicBezTo>
                        <a:cubicBezTo>
                          <a:pt x="17" y="4"/>
                          <a:pt x="18" y="6"/>
                          <a:pt x="19" y="6"/>
                        </a:cubicBezTo>
                        <a:cubicBezTo>
                          <a:pt x="20" y="5"/>
                          <a:pt x="21" y="4"/>
                          <a:pt x="22" y="5"/>
                        </a:cubicBezTo>
                        <a:cubicBezTo>
                          <a:pt x="23" y="6"/>
                          <a:pt x="23" y="7"/>
                          <a:pt x="25" y="7"/>
                        </a:cubicBezTo>
                        <a:cubicBezTo>
                          <a:pt x="24" y="6"/>
                          <a:pt x="27" y="5"/>
                          <a:pt x="28" y="5"/>
                        </a:cubicBezTo>
                        <a:cubicBezTo>
                          <a:pt x="30" y="5"/>
                          <a:pt x="31" y="3"/>
                          <a:pt x="33" y="4"/>
                        </a:cubicBezTo>
                        <a:cubicBezTo>
                          <a:pt x="35" y="4"/>
                          <a:pt x="36" y="6"/>
                          <a:pt x="38" y="4"/>
                        </a:cubicBezTo>
                        <a:cubicBezTo>
                          <a:pt x="40" y="3"/>
                          <a:pt x="41" y="1"/>
                          <a:pt x="42" y="0"/>
                        </a:cubicBezTo>
                        <a:cubicBezTo>
                          <a:pt x="43" y="1"/>
                          <a:pt x="43" y="2"/>
                          <a:pt x="43" y="3"/>
                        </a:cubicBezTo>
                        <a:cubicBezTo>
                          <a:pt x="45" y="3"/>
                          <a:pt x="44" y="4"/>
                          <a:pt x="45" y="5"/>
                        </a:cubicBezTo>
                        <a:cubicBezTo>
                          <a:pt x="46" y="5"/>
                          <a:pt x="47" y="5"/>
                          <a:pt x="46" y="7"/>
                        </a:cubicBezTo>
                        <a:cubicBezTo>
                          <a:pt x="46" y="10"/>
                          <a:pt x="48" y="12"/>
                          <a:pt x="49" y="15"/>
                        </a:cubicBezTo>
                        <a:cubicBezTo>
                          <a:pt x="49" y="16"/>
                          <a:pt x="51" y="17"/>
                          <a:pt x="51" y="18"/>
                        </a:cubicBezTo>
                        <a:cubicBezTo>
                          <a:pt x="51" y="19"/>
                          <a:pt x="52" y="21"/>
                          <a:pt x="52" y="22"/>
                        </a:cubicBezTo>
                        <a:cubicBezTo>
                          <a:pt x="53" y="23"/>
                          <a:pt x="52" y="26"/>
                          <a:pt x="51" y="28"/>
                        </a:cubicBezTo>
                        <a:cubicBezTo>
                          <a:pt x="51" y="29"/>
                          <a:pt x="50" y="29"/>
                          <a:pt x="50" y="31"/>
                        </a:cubicBezTo>
                        <a:cubicBezTo>
                          <a:pt x="50" y="32"/>
                          <a:pt x="49" y="32"/>
                          <a:pt x="48" y="33"/>
                        </a:cubicBezTo>
                        <a:cubicBezTo>
                          <a:pt x="47" y="34"/>
                          <a:pt x="47" y="35"/>
                          <a:pt x="46" y="37"/>
                        </a:cubicBezTo>
                        <a:cubicBezTo>
                          <a:pt x="45" y="38"/>
                          <a:pt x="44" y="38"/>
                          <a:pt x="44" y="39"/>
                        </a:cubicBezTo>
                        <a:cubicBezTo>
                          <a:pt x="43" y="41"/>
                          <a:pt x="43" y="42"/>
                          <a:pt x="42" y="43"/>
                        </a:cubicBezTo>
                        <a:cubicBezTo>
                          <a:pt x="41" y="43"/>
                          <a:pt x="39" y="44"/>
                          <a:pt x="40" y="42"/>
                        </a:cubicBezTo>
                        <a:cubicBezTo>
                          <a:pt x="38" y="42"/>
                          <a:pt x="39" y="43"/>
                          <a:pt x="38" y="43"/>
                        </a:cubicBezTo>
                        <a:cubicBezTo>
                          <a:pt x="36" y="43"/>
                          <a:pt x="36" y="42"/>
                          <a:pt x="37" y="42"/>
                        </a:cubicBezTo>
                        <a:cubicBezTo>
                          <a:pt x="37" y="41"/>
                          <a:pt x="36" y="40"/>
                          <a:pt x="36" y="40"/>
                        </a:cubicBezTo>
                        <a:cubicBezTo>
                          <a:pt x="35" y="40"/>
                          <a:pt x="36" y="40"/>
                          <a:pt x="35" y="40"/>
                        </a:cubicBezTo>
                        <a:cubicBezTo>
                          <a:pt x="35" y="41"/>
                          <a:pt x="35" y="41"/>
                          <a:pt x="35" y="41"/>
                        </a:cubicBezTo>
                        <a:cubicBezTo>
                          <a:pt x="34" y="41"/>
                          <a:pt x="35" y="43"/>
                          <a:pt x="33" y="43"/>
                        </a:cubicBezTo>
                        <a:cubicBezTo>
                          <a:pt x="34" y="45"/>
                          <a:pt x="30" y="44"/>
                          <a:pt x="30" y="44"/>
                        </a:cubicBezTo>
                        <a:cubicBezTo>
                          <a:pt x="30" y="42"/>
                          <a:pt x="30" y="42"/>
                          <a:pt x="30" y="42"/>
                        </a:cubicBezTo>
                        <a:cubicBezTo>
                          <a:pt x="28" y="46"/>
                          <a:pt x="27" y="44"/>
                          <a:pt x="27" y="44"/>
                        </a:cubicBezTo>
                        <a:cubicBezTo>
                          <a:pt x="27" y="45"/>
                          <a:pt x="26" y="45"/>
                          <a:pt x="25" y="45"/>
                        </a:cubicBezTo>
                        <a:cubicBezTo>
                          <a:pt x="24" y="46"/>
                          <a:pt x="23" y="46"/>
                          <a:pt x="23" y="46"/>
                        </a:cubicBezTo>
                        <a:cubicBezTo>
                          <a:pt x="24" y="50"/>
                          <a:pt x="21" y="50"/>
                          <a:pt x="21" y="52"/>
                        </a:cubicBezTo>
                        <a:cubicBezTo>
                          <a:pt x="21" y="54"/>
                          <a:pt x="21" y="55"/>
                          <a:pt x="22" y="56"/>
                        </a:cubicBezTo>
                        <a:cubicBezTo>
                          <a:pt x="13" y="56"/>
                          <a:pt x="24" y="56"/>
                          <a:pt x="15" y="56"/>
                        </a:cubicBezTo>
                        <a:cubicBezTo>
                          <a:pt x="12" y="55"/>
                          <a:pt x="8" y="56"/>
                          <a:pt x="6" y="58"/>
                        </a:cubicBezTo>
                        <a:cubicBezTo>
                          <a:pt x="6" y="59"/>
                          <a:pt x="5" y="61"/>
                          <a:pt x="4" y="60"/>
                        </a:cubicBezTo>
                        <a:cubicBezTo>
                          <a:pt x="3" y="60"/>
                          <a:pt x="3" y="59"/>
                          <a:pt x="3" y="59"/>
                        </a:cubicBezTo>
                        <a:cubicBezTo>
                          <a:pt x="2" y="59"/>
                          <a:pt x="0" y="60"/>
                          <a:pt x="0" y="61"/>
                        </a:cubicBezTo>
                        <a:cubicBezTo>
                          <a:pt x="0" y="60"/>
                          <a:pt x="1" y="58"/>
                          <a:pt x="0" y="57"/>
                        </a:cubicBezTo>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05" name="UAE">
                    <a:extLst>
                      <a:ext uri="{FF2B5EF4-FFF2-40B4-BE49-F238E27FC236}">
                        <a16:creationId xmlns:a16="http://schemas.microsoft.com/office/drawing/2014/main" id="{D580B494-F023-A839-48BB-1AE631BBB10E}"/>
                      </a:ext>
                    </a:extLst>
                  </p:cNvPr>
                  <p:cNvSpPr>
                    <a:spLocks/>
                  </p:cNvSpPr>
                  <p:nvPr/>
                </p:nvSpPr>
                <p:spPr bwMode="auto">
                  <a:xfrm>
                    <a:off x="4941305" y="2655602"/>
                    <a:ext cx="107143" cy="102687"/>
                  </a:xfrm>
                  <a:custGeom>
                    <a:avLst/>
                    <a:gdLst>
                      <a:gd name="connsiteX0" fmla="*/ 53265 w 105137"/>
                      <a:gd name="connsiteY0" fmla="*/ 57580 h 100765"/>
                      <a:gd name="connsiteX1" fmla="*/ 48193 w 105137"/>
                      <a:gd name="connsiteY1" fmla="*/ 60197 h 100765"/>
                      <a:gd name="connsiteX2" fmla="*/ 45656 w 105137"/>
                      <a:gd name="connsiteY2" fmla="*/ 60197 h 100765"/>
                      <a:gd name="connsiteX3" fmla="*/ 53265 w 105137"/>
                      <a:gd name="connsiteY3" fmla="*/ 57580 h 100765"/>
                      <a:gd name="connsiteX4" fmla="*/ 0 w 105137"/>
                      <a:gd name="connsiteY4" fmla="*/ 55564 h 100765"/>
                      <a:gd name="connsiteX5" fmla="*/ 799 w 105137"/>
                      <a:gd name="connsiteY5" fmla="*/ 57238 h 100765"/>
                      <a:gd name="connsiteX6" fmla="*/ 0 w 105137"/>
                      <a:gd name="connsiteY6" fmla="*/ 58075 h 100765"/>
                      <a:gd name="connsiteX7" fmla="*/ 0 w 105137"/>
                      <a:gd name="connsiteY7" fmla="*/ 55564 h 100765"/>
                      <a:gd name="connsiteX8" fmla="*/ 101458 w 105137"/>
                      <a:gd name="connsiteY8" fmla="*/ 0 h 100765"/>
                      <a:gd name="connsiteX9" fmla="*/ 101458 w 105137"/>
                      <a:gd name="connsiteY9" fmla="*/ 4908 h 100765"/>
                      <a:gd name="connsiteX10" fmla="*/ 103044 w 105137"/>
                      <a:gd name="connsiteY10" fmla="*/ 13189 h 100765"/>
                      <a:gd name="connsiteX11" fmla="*/ 99251 w 105137"/>
                      <a:gd name="connsiteY11" fmla="*/ 19116 h 100765"/>
                      <a:gd name="connsiteX12" fmla="*/ 100613 w 105137"/>
                      <a:gd name="connsiteY12" fmla="*/ 20722 h 100765"/>
                      <a:gd name="connsiteX13" fmla="*/ 103008 w 105137"/>
                      <a:gd name="connsiteY13" fmla="*/ 25430 h 100765"/>
                      <a:gd name="connsiteX14" fmla="*/ 103008 w 105137"/>
                      <a:gd name="connsiteY14" fmla="*/ 40497 h 100765"/>
                      <a:gd name="connsiteX15" fmla="*/ 95822 w 105137"/>
                      <a:gd name="connsiteY15" fmla="*/ 40497 h 100765"/>
                      <a:gd name="connsiteX16" fmla="*/ 93426 w 105137"/>
                      <a:gd name="connsiteY16" fmla="*/ 45520 h 100765"/>
                      <a:gd name="connsiteX17" fmla="*/ 91031 w 105137"/>
                      <a:gd name="connsiteY17" fmla="*/ 48031 h 100765"/>
                      <a:gd name="connsiteX18" fmla="*/ 93426 w 105137"/>
                      <a:gd name="connsiteY18" fmla="*/ 55564 h 100765"/>
                      <a:gd name="connsiteX19" fmla="*/ 98217 w 105137"/>
                      <a:gd name="connsiteY19" fmla="*/ 63098 h 100765"/>
                      <a:gd name="connsiteX20" fmla="*/ 86239 w 105137"/>
                      <a:gd name="connsiteY20" fmla="*/ 65609 h 100765"/>
                      <a:gd name="connsiteX21" fmla="*/ 83844 w 105137"/>
                      <a:gd name="connsiteY21" fmla="*/ 93232 h 100765"/>
                      <a:gd name="connsiteX22" fmla="*/ 74262 w 105137"/>
                      <a:gd name="connsiteY22" fmla="*/ 100765 h 100765"/>
                      <a:gd name="connsiteX23" fmla="*/ 55098 w 105137"/>
                      <a:gd name="connsiteY23" fmla="*/ 98254 h 100765"/>
                      <a:gd name="connsiteX24" fmla="*/ 35933 w 105137"/>
                      <a:gd name="connsiteY24" fmla="*/ 93232 h 100765"/>
                      <a:gd name="connsiteX25" fmla="*/ 21560 w 105137"/>
                      <a:gd name="connsiteY25" fmla="*/ 90720 h 100765"/>
                      <a:gd name="connsiteX26" fmla="*/ 11978 w 105137"/>
                      <a:gd name="connsiteY26" fmla="*/ 75654 h 100765"/>
                      <a:gd name="connsiteX27" fmla="*/ 4791 w 105137"/>
                      <a:gd name="connsiteY27" fmla="*/ 65609 h 100765"/>
                      <a:gd name="connsiteX28" fmla="*/ 799 w 105137"/>
                      <a:gd name="connsiteY28" fmla="*/ 57238 h 100765"/>
                      <a:gd name="connsiteX29" fmla="*/ 2396 w 105137"/>
                      <a:gd name="connsiteY29" fmla="*/ 55564 h 100765"/>
                      <a:gd name="connsiteX30" fmla="*/ 4791 w 105137"/>
                      <a:gd name="connsiteY30" fmla="*/ 63098 h 100765"/>
                      <a:gd name="connsiteX31" fmla="*/ 11978 w 105137"/>
                      <a:gd name="connsiteY31" fmla="*/ 65609 h 100765"/>
                      <a:gd name="connsiteX32" fmla="*/ 19164 w 105137"/>
                      <a:gd name="connsiteY32" fmla="*/ 63098 h 100765"/>
                      <a:gd name="connsiteX33" fmla="*/ 21560 w 105137"/>
                      <a:gd name="connsiteY33" fmla="*/ 58075 h 100765"/>
                      <a:gd name="connsiteX34" fmla="*/ 28747 w 105137"/>
                      <a:gd name="connsiteY34" fmla="*/ 60587 h 100765"/>
                      <a:gd name="connsiteX35" fmla="*/ 35933 w 105137"/>
                      <a:gd name="connsiteY35" fmla="*/ 60587 h 100765"/>
                      <a:gd name="connsiteX36" fmla="*/ 57493 w 105137"/>
                      <a:gd name="connsiteY36" fmla="*/ 60587 h 100765"/>
                      <a:gd name="connsiteX37" fmla="*/ 55098 w 105137"/>
                      <a:gd name="connsiteY37" fmla="*/ 55564 h 100765"/>
                      <a:gd name="connsiteX38" fmla="*/ 57493 w 105137"/>
                      <a:gd name="connsiteY38" fmla="*/ 58075 h 100765"/>
                      <a:gd name="connsiteX39" fmla="*/ 64680 w 105137"/>
                      <a:gd name="connsiteY39" fmla="*/ 53053 h 100765"/>
                      <a:gd name="connsiteX40" fmla="*/ 74262 w 105137"/>
                      <a:gd name="connsiteY40" fmla="*/ 37986 h 100765"/>
                      <a:gd name="connsiteX41" fmla="*/ 86239 w 105137"/>
                      <a:gd name="connsiteY41" fmla="*/ 22919 h 100765"/>
                      <a:gd name="connsiteX42" fmla="*/ 95822 w 105137"/>
                      <a:gd name="connsiteY42" fmla="*/ 7852 h 100765"/>
                      <a:gd name="connsiteX43" fmla="*/ 98217 w 105137"/>
                      <a:gd name="connsiteY43" fmla="*/ 17897 h 100765"/>
                      <a:gd name="connsiteX44" fmla="*/ 98872 w 105137"/>
                      <a:gd name="connsiteY44" fmla="*/ 18669 h 100765"/>
                      <a:gd name="connsiteX45" fmla="*/ 98605 w 105137"/>
                      <a:gd name="connsiteY45" fmla="*/ 13496 h 100765"/>
                      <a:gd name="connsiteX46" fmla="*/ 96385 w 105137"/>
                      <a:gd name="connsiteY46" fmla="*/ 7361 h 100765"/>
                      <a:gd name="connsiteX47" fmla="*/ 98922 w 105137"/>
                      <a:gd name="connsiteY47" fmla="*/ 2454 h 100765"/>
                      <a:gd name="connsiteX48" fmla="*/ 101458 w 105137"/>
                      <a:gd name="connsiteY48" fmla="*/ 0 h 100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05137" h="100765">
                        <a:moveTo>
                          <a:pt x="53265" y="57580"/>
                        </a:moveTo>
                        <a:cubicBezTo>
                          <a:pt x="50729" y="60197"/>
                          <a:pt x="50729" y="60197"/>
                          <a:pt x="48193" y="60197"/>
                        </a:cubicBezTo>
                        <a:cubicBezTo>
                          <a:pt x="48193" y="60197"/>
                          <a:pt x="48193" y="60197"/>
                          <a:pt x="45656" y="60197"/>
                        </a:cubicBezTo>
                        <a:cubicBezTo>
                          <a:pt x="48193" y="57580"/>
                          <a:pt x="50729" y="57580"/>
                          <a:pt x="53265" y="57580"/>
                        </a:cubicBezTo>
                        <a:close/>
                        <a:moveTo>
                          <a:pt x="0" y="55564"/>
                        </a:moveTo>
                        <a:lnTo>
                          <a:pt x="799" y="57238"/>
                        </a:lnTo>
                        <a:lnTo>
                          <a:pt x="0" y="58075"/>
                        </a:lnTo>
                        <a:cubicBezTo>
                          <a:pt x="2396" y="55564"/>
                          <a:pt x="0" y="55564"/>
                          <a:pt x="0" y="55564"/>
                        </a:cubicBezTo>
                        <a:close/>
                        <a:moveTo>
                          <a:pt x="101458" y="0"/>
                        </a:moveTo>
                        <a:cubicBezTo>
                          <a:pt x="103995" y="0"/>
                          <a:pt x="106531" y="7361"/>
                          <a:pt x="101458" y="4908"/>
                        </a:cubicBezTo>
                        <a:cubicBezTo>
                          <a:pt x="102726" y="6134"/>
                          <a:pt x="103361" y="9815"/>
                          <a:pt x="103044" y="13189"/>
                        </a:cubicBezTo>
                        <a:lnTo>
                          <a:pt x="99251" y="19116"/>
                        </a:lnTo>
                        <a:lnTo>
                          <a:pt x="100613" y="20722"/>
                        </a:lnTo>
                        <a:cubicBezTo>
                          <a:pt x="101810" y="21664"/>
                          <a:pt x="103008" y="22919"/>
                          <a:pt x="103008" y="25430"/>
                        </a:cubicBezTo>
                        <a:cubicBezTo>
                          <a:pt x="103008" y="30453"/>
                          <a:pt x="107799" y="35475"/>
                          <a:pt x="103008" y="40497"/>
                        </a:cubicBezTo>
                        <a:cubicBezTo>
                          <a:pt x="93426" y="48031"/>
                          <a:pt x="98217" y="43008"/>
                          <a:pt x="95822" y="40497"/>
                        </a:cubicBezTo>
                        <a:cubicBezTo>
                          <a:pt x="93426" y="35475"/>
                          <a:pt x="91031" y="43008"/>
                          <a:pt x="93426" y="45520"/>
                        </a:cubicBezTo>
                        <a:cubicBezTo>
                          <a:pt x="93426" y="45520"/>
                          <a:pt x="91031" y="45520"/>
                          <a:pt x="91031" y="48031"/>
                        </a:cubicBezTo>
                        <a:cubicBezTo>
                          <a:pt x="93426" y="50542"/>
                          <a:pt x="93426" y="53053"/>
                          <a:pt x="93426" y="55564"/>
                        </a:cubicBezTo>
                        <a:cubicBezTo>
                          <a:pt x="93426" y="60587"/>
                          <a:pt x="100613" y="58075"/>
                          <a:pt x="98217" y="63098"/>
                        </a:cubicBezTo>
                        <a:cubicBezTo>
                          <a:pt x="95822" y="65609"/>
                          <a:pt x="88635" y="63098"/>
                          <a:pt x="86239" y="65609"/>
                        </a:cubicBezTo>
                        <a:cubicBezTo>
                          <a:pt x="93426" y="70631"/>
                          <a:pt x="83844" y="85698"/>
                          <a:pt x="83844" y="93232"/>
                        </a:cubicBezTo>
                        <a:cubicBezTo>
                          <a:pt x="83844" y="100765"/>
                          <a:pt x="81448" y="100765"/>
                          <a:pt x="74262" y="100765"/>
                        </a:cubicBezTo>
                        <a:cubicBezTo>
                          <a:pt x="69471" y="98254"/>
                          <a:pt x="62284" y="98254"/>
                          <a:pt x="55098" y="98254"/>
                        </a:cubicBezTo>
                        <a:cubicBezTo>
                          <a:pt x="50306" y="95743"/>
                          <a:pt x="43120" y="95743"/>
                          <a:pt x="35933" y="93232"/>
                        </a:cubicBezTo>
                        <a:cubicBezTo>
                          <a:pt x="31142" y="93232"/>
                          <a:pt x="23955" y="95743"/>
                          <a:pt x="21560" y="90720"/>
                        </a:cubicBezTo>
                        <a:cubicBezTo>
                          <a:pt x="19164" y="85698"/>
                          <a:pt x="14373" y="80676"/>
                          <a:pt x="11978" y="75654"/>
                        </a:cubicBezTo>
                        <a:cubicBezTo>
                          <a:pt x="9582" y="73142"/>
                          <a:pt x="7187" y="70631"/>
                          <a:pt x="4791" y="65609"/>
                        </a:cubicBezTo>
                        <a:lnTo>
                          <a:pt x="799" y="57238"/>
                        </a:lnTo>
                        <a:lnTo>
                          <a:pt x="2396" y="55564"/>
                        </a:lnTo>
                        <a:cubicBezTo>
                          <a:pt x="4791" y="58075"/>
                          <a:pt x="2396" y="60587"/>
                          <a:pt x="4791" y="63098"/>
                        </a:cubicBezTo>
                        <a:cubicBezTo>
                          <a:pt x="7187" y="65609"/>
                          <a:pt x="9582" y="65609"/>
                          <a:pt x="11978" y="65609"/>
                        </a:cubicBezTo>
                        <a:cubicBezTo>
                          <a:pt x="14373" y="65609"/>
                          <a:pt x="16769" y="65609"/>
                          <a:pt x="19164" y="63098"/>
                        </a:cubicBezTo>
                        <a:cubicBezTo>
                          <a:pt x="19164" y="60587"/>
                          <a:pt x="21560" y="58075"/>
                          <a:pt x="21560" y="58075"/>
                        </a:cubicBezTo>
                        <a:cubicBezTo>
                          <a:pt x="23955" y="58075"/>
                          <a:pt x="26351" y="60587"/>
                          <a:pt x="28747" y="60587"/>
                        </a:cubicBezTo>
                        <a:cubicBezTo>
                          <a:pt x="31142" y="60587"/>
                          <a:pt x="33538" y="60587"/>
                          <a:pt x="35933" y="60587"/>
                        </a:cubicBezTo>
                        <a:cubicBezTo>
                          <a:pt x="45515" y="60587"/>
                          <a:pt x="50306" y="63098"/>
                          <a:pt x="57493" y="60587"/>
                        </a:cubicBezTo>
                        <a:cubicBezTo>
                          <a:pt x="57493" y="58075"/>
                          <a:pt x="55098" y="58075"/>
                          <a:pt x="55098" y="55564"/>
                        </a:cubicBezTo>
                        <a:cubicBezTo>
                          <a:pt x="57493" y="55564"/>
                          <a:pt x="57493" y="58075"/>
                          <a:pt x="57493" y="58075"/>
                        </a:cubicBezTo>
                        <a:cubicBezTo>
                          <a:pt x="62284" y="58075"/>
                          <a:pt x="64680" y="55564"/>
                          <a:pt x="64680" y="53053"/>
                        </a:cubicBezTo>
                        <a:cubicBezTo>
                          <a:pt x="67075" y="45520"/>
                          <a:pt x="67075" y="43008"/>
                          <a:pt x="74262" y="37986"/>
                        </a:cubicBezTo>
                        <a:cubicBezTo>
                          <a:pt x="79053" y="32964"/>
                          <a:pt x="81448" y="25430"/>
                          <a:pt x="86239" y="22919"/>
                        </a:cubicBezTo>
                        <a:cubicBezTo>
                          <a:pt x="91031" y="17897"/>
                          <a:pt x="93426" y="15386"/>
                          <a:pt x="95822" y="7852"/>
                        </a:cubicBezTo>
                        <a:cubicBezTo>
                          <a:pt x="98217" y="7852"/>
                          <a:pt x="98217" y="15386"/>
                          <a:pt x="98217" y="17897"/>
                        </a:cubicBezTo>
                        <a:lnTo>
                          <a:pt x="98872" y="18669"/>
                        </a:lnTo>
                        <a:lnTo>
                          <a:pt x="98605" y="13496"/>
                        </a:lnTo>
                        <a:cubicBezTo>
                          <a:pt x="98922" y="10429"/>
                          <a:pt x="98922" y="7361"/>
                          <a:pt x="96385" y="7361"/>
                        </a:cubicBezTo>
                        <a:cubicBezTo>
                          <a:pt x="96385" y="7361"/>
                          <a:pt x="96385" y="4908"/>
                          <a:pt x="98922" y="2454"/>
                        </a:cubicBezTo>
                        <a:cubicBezTo>
                          <a:pt x="98922" y="4908"/>
                          <a:pt x="101458" y="2454"/>
                          <a:pt x="101458" y="0"/>
                        </a:cubicBezTo>
                        <a:close/>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06" name="Tunisia">
                    <a:extLst>
                      <a:ext uri="{FF2B5EF4-FFF2-40B4-BE49-F238E27FC236}">
                        <a16:creationId xmlns:a16="http://schemas.microsoft.com/office/drawing/2014/main" id="{43B06B8A-08CF-3C0E-2198-BC12EE23964A}"/>
                      </a:ext>
                    </a:extLst>
                  </p:cNvPr>
                  <p:cNvSpPr>
                    <a:spLocks/>
                  </p:cNvSpPr>
                  <p:nvPr/>
                </p:nvSpPr>
                <p:spPr bwMode="auto">
                  <a:xfrm>
                    <a:off x="3960561" y="2416635"/>
                    <a:ext cx="88574" cy="178361"/>
                  </a:xfrm>
                  <a:custGeom>
                    <a:avLst/>
                    <a:gdLst/>
                    <a:ahLst/>
                    <a:cxnLst>
                      <a:cxn ang="0">
                        <a:pos x="0" y="36"/>
                      </a:cxn>
                      <a:cxn ang="0">
                        <a:pos x="2" y="34"/>
                      </a:cxn>
                      <a:cxn ang="0">
                        <a:pos x="5" y="31"/>
                      </a:cxn>
                      <a:cxn ang="0">
                        <a:pos x="7" y="27"/>
                      </a:cxn>
                      <a:cxn ang="0">
                        <a:pos x="8" y="20"/>
                      </a:cxn>
                      <a:cxn ang="0">
                        <a:pos x="7" y="15"/>
                      </a:cxn>
                      <a:cxn ang="0">
                        <a:pos x="7" y="9"/>
                      </a:cxn>
                      <a:cxn ang="0">
                        <a:pos x="10" y="6"/>
                      </a:cxn>
                      <a:cxn ang="0">
                        <a:pos x="11" y="4"/>
                      </a:cxn>
                      <a:cxn ang="0">
                        <a:pos x="13" y="4"/>
                      </a:cxn>
                      <a:cxn ang="0">
                        <a:pos x="18" y="1"/>
                      </a:cxn>
                      <a:cxn ang="0">
                        <a:pos x="21" y="1"/>
                      </a:cxn>
                      <a:cxn ang="0">
                        <a:pos x="21" y="2"/>
                      </a:cxn>
                      <a:cxn ang="0">
                        <a:pos x="22" y="1"/>
                      </a:cxn>
                      <a:cxn ang="0">
                        <a:pos x="25" y="3"/>
                      </a:cxn>
                      <a:cxn ang="0">
                        <a:pos x="25" y="4"/>
                      </a:cxn>
                      <a:cxn ang="0">
                        <a:pos x="25" y="6"/>
                      </a:cxn>
                      <a:cxn ang="0">
                        <a:pos x="27" y="7"/>
                      </a:cxn>
                      <a:cxn ang="0">
                        <a:pos x="29" y="5"/>
                      </a:cxn>
                      <a:cxn ang="0">
                        <a:pos x="31" y="4"/>
                      </a:cxn>
                      <a:cxn ang="0">
                        <a:pos x="32" y="6"/>
                      </a:cxn>
                      <a:cxn ang="0">
                        <a:pos x="27" y="13"/>
                      </a:cxn>
                      <a:cxn ang="0">
                        <a:pos x="29" y="17"/>
                      </a:cxn>
                      <a:cxn ang="0">
                        <a:pos x="32" y="21"/>
                      </a:cxn>
                      <a:cxn ang="0">
                        <a:pos x="28" y="30"/>
                      </a:cxn>
                      <a:cxn ang="0">
                        <a:pos x="24" y="37"/>
                      </a:cxn>
                      <a:cxn ang="0">
                        <a:pos x="26" y="40"/>
                      </a:cxn>
                      <a:cxn ang="0">
                        <a:pos x="29" y="40"/>
                      </a:cxn>
                      <a:cxn ang="0">
                        <a:pos x="29" y="42"/>
                      </a:cxn>
                      <a:cxn ang="0">
                        <a:pos x="32" y="40"/>
                      </a:cxn>
                      <a:cxn ang="0">
                        <a:pos x="33" y="42"/>
                      </a:cxn>
                      <a:cxn ang="0">
                        <a:pos x="33" y="44"/>
                      </a:cxn>
                      <a:cxn ang="0">
                        <a:pos x="36" y="45"/>
                      </a:cxn>
                      <a:cxn ang="0">
                        <a:pos x="36" y="50"/>
                      </a:cxn>
                      <a:cxn ang="0">
                        <a:pos x="36" y="54"/>
                      </a:cxn>
                      <a:cxn ang="0">
                        <a:pos x="29" y="58"/>
                      </a:cxn>
                      <a:cxn ang="0">
                        <a:pos x="27" y="60"/>
                      </a:cxn>
                      <a:cxn ang="0">
                        <a:pos x="24" y="65"/>
                      </a:cxn>
                      <a:cxn ang="0">
                        <a:pos x="24" y="71"/>
                      </a:cxn>
                      <a:cxn ang="0">
                        <a:pos x="19" y="77"/>
                      </a:cxn>
                      <a:cxn ang="0">
                        <a:pos x="16" y="63"/>
                      </a:cxn>
                      <a:cxn ang="0">
                        <a:pos x="10" y="54"/>
                      </a:cxn>
                      <a:cxn ang="0">
                        <a:pos x="7" y="50"/>
                      </a:cxn>
                      <a:cxn ang="0">
                        <a:pos x="5" y="46"/>
                      </a:cxn>
                      <a:cxn ang="0">
                        <a:pos x="2" y="44"/>
                      </a:cxn>
                      <a:cxn ang="0">
                        <a:pos x="2" y="41"/>
                      </a:cxn>
                      <a:cxn ang="0">
                        <a:pos x="0" y="36"/>
                      </a:cxn>
                    </a:cxnLst>
                    <a:rect l="0" t="0" r="r" b="b"/>
                    <a:pathLst>
                      <a:path w="38" h="77">
                        <a:moveTo>
                          <a:pt x="0" y="36"/>
                        </a:moveTo>
                        <a:cubicBezTo>
                          <a:pt x="1" y="34"/>
                          <a:pt x="2" y="34"/>
                          <a:pt x="2" y="34"/>
                        </a:cubicBezTo>
                        <a:cubicBezTo>
                          <a:pt x="4" y="33"/>
                          <a:pt x="4" y="32"/>
                          <a:pt x="5" y="31"/>
                        </a:cubicBezTo>
                        <a:cubicBezTo>
                          <a:pt x="6" y="30"/>
                          <a:pt x="7" y="29"/>
                          <a:pt x="7" y="27"/>
                        </a:cubicBezTo>
                        <a:cubicBezTo>
                          <a:pt x="8" y="25"/>
                          <a:pt x="8" y="22"/>
                          <a:pt x="8" y="20"/>
                        </a:cubicBezTo>
                        <a:cubicBezTo>
                          <a:pt x="8" y="18"/>
                          <a:pt x="7" y="17"/>
                          <a:pt x="7" y="15"/>
                        </a:cubicBezTo>
                        <a:cubicBezTo>
                          <a:pt x="8" y="13"/>
                          <a:pt x="10" y="10"/>
                          <a:pt x="7" y="9"/>
                        </a:cubicBezTo>
                        <a:cubicBezTo>
                          <a:pt x="8" y="8"/>
                          <a:pt x="9" y="8"/>
                          <a:pt x="10" y="6"/>
                        </a:cubicBezTo>
                        <a:cubicBezTo>
                          <a:pt x="11" y="6"/>
                          <a:pt x="10" y="5"/>
                          <a:pt x="11" y="4"/>
                        </a:cubicBezTo>
                        <a:cubicBezTo>
                          <a:pt x="12" y="4"/>
                          <a:pt x="12" y="4"/>
                          <a:pt x="13" y="4"/>
                        </a:cubicBezTo>
                        <a:cubicBezTo>
                          <a:pt x="14" y="2"/>
                          <a:pt x="16" y="2"/>
                          <a:pt x="18" y="1"/>
                        </a:cubicBezTo>
                        <a:cubicBezTo>
                          <a:pt x="19" y="1"/>
                          <a:pt x="20" y="0"/>
                          <a:pt x="21" y="1"/>
                        </a:cubicBezTo>
                        <a:cubicBezTo>
                          <a:pt x="22" y="1"/>
                          <a:pt x="21" y="2"/>
                          <a:pt x="21" y="2"/>
                        </a:cubicBezTo>
                        <a:cubicBezTo>
                          <a:pt x="22" y="2"/>
                          <a:pt x="22" y="2"/>
                          <a:pt x="22" y="1"/>
                        </a:cubicBezTo>
                        <a:cubicBezTo>
                          <a:pt x="23" y="2"/>
                          <a:pt x="24" y="1"/>
                          <a:pt x="25" y="3"/>
                        </a:cubicBezTo>
                        <a:cubicBezTo>
                          <a:pt x="25" y="4"/>
                          <a:pt x="24" y="4"/>
                          <a:pt x="25" y="4"/>
                        </a:cubicBezTo>
                        <a:cubicBezTo>
                          <a:pt x="26" y="5"/>
                          <a:pt x="26" y="6"/>
                          <a:pt x="25" y="6"/>
                        </a:cubicBezTo>
                        <a:cubicBezTo>
                          <a:pt x="25" y="6"/>
                          <a:pt x="26" y="7"/>
                          <a:pt x="27" y="7"/>
                        </a:cubicBezTo>
                        <a:cubicBezTo>
                          <a:pt x="28" y="6"/>
                          <a:pt x="29" y="5"/>
                          <a:pt x="29" y="5"/>
                        </a:cubicBezTo>
                        <a:cubicBezTo>
                          <a:pt x="30" y="4"/>
                          <a:pt x="31" y="3"/>
                          <a:pt x="31" y="4"/>
                        </a:cubicBezTo>
                        <a:cubicBezTo>
                          <a:pt x="33" y="4"/>
                          <a:pt x="32" y="5"/>
                          <a:pt x="32" y="6"/>
                        </a:cubicBezTo>
                        <a:cubicBezTo>
                          <a:pt x="31" y="8"/>
                          <a:pt x="27" y="10"/>
                          <a:pt x="27" y="13"/>
                        </a:cubicBezTo>
                        <a:cubicBezTo>
                          <a:pt x="27" y="14"/>
                          <a:pt x="28" y="16"/>
                          <a:pt x="29" y="17"/>
                        </a:cubicBezTo>
                        <a:cubicBezTo>
                          <a:pt x="32" y="19"/>
                          <a:pt x="32" y="19"/>
                          <a:pt x="32" y="21"/>
                        </a:cubicBezTo>
                        <a:cubicBezTo>
                          <a:pt x="33" y="25"/>
                          <a:pt x="30" y="28"/>
                          <a:pt x="28" y="30"/>
                        </a:cubicBezTo>
                        <a:cubicBezTo>
                          <a:pt x="25" y="32"/>
                          <a:pt x="21" y="33"/>
                          <a:pt x="24" y="37"/>
                        </a:cubicBezTo>
                        <a:cubicBezTo>
                          <a:pt x="24" y="38"/>
                          <a:pt x="25" y="39"/>
                          <a:pt x="26" y="40"/>
                        </a:cubicBezTo>
                        <a:cubicBezTo>
                          <a:pt x="27" y="40"/>
                          <a:pt x="28" y="39"/>
                          <a:pt x="29" y="40"/>
                        </a:cubicBezTo>
                        <a:cubicBezTo>
                          <a:pt x="29" y="42"/>
                          <a:pt x="29" y="42"/>
                          <a:pt x="29" y="42"/>
                        </a:cubicBezTo>
                        <a:cubicBezTo>
                          <a:pt x="30" y="42"/>
                          <a:pt x="31" y="40"/>
                          <a:pt x="32" y="40"/>
                        </a:cubicBezTo>
                        <a:cubicBezTo>
                          <a:pt x="33" y="41"/>
                          <a:pt x="32" y="41"/>
                          <a:pt x="33" y="42"/>
                        </a:cubicBezTo>
                        <a:cubicBezTo>
                          <a:pt x="33" y="43"/>
                          <a:pt x="35" y="44"/>
                          <a:pt x="33" y="44"/>
                        </a:cubicBezTo>
                        <a:cubicBezTo>
                          <a:pt x="34" y="45"/>
                          <a:pt x="36" y="44"/>
                          <a:pt x="36" y="45"/>
                        </a:cubicBezTo>
                        <a:cubicBezTo>
                          <a:pt x="37" y="46"/>
                          <a:pt x="36" y="49"/>
                          <a:pt x="36" y="50"/>
                        </a:cubicBezTo>
                        <a:cubicBezTo>
                          <a:pt x="36" y="52"/>
                          <a:pt x="38" y="53"/>
                          <a:pt x="36" y="54"/>
                        </a:cubicBezTo>
                        <a:cubicBezTo>
                          <a:pt x="34" y="55"/>
                          <a:pt x="30" y="56"/>
                          <a:pt x="29" y="58"/>
                        </a:cubicBezTo>
                        <a:cubicBezTo>
                          <a:pt x="28" y="58"/>
                          <a:pt x="28" y="60"/>
                          <a:pt x="27" y="60"/>
                        </a:cubicBezTo>
                        <a:cubicBezTo>
                          <a:pt x="25" y="61"/>
                          <a:pt x="23" y="62"/>
                          <a:pt x="24" y="65"/>
                        </a:cubicBezTo>
                        <a:cubicBezTo>
                          <a:pt x="25" y="67"/>
                          <a:pt x="26" y="69"/>
                          <a:pt x="24" y="71"/>
                        </a:cubicBezTo>
                        <a:cubicBezTo>
                          <a:pt x="23" y="74"/>
                          <a:pt x="21" y="75"/>
                          <a:pt x="19" y="77"/>
                        </a:cubicBezTo>
                        <a:cubicBezTo>
                          <a:pt x="18" y="72"/>
                          <a:pt x="17" y="68"/>
                          <a:pt x="16" y="63"/>
                        </a:cubicBezTo>
                        <a:cubicBezTo>
                          <a:pt x="15" y="59"/>
                          <a:pt x="14" y="56"/>
                          <a:pt x="10" y="54"/>
                        </a:cubicBezTo>
                        <a:cubicBezTo>
                          <a:pt x="9" y="53"/>
                          <a:pt x="8" y="52"/>
                          <a:pt x="7" y="50"/>
                        </a:cubicBezTo>
                        <a:cubicBezTo>
                          <a:pt x="7" y="48"/>
                          <a:pt x="6" y="47"/>
                          <a:pt x="5" y="46"/>
                        </a:cubicBezTo>
                        <a:cubicBezTo>
                          <a:pt x="4" y="45"/>
                          <a:pt x="3" y="45"/>
                          <a:pt x="2" y="44"/>
                        </a:cubicBezTo>
                        <a:cubicBezTo>
                          <a:pt x="2" y="43"/>
                          <a:pt x="2" y="42"/>
                          <a:pt x="2" y="41"/>
                        </a:cubicBezTo>
                        <a:cubicBezTo>
                          <a:pt x="0" y="39"/>
                          <a:pt x="0" y="37"/>
                          <a:pt x="0" y="36"/>
                        </a:cubicBezTo>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07" name="Togo">
                    <a:extLst>
                      <a:ext uri="{FF2B5EF4-FFF2-40B4-BE49-F238E27FC236}">
                        <a16:creationId xmlns:a16="http://schemas.microsoft.com/office/drawing/2014/main" id="{C9AFBDD1-0139-AD09-E45C-112639BB5F1B}"/>
                      </a:ext>
                    </a:extLst>
                  </p:cNvPr>
                  <p:cNvSpPr>
                    <a:spLocks/>
                  </p:cNvSpPr>
                  <p:nvPr/>
                </p:nvSpPr>
                <p:spPr bwMode="auto">
                  <a:xfrm>
                    <a:off x="3791908" y="3066983"/>
                    <a:ext cx="41253" cy="126187"/>
                  </a:xfrm>
                  <a:custGeom>
                    <a:avLst/>
                    <a:gdLst/>
                    <a:ahLst/>
                    <a:cxnLst>
                      <a:cxn ang="0">
                        <a:pos x="0" y="0"/>
                      </a:cxn>
                      <a:cxn ang="0">
                        <a:pos x="6" y="2"/>
                      </a:cxn>
                      <a:cxn ang="0">
                        <a:pos x="10" y="2"/>
                      </a:cxn>
                      <a:cxn ang="0">
                        <a:pos x="10" y="9"/>
                      </a:cxn>
                      <a:cxn ang="0">
                        <a:pos x="14" y="13"/>
                      </a:cxn>
                      <a:cxn ang="0">
                        <a:pos x="15" y="20"/>
                      </a:cxn>
                      <a:cxn ang="0">
                        <a:pos x="17" y="27"/>
                      </a:cxn>
                      <a:cxn ang="0">
                        <a:pos x="17" y="41"/>
                      </a:cxn>
                      <a:cxn ang="0">
                        <a:pos x="16" y="45"/>
                      </a:cxn>
                      <a:cxn ang="0">
                        <a:pos x="17" y="49"/>
                      </a:cxn>
                      <a:cxn ang="0">
                        <a:pos x="18" y="53"/>
                      </a:cxn>
                      <a:cxn ang="0">
                        <a:pos x="12" y="54"/>
                      </a:cxn>
                      <a:cxn ang="0">
                        <a:pos x="10" y="52"/>
                      </a:cxn>
                      <a:cxn ang="0">
                        <a:pos x="6" y="48"/>
                      </a:cxn>
                      <a:cxn ang="0">
                        <a:pos x="7" y="42"/>
                      </a:cxn>
                      <a:cxn ang="0">
                        <a:pos x="6" y="39"/>
                      </a:cxn>
                      <a:cxn ang="0">
                        <a:pos x="7" y="35"/>
                      </a:cxn>
                      <a:cxn ang="0">
                        <a:pos x="7" y="32"/>
                      </a:cxn>
                      <a:cxn ang="0">
                        <a:pos x="8" y="30"/>
                      </a:cxn>
                      <a:cxn ang="0">
                        <a:pos x="5" y="26"/>
                      </a:cxn>
                      <a:cxn ang="0">
                        <a:pos x="6" y="21"/>
                      </a:cxn>
                      <a:cxn ang="0">
                        <a:pos x="6" y="19"/>
                      </a:cxn>
                      <a:cxn ang="0">
                        <a:pos x="3" y="19"/>
                      </a:cxn>
                      <a:cxn ang="0">
                        <a:pos x="5" y="17"/>
                      </a:cxn>
                      <a:cxn ang="0">
                        <a:pos x="5" y="12"/>
                      </a:cxn>
                      <a:cxn ang="0">
                        <a:pos x="4" y="8"/>
                      </a:cxn>
                      <a:cxn ang="0">
                        <a:pos x="1" y="4"/>
                      </a:cxn>
                      <a:cxn ang="0">
                        <a:pos x="2" y="1"/>
                      </a:cxn>
                      <a:cxn ang="0">
                        <a:pos x="0" y="0"/>
                      </a:cxn>
                    </a:cxnLst>
                    <a:rect l="0" t="0" r="r" b="b"/>
                    <a:pathLst>
                      <a:path w="18" h="54">
                        <a:moveTo>
                          <a:pt x="0" y="0"/>
                        </a:moveTo>
                        <a:cubicBezTo>
                          <a:pt x="2" y="1"/>
                          <a:pt x="4" y="1"/>
                          <a:pt x="6" y="2"/>
                        </a:cubicBezTo>
                        <a:cubicBezTo>
                          <a:pt x="7" y="3"/>
                          <a:pt x="9" y="2"/>
                          <a:pt x="10" y="2"/>
                        </a:cubicBezTo>
                        <a:cubicBezTo>
                          <a:pt x="10" y="4"/>
                          <a:pt x="8" y="7"/>
                          <a:pt x="10" y="9"/>
                        </a:cubicBezTo>
                        <a:cubicBezTo>
                          <a:pt x="11" y="10"/>
                          <a:pt x="14" y="12"/>
                          <a:pt x="14" y="13"/>
                        </a:cubicBezTo>
                        <a:cubicBezTo>
                          <a:pt x="14" y="15"/>
                          <a:pt x="14" y="18"/>
                          <a:pt x="15" y="20"/>
                        </a:cubicBezTo>
                        <a:cubicBezTo>
                          <a:pt x="16" y="22"/>
                          <a:pt x="17" y="24"/>
                          <a:pt x="17" y="27"/>
                        </a:cubicBezTo>
                        <a:cubicBezTo>
                          <a:pt x="17" y="32"/>
                          <a:pt x="17" y="36"/>
                          <a:pt x="17" y="41"/>
                        </a:cubicBezTo>
                        <a:cubicBezTo>
                          <a:pt x="17" y="42"/>
                          <a:pt x="17" y="45"/>
                          <a:pt x="16" y="45"/>
                        </a:cubicBezTo>
                        <a:cubicBezTo>
                          <a:pt x="16" y="46"/>
                          <a:pt x="16" y="48"/>
                          <a:pt x="17" y="49"/>
                        </a:cubicBezTo>
                        <a:cubicBezTo>
                          <a:pt x="17" y="50"/>
                          <a:pt x="18" y="51"/>
                          <a:pt x="18" y="53"/>
                        </a:cubicBezTo>
                        <a:cubicBezTo>
                          <a:pt x="16" y="53"/>
                          <a:pt x="14" y="54"/>
                          <a:pt x="12" y="54"/>
                        </a:cubicBezTo>
                        <a:cubicBezTo>
                          <a:pt x="12" y="54"/>
                          <a:pt x="10" y="52"/>
                          <a:pt x="10" y="52"/>
                        </a:cubicBezTo>
                        <a:cubicBezTo>
                          <a:pt x="8" y="51"/>
                          <a:pt x="7" y="50"/>
                          <a:pt x="6" y="48"/>
                        </a:cubicBezTo>
                        <a:cubicBezTo>
                          <a:pt x="5" y="46"/>
                          <a:pt x="7" y="44"/>
                          <a:pt x="7" y="42"/>
                        </a:cubicBezTo>
                        <a:cubicBezTo>
                          <a:pt x="7" y="41"/>
                          <a:pt x="6" y="41"/>
                          <a:pt x="6" y="39"/>
                        </a:cubicBezTo>
                        <a:cubicBezTo>
                          <a:pt x="6" y="38"/>
                          <a:pt x="7" y="37"/>
                          <a:pt x="7" y="35"/>
                        </a:cubicBezTo>
                        <a:cubicBezTo>
                          <a:pt x="7" y="34"/>
                          <a:pt x="7" y="33"/>
                          <a:pt x="7" y="32"/>
                        </a:cubicBezTo>
                        <a:cubicBezTo>
                          <a:pt x="7" y="31"/>
                          <a:pt x="8" y="31"/>
                          <a:pt x="8" y="30"/>
                        </a:cubicBezTo>
                        <a:cubicBezTo>
                          <a:pt x="7" y="28"/>
                          <a:pt x="6" y="28"/>
                          <a:pt x="5" y="26"/>
                        </a:cubicBezTo>
                        <a:cubicBezTo>
                          <a:pt x="7" y="26"/>
                          <a:pt x="6" y="23"/>
                          <a:pt x="6" y="21"/>
                        </a:cubicBezTo>
                        <a:cubicBezTo>
                          <a:pt x="7" y="21"/>
                          <a:pt x="7" y="20"/>
                          <a:pt x="6" y="19"/>
                        </a:cubicBezTo>
                        <a:cubicBezTo>
                          <a:pt x="6" y="17"/>
                          <a:pt x="5" y="19"/>
                          <a:pt x="3" y="19"/>
                        </a:cubicBezTo>
                        <a:cubicBezTo>
                          <a:pt x="4" y="18"/>
                          <a:pt x="3" y="17"/>
                          <a:pt x="5" y="17"/>
                        </a:cubicBezTo>
                        <a:cubicBezTo>
                          <a:pt x="5" y="16"/>
                          <a:pt x="6" y="13"/>
                          <a:pt x="5" y="12"/>
                        </a:cubicBezTo>
                        <a:cubicBezTo>
                          <a:pt x="4" y="10"/>
                          <a:pt x="6" y="10"/>
                          <a:pt x="4" y="8"/>
                        </a:cubicBezTo>
                        <a:cubicBezTo>
                          <a:pt x="2" y="8"/>
                          <a:pt x="1" y="6"/>
                          <a:pt x="1" y="4"/>
                        </a:cubicBezTo>
                        <a:cubicBezTo>
                          <a:pt x="1" y="3"/>
                          <a:pt x="2" y="2"/>
                          <a:pt x="2" y="1"/>
                        </a:cubicBezTo>
                        <a:cubicBezTo>
                          <a:pt x="1" y="1"/>
                          <a:pt x="0" y="1"/>
                          <a:pt x="0" y="0"/>
                        </a:cubicBezTo>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08" name="Tanzania">
                    <a:extLst>
                      <a:ext uri="{FF2B5EF4-FFF2-40B4-BE49-F238E27FC236}">
                        <a16:creationId xmlns:a16="http://schemas.microsoft.com/office/drawing/2014/main" id="{B5D0BD25-E747-FAC8-D835-2CB39B34C84E}"/>
                      </a:ext>
                    </a:extLst>
                  </p:cNvPr>
                  <p:cNvSpPr>
                    <a:spLocks/>
                  </p:cNvSpPr>
                  <p:nvPr/>
                </p:nvSpPr>
                <p:spPr bwMode="auto">
                  <a:xfrm>
                    <a:off x="4429491" y="3370388"/>
                    <a:ext cx="235483" cy="267337"/>
                  </a:xfrm>
                  <a:custGeom>
                    <a:avLst/>
                    <a:gdLst>
                      <a:gd name="connsiteX0" fmla="*/ 209550 w 231075"/>
                      <a:gd name="connsiteY0" fmla="*/ 116612 h 262332"/>
                      <a:gd name="connsiteX1" fmla="*/ 211932 w 231075"/>
                      <a:gd name="connsiteY1" fmla="*/ 125542 h 262332"/>
                      <a:gd name="connsiteX2" fmla="*/ 211932 w 231075"/>
                      <a:gd name="connsiteY2" fmla="*/ 132240 h 262332"/>
                      <a:gd name="connsiteX3" fmla="*/ 207169 w 231075"/>
                      <a:gd name="connsiteY3" fmla="*/ 123310 h 262332"/>
                      <a:gd name="connsiteX4" fmla="*/ 209550 w 231075"/>
                      <a:gd name="connsiteY4" fmla="*/ 116612 h 262332"/>
                      <a:gd name="connsiteX5" fmla="*/ 219076 w 231075"/>
                      <a:gd name="connsiteY5" fmla="*/ 96371 h 262332"/>
                      <a:gd name="connsiteX6" fmla="*/ 221457 w 231075"/>
                      <a:gd name="connsiteY6" fmla="*/ 105102 h 262332"/>
                      <a:gd name="connsiteX7" fmla="*/ 219076 w 231075"/>
                      <a:gd name="connsiteY7" fmla="*/ 102920 h 262332"/>
                      <a:gd name="connsiteX8" fmla="*/ 216694 w 231075"/>
                      <a:gd name="connsiteY8" fmla="*/ 102920 h 262332"/>
                      <a:gd name="connsiteX9" fmla="*/ 219076 w 231075"/>
                      <a:gd name="connsiteY9" fmla="*/ 98554 h 262332"/>
                      <a:gd name="connsiteX10" fmla="*/ 219076 w 231075"/>
                      <a:gd name="connsiteY10" fmla="*/ 96371 h 262332"/>
                      <a:gd name="connsiteX11" fmla="*/ 35582 w 231075"/>
                      <a:gd name="connsiteY11" fmla="*/ 158 h 262332"/>
                      <a:gd name="connsiteX12" fmla="*/ 50099 w 231075"/>
                      <a:gd name="connsiteY12" fmla="*/ 1009 h 262332"/>
                      <a:gd name="connsiteX13" fmla="*/ 47822 w 231075"/>
                      <a:gd name="connsiteY13" fmla="*/ 12356 h 262332"/>
                      <a:gd name="connsiteX14" fmla="*/ 45545 w 231075"/>
                      <a:gd name="connsiteY14" fmla="*/ 23703 h 262332"/>
                      <a:gd name="connsiteX15" fmla="*/ 45545 w 231075"/>
                      <a:gd name="connsiteY15" fmla="*/ 30511 h 262332"/>
                      <a:gd name="connsiteX16" fmla="*/ 50099 w 231075"/>
                      <a:gd name="connsiteY16" fmla="*/ 44126 h 262332"/>
                      <a:gd name="connsiteX17" fmla="*/ 52376 w 231075"/>
                      <a:gd name="connsiteY17" fmla="*/ 41857 h 262332"/>
                      <a:gd name="connsiteX18" fmla="*/ 56931 w 231075"/>
                      <a:gd name="connsiteY18" fmla="*/ 37319 h 262332"/>
                      <a:gd name="connsiteX19" fmla="*/ 59208 w 231075"/>
                      <a:gd name="connsiteY19" fmla="*/ 30511 h 262332"/>
                      <a:gd name="connsiteX20" fmla="*/ 68317 w 231075"/>
                      <a:gd name="connsiteY20" fmla="*/ 35049 h 262332"/>
                      <a:gd name="connsiteX21" fmla="*/ 70594 w 231075"/>
                      <a:gd name="connsiteY21" fmla="*/ 37319 h 262332"/>
                      <a:gd name="connsiteX22" fmla="*/ 68317 w 231075"/>
                      <a:gd name="connsiteY22" fmla="*/ 46396 h 262332"/>
                      <a:gd name="connsiteX23" fmla="*/ 70594 w 231075"/>
                      <a:gd name="connsiteY23" fmla="*/ 48665 h 262332"/>
                      <a:gd name="connsiteX24" fmla="*/ 75148 w 231075"/>
                      <a:gd name="connsiteY24" fmla="*/ 44126 h 262332"/>
                      <a:gd name="connsiteX25" fmla="*/ 84257 w 231075"/>
                      <a:gd name="connsiteY25" fmla="*/ 37319 h 262332"/>
                      <a:gd name="connsiteX26" fmla="*/ 91089 w 231075"/>
                      <a:gd name="connsiteY26" fmla="*/ 28241 h 262332"/>
                      <a:gd name="connsiteX27" fmla="*/ 86535 w 231075"/>
                      <a:gd name="connsiteY27" fmla="*/ 28241 h 262332"/>
                      <a:gd name="connsiteX28" fmla="*/ 79703 w 231075"/>
                      <a:gd name="connsiteY28" fmla="*/ 25972 h 262332"/>
                      <a:gd name="connsiteX29" fmla="*/ 86535 w 231075"/>
                      <a:gd name="connsiteY29" fmla="*/ 23703 h 262332"/>
                      <a:gd name="connsiteX30" fmla="*/ 79703 w 231075"/>
                      <a:gd name="connsiteY30" fmla="*/ 23703 h 262332"/>
                      <a:gd name="connsiteX31" fmla="*/ 86535 w 231075"/>
                      <a:gd name="connsiteY31" fmla="*/ 19164 h 262332"/>
                      <a:gd name="connsiteX32" fmla="*/ 88812 w 231075"/>
                      <a:gd name="connsiteY32" fmla="*/ 16895 h 262332"/>
                      <a:gd name="connsiteX33" fmla="*/ 88812 w 231075"/>
                      <a:gd name="connsiteY33" fmla="*/ 12356 h 262332"/>
                      <a:gd name="connsiteX34" fmla="*/ 95644 w 231075"/>
                      <a:gd name="connsiteY34" fmla="*/ 12356 h 262332"/>
                      <a:gd name="connsiteX35" fmla="*/ 93366 w 231075"/>
                      <a:gd name="connsiteY35" fmla="*/ 7817 h 262332"/>
                      <a:gd name="connsiteX36" fmla="*/ 95644 w 231075"/>
                      <a:gd name="connsiteY36" fmla="*/ 7817 h 262332"/>
                      <a:gd name="connsiteX37" fmla="*/ 95644 w 231075"/>
                      <a:gd name="connsiteY37" fmla="*/ 5548 h 262332"/>
                      <a:gd name="connsiteX38" fmla="*/ 97921 w 231075"/>
                      <a:gd name="connsiteY38" fmla="*/ 1009 h 262332"/>
                      <a:gd name="connsiteX39" fmla="*/ 161683 w 231075"/>
                      <a:gd name="connsiteY39" fmla="*/ 41857 h 262332"/>
                      <a:gd name="connsiteX40" fmla="*/ 175346 w 231075"/>
                      <a:gd name="connsiteY40" fmla="*/ 53204 h 262332"/>
                      <a:gd name="connsiteX41" fmla="*/ 173069 w 231075"/>
                      <a:gd name="connsiteY41" fmla="*/ 60012 h 262332"/>
                      <a:gd name="connsiteX42" fmla="*/ 177624 w 231075"/>
                      <a:gd name="connsiteY42" fmla="*/ 64550 h 262332"/>
                      <a:gd name="connsiteX43" fmla="*/ 193564 w 231075"/>
                      <a:gd name="connsiteY43" fmla="*/ 78166 h 262332"/>
                      <a:gd name="connsiteX44" fmla="*/ 207227 w 231075"/>
                      <a:gd name="connsiteY44" fmla="*/ 91782 h 262332"/>
                      <a:gd name="connsiteX45" fmla="*/ 202673 w 231075"/>
                      <a:gd name="connsiteY45" fmla="*/ 109937 h 262332"/>
                      <a:gd name="connsiteX46" fmla="*/ 198119 w 231075"/>
                      <a:gd name="connsiteY46" fmla="*/ 116745 h 262332"/>
                      <a:gd name="connsiteX47" fmla="*/ 198119 w 231075"/>
                      <a:gd name="connsiteY47" fmla="*/ 121283 h 262332"/>
                      <a:gd name="connsiteX48" fmla="*/ 200396 w 231075"/>
                      <a:gd name="connsiteY48" fmla="*/ 128091 h 262332"/>
                      <a:gd name="connsiteX49" fmla="*/ 209505 w 231075"/>
                      <a:gd name="connsiteY49" fmla="*/ 141707 h 262332"/>
                      <a:gd name="connsiteX50" fmla="*/ 211782 w 231075"/>
                      <a:gd name="connsiteY50" fmla="*/ 150784 h 262332"/>
                      <a:gd name="connsiteX51" fmla="*/ 207227 w 231075"/>
                      <a:gd name="connsiteY51" fmla="*/ 166670 h 262332"/>
                      <a:gd name="connsiteX52" fmla="*/ 211782 w 231075"/>
                      <a:gd name="connsiteY52" fmla="*/ 173477 h 262332"/>
                      <a:gd name="connsiteX53" fmla="*/ 209505 w 231075"/>
                      <a:gd name="connsiteY53" fmla="*/ 182555 h 262332"/>
                      <a:gd name="connsiteX54" fmla="*/ 209505 w 231075"/>
                      <a:gd name="connsiteY54" fmla="*/ 193901 h 262332"/>
                      <a:gd name="connsiteX55" fmla="*/ 214059 w 231075"/>
                      <a:gd name="connsiteY55" fmla="*/ 198440 h 262332"/>
                      <a:gd name="connsiteX56" fmla="*/ 214059 w 231075"/>
                      <a:gd name="connsiteY56" fmla="*/ 202979 h 262332"/>
                      <a:gd name="connsiteX57" fmla="*/ 216336 w 231075"/>
                      <a:gd name="connsiteY57" fmla="*/ 209787 h 262332"/>
                      <a:gd name="connsiteX58" fmla="*/ 216336 w 231075"/>
                      <a:gd name="connsiteY58" fmla="*/ 214325 h 262332"/>
                      <a:gd name="connsiteX59" fmla="*/ 216336 w 231075"/>
                      <a:gd name="connsiteY59" fmla="*/ 218864 h 262332"/>
                      <a:gd name="connsiteX60" fmla="*/ 223168 w 231075"/>
                      <a:gd name="connsiteY60" fmla="*/ 225672 h 262332"/>
                      <a:gd name="connsiteX61" fmla="*/ 230000 w 231075"/>
                      <a:gd name="connsiteY61" fmla="*/ 232480 h 262332"/>
                      <a:gd name="connsiteX62" fmla="*/ 207227 w 231075"/>
                      <a:gd name="connsiteY62" fmla="*/ 248365 h 262332"/>
                      <a:gd name="connsiteX63" fmla="*/ 200396 w 231075"/>
                      <a:gd name="connsiteY63" fmla="*/ 248365 h 262332"/>
                      <a:gd name="connsiteX64" fmla="*/ 189010 w 231075"/>
                      <a:gd name="connsiteY64" fmla="*/ 252904 h 262332"/>
                      <a:gd name="connsiteX65" fmla="*/ 179901 w 231075"/>
                      <a:gd name="connsiteY65" fmla="*/ 250634 h 262332"/>
                      <a:gd name="connsiteX66" fmla="*/ 168515 w 231075"/>
                      <a:gd name="connsiteY66" fmla="*/ 259712 h 262332"/>
                      <a:gd name="connsiteX67" fmla="*/ 159406 w 231075"/>
                      <a:gd name="connsiteY67" fmla="*/ 259712 h 262332"/>
                      <a:gd name="connsiteX68" fmla="*/ 148020 w 231075"/>
                      <a:gd name="connsiteY68" fmla="*/ 261981 h 262332"/>
                      <a:gd name="connsiteX69" fmla="*/ 136634 w 231075"/>
                      <a:gd name="connsiteY69" fmla="*/ 257442 h 262332"/>
                      <a:gd name="connsiteX70" fmla="*/ 129802 w 231075"/>
                      <a:gd name="connsiteY70" fmla="*/ 257442 h 262332"/>
                      <a:gd name="connsiteX71" fmla="*/ 113861 w 231075"/>
                      <a:gd name="connsiteY71" fmla="*/ 257442 h 262332"/>
                      <a:gd name="connsiteX72" fmla="*/ 111584 w 231075"/>
                      <a:gd name="connsiteY72" fmla="*/ 255173 h 262332"/>
                      <a:gd name="connsiteX73" fmla="*/ 107030 w 231075"/>
                      <a:gd name="connsiteY73" fmla="*/ 246096 h 262332"/>
                      <a:gd name="connsiteX74" fmla="*/ 107030 w 231075"/>
                      <a:gd name="connsiteY74" fmla="*/ 237018 h 262332"/>
                      <a:gd name="connsiteX75" fmla="*/ 104752 w 231075"/>
                      <a:gd name="connsiteY75" fmla="*/ 221133 h 262332"/>
                      <a:gd name="connsiteX76" fmla="*/ 95644 w 231075"/>
                      <a:gd name="connsiteY76" fmla="*/ 207517 h 262332"/>
                      <a:gd name="connsiteX77" fmla="*/ 93366 w 231075"/>
                      <a:gd name="connsiteY77" fmla="*/ 212056 h 262332"/>
                      <a:gd name="connsiteX78" fmla="*/ 79703 w 231075"/>
                      <a:gd name="connsiteY78" fmla="*/ 207517 h 262332"/>
                      <a:gd name="connsiteX79" fmla="*/ 72871 w 231075"/>
                      <a:gd name="connsiteY79" fmla="*/ 205248 h 262332"/>
                      <a:gd name="connsiteX80" fmla="*/ 63762 w 231075"/>
                      <a:gd name="connsiteY80" fmla="*/ 200709 h 262332"/>
                      <a:gd name="connsiteX81" fmla="*/ 61485 w 231075"/>
                      <a:gd name="connsiteY81" fmla="*/ 200709 h 262332"/>
                      <a:gd name="connsiteX82" fmla="*/ 56931 w 231075"/>
                      <a:gd name="connsiteY82" fmla="*/ 198440 h 262332"/>
                      <a:gd name="connsiteX83" fmla="*/ 52376 w 231075"/>
                      <a:gd name="connsiteY83" fmla="*/ 196171 h 262332"/>
                      <a:gd name="connsiteX84" fmla="*/ 47822 w 231075"/>
                      <a:gd name="connsiteY84" fmla="*/ 191632 h 262332"/>
                      <a:gd name="connsiteX85" fmla="*/ 45545 w 231075"/>
                      <a:gd name="connsiteY85" fmla="*/ 193901 h 262332"/>
                      <a:gd name="connsiteX86" fmla="*/ 40990 w 231075"/>
                      <a:gd name="connsiteY86" fmla="*/ 189363 h 262332"/>
                      <a:gd name="connsiteX87" fmla="*/ 34158 w 231075"/>
                      <a:gd name="connsiteY87" fmla="*/ 184824 h 262332"/>
                      <a:gd name="connsiteX88" fmla="*/ 22772 w 231075"/>
                      <a:gd name="connsiteY88" fmla="*/ 159862 h 262332"/>
                      <a:gd name="connsiteX89" fmla="*/ 11386 w 231075"/>
                      <a:gd name="connsiteY89" fmla="*/ 132630 h 262332"/>
                      <a:gd name="connsiteX90" fmla="*/ 9109 w 231075"/>
                      <a:gd name="connsiteY90" fmla="*/ 132630 h 262332"/>
                      <a:gd name="connsiteX91" fmla="*/ 6832 w 231075"/>
                      <a:gd name="connsiteY91" fmla="*/ 119014 h 262332"/>
                      <a:gd name="connsiteX92" fmla="*/ 4555 w 231075"/>
                      <a:gd name="connsiteY92" fmla="*/ 107667 h 262332"/>
                      <a:gd name="connsiteX93" fmla="*/ 0 w 231075"/>
                      <a:gd name="connsiteY93" fmla="*/ 94051 h 262332"/>
                      <a:gd name="connsiteX94" fmla="*/ 0 w 231075"/>
                      <a:gd name="connsiteY94" fmla="*/ 84974 h 262332"/>
                      <a:gd name="connsiteX95" fmla="*/ 9109 w 231075"/>
                      <a:gd name="connsiteY95" fmla="*/ 80436 h 262332"/>
                      <a:gd name="connsiteX96" fmla="*/ 18218 w 231075"/>
                      <a:gd name="connsiteY96" fmla="*/ 69089 h 262332"/>
                      <a:gd name="connsiteX97" fmla="*/ 18218 w 231075"/>
                      <a:gd name="connsiteY97" fmla="*/ 62281 h 262332"/>
                      <a:gd name="connsiteX98" fmla="*/ 22772 w 231075"/>
                      <a:gd name="connsiteY98" fmla="*/ 60012 h 262332"/>
                      <a:gd name="connsiteX99" fmla="*/ 27327 w 231075"/>
                      <a:gd name="connsiteY99" fmla="*/ 55473 h 262332"/>
                      <a:gd name="connsiteX100" fmla="*/ 27327 w 231075"/>
                      <a:gd name="connsiteY100" fmla="*/ 48665 h 262332"/>
                      <a:gd name="connsiteX101" fmla="*/ 20495 w 231075"/>
                      <a:gd name="connsiteY101" fmla="*/ 39588 h 262332"/>
                      <a:gd name="connsiteX102" fmla="*/ 20495 w 231075"/>
                      <a:gd name="connsiteY102" fmla="*/ 37319 h 262332"/>
                      <a:gd name="connsiteX103" fmla="*/ 27327 w 231075"/>
                      <a:gd name="connsiteY103" fmla="*/ 32780 h 262332"/>
                      <a:gd name="connsiteX104" fmla="*/ 22772 w 231075"/>
                      <a:gd name="connsiteY104" fmla="*/ 12356 h 262332"/>
                      <a:gd name="connsiteX105" fmla="*/ 22772 w 231075"/>
                      <a:gd name="connsiteY105" fmla="*/ 1009 h 262332"/>
                      <a:gd name="connsiteX106" fmla="*/ 35582 w 231075"/>
                      <a:gd name="connsiteY106" fmla="*/ 158 h 262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231075" h="262332">
                        <a:moveTo>
                          <a:pt x="209550" y="116612"/>
                        </a:moveTo>
                        <a:cubicBezTo>
                          <a:pt x="211932" y="118845"/>
                          <a:pt x="211932" y="123310"/>
                          <a:pt x="211932" y="125542"/>
                        </a:cubicBezTo>
                        <a:cubicBezTo>
                          <a:pt x="216694" y="123310"/>
                          <a:pt x="216694" y="134472"/>
                          <a:pt x="211932" y="132240"/>
                        </a:cubicBezTo>
                        <a:cubicBezTo>
                          <a:pt x="209550" y="130007"/>
                          <a:pt x="207169" y="127775"/>
                          <a:pt x="207169" y="123310"/>
                        </a:cubicBezTo>
                        <a:cubicBezTo>
                          <a:pt x="207169" y="118845"/>
                          <a:pt x="209550" y="118845"/>
                          <a:pt x="209550" y="116612"/>
                        </a:cubicBezTo>
                        <a:close/>
                        <a:moveTo>
                          <a:pt x="219076" y="96371"/>
                        </a:moveTo>
                        <a:cubicBezTo>
                          <a:pt x="223838" y="96371"/>
                          <a:pt x="223838" y="100737"/>
                          <a:pt x="221457" y="105102"/>
                        </a:cubicBezTo>
                        <a:cubicBezTo>
                          <a:pt x="219076" y="109468"/>
                          <a:pt x="214313" y="105102"/>
                          <a:pt x="219076" y="102920"/>
                        </a:cubicBezTo>
                        <a:cubicBezTo>
                          <a:pt x="219076" y="102920"/>
                          <a:pt x="219076" y="102920"/>
                          <a:pt x="216694" y="102920"/>
                        </a:cubicBezTo>
                        <a:cubicBezTo>
                          <a:pt x="221457" y="102920"/>
                          <a:pt x="219076" y="100737"/>
                          <a:pt x="219076" y="98554"/>
                        </a:cubicBezTo>
                        <a:cubicBezTo>
                          <a:pt x="219076" y="98554"/>
                          <a:pt x="219076" y="98554"/>
                          <a:pt x="219076" y="96371"/>
                        </a:cubicBezTo>
                        <a:close/>
                        <a:moveTo>
                          <a:pt x="35582" y="158"/>
                        </a:moveTo>
                        <a:cubicBezTo>
                          <a:pt x="40990" y="442"/>
                          <a:pt x="46683" y="1009"/>
                          <a:pt x="50099" y="1009"/>
                        </a:cubicBezTo>
                        <a:cubicBezTo>
                          <a:pt x="52376" y="10087"/>
                          <a:pt x="47822" y="12356"/>
                          <a:pt x="47822" y="12356"/>
                        </a:cubicBezTo>
                        <a:cubicBezTo>
                          <a:pt x="47822" y="16895"/>
                          <a:pt x="45545" y="21433"/>
                          <a:pt x="45545" y="23703"/>
                        </a:cubicBezTo>
                        <a:cubicBezTo>
                          <a:pt x="47822" y="25972"/>
                          <a:pt x="45545" y="28241"/>
                          <a:pt x="45545" y="30511"/>
                        </a:cubicBezTo>
                        <a:cubicBezTo>
                          <a:pt x="47822" y="35049"/>
                          <a:pt x="47822" y="30511"/>
                          <a:pt x="50099" y="44126"/>
                        </a:cubicBezTo>
                        <a:cubicBezTo>
                          <a:pt x="50099" y="41857"/>
                          <a:pt x="52376" y="39588"/>
                          <a:pt x="52376" y="41857"/>
                        </a:cubicBezTo>
                        <a:cubicBezTo>
                          <a:pt x="52376" y="37319"/>
                          <a:pt x="52376" y="37319"/>
                          <a:pt x="56931" y="37319"/>
                        </a:cubicBezTo>
                        <a:cubicBezTo>
                          <a:pt x="54653" y="37319"/>
                          <a:pt x="54653" y="32780"/>
                          <a:pt x="59208" y="30511"/>
                        </a:cubicBezTo>
                        <a:cubicBezTo>
                          <a:pt x="59208" y="32780"/>
                          <a:pt x="63762" y="39588"/>
                          <a:pt x="68317" y="35049"/>
                        </a:cubicBezTo>
                        <a:cubicBezTo>
                          <a:pt x="66040" y="35049"/>
                          <a:pt x="70594" y="37319"/>
                          <a:pt x="70594" y="37319"/>
                        </a:cubicBezTo>
                        <a:cubicBezTo>
                          <a:pt x="70594" y="41857"/>
                          <a:pt x="70594" y="46396"/>
                          <a:pt x="68317" y="46396"/>
                        </a:cubicBezTo>
                        <a:cubicBezTo>
                          <a:pt x="70594" y="48665"/>
                          <a:pt x="70594" y="48665"/>
                          <a:pt x="70594" y="48665"/>
                        </a:cubicBezTo>
                        <a:cubicBezTo>
                          <a:pt x="70594" y="46396"/>
                          <a:pt x="68317" y="46396"/>
                          <a:pt x="75148" y="44126"/>
                        </a:cubicBezTo>
                        <a:cubicBezTo>
                          <a:pt x="70594" y="46396"/>
                          <a:pt x="66040" y="28241"/>
                          <a:pt x="84257" y="37319"/>
                        </a:cubicBezTo>
                        <a:cubicBezTo>
                          <a:pt x="84257" y="32780"/>
                          <a:pt x="95644" y="28241"/>
                          <a:pt x="91089" y="28241"/>
                        </a:cubicBezTo>
                        <a:cubicBezTo>
                          <a:pt x="88812" y="28241"/>
                          <a:pt x="88812" y="28241"/>
                          <a:pt x="86535" y="28241"/>
                        </a:cubicBezTo>
                        <a:cubicBezTo>
                          <a:pt x="79703" y="28241"/>
                          <a:pt x="79703" y="25972"/>
                          <a:pt x="79703" y="25972"/>
                        </a:cubicBezTo>
                        <a:cubicBezTo>
                          <a:pt x="79703" y="25972"/>
                          <a:pt x="79703" y="25972"/>
                          <a:pt x="86535" y="23703"/>
                        </a:cubicBezTo>
                        <a:cubicBezTo>
                          <a:pt x="86535" y="21433"/>
                          <a:pt x="79703" y="23703"/>
                          <a:pt x="79703" y="23703"/>
                        </a:cubicBezTo>
                        <a:cubicBezTo>
                          <a:pt x="81980" y="21433"/>
                          <a:pt x="77426" y="21433"/>
                          <a:pt x="86535" y="19164"/>
                        </a:cubicBezTo>
                        <a:cubicBezTo>
                          <a:pt x="86535" y="19164"/>
                          <a:pt x="88812" y="19164"/>
                          <a:pt x="88812" y="16895"/>
                        </a:cubicBezTo>
                        <a:cubicBezTo>
                          <a:pt x="86535" y="12356"/>
                          <a:pt x="88812" y="12356"/>
                          <a:pt x="88812" y="12356"/>
                        </a:cubicBezTo>
                        <a:cubicBezTo>
                          <a:pt x="91089" y="12356"/>
                          <a:pt x="91089" y="12356"/>
                          <a:pt x="95644" y="12356"/>
                        </a:cubicBezTo>
                        <a:cubicBezTo>
                          <a:pt x="93366" y="12356"/>
                          <a:pt x="91089" y="10087"/>
                          <a:pt x="93366" y="7817"/>
                        </a:cubicBezTo>
                        <a:cubicBezTo>
                          <a:pt x="95644" y="7817"/>
                          <a:pt x="93366" y="10087"/>
                          <a:pt x="95644" y="7817"/>
                        </a:cubicBezTo>
                        <a:cubicBezTo>
                          <a:pt x="93366" y="7817"/>
                          <a:pt x="93366" y="5548"/>
                          <a:pt x="95644" y="5548"/>
                        </a:cubicBezTo>
                        <a:cubicBezTo>
                          <a:pt x="95644" y="3279"/>
                          <a:pt x="95644" y="3279"/>
                          <a:pt x="97921" y="1009"/>
                        </a:cubicBezTo>
                        <a:cubicBezTo>
                          <a:pt x="161683" y="41857"/>
                          <a:pt x="161683" y="41857"/>
                          <a:pt x="161683" y="41857"/>
                        </a:cubicBezTo>
                        <a:cubicBezTo>
                          <a:pt x="168515" y="44126"/>
                          <a:pt x="175346" y="46396"/>
                          <a:pt x="175346" y="53204"/>
                        </a:cubicBezTo>
                        <a:cubicBezTo>
                          <a:pt x="177624" y="57742"/>
                          <a:pt x="175346" y="57742"/>
                          <a:pt x="173069" y="60012"/>
                        </a:cubicBezTo>
                        <a:cubicBezTo>
                          <a:pt x="173069" y="60012"/>
                          <a:pt x="175346" y="62281"/>
                          <a:pt x="177624" y="64550"/>
                        </a:cubicBezTo>
                        <a:cubicBezTo>
                          <a:pt x="179901" y="69089"/>
                          <a:pt x="189010" y="73628"/>
                          <a:pt x="193564" y="78166"/>
                        </a:cubicBezTo>
                        <a:cubicBezTo>
                          <a:pt x="195841" y="80436"/>
                          <a:pt x="209505" y="87243"/>
                          <a:pt x="207227" y="91782"/>
                        </a:cubicBezTo>
                        <a:cubicBezTo>
                          <a:pt x="207227" y="98590"/>
                          <a:pt x="204950" y="103129"/>
                          <a:pt x="202673" y="109937"/>
                        </a:cubicBezTo>
                        <a:cubicBezTo>
                          <a:pt x="200396" y="112206"/>
                          <a:pt x="200396" y="114475"/>
                          <a:pt x="198119" y="116745"/>
                        </a:cubicBezTo>
                        <a:cubicBezTo>
                          <a:pt x="198119" y="119014"/>
                          <a:pt x="198119" y="121283"/>
                          <a:pt x="198119" y="121283"/>
                        </a:cubicBezTo>
                        <a:cubicBezTo>
                          <a:pt x="198119" y="123553"/>
                          <a:pt x="200396" y="125822"/>
                          <a:pt x="200396" y="128091"/>
                        </a:cubicBezTo>
                        <a:cubicBezTo>
                          <a:pt x="198119" y="134899"/>
                          <a:pt x="209505" y="134899"/>
                          <a:pt x="209505" y="141707"/>
                        </a:cubicBezTo>
                        <a:cubicBezTo>
                          <a:pt x="214059" y="141707"/>
                          <a:pt x="214059" y="148515"/>
                          <a:pt x="211782" y="150784"/>
                        </a:cubicBezTo>
                        <a:cubicBezTo>
                          <a:pt x="207227" y="155323"/>
                          <a:pt x="209505" y="162131"/>
                          <a:pt x="207227" y="166670"/>
                        </a:cubicBezTo>
                        <a:cubicBezTo>
                          <a:pt x="211782" y="162131"/>
                          <a:pt x="211782" y="171208"/>
                          <a:pt x="211782" y="173477"/>
                        </a:cubicBezTo>
                        <a:cubicBezTo>
                          <a:pt x="209505" y="175747"/>
                          <a:pt x="207227" y="180285"/>
                          <a:pt x="209505" y="182555"/>
                        </a:cubicBezTo>
                        <a:cubicBezTo>
                          <a:pt x="209505" y="187093"/>
                          <a:pt x="214059" y="191632"/>
                          <a:pt x="209505" y="193901"/>
                        </a:cubicBezTo>
                        <a:cubicBezTo>
                          <a:pt x="214059" y="193901"/>
                          <a:pt x="211782" y="198440"/>
                          <a:pt x="214059" y="198440"/>
                        </a:cubicBezTo>
                        <a:cubicBezTo>
                          <a:pt x="216336" y="198440"/>
                          <a:pt x="214059" y="200709"/>
                          <a:pt x="214059" y="202979"/>
                        </a:cubicBezTo>
                        <a:cubicBezTo>
                          <a:pt x="214059" y="205248"/>
                          <a:pt x="216336" y="207517"/>
                          <a:pt x="216336" y="209787"/>
                        </a:cubicBezTo>
                        <a:cubicBezTo>
                          <a:pt x="218614" y="212056"/>
                          <a:pt x="216336" y="212056"/>
                          <a:pt x="216336" y="214325"/>
                        </a:cubicBezTo>
                        <a:cubicBezTo>
                          <a:pt x="218614" y="216594"/>
                          <a:pt x="218614" y="216594"/>
                          <a:pt x="216336" y="218864"/>
                        </a:cubicBezTo>
                        <a:cubicBezTo>
                          <a:pt x="220891" y="218864"/>
                          <a:pt x="220891" y="221133"/>
                          <a:pt x="223168" y="225672"/>
                        </a:cubicBezTo>
                        <a:cubicBezTo>
                          <a:pt x="223168" y="218864"/>
                          <a:pt x="234554" y="227941"/>
                          <a:pt x="230000" y="232480"/>
                        </a:cubicBezTo>
                        <a:cubicBezTo>
                          <a:pt x="220891" y="239288"/>
                          <a:pt x="214059" y="243826"/>
                          <a:pt x="207227" y="248365"/>
                        </a:cubicBezTo>
                        <a:cubicBezTo>
                          <a:pt x="202673" y="248365"/>
                          <a:pt x="202673" y="246096"/>
                          <a:pt x="200396" y="248365"/>
                        </a:cubicBezTo>
                        <a:cubicBezTo>
                          <a:pt x="198119" y="248365"/>
                          <a:pt x="193564" y="252904"/>
                          <a:pt x="189010" y="252904"/>
                        </a:cubicBezTo>
                        <a:cubicBezTo>
                          <a:pt x="186732" y="255173"/>
                          <a:pt x="182178" y="248365"/>
                          <a:pt x="179901" y="250634"/>
                        </a:cubicBezTo>
                        <a:cubicBezTo>
                          <a:pt x="175346" y="252904"/>
                          <a:pt x="173069" y="257442"/>
                          <a:pt x="168515" y="259712"/>
                        </a:cubicBezTo>
                        <a:cubicBezTo>
                          <a:pt x="161683" y="264250"/>
                          <a:pt x="161683" y="261981"/>
                          <a:pt x="159406" y="259712"/>
                        </a:cubicBezTo>
                        <a:cubicBezTo>
                          <a:pt x="154851" y="255173"/>
                          <a:pt x="152574" y="261981"/>
                          <a:pt x="148020" y="261981"/>
                        </a:cubicBezTo>
                        <a:cubicBezTo>
                          <a:pt x="143465" y="261981"/>
                          <a:pt x="141188" y="261981"/>
                          <a:pt x="136634" y="257442"/>
                        </a:cubicBezTo>
                        <a:cubicBezTo>
                          <a:pt x="134356" y="255173"/>
                          <a:pt x="132079" y="252904"/>
                          <a:pt x="129802" y="257442"/>
                        </a:cubicBezTo>
                        <a:cubicBezTo>
                          <a:pt x="127525" y="259712"/>
                          <a:pt x="118416" y="259712"/>
                          <a:pt x="113861" y="257442"/>
                        </a:cubicBezTo>
                        <a:cubicBezTo>
                          <a:pt x="113861" y="257442"/>
                          <a:pt x="113861" y="255173"/>
                          <a:pt x="111584" y="255173"/>
                        </a:cubicBezTo>
                        <a:cubicBezTo>
                          <a:pt x="111584" y="252904"/>
                          <a:pt x="109307" y="250634"/>
                          <a:pt x="107030" y="246096"/>
                        </a:cubicBezTo>
                        <a:cubicBezTo>
                          <a:pt x="107030" y="243826"/>
                          <a:pt x="107030" y="239288"/>
                          <a:pt x="107030" y="237018"/>
                        </a:cubicBezTo>
                        <a:cubicBezTo>
                          <a:pt x="104752" y="230210"/>
                          <a:pt x="107030" y="225672"/>
                          <a:pt x="104752" y="221133"/>
                        </a:cubicBezTo>
                        <a:cubicBezTo>
                          <a:pt x="104752" y="216594"/>
                          <a:pt x="100198" y="212056"/>
                          <a:pt x="95644" y="207517"/>
                        </a:cubicBezTo>
                        <a:cubicBezTo>
                          <a:pt x="93366" y="205248"/>
                          <a:pt x="91089" y="212056"/>
                          <a:pt x="93366" y="212056"/>
                        </a:cubicBezTo>
                        <a:cubicBezTo>
                          <a:pt x="88812" y="207517"/>
                          <a:pt x="84257" y="212056"/>
                          <a:pt x="79703" y="207517"/>
                        </a:cubicBezTo>
                        <a:cubicBezTo>
                          <a:pt x="79703" y="207517"/>
                          <a:pt x="75148" y="205248"/>
                          <a:pt x="72871" y="205248"/>
                        </a:cubicBezTo>
                        <a:cubicBezTo>
                          <a:pt x="70594" y="202979"/>
                          <a:pt x="68317" y="202979"/>
                          <a:pt x="63762" y="200709"/>
                        </a:cubicBezTo>
                        <a:cubicBezTo>
                          <a:pt x="61485" y="200709"/>
                          <a:pt x="61485" y="200709"/>
                          <a:pt x="61485" y="200709"/>
                        </a:cubicBezTo>
                        <a:cubicBezTo>
                          <a:pt x="59208" y="198440"/>
                          <a:pt x="59208" y="198440"/>
                          <a:pt x="56931" y="198440"/>
                        </a:cubicBezTo>
                        <a:cubicBezTo>
                          <a:pt x="54653" y="196171"/>
                          <a:pt x="52376" y="196171"/>
                          <a:pt x="52376" y="196171"/>
                        </a:cubicBezTo>
                        <a:cubicBezTo>
                          <a:pt x="50099" y="196171"/>
                          <a:pt x="50099" y="193901"/>
                          <a:pt x="47822" y="191632"/>
                        </a:cubicBezTo>
                        <a:cubicBezTo>
                          <a:pt x="47822" y="191632"/>
                          <a:pt x="45545" y="193901"/>
                          <a:pt x="45545" y="193901"/>
                        </a:cubicBezTo>
                        <a:cubicBezTo>
                          <a:pt x="43267" y="191632"/>
                          <a:pt x="43267" y="189363"/>
                          <a:pt x="40990" y="189363"/>
                        </a:cubicBezTo>
                        <a:cubicBezTo>
                          <a:pt x="38713" y="187093"/>
                          <a:pt x="36436" y="184824"/>
                          <a:pt x="34158" y="184824"/>
                        </a:cubicBezTo>
                        <a:cubicBezTo>
                          <a:pt x="31881" y="182555"/>
                          <a:pt x="25050" y="168939"/>
                          <a:pt x="22772" y="159862"/>
                        </a:cubicBezTo>
                        <a:cubicBezTo>
                          <a:pt x="18218" y="153054"/>
                          <a:pt x="20495" y="137168"/>
                          <a:pt x="11386" y="132630"/>
                        </a:cubicBezTo>
                        <a:cubicBezTo>
                          <a:pt x="9109" y="132630"/>
                          <a:pt x="9109" y="134899"/>
                          <a:pt x="9109" y="132630"/>
                        </a:cubicBezTo>
                        <a:cubicBezTo>
                          <a:pt x="4555" y="132630"/>
                          <a:pt x="0" y="128091"/>
                          <a:pt x="6832" y="119014"/>
                        </a:cubicBezTo>
                        <a:cubicBezTo>
                          <a:pt x="9109" y="116745"/>
                          <a:pt x="4555" y="112206"/>
                          <a:pt x="4555" y="107667"/>
                        </a:cubicBezTo>
                        <a:cubicBezTo>
                          <a:pt x="4555" y="96321"/>
                          <a:pt x="6832" y="103129"/>
                          <a:pt x="0" y="94051"/>
                        </a:cubicBezTo>
                        <a:cubicBezTo>
                          <a:pt x="0" y="91782"/>
                          <a:pt x="2277" y="87243"/>
                          <a:pt x="0" y="84974"/>
                        </a:cubicBezTo>
                        <a:cubicBezTo>
                          <a:pt x="6832" y="82705"/>
                          <a:pt x="6832" y="82705"/>
                          <a:pt x="9109" y="80436"/>
                        </a:cubicBezTo>
                        <a:cubicBezTo>
                          <a:pt x="13663" y="75897"/>
                          <a:pt x="15941" y="73628"/>
                          <a:pt x="18218" y="69089"/>
                        </a:cubicBezTo>
                        <a:cubicBezTo>
                          <a:pt x="20495" y="66820"/>
                          <a:pt x="18218" y="64550"/>
                          <a:pt x="18218" y="62281"/>
                        </a:cubicBezTo>
                        <a:cubicBezTo>
                          <a:pt x="18218" y="60012"/>
                          <a:pt x="22772" y="62281"/>
                          <a:pt x="22772" y="60012"/>
                        </a:cubicBezTo>
                        <a:cubicBezTo>
                          <a:pt x="22772" y="57742"/>
                          <a:pt x="25050" y="55473"/>
                          <a:pt x="27327" y="55473"/>
                        </a:cubicBezTo>
                        <a:cubicBezTo>
                          <a:pt x="29604" y="53204"/>
                          <a:pt x="25050" y="50934"/>
                          <a:pt x="27327" y="48665"/>
                        </a:cubicBezTo>
                        <a:cubicBezTo>
                          <a:pt x="20495" y="50934"/>
                          <a:pt x="18218" y="46396"/>
                          <a:pt x="20495" y="39588"/>
                        </a:cubicBezTo>
                        <a:cubicBezTo>
                          <a:pt x="18218" y="41857"/>
                          <a:pt x="20495" y="37319"/>
                          <a:pt x="20495" y="37319"/>
                        </a:cubicBezTo>
                        <a:cubicBezTo>
                          <a:pt x="22772" y="32780"/>
                          <a:pt x="25050" y="35049"/>
                          <a:pt x="27327" y="32780"/>
                        </a:cubicBezTo>
                        <a:cubicBezTo>
                          <a:pt x="29604" y="25972"/>
                          <a:pt x="25050" y="19164"/>
                          <a:pt x="22772" y="12356"/>
                        </a:cubicBezTo>
                        <a:cubicBezTo>
                          <a:pt x="22772" y="10087"/>
                          <a:pt x="15941" y="3279"/>
                          <a:pt x="22772" y="1009"/>
                        </a:cubicBezTo>
                        <a:cubicBezTo>
                          <a:pt x="25050" y="-125"/>
                          <a:pt x="30173" y="-125"/>
                          <a:pt x="35582" y="158"/>
                        </a:cubicBezTo>
                        <a:close/>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09" name="Swaziland">
                    <a:extLst>
                      <a:ext uri="{FF2B5EF4-FFF2-40B4-BE49-F238E27FC236}">
                        <a16:creationId xmlns:a16="http://schemas.microsoft.com/office/drawing/2014/main" id="{791DA229-F4F4-53F0-A8C7-203F78857878}"/>
                      </a:ext>
                    </a:extLst>
                  </p:cNvPr>
                  <p:cNvSpPr>
                    <a:spLocks/>
                  </p:cNvSpPr>
                  <p:nvPr/>
                </p:nvSpPr>
                <p:spPr bwMode="auto">
                  <a:xfrm>
                    <a:off x="4456816" y="3987906"/>
                    <a:ext cx="30334" cy="38827"/>
                  </a:xfrm>
                  <a:custGeom>
                    <a:avLst/>
                    <a:gdLst/>
                    <a:ahLst/>
                    <a:cxnLst>
                      <a:cxn ang="0">
                        <a:pos x="0" y="10"/>
                      </a:cxn>
                      <a:cxn ang="0">
                        <a:pos x="0" y="10"/>
                      </a:cxn>
                      <a:cxn ang="0">
                        <a:pos x="2" y="12"/>
                      </a:cxn>
                      <a:cxn ang="0">
                        <a:pos x="4" y="14"/>
                      </a:cxn>
                      <a:cxn ang="0">
                        <a:pos x="9" y="15"/>
                      </a:cxn>
                      <a:cxn ang="0">
                        <a:pos x="10" y="13"/>
                      </a:cxn>
                      <a:cxn ang="0">
                        <a:pos x="11" y="11"/>
                      </a:cxn>
                      <a:cxn ang="0">
                        <a:pos x="13" y="11"/>
                      </a:cxn>
                      <a:cxn ang="0">
                        <a:pos x="13" y="11"/>
                      </a:cxn>
                      <a:cxn ang="0">
                        <a:pos x="11" y="3"/>
                      </a:cxn>
                      <a:cxn ang="0">
                        <a:pos x="8" y="1"/>
                      </a:cxn>
                      <a:cxn ang="0">
                        <a:pos x="5" y="0"/>
                      </a:cxn>
                      <a:cxn ang="0">
                        <a:pos x="3" y="3"/>
                      </a:cxn>
                      <a:cxn ang="0">
                        <a:pos x="2" y="5"/>
                      </a:cxn>
                      <a:cxn ang="0">
                        <a:pos x="0" y="10"/>
                      </a:cxn>
                    </a:cxnLst>
                    <a:rect l="0" t="0" r="r" b="b"/>
                    <a:pathLst>
                      <a:path w="13" h="17">
                        <a:moveTo>
                          <a:pt x="0" y="10"/>
                        </a:moveTo>
                        <a:cubicBezTo>
                          <a:pt x="0" y="10"/>
                          <a:pt x="0" y="10"/>
                          <a:pt x="0" y="10"/>
                        </a:cubicBezTo>
                        <a:cubicBezTo>
                          <a:pt x="1" y="11"/>
                          <a:pt x="1" y="11"/>
                          <a:pt x="2" y="12"/>
                        </a:cubicBezTo>
                        <a:cubicBezTo>
                          <a:pt x="3" y="13"/>
                          <a:pt x="3" y="13"/>
                          <a:pt x="4" y="14"/>
                        </a:cubicBezTo>
                        <a:cubicBezTo>
                          <a:pt x="5" y="15"/>
                          <a:pt x="7" y="17"/>
                          <a:pt x="9" y="15"/>
                        </a:cubicBezTo>
                        <a:cubicBezTo>
                          <a:pt x="10" y="14"/>
                          <a:pt x="10" y="14"/>
                          <a:pt x="10" y="13"/>
                        </a:cubicBezTo>
                        <a:cubicBezTo>
                          <a:pt x="11" y="11"/>
                          <a:pt x="11" y="11"/>
                          <a:pt x="11" y="11"/>
                        </a:cubicBezTo>
                        <a:cubicBezTo>
                          <a:pt x="13" y="11"/>
                          <a:pt x="13" y="11"/>
                          <a:pt x="13" y="11"/>
                        </a:cubicBezTo>
                        <a:cubicBezTo>
                          <a:pt x="13" y="11"/>
                          <a:pt x="13" y="11"/>
                          <a:pt x="13" y="11"/>
                        </a:cubicBezTo>
                        <a:cubicBezTo>
                          <a:pt x="11" y="3"/>
                          <a:pt x="13" y="8"/>
                          <a:pt x="11" y="3"/>
                        </a:cubicBezTo>
                        <a:cubicBezTo>
                          <a:pt x="10" y="2"/>
                          <a:pt x="9" y="1"/>
                          <a:pt x="8" y="1"/>
                        </a:cubicBezTo>
                        <a:cubicBezTo>
                          <a:pt x="5" y="0"/>
                          <a:pt x="5" y="0"/>
                          <a:pt x="5" y="0"/>
                        </a:cubicBezTo>
                        <a:cubicBezTo>
                          <a:pt x="4" y="2"/>
                          <a:pt x="4" y="2"/>
                          <a:pt x="3" y="3"/>
                        </a:cubicBezTo>
                        <a:cubicBezTo>
                          <a:pt x="2" y="4"/>
                          <a:pt x="2" y="5"/>
                          <a:pt x="2" y="5"/>
                        </a:cubicBezTo>
                        <a:cubicBezTo>
                          <a:pt x="1" y="6"/>
                          <a:pt x="1" y="9"/>
                          <a:pt x="0" y="10"/>
                        </a:cubicBezTo>
                        <a:close/>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10" name="Sudan">
                    <a:extLst>
                      <a:ext uri="{FF2B5EF4-FFF2-40B4-BE49-F238E27FC236}">
                        <a16:creationId xmlns:a16="http://schemas.microsoft.com/office/drawing/2014/main" id="{DECC34BA-510C-8746-FCA5-F5D0F032DBCE}"/>
                      </a:ext>
                    </a:extLst>
                  </p:cNvPr>
                  <p:cNvSpPr>
                    <a:spLocks/>
                  </p:cNvSpPr>
                  <p:nvPr/>
                </p:nvSpPr>
                <p:spPr bwMode="auto">
                  <a:xfrm>
                    <a:off x="4271174" y="2770929"/>
                    <a:ext cx="361574" cy="486548"/>
                  </a:xfrm>
                  <a:custGeom>
                    <a:avLst/>
                    <a:gdLst/>
                    <a:ahLst/>
                    <a:cxnLst>
                      <a:cxn ang="0">
                        <a:pos x="2" y="107"/>
                      </a:cxn>
                      <a:cxn ang="0">
                        <a:pos x="7" y="96"/>
                      </a:cxn>
                      <a:cxn ang="0">
                        <a:pos x="10" y="86"/>
                      </a:cxn>
                      <a:cxn ang="0">
                        <a:pos x="15" y="79"/>
                      </a:cxn>
                      <a:cxn ang="0">
                        <a:pos x="19" y="33"/>
                      </a:cxn>
                      <a:cxn ang="0">
                        <a:pos x="28" y="12"/>
                      </a:cxn>
                      <a:cxn ang="0">
                        <a:pos x="81" y="12"/>
                      </a:cxn>
                      <a:cxn ang="0">
                        <a:pos x="88" y="12"/>
                      </a:cxn>
                      <a:cxn ang="0">
                        <a:pos x="104" y="12"/>
                      </a:cxn>
                      <a:cxn ang="0">
                        <a:pos x="115" y="9"/>
                      </a:cxn>
                      <a:cxn ang="0">
                        <a:pos x="122" y="3"/>
                      </a:cxn>
                      <a:cxn ang="0">
                        <a:pos x="131" y="5"/>
                      </a:cxn>
                      <a:cxn ang="0">
                        <a:pos x="138" y="16"/>
                      </a:cxn>
                      <a:cxn ang="0">
                        <a:pos x="141" y="23"/>
                      </a:cxn>
                      <a:cxn ang="0">
                        <a:pos x="143" y="38"/>
                      </a:cxn>
                      <a:cxn ang="0">
                        <a:pos x="153" y="52"/>
                      </a:cxn>
                      <a:cxn ang="0">
                        <a:pos x="154" y="58"/>
                      </a:cxn>
                      <a:cxn ang="0">
                        <a:pos x="146" y="65"/>
                      </a:cxn>
                      <a:cxn ang="0">
                        <a:pos x="141" y="70"/>
                      </a:cxn>
                      <a:cxn ang="0">
                        <a:pos x="140" y="77"/>
                      </a:cxn>
                      <a:cxn ang="0">
                        <a:pos x="137" y="92"/>
                      </a:cxn>
                      <a:cxn ang="0">
                        <a:pos x="135" y="107"/>
                      </a:cxn>
                      <a:cxn ang="0">
                        <a:pos x="130" y="113"/>
                      </a:cxn>
                      <a:cxn ang="0">
                        <a:pos x="124" y="127"/>
                      </a:cxn>
                      <a:cxn ang="0">
                        <a:pos x="122" y="133"/>
                      </a:cxn>
                      <a:cxn ang="0">
                        <a:pos x="118" y="138"/>
                      </a:cxn>
                      <a:cxn ang="0">
                        <a:pos x="116" y="149"/>
                      </a:cxn>
                      <a:cxn ang="0">
                        <a:pos x="110" y="157"/>
                      </a:cxn>
                      <a:cxn ang="0">
                        <a:pos x="107" y="164"/>
                      </a:cxn>
                      <a:cxn ang="0">
                        <a:pos x="116" y="169"/>
                      </a:cxn>
                      <a:cxn ang="0">
                        <a:pos x="122" y="176"/>
                      </a:cxn>
                      <a:cxn ang="0">
                        <a:pos x="126" y="186"/>
                      </a:cxn>
                      <a:cxn ang="0">
                        <a:pos x="129" y="190"/>
                      </a:cxn>
                      <a:cxn ang="0">
                        <a:pos x="133" y="192"/>
                      </a:cxn>
                      <a:cxn ang="0">
                        <a:pos x="134" y="198"/>
                      </a:cxn>
                      <a:cxn ang="0">
                        <a:pos x="114" y="206"/>
                      </a:cxn>
                      <a:cxn ang="0">
                        <a:pos x="106" y="207"/>
                      </a:cxn>
                      <a:cxn ang="0">
                        <a:pos x="96" y="208"/>
                      </a:cxn>
                      <a:cxn ang="0">
                        <a:pos x="90" y="207"/>
                      </a:cxn>
                      <a:cxn ang="0">
                        <a:pos x="83" y="209"/>
                      </a:cxn>
                      <a:cxn ang="0">
                        <a:pos x="77" y="201"/>
                      </a:cxn>
                      <a:cxn ang="0">
                        <a:pos x="71" y="201"/>
                      </a:cxn>
                      <a:cxn ang="0">
                        <a:pos x="61" y="201"/>
                      </a:cxn>
                      <a:cxn ang="0">
                        <a:pos x="56" y="197"/>
                      </a:cxn>
                      <a:cxn ang="0">
                        <a:pos x="53" y="192"/>
                      </a:cxn>
                      <a:cxn ang="0">
                        <a:pos x="48" y="185"/>
                      </a:cxn>
                      <a:cxn ang="0">
                        <a:pos x="43" y="180"/>
                      </a:cxn>
                      <a:cxn ang="0">
                        <a:pos x="41" y="175"/>
                      </a:cxn>
                      <a:cxn ang="0">
                        <a:pos x="33" y="168"/>
                      </a:cxn>
                      <a:cxn ang="0">
                        <a:pos x="32" y="163"/>
                      </a:cxn>
                      <a:cxn ang="0">
                        <a:pos x="27" y="160"/>
                      </a:cxn>
                      <a:cxn ang="0">
                        <a:pos x="23" y="155"/>
                      </a:cxn>
                      <a:cxn ang="0">
                        <a:pos x="17" y="151"/>
                      </a:cxn>
                      <a:cxn ang="0">
                        <a:pos x="17" y="149"/>
                      </a:cxn>
                      <a:cxn ang="0">
                        <a:pos x="14" y="135"/>
                      </a:cxn>
                      <a:cxn ang="0">
                        <a:pos x="11" y="126"/>
                      </a:cxn>
                      <a:cxn ang="0">
                        <a:pos x="7" y="118"/>
                      </a:cxn>
                      <a:cxn ang="0">
                        <a:pos x="6" y="115"/>
                      </a:cxn>
                      <a:cxn ang="0">
                        <a:pos x="0" y="111"/>
                      </a:cxn>
                    </a:cxnLst>
                    <a:rect l="0" t="0" r="r" b="b"/>
                    <a:pathLst>
                      <a:path w="156" h="210">
                        <a:moveTo>
                          <a:pt x="0" y="111"/>
                        </a:moveTo>
                        <a:cubicBezTo>
                          <a:pt x="1" y="109"/>
                          <a:pt x="1" y="108"/>
                          <a:pt x="2" y="107"/>
                        </a:cubicBezTo>
                        <a:cubicBezTo>
                          <a:pt x="4" y="106"/>
                          <a:pt x="5" y="105"/>
                          <a:pt x="4" y="104"/>
                        </a:cubicBezTo>
                        <a:cubicBezTo>
                          <a:pt x="2" y="99"/>
                          <a:pt x="4" y="99"/>
                          <a:pt x="7" y="96"/>
                        </a:cubicBezTo>
                        <a:cubicBezTo>
                          <a:pt x="6" y="95"/>
                          <a:pt x="5" y="92"/>
                          <a:pt x="6" y="91"/>
                        </a:cubicBezTo>
                        <a:cubicBezTo>
                          <a:pt x="8" y="90"/>
                          <a:pt x="8" y="88"/>
                          <a:pt x="10" y="86"/>
                        </a:cubicBezTo>
                        <a:cubicBezTo>
                          <a:pt x="12" y="84"/>
                          <a:pt x="9" y="81"/>
                          <a:pt x="12" y="80"/>
                        </a:cubicBezTo>
                        <a:cubicBezTo>
                          <a:pt x="13" y="79"/>
                          <a:pt x="14" y="80"/>
                          <a:pt x="15" y="79"/>
                        </a:cubicBezTo>
                        <a:cubicBezTo>
                          <a:pt x="17" y="78"/>
                          <a:pt x="18" y="79"/>
                          <a:pt x="20" y="80"/>
                        </a:cubicBezTo>
                        <a:cubicBezTo>
                          <a:pt x="19" y="33"/>
                          <a:pt x="19" y="33"/>
                          <a:pt x="19" y="33"/>
                        </a:cubicBezTo>
                        <a:cubicBezTo>
                          <a:pt x="22" y="33"/>
                          <a:pt x="25" y="33"/>
                          <a:pt x="28" y="33"/>
                        </a:cubicBezTo>
                        <a:cubicBezTo>
                          <a:pt x="28" y="26"/>
                          <a:pt x="28" y="19"/>
                          <a:pt x="28" y="12"/>
                        </a:cubicBezTo>
                        <a:cubicBezTo>
                          <a:pt x="40" y="12"/>
                          <a:pt x="52" y="12"/>
                          <a:pt x="64" y="12"/>
                        </a:cubicBezTo>
                        <a:cubicBezTo>
                          <a:pt x="70" y="12"/>
                          <a:pt x="76" y="12"/>
                          <a:pt x="81" y="12"/>
                        </a:cubicBezTo>
                        <a:cubicBezTo>
                          <a:pt x="84" y="12"/>
                          <a:pt x="86" y="12"/>
                          <a:pt x="87" y="10"/>
                        </a:cubicBezTo>
                        <a:cubicBezTo>
                          <a:pt x="88" y="8"/>
                          <a:pt x="89" y="11"/>
                          <a:pt x="88" y="12"/>
                        </a:cubicBezTo>
                        <a:cubicBezTo>
                          <a:pt x="91" y="12"/>
                          <a:pt x="94" y="12"/>
                          <a:pt x="96" y="12"/>
                        </a:cubicBezTo>
                        <a:cubicBezTo>
                          <a:pt x="99" y="12"/>
                          <a:pt x="102" y="11"/>
                          <a:pt x="104" y="12"/>
                        </a:cubicBezTo>
                        <a:cubicBezTo>
                          <a:pt x="106" y="14"/>
                          <a:pt x="111" y="17"/>
                          <a:pt x="112" y="12"/>
                        </a:cubicBezTo>
                        <a:cubicBezTo>
                          <a:pt x="113" y="10"/>
                          <a:pt x="113" y="10"/>
                          <a:pt x="115" y="9"/>
                        </a:cubicBezTo>
                        <a:cubicBezTo>
                          <a:pt x="118" y="9"/>
                          <a:pt x="118" y="8"/>
                          <a:pt x="119" y="6"/>
                        </a:cubicBezTo>
                        <a:cubicBezTo>
                          <a:pt x="119" y="5"/>
                          <a:pt x="120" y="2"/>
                          <a:pt x="122" y="3"/>
                        </a:cubicBezTo>
                        <a:cubicBezTo>
                          <a:pt x="123" y="4"/>
                          <a:pt x="125" y="1"/>
                          <a:pt x="126" y="0"/>
                        </a:cubicBezTo>
                        <a:cubicBezTo>
                          <a:pt x="127" y="3"/>
                          <a:pt x="129" y="3"/>
                          <a:pt x="131" y="5"/>
                        </a:cubicBezTo>
                        <a:cubicBezTo>
                          <a:pt x="133" y="6"/>
                          <a:pt x="134" y="8"/>
                          <a:pt x="136" y="10"/>
                        </a:cubicBezTo>
                        <a:cubicBezTo>
                          <a:pt x="139" y="12"/>
                          <a:pt x="138" y="13"/>
                          <a:pt x="138" y="16"/>
                        </a:cubicBezTo>
                        <a:cubicBezTo>
                          <a:pt x="139" y="18"/>
                          <a:pt x="142" y="20"/>
                          <a:pt x="142" y="22"/>
                        </a:cubicBezTo>
                        <a:cubicBezTo>
                          <a:pt x="142" y="20"/>
                          <a:pt x="140" y="21"/>
                          <a:pt x="141" y="23"/>
                        </a:cubicBezTo>
                        <a:cubicBezTo>
                          <a:pt x="142" y="24"/>
                          <a:pt x="142" y="26"/>
                          <a:pt x="142" y="28"/>
                        </a:cubicBezTo>
                        <a:cubicBezTo>
                          <a:pt x="141" y="31"/>
                          <a:pt x="142" y="35"/>
                          <a:pt x="143" y="38"/>
                        </a:cubicBezTo>
                        <a:cubicBezTo>
                          <a:pt x="143" y="41"/>
                          <a:pt x="144" y="47"/>
                          <a:pt x="147" y="47"/>
                        </a:cubicBezTo>
                        <a:cubicBezTo>
                          <a:pt x="148" y="47"/>
                          <a:pt x="152" y="53"/>
                          <a:pt x="153" y="52"/>
                        </a:cubicBezTo>
                        <a:cubicBezTo>
                          <a:pt x="153" y="53"/>
                          <a:pt x="156" y="53"/>
                          <a:pt x="156" y="55"/>
                        </a:cubicBezTo>
                        <a:cubicBezTo>
                          <a:pt x="156" y="55"/>
                          <a:pt x="154" y="58"/>
                          <a:pt x="154" y="58"/>
                        </a:cubicBezTo>
                        <a:cubicBezTo>
                          <a:pt x="153" y="60"/>
                          <a:pt x="150" y="61"/>
                          <a:pt x="148" y="61"/>
                        </a:cubicBezTo>
                        <a:cubicBezTo>
                          <a:pt x="146" y="62"/>
                          <a:pt x="146" y="62"/>
                          <a:pt x="146" y="65"/>
                        </a:cubicBezTo>
                        <a:cubicBezTo>
                          <a:pt x="145" y="66"/>
                          <a:pt x="143" y="65"/>
                          <a:pt x="142" y="65"/>
                        </a:cubicBezTo>
                        <a:cubicBezTo>
                          <a:pt x="141" y="66"/>
                          <a:pt x="141" y="69"/>
                          <a:pt x="141" y="70"/>
                        </a:cubicBezTo>
                        <a:cubicBezTo>
                          <a:pt x="141" y="71"/>
                          <a:pt x="141" y="72"/>
                          <a:pt x="141" y="73"/>
                        </a:cubicBezTo>
                        <a:cubicBezTo>
                          <a:pt x="141" y="75"/>
                          <a:pt x="140" y="76"/>
                          <a:pt x="140" y="77"/>
                        </a:cubicBezTo>
                        <a:cubicBezTo>
                          <a:pt x="139" y="80"/>
                          <a:pt x="139" y="83"/>
                          <a:pt x="137" y="85"/>
                        </a:cubicBezTo>
                        <a:cubicBezTo>
                          <a:pt x="136" y="87"/>
                          <a:pt x="137" y="90"/>
                          <a:pt x="137" y="92"/>
                        </a:cubicBezTo>
                        <a:cubicBezTo>
                          <a:pt x="137" y="94"/>
                          <a:pt x="138" y="98"/>
                          <a:pt x="137" y="101"/>
                        </a:cubicBezTo>
                        <a:cubicBezTo>
                          <a:pt x="137" y="103"/>
                          <a:pt x="135" y="105"/>
                          <a:pt x="135" y="107"/>
                        </a:cubicBezTo>
                        <a:cubicBezTo>
                          <a:pt x="135" y="108"/>
                          <a:pt x="136" y="112"/>
                          <a:pt x="134" y="112"/>
                        </a:cubicBezTo>
                        <a:cubicBezTo>
                          <a:pt x="133" y="112"/>
                          <a:pt x="131" y="111"/>
                          <a:pt x="130" y="113"/>
                        </a:cubicBezTo>
                        <a:cubicBezTo>
                          <a:pt x="129" y="115"/>
                          <a:pt x="128" y="119"/>
                          <a:pt x="126" y="120"/>
                        </a:cubicBezTo>
                        <a:cubicBezTo>
                          <a:pt x="124" y="121"/>
                          <a:pt x="126" y="125"/>
                          <a:pt x="124" y="127"/>
                        </a:cubicBezTo>
                        <a:cubicBezTo>
                          <a:pt x="123" y="128"/>
                          <a:pt x="126" y="128"/>
                          <a:pt x="124" y="131"/>
                        </a:cubicBezTo>
                        <a:cubicBezTo>
                          <a:pt x="123" y="132"/>
                          <a:pt x="123" y="133"/>
                          <a:pt x="122" y="133"/>
                        </a:cubicBezTo>
                        <a:cubicBezTo>
                          <a:pt x="122" y="132"/>
                          <a:pt x="121" y="131"/>
                          <a:pt x="120" y="132"/>
                        </a:cubicBezTo>
                        <a:cubicBezTo>
                          <a:pt x="118" y="134"/>
                          <a:pt x="118" y="135"/>
                          <a:pt x="118" y="138"/>
                        </a:cubicBezTo>
                        <a:cubicBezTo>
                          <a:pt x="118" y="139"/>
                          <a:pt x="118" y="141"/>
                          <a:pt x="117" y="143"/>
                        </a:cubicBezTo>
                        <a:cubicBezTo>
                          <a:pt x="116" y="145"/>
                          <a:pt x="116" y="147"/>
                          <a:pt x="116" y="149"/>
                        </a:cubicBezTo>
                        <a:cubicBezTo>
                          <a:pt x="117" y="152"/>
                          <a:pt x="118" y="157"/>
                          <a:pt x="114" y="158"/>
                        </a:cubicBezTo>
                        <a:cubicBezTo>
                          <a:pt x="113" y="158"/>
                          <a:pt x="111" y="157"/>
                          <a:pt x="110" y="157"/>
                        </a:cubicBezTo>
                        <a:cubicBezTo>
                          <a:pt x="108" y="157"/>
                          <a:pt x="108" y="159"/>
                          <a:pt x="108" y="160"/>
                        </a:cubicBezTo>
                        <a:cubicBezTo>
                          <a:pt x="107" y="162"/>
                          <a:pt x="105" y="163"/>
                          <a:pt x="107" y="164"/>
                        </a:cubicBezTo>
                        <a:cubicBezTo>
                          <a:pt x="109" y="165"/>
                          <a:pt x="110" y="165"/>
                          <a:pt x="112" y="165"/>
                        </a:cubicBezTo>
                        <a:cubicBezTo>
                          <a:pt x="114" y="166"/>
                          <a:pt x="115" y="167"/>
                          <a:pt x="116" y="169"/>
                        </a:cubicBezTo>
                        <a:cubicBezTo>
                          <a:pt x="117" y="170"/>
                          <a:pt x="118" y="173"/>
                          <a:pt x="119" y="173"/>
                        </a:cubicBezTo>
                        <a:cubicBezTo>
                          <a:pt x="120" y="174"/>
                          <a:pt x="121" y="175"/>
                          <a:pt x="122" y="176"/>
                        </a:cubicBezTo>
                        <a:cubicBezTo>
                          <a:pt x="124" y="177"/>
                          <a:pt x="123" y="179"/>
                          <a:pt x="124" y="181"/>
                        </a:cubicBezTo>
                        <a:cubicBezTo>
                          <a:pt x="125" y="183"/>
                          <a:pt x="125" y="185"/>
                          <a:pt x="126" y="186"/>
                        </a:cubicBezTo>
                        <a:cubicBezTo>
                          <a:pt x="126" y="187"/>
                          <a:pt x="127" y="188"/>
                          <a:pt x="127" y="188"/>
                        </a:cubicBezTo>
                        <a:cubicBezTo>
                          <a:pt x="128" y="189"/>
                          <a:pt x="128" y="190"/>
                          <a:pt x="129" y="190"/>
                        </a:cubicBezTo>
                        <a:cubicBezTo>
                          <a:pt x="130" y="189"/>
                          <a:pt x="131" y="189"/>
                          <a:pt x="132" y="190"/>
                        </a:cubicBezTo>
                        <a:cubicBezTo>
                          <a:pt x="133" y="191"/>
                          <a:pt x="133" y="191"/>
                          <a:pt x="133" y="192"/>
                        </a:cubicBezTo>
                        <a:cubicBezTo>
                          <a:pt x="133" y="193"/>
                          <a:pt x="133" y="194"/>
                          <a:pt x="133" y="195"/>
                        </a:cubicBezTo>
                        <a:cubicBezTo>
                          <a:pt x="133" y="197"/>
                          <a:pt x="134" y="197"/>
                          <a:pt x="134" y="198"/>
                        </a:cubicBezTo>
                        <a:cubicBezTo>
                          <a:pt x="130" y="199"/>
                          <a:pt x="125" y="198"/>
                          <a:pt x="121" y="199"/>
                        </a:cubicBezTo>
                        <a:cubicBezTo>
                          <a:pt x="118" y="199"/>
                          <a:pt x="115" y="204"/>
                          <a:pt x="114" y="206"/>
                        </a:cubicBezTo>
                        <a:cubicBezTo>
                          <a:pt x="113" y="206"/>
                          <a:pt x="111" y="208"/>
                          <a:pt x="111" y="208"/>
                        </a:cubicBezTo>
                        <a:cubicBezTo>
                          <a:pt x="109" y="208"/>
                          <a:pt x="107" y="206"/>
                          <a:pt x="106" y="207"/>
                        </a:cubicBezTo>
                        <a:cubicBezTo>
                          <a:pt x="103" y="208"/>
                          <a:pt x="98" y="208"/>
                          <a:pt x="99" y="210"/>
                        </a:cubicBezTo>
                        <a:cubicBezTo>
                          <a:pt x="97" y="210"/>
                          <a:pt x="97" y="209"/>
                          <a:pt x="96" y="208"/>
                        </a:cubicBezTo>
                        <a:cubicBezTo>
                          <a:pt x="95" y="207"/>
                          <a:pt x="94" y="208"/>
                          <a:pt x="93" y="209"/>
                        </a:cubicBezTo>
                        <a:cubicBezTo>
                          <a:pt x="92" y="209"/>
                          <a:pt x="91" y="208"/>
                          <a:pt x="90" y="207"/>
                        </a:cubicBezTo>
                        <a:cubicBezTo>
                          <a:pt x="89" y="207"/>
                          <a:pt x="87" y="209"/>
                          <a:pt x="86" y="210"/>
                        </a:cubicBezTo>
                        <a:cubicBezTo>
                          <a:pt x="86" y="209"/>
                          <a:pt x="85" y="209"/>
                          <a:pt x="83" y="209"/>
                        </a:cubicBezTo>
                        <a:cubicBezTo>
                          <a:pt x="85" y="206"/>
                          <a:pt x="80" y="206"/>
                          <a:pt x="79" y="204"/>
                        </a:cubicBezTo>
                        <a:cubicBezTo>
                          <a:pt x="78" y="203"/>
                          <a:pt x="78" y="202"/>
                          <a:pt x="77" y="201"/>
                        </a:cubicBezTo>
                        <a:cubicBezTo>
                          <a:pt x="76" y="200"/>
                          <a:pt x="76" y="199"/>
                          <a:pt x="75" y="198"/>
                        </a:cubicBezTo>
                        <a:cubicBezTo>
                          <a:pt x="72" y="196"/>
                          <a:pt x="73" y="201"/>
                          <a:pt x="71" y="201"/>
                        </a:cubicBezTo>
                        <a:cubicBezTo>
                          <a:pt x="68" y="200"/>
                          <a:pt x="68" y="198"/>
                          <a:pt x="65" y="200"/>
                        </a:cubicBezTo>
                        <a:cubicBezTo>
                          <a:pt x="63" y="201"/>
                          <a:pt x="63" y="202"/>
                          <a:pt x="61" y="201"/>
                        </a:cubicBezTo>
                        <a:cubicBezTo>
                          <a:pt x="61" y="201"/>
                          <a:pt x="60" y="200"/>
                          <a:pt x="59" y="200"/>
                        </a:cubicBezTo>
                        <a:cubicBezTo>
                          <a:pt x="59" y="199"/>
                          <a:pt x="57" y="199"/>
                          <a:pt x="56" y="197"/>
                        </a:cubicBezTo>
                        <a:cubicBezTo>
                          <a:pt x="56" y="196"/>
                          <a:pt x="56" y="195"/>
                          <a:pt x="54" y="195"/>
                        </a:cubicBezTo>
                        <a:cubicBezTo>
                          <a:pt x="54" y="194"/>
                          <a:pt x="53" y="193"/>
                          <a:pt x="53" y="192"/>
                        </a:cubicBezTo>
                        <a:cubicBezTo>
                          <a:pt x="52" y="191"/>
                          <a:pt x="52" y="189"/>
                          <a:pt x="52" y="188"/>
                        </a:cubicBezTo>
                        <a:cubicBezTo>
                          <a:pt x="52" y="186"/>
                          <a:pt x="50" y="186"/>
                          <a:pt x="48" y="185"/>
                        </a:cubicBezTo>
                        <a:cubicBezTo>
                          <a:pt x="47" y="184"/>
                          <a:pt x="45" y="183"/>
                          <a:pt x="45" y="181"/>
                        </a:cubicBezTo>
                        <a:cubicBezTo>
                          <a:pt x="45" y="181"/>
                          <a:pt x="44" y="180"/>
                          <a:pt x="43" y="180"/>
                        </a:cubicBezTo>
                        <a:cubicBezTo>
                          <a:pt x="43" y="178"/>
                          <a:pt x="44" y="178"/>
                          <a:pt x="44" y="177"/>
                        </a:cubicBezTo>
                        <a:cubicBezTo>
                          <a:pt x="43" y="176"/>
                          <a:pt x="42" y="175"/>
                          <a:pt x="41" y="175"/>
                        </a:cubicBezTo>
                        <a:cubicBezTo>
                          <a:pt x="40" y="174"/>
                          <a:pt x="41" y="173"/>
                          <a:pt x="39" y="172"/>
                        </a:cubicBezTo>
                        <a:cubicBezTo>
                          <a:pt x="37" y="171"/>
                          <a:pt x="35" y="170"/>
                          <a:pt x="33" y="168"/>
                        </a:cubicBezTo>
                        <a:cubicBezTo>
                          <a:pt x="32" y="167"/>
                          <a:pt x="33" y="166"/>
                          <a:pt x="33" y="165"/>
                        </a:cubicBezTo>
                        <a:cubicBezTo>
                          <a:pt x="33" y="164"/>
                          <a:pt x="33" y="164"/>
                          <a:pt x="32" y="163"/>
                        </a:cubicBezTo>
                        <a:cubicBezTo>
                          <a:pt x="31" y="162"/>
                          <a:pt x="30" y="162"/>
                          <a:pt x="30" y="161"/>
                        </a:cubicBezTo>
                        <a:cubicBezTo>
                          <a:pt x="29" y="160"/>
                          <a:pt x="28" y="160"/>
                          <a:pt x="27" y="160"/>
                        </a:cubicBezTo>
                        <a:cubicBezTo>
                          <a:pt x="26" y="160"/>
                          <a:pt x="23" y="160"/>
                          <a:pt x="23" y="158"/>
                        </a:cubicBezTo>
                        <a:cubicBezTo>
                          <a:pt x="23" y="157"/>
                          <a:pt x="23" y="156"/>
                          <a:pt x="23" y="155"/>
                        </a:cubicBezTo>
                        <a:cubicBezTo>
                          <a:pt x="22" y="154"/>
                          <a:pt x="18" y="154"/>
                          <a:pt x="16" y="154"/>
                        </a:cubicBezTo>
                        <a:cubicBezTo>
                          <a:pt x="17" y="153"/>
                          <a:pt x="17" y="152"/>
                          <a:pt x="17" y="151"/>
                        </a:cubicBezTo>
                        <a:cubicBezTo>
                          <a:pt x="16" y="152"/>
                          <a:pt x="16" y="152"/>
                          <a:pt x="16" y="152"/>
                        </a:cubicBezTo>
                        <a:cubicBezTo>
                          <a:pt x="16" y="150"/>
                          <a:pt x="16" y="150"/>
                          <a:pt x="17" y="149"/>
                        </a:cubicBezTo>
                        <a:cubicBezTo>
                          <a:pt x="18" y="148"/>
                          <a:pt x="18" y="146"/>
                          <a:pt x="18" y="144"/>
                        </a:cubicBezTo>
                        <a:cubicBezTo>
                          <a:pt x="18" y="141"/>
                          <a:pt x="16" y="138"/>
                          <a:pt x="14" y="135"/>
                        </a:cubicBezTo>
                        <a:cubicBezTo>
                          <a:pt x="12" y="134"/>
                          <a:pt x="11" y="133"/>
                          <a:pt x="10" y="131"/>
                        </a:cubicBezTo>
                        <a:cubicBezTo>
                          <a:pt x="10" y="129"/>
                          <a:pt x="12" y="128"/>
                          <a:pt x="11" y="126"/>
                        </a:cubicBezTo>
                        <a:cubicBezTo>
                          <a:pt x="10" y="125"/>
                          <a:pt x="8" y="125"/>
                          <a:pt x="7" y="123"/>
                        </a:cubicBezTo>
                        <a:cubicBezTo>
                          <a:pt x="6" y="122"/>
                          <a:pt x="8" y="120"/>
                          <a:pt x="7" y="118"/>
                        </a:cubicBezTo>
                        <a:cubicBezTo>
                          <a:pt x="6" y="119"/>
                          <a:pt x="6" y="119"/>
                          <a:pt x="6" y="119"/>
                        </a:cubicBezTo>
                        <a:cubicBezTo>
                          <a:pt x="7" y="117"/>
                          <a:pt x="6" y="116"/>
                          <a:pt x="6" y="115"/>
                        </a:cubicBezTo>
                        <a:cubicBezTo>
                          <a:pt x="5" y="114"/>
                          <a:pt x="7" y="113"/>
                          <a:pt x="6" y="112"/>
                        </a:cubicBezTo>
                        <a:cubicBezTo>
                          <a:pt x="4" y="111"/>
                          <a:pt x="1" y="114"/>
                          <a:pt x="0" y="111"/>
                        </a:cubicBezTo>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11" name="South Africa">
                    <a:extLst>
                      <a:ext uri="{FF2B5EF4-FFF2-40B4-BE49-F238E27FC236}">
                        <a16:creationId xmlns:a16="http://schemas.microsoft.com/office/drawing/2014/main" id="{5BD9B357-1A89-ACC6-D00D-0F14112C60C1}"/>
                      </a:ext>
                    </a:extLst>
                  </p:cNvPr>
                  <p:cNvSpPr>
                    <a:spLocks/>
                  </p:cNvSpPr>
                  <p:nvPr/>
                </p:nvSpPr>
                <p:spPr bwMode="auto">
                  <a:xfrm>
                    <a:off x="4151054" y="3894479"/>
                    <a:ext cx="349441" cy="317895"/>
                  </a:xfrm>
                  <a:custGeom>
                    <a:avLst/>
                    <a:gdLst/>
                    <a:ahLst/>
                    <a:cxnLst>
                      <a:cxn ang="0">
                        <a:pos x="3" y="68"/>
                      </a:cxn>
                      <a:cxn ang="0">
                        <a:pos x="7" y="66"/>
                      </a:cxn>
                      <a:cxn ang="0">
                        <a:pos x="15" y="73"/>
                      </a:cxn>
                      <a:cxn ang="0">
                        <a:pos x="26" y="73"/>
                      </a:cxn>
                      <a:cxn ang="0">
                        <a:pos x="29" y="69"/>
                      </a:cxn>
                      <a:cxn ang="0">
                        <a:pos x="33" y="29"/>
                      </a:cxn>
                      <a:cxn ang="0">
                        <a:pos x="39" y="38"/>
                      </a:cxn>
                      <a:cxn ang="0">
                        <a:pos x="39" y="52"/>
                      </a:cxn>
                      <a:cxn ang="0">
                        <a:pos x="49" y="49"/>
                      </a:cxn>
                      <a:cxn ang="0">
                        <a:pos x="55" y="45"/>
                      </a:cxn>
                      <a:cxn ang="0">
                        <a:pos x="60" y="35"/>
                      </a:cxn>
                      <a:cxn ang="0">
                        <a:pos x="69" y="38"/>
                      </a:cxn>
                      <a:cxn ang="0">
                        <a:pos x="83" y="39"/>
                      </a:cxn>
                      <a:cxn ang="0">
                        <a:pos x="87" y="30"/>
                      </a:cxn>
                      <a:cxn ang="0">
                        <a:pos x="93" y="27"/>
                      </a:cxn>
                      <a:cxn ang="0">
                        <a:pos x="98" y="17"/>
                      </a:cxn>
                      <a:cxn ang="0">
                        <a:pos x="107" y="10"/>
                      </a:cxn>
                      <a:cxn ang="0">
                        <a:pos x="115" y="5"/>
                      </a:cxn>
                      <a:cxn ang="0">
                        <a:pos x="120" y="1"/>
                      </a:cxn>
                      <a:cxn ang="0">
                        <a:pos x="139" y="6"/>
                      </a:cxn>
                      <a:cxn ang="0">
                        <a:pos x="142" y="20"/>
                      </a:cxn>
                      <a:cxn ang="0">
                        <a:pos x="143" y="39"/>
                      </a:cxn>
                      <a:cxn ang="0">
                        <a:pos x="140" y="41"/>
                      </a:cxn>
                      <a:cxn ang="0">
                        <a:pos x="134" y="44"/>
                      </a:cxn>
                      <a:cxn ang="0">
                        <a:pos x="135" y="54"/>
                      </a:cxn>
                      <a:cxn ang="0">
                        <a:pos x="143" y="51"/>
                      </a:cxn>
                      <a:cxn ang="0">
                        <a:pos x="151" y="51"/>
                      </a:cxn>
                      <a:cxn ang="0">
                        <a:pos x="142" y="72"/>
                      </a:cxn>
                      <a:cxn ang="0">
                        <a:pos x="138" y="75"/>
                      </a:cxn>
                      <a:cxn ang="0">
                        <a:pos x="130" y="87"/>
                      </a:cxn>
                      <a:cxn ang="0">
                        <a:pos x="117" y="102"/>
                      </a:cxn>
                      <a:cxn ang="0">
                        <a:pos x="99" y="120"/>
                      </a:cxn>
                      <a:cxn ang="0">
                        <a:pos x="83" y="125"/>
                      </a:cxn>
                      <a:cxn ang="0">
                        <a:pos x="75" y="128"/>
                      </a:cxn>
                      <a:cxn ang="0">
                        <a:pos x="61" y="128"/>
                      </a:cxn>
                      <a:cxn ang="0">
                        <a:pos x="55" y="128"/>
                      </a:cxn>
                      <a:cxn ang="0">
                        <a:pos x="47" y="131"/>
                      </a:cxn>
                      <a:cxn ang="0">
                        <a:pos x="35" y="133"/>
                      </a:cxn>
                      <a:cxn ang="0">
                        <a:pos x="29" y="136"/>
                      </a:cxn>
                      <a:cxn ang="0">
                        <a:pos x="24" y="134"/>
                      </a:cxn>
                      <a:cxn ang="0">
                        <a:pos x="18" y="129"/>
                      </a:cxn>
                      <a:cxn ang="0">
                        <a:pos x="16" y="126"/>
                      </a:cxn>
                      <a:cxn ang="0">
                        <a:pos x="14" y="119"/>
                      </a:cxn>
                      <a:cxn ang="0">
                        <a:pos x="12" y="114"/>
                      </a:cxn>
                      <a:cxn ang="0">
                        <a:pos x="13" y="100"/>
                      </a:cxn>
                      <a:cxn ang="0">
                        <a:pos x="4" y="77"/>
                      </a:cxn>
                    </a:cxnLst>
                    <a:rect l="0" t="0" r="r" b="b"/>
                    <a:pathLst>
                      <a:path w="151" h="137">
                        <a:moveTo>
                          <a:pt x="0" y="70"/>
                        </a:moveTo>
                        <a:cubicBezTo>
                          <a:pt x="1" y="69"/>
                          <a:pt x="2" y="69"/>
                          <a:pt x="3" y="68"/>
                        </a:cubicBezTo>
                        <a:cubicBezTo>
                          <a:pt x="3" y="66"/>
                          <a:pt x="4" y="64"/>
                          <a:pt x="5" y="64"/>
                        </a:cubicBezTo>
                        <a:cubicBezTo>
                          <a:pt x="6" y="63"/>
                          <a:pt x="6" y="66"/>
                          <a:pt x="7" y="66"/>
                        </a:cubicBezTo>
                        <a:cubicBezTo>
                          <a:pt x="9" y="67"/>
                          <a:pt x="7" y="69"/>
                          <a:pt x="8" y="70"/>
                        </a:cubicBezTo>
                        <a:cubicBezTo>
                          <a:pt x="10" y="72"/>
                          <a:pt x="12" y="72"/>
                          <a:pt x="15" y="73"/>
                        </a:cubicBezTo>
                        <a:cubicBezTo>
                          <a:pt x="17" y="73"/>
                          <a:pt x="19" y="72"/>
                          <a:pt x="21" y="72"/>
                        </a:cubicBezTo>
                        <a:cubicBezTo>
                          <a:pt x="23" y="73"/>
                          <a:pt x="24" y="74"/>
                          <a:pt x="26" y="73"/>
                        </a:cubicBezTo>
                        <a:cubicBezTo>
                          <a:pt x="24" y="72"/>
                          <a:pt x="26" y="71"/>
                          <a:pt x="27" y="71"/>
                        </a:cubicBezTo>
                        <a:cubicBezTo>
                          <a:pt x="28" y="71"/>
                          <a:pt x="28" y="69"/>
                          <a:pt x="29" y="69"/>
                        </a:cubicBezTo>
                        <a:cubicBezTo>
                          <a:pt x="30" y="69"/>
                          <a:pt x="32" y="68"/>
                          <a:pt x="32" y="67"/>
                        </a:cubicBezTo>
                        <a:cubicBezTo>
                          <a:pt x="33" y="29"/>
                          <a:pt x="33" y="29"/>
                          <a:pt x="33" y="29"/>
                        </a:cubicBezTo>
                        <a:cubicBezTo>
                          <a:pt x="34" y="30"/>
                          <a:pt x="36" y="31"/>
                          <a:pt x="37" y="32"/>
                        </a:cubicBezTo>
                        <a:cubicBezTo>
                          <a:pt x="38" y="34"/>
                          <a:pt x="39" y="37"/>
                          <a:pt x="39" y="38"/>
                        </a:cubicBezTo>
                        <a:cubicBezTo>
                          <a:pt x="40" y="40"/>
                          <a:pt x="41" y="43"/>
                          <a:pt x="40" y="45"/>
                        </a:cubicBezTo>
                        <a:cubicBezTo>
                          <a:pt x="39" y="47"/>
                          <a:pt x="38" y="49"/>
                          <a:pt x="39" y="52"/>
                        </a:cubicBezTo>
                        <a:cubicBezTo>
                          <a:pt x="41" y="49"/>
                          <a:pt x="46" y="53"/>
                          <a:pt x="49" y="51"/>
                        </a:cubicBezTo>
                        <a:cubicBezTo>
                          <a:pt x="49" y="50"/>
                          <a:pt x="49" y="49"/>
                          <a:pt x="49" y="49"/>
                        </a:cubicBezTo>
                        <a:cubicBezTo>
                          <a:pt x="50" y="49"/>
                          <a:pt x="50" y="49"/>
                          <a:pt x="51" y="49"/>
                        </a:cubicBezTo>
                        <a:cubicBezTo>
                          <a:pt x="53" y="48"/>
                          <a:pt x="53" y="46"/>
                          <a:pt x="55" y="45"/>
                        </a:cubicBezTo>
                        <a:cubicBezTo>
                          <a:pt x="57" y="44"/>
                          <a:pt x="58" y="42"/>
                          <a:pt x="58" y="40"/>
                        </a:cubicBezTo>
                        <a:cubicBezTo>
                          <a:pt x="58" y="38"/>
                          <a:pt x="58" y="37"/>
                          <a:pt x="60" y="35"/>
                        </a:cubicBezTo>
                        <a:cubicBezTo>
                          <a:pt x="61" y="34"/>
                          <a:pt x="63" y="34"/>
                          <a:pt x="65" y="35"/>
                        </a:cubicBezTo>
                        <a:cubicBezTo>
                          <a:pt x="66" y="35"/>
                          <a:pt x="68" y="38"/>
                          <a:pt x="69" y="38"/>
                        </a:cubicBezTo>
                        <a:cubicBezTo>
                          <a:pt x="72" y="38"/>
                          <a:pt x="76" y="42"/>
                          <a:pt x="79" y="39"/>
                        </a:cubicBezTo>
                        <a:cubicBezTo>
                          <a:pt x="80" y="38"/>
                          <a:pt x="82" y="40"/>
                          <a:pt x="83" y="39"/>
                        </a:cubicBezTo>
                        <a:cubicBezTo>
                          <a:pt x="85" y="37"/>
                          <a:pt x="86" y="35"/>
                          <a:pt x="86" y="33"/>
                        </a:cubicBezTo>
                        <a:cubicBezTo>
                          <a:pt x="87" y="32"/>
                          <a:pt x="87" y="31"/>
                          <a:pt x="87" y="30"/>
                        </a:cubicBezTo>
                        <a:cubicBezTo>
                          <a:pt x="87" y="29"/>
                          <a:pt x="87" y="29"/>
                          <a:pt x="88" y="28"/>
                        </a:cubicBezTo>
                        <a:cubicBezTo>
                          <a:pt x="89" y="28"/>
                          <a:pt x="92" y="28"/>
                          <a:pt x="93" y="27"/>
                        </a:cubicBezTo>
                        <a:cubicBezTo>
                          <a:pt x="94" y="25"/>
                          <a:pt x="96" y="24"/>
                          <a:pt x="97" y="22"/>
                        </a:cubicBezTo>
                        <a:cubicBezTo>
                          <a:pt x="97" y="20"/>
                          <a:pt x="97" y="18"/>
                          <a:pt x="98" y="17"/>
                        </a:cubicBezTo>
                        <a:cubicBezTo>
                          <a:pt x="99" y="15"/>
                          <a:pt x="101" y="15"/>
                          <a:pt x="102" y="14"/>
                        </a:cubicBezTo>
                        <a:cubicBezTo>
                          <a:pt x="104" y="13"/>
                          <a:pt x="106" y="11"/>
                          <a:pt x="107" y="10"/>
                        </a:cubicBezTo>
                        <a:cubicBezTo>
                          <a:pt x="108" y="9"/>
                          <a:pt x="108" y="7"/>
                          <a:pt x="110" y="6"/>
                        </a:cubicBezTo>
                        <a:cubicBezTo>
                          <a:pt x="111" y="5"/>
                          <a:pt x="113" y="5"/>
                          <a:pt x="115" y="5"/>
                        </a:cubicBezTo>
                        <a:cubicBezTo>
                          <a:pt x="116" y="4"/>
                          <a:pt x="116" y="3"/>
                          <a:pt x="117" y="2"/>
                        </a:cubicBezTo>
                        <a:cubicBezTo>
                          <a:pt x="117" y="1"/>
                          <a:pt x="119" y="1"/>
                          <a:pt x="120" y="1"/>
                        </a:cubicBezTo>
                        <a:cubicBezTo>
                          <a:pt x="124" y="0"/>
                          <a:pt x="127" y="3"/>
                          <a:pt x="131" y="3"/>
                        </a:cubicBezTo>
                        <a:cubicBezTo>
                          <a:pt x="134" y="3"/>
                          <a:pt x="138" y="1"/>
                          <a:pt x="139" y="6"/>
                        </a:cubicBezTo>
                        <a:cubicBezTo>
                          <a:pt x="139" y="8"/>
                          <a:pt x="140" y="11"/>
                          <a:pt x="140" y="13"/>
                        </a:cubicBezTo>
                        <a:cubicBezTo>
                          <a:pt x="140" y="16"/>
                          <a:pt x="142" y="18"/>
                          <a:pt x="142" y="20"/>
                        </a:cubicBezTo>
                        <a:cubicBezTo>
                          <a:pt x="144" y="24"/>
                          <a:pt x="144" y="28"/>
                          <a:pt x="144" y="33"/>
                        </a:cubicBezTo>
                        <a:cubicBezTo>
                          <a:pt x="143" y="35"/>
                          <a:pt x="144" y="37"/>
                          <a:pt x="143" y="39"/>
                        </a:cubicBezTo>
                        <a:cubicBezTo>
                          <a:pt x="143" y="40"/>
                          <a:pt x="142" y="40"/>
                          <a:pt x="143" y="43"/>
                        </a:cubicBezTo>
                        <a:cubicBezTo>
                          <a:pt x="143" y="43"/>
                          <a:pt x="142" y="41"/>
                          <a:pt x="140" y="41"/>
                        </a:cubicBezTo>
                        <a:cubicBezTo>
                          <a:pt x="139" y="40"/>
                          <a:pt x="138" y="41"/>
                          <a:pt x="137" y="41"/>
                        </a:cubicBezTo>
                        <a:cubicBezTo>
                          <a:pt x="136" y="42"/>
                          <a:pt x="135" y="42"/>
                          <a:pt x="134" y="44"/>
                        </a:cubicBezTo>
                        <a:cubicBezTo>
                          <a:pt x="133" y="46"/>
                          <a:pt x="132" y="50"/>
                          <a:pt x="132" y="49"/>
                        </a:cubicBezTo>
                        <a:cubicBezTo>
                          <a:pt x="134" y="51"/>
                          <a:pt x="134" y="52"/>
                          <a:pt x="135" y="54"/>
                        </a:cubicBezTo>
                        <a:cubicBezTo>
                          <a:pt x="137" y="56"/>
                          <a:pt x="140" y="57"/>
                          <a:pt x="142" y="55"/>
                        </a:cubicBezTo>
                        <a:cubicBezTo>
                          <a:pt x="142" y="54"/>
                          <a:pt x="141" y="54"/>
                          <a:pt x="143" y="51"/>
                        </a:cubicBezTo>
                        <a:cubicBezTo>
                          <a:pt x="145" y="51"/>
                          <a:pt x="145" y="51"/>
                          <a:pt x="145" y="51"/>
                        </a:cubicBezTo>
                        <a:cubicBezTo>
                          <a:pt x="151" y="51"/>
                          <a:pt x="151" y="51"/>
                          <a:pt x="151" y="51"/>
                        </a:cubicBezTo>
                        <a:cubicBezTo>
                          <a:pt x="149" y="56"/>
                          <a:pt x="148" y="60"/>
                          <a:pt x="147" y="65"/>
                        </a:cubicBezTo>
                        <a:cubicBezTo>
                          <a:pt x="146" y="67"/>
                          <a:pt x="145" y="72"/>
                          <a:pt x="142" y="72"/>
                        </a:cubicBezTo>
                        <a:cubicBezTo>
                          <a:pt x="142" y="73"/>
                          <a:pt x="141" y="73"/>
                          <a:pt x="140" y="73"/>
                        </a:cubicBezTo>
                        <a:cubicBezTo>
                          <a:pt x="139" y="74"/>
                          <a:pt x="138" y="75"/>
                          <a:pt x="138" y="75"/>
                        </a:cubicBezTo>
                        <a:cubicBezTo>
                          <a:pt x="136" y="77"/>
                          <a:pt x="134" y="80"/>
                          <a:pt x="133" y="83"/>
                        </a:cubicBezTo>
                        <a:cubicBezTo>
                          <a:pt x="132" y="85"/>
                          <a:pt x="131" y="86"/>
                          <a:pt x="130" y="87"/>
                        </a:cubicBezTo>
                        <a:cubicBezTo>
                          <a:pt x="129" y="89"/>
                          <a:pt x="127" y="91"/>
                          <a:pt x="126" y="93"/>
                        </a:cubicBezTo>
                        <a:cubicBezTo>
                          <a:pt x="123" y="97"/>
                          <a:pt x="121" y="100"/>
                          <a:pt x="117" y="102"/>
                        </a:cubicBezTo>
                        <a:cubicBezTo>
                          <a:pt x="114" y="105"/>
                          <a:pt x="113" y="108"/>
                          <a:pt x="110" y="111"/>
                        </a:cubicBezTo>
                        <a:cubicBezTo>
                          <a:pt x="106" y="114"/>
                          <a:pt x="102" y="117"/>
                          <a:pt x="99" y="120"/>
                        </a:cubicBezTo>
                        <a:cubicBezTo>
                          <a:pt x="96" y="122"/>
                          <a:pt x="92" y="125"/>
                          <a:pt x="89" y="125"/>
                        </a:cubicBezTo>
                        <a:cubicBezTo>
                          <a:pt x="87" y="125"/>
                          <a:pt x="85" y="124"/>
                          <a:pt x="83" y="125"/>
                        </a:cubicBezTo>
                        <a:cubicBezTo>
                          <a:pt x="82" y="125"/>
                          <a:pt x="80" y="127"/>
                          <a:pt x="82" y="128"/>
                        </a:cubicBezTo>
                        <a:cubicBezTo>
                          <a:pt x="80" y="129"/>
                          <a:pt x="77" y="126"/>
                          <a:pt x="75" y="128"/>
                        </a:cubicBezTo>
                        <a:cubicBezTo>
                          <a:pt x="73" y="129"/>
                          <a:pt x="72" y="130"/>
                          <a:pt x="69" y="129"/>
                        </a:cubicBezTo>
                        <a:cubicBezTo>
                          <a:pt x="67" y="128"/>
                          <a:pt x="64" y="127"/>
                          <a:pt x="61" y="128"/>
                        </a:cubicBezTo>
                        <a:cubicBezTo>
                          <a:pt x="60" y="128"/>
                          <a:pt x="60" y="129"/>
                          <a:pt x="59" y="129"/>
                        </a:cubicBezTo>
                        <a:cubicBezTo>
                          <a:pt x="58" y="128"/>
                          <a:pt x="56" y="129"/>
                          <a:pt x="55" y="128"/>
                        </a:cubicBezTo>
                        <a:cubicBezTo>
                          <a:pt x="55" y="128"/>
                          <a:pt x="55" y="128"/>
                          <a:pt x="55" y="128"/>
                        </a:cubicBezTo>
                        <a:cubicBezTo>
                          <a:pt x="53" y="128"/>
                          <a:pt x="49" y="129"/>
                          <a:pt x="47" y="131"/>
                        </a:cubicBezTo>
                        <a:cubicBezTo>
                          <a:pt x="46" y="133"/>
                          <a:pt x="40" y="131"/>
                          <a:pt x="38" y="132"/>
                        </a:cubicBezTo>
                        <a:cubicBezTo>
                          <a:pt x="37" y="133"/>
                          <a:pt x="36" y="132"/>
                          <a:pt x="35" y="133"/>
                        </a:cubicBezTo>
                        <a:cubicBezTo>
                          <a:pt x="34" y="133"/>
                          <a:pt x="32" y="135"/>
                          <a:pt x="31" y="135"/>
                        </a:cubicBezTo>
                        <a:cubicBezTo>
                          <a:pt x="30" y="137"/>
                          <a:pt x="30" y="136"/>
                          <a:pt x="29" y="136"/>
                        </a:cubicBezTo>
                        <a:cubicBezTo>
                          <a:pt x="28" y="136"/>
                          <a:pt x="27" y="136"/>
                          <a:pt x="27" y="136"/>
                        </a:cubicBezTo>
                        <a:cubicBezTo>
                          <a:pt x="26" y="135"/>
                          <a:pt x="25" y="134"/>
                          <a:pt x="24" y="134"/>
                        </a:cubicBezTo>
                        <a:cubicBezTo>
                          <a:pt x="26" y="132"/>
                          <a:pt x="21" y="132"/>
                          <a:pt x="20" y="132"/>
                        </a:cubicBezTo>
                        <a:cubicBezTo>
                          <a:pt x="20" y="130"/>
                          <a:pt x="20" y="128"/>
                          <a:pt x="18" y="129"/>
                        </a:cubicBezTo>
                        <a:cubicBezTo>
                          <a:pt x="16" y="129"/>
                          <a:pt x="17" y="131"/>
                          <a:pt x="17" y="132"/>
                        </a:cubicBezTo>
                        <a:cubicBezTo>
                          <a:pt x="14" y="131"/>
                          <a:pt x="16" y="128"/>
                          <a:pt x="16" y="126"/>
                        </a:cubicBezTo>
                        <a:cubicBezTo>
                          <a:pt x="17" y="125"/>
                          <a:pt x="16" y="123"/>
                          <a:pt x="15" y="122"/>
                        </a:cubicBezTo>
                        <a:cubicBezTo>
                          <a:pt x="15" y="121"/>
                          <a:pt x="12" y="117"/>
                          <a:pt x="14" y="119"/>
                        </a:cubicBezTo>
                        <a:cubicBezTo>
                          <a:pt x="13" y="118"/>
                          <a:pt x="13" y="117"/>
                          <a:pt x="12" y="117"/>
                        </a:cubicBezTo>
                        <a:cubicBezTo>
                          <a:pt x="11" y="117"/>
                          <a:pt x="12" y="114"/>
                          <a:pt x="12" y="114"/>
                        </a:cubicBezTo>
                        <a:cubicBezTo>
                          <a:pt x="15" y="116"/>
                          <a:pt x="16" y="112"/>
                          <a:pt x="16" y="110"/>
                        </a:cubicBezTo>
                        <a:cubicBezTo>
                          <a:pt x="16" y="106"/>
                          <a:pt x="15" y="103"/>
                          <a:pt x="13" y="100"/>
                        </a:cubicBezTo>
                        <a:cubicBezTo>
                          <a:pt x="10" y="95"/>
                          <a:pt x="7" y="90"/>
                          <a:pt x="6" y="85"/>
                        </a:cubicBezTo>
                        <a:cubicBezTo>
                          <a:pt x="5" y="82"/>
                          <a:pt x="4" y="80"/>
                          <a:pt x="4" y="77"/>
                        </a:cubicBezTo>
                        <a:cubicBezTo>
                          <a:pt x="3" y="75"/>
                          <a:pt x="0" y="72"/>
                          <a:pt x="0" y="70"/>
                        </a:cubicBezTo>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12" name="Somalia">
                    <a:extLst>
                      <a:ext uri="{FF2B5EF4-FFF2-40B4-BE49-F238E27FC236}">
                        <a16:creationId xmlns:a16="http://schemas.microsoft.com/office/drawing/2014/main" id="{A0F0E38D-6AAA-69C9-D3F9-DDD9E2C3602F}"/>
                      </a:ext>
                    </a:extLst>
                  </p:cNvPr>
                  <p:cNvSpPr>
                    <a:spLocks/>
                  </p:cNvSpPr>
                  <p:nvPr/>
                </p:nvSpPr>
                <p:spPr bwMode="auto">
                  <a:xfrm>
                    <a:off x="4693415" y="3046356"/>
                    <a:ext cx="224467" cy="340948"/>
                  </a:xfrm>
                  <a:custGeom>
                    <a:avLst/>
                    <a:gdLst/>
                    <a:ahLst/>
                    <a:cxnLst>
                      <a:cxn ang="0">
                        <a:pos x="0" y="104"/>
                      </a:cxn>
                      <a:cxn ang="0">
                        <a:pos x="1" y="98"/>
                      </a:cxn>
                      <a:cxn ang="0">
                        <a:pos x="4" y="94"/>
                      </a:cxn>
                      <a:cxn ang="0">
                        <a:pos x="11" y="85"/>
                      </a:cxn>
                      <a:cxn ang="0">
                        <a:pos x="19" y="81"/>
                      </a:cxn>
                      <a:cxn ang="0">
                        <a:pos x="28" y="76"/>
                      </a:cxn>
                      <a:cxn ang="0">
                        <a:pos x="39" y="75"/>
                      </a:cxn>
                      <a:cxn ang="0">
                        <a:pos x="66" y="43"/>
                      </a:cxn>
                      <a:cxn ang="0">
                        <a:pos x="56" y="43"/>
                      </a:cxn>
                      <a:cxn ang="0">
                        <a:pos x="45" y="39"/>
                      </a:cxn>
                      <a:cxn ang="0">
                        <a:pos x="34" y="35"/>
                      </a:cxn>
                      <a:cxn ang="0">
                        <a:pos x="26" y="30"/>
                      </a:cxn>
                      <a:cxn ang="0">
                        <a:pos x="23" y="28"/>
                      </a:cxn>
                      <a:cxn ang="0">
                        <a:pos x="21" y="25"/>
                      </a:cxn>
                      <a:cxn ang="0">
                        <a:pos x="18" y="21"/>
                      </a:cxn>
                      <a:cxn ang="0">
                        <a:pos x="15" y="14"/>
                      </a:cxn>
                      <a:cxn ang="0">
                        <a:pos x="20" y="6"/>
                      </a:cxn>
                      <a:cxn ang="0">
                        <a:pos x="26" y="14"/>
                      </a:cxn>
                      <a:cxn ang="0">
                        <a:pos x="37" y="17"/>
                      </a:cxn>
                      <a:cxn ang="0">
                        <a:pos x="42" y="14"/>
                      </a:cxn>
                      <a:cxn ang="0">
                        <a:pos x="47" y="13"/>
                      </a:cxn>
                      <a:cxn ang="0">
                        <a:pos x="54" y="12"/>
                      </a:cxn>
                      <a:cxn ang="0">
                        <a:pos x="60" y="9"/>
                      </a:cxn>
                      <a:cxn ang="0">
                        <a:pos x="66" y="9"/>
                      </a:cxn>
                      <a:cxn ang="0">
                        <a:pos x="70" y="8"/>
                      </a:cxn>
                      <a:cxn ang="0">
                        <a:pos x="73" y="8"/>
                      </a:cxn>
                      <a:cxn ang="0">
                        <a:pos x="80" y="6"/>
                      </a:cxn>
                      <a:cxn ang="0">
                        <a:pos x="86" y="5"/>
                      </a:cxn>
                      <a:cxn ang="0">
                        <a:pos x="90" y="1"/>
                      </a:cxn>
                      <a:cxn ang="0">
                        <a:pos x="95" y="3"/>
                      </a:cxn>
                      <a:cxn ang="0">
                        <a:pos x="94" y="11"/>
                      </a:cxn>
                      <a:cxn ang="0">
                        <a:pos x="94" y="17"/>
                      </a:cxn>
                      <a:cxn ang="0">
                        <a:pos x="95" y="16"/>
                      </a:cxn>
                      <a:cxn ang="0">
                        <a:pos x="97" y="17"/>
                      </a:cxn>
                      <a:cxn ang="0">
                        <a:pos x="93" y="19"/>
                      </a:cxn>
                      <a:cxn ang="0">
                        <a:pos x="92" y="28"/>
                      </a:cxn>
                      <a:cxn ang="0">
                        <a:pos x="89" y="34"/>
                      </a:cxn>
                      <a:cxn ang="0">
                        <a:pos x="85" y="42"/>
                      </a:cxn>
                      <a:cxn ang="0">
                        <a:pos x="83" y="44"/>
                      </a:cxn>
                      <a:cxn ang="0">
                        <a:pos x="83" y="47"/>
                      </a:cxn>
                      <a:cxn ang="0">
                        <a:pos x="79" y="55"/>
                      </a:cxn>
                      <a:cxn ang="0">
                        <a:pos x="75" y="65"/>
                      </a:cxn>
                      <a:cxn ang="0">
                        <a:pos x="70" y="74"/>
                      </a:cxn>
                      <a:cxn ang="0">
                        <a:pos x="64" y="84"/>
                      </a:cxn>
                      <a:cxn ang="0">
                        <a:pos x="57" y="93"/>
                      </a:cxn>
                      <a:cxn ang="0">
                        <a:pos x="39" y="109"/>
                      </a:cxn>
                      <a:cxn ang="0">
                        <a:pos x="31" y="115"/>
                      </a:cxn>
                      <a:cxn ang="0">
                        <a:pos x="23" y="123"/>
                      </a:cxn>
                      <a:cxn ang="0">
                        <a:pos x="16" y="132"/>
                      </a:cxn>
                      <a:cxn ang="0">
                        <a:pos x="13" y="136"/>
                      </a:cxn>
                      <a:cxn ang="0">
                        <a:pos x="10" y="139"/>
                      </a:cxn>
                      <a:cxn ang="0">
                        <a:pos x="6" y="147"/>
                      </a:cxn>
                      <a:cxn ang="0">
                        <a:pos x="2" y="140"/>
                      </a:cxn>
                      <a:cxn ang="0">
                        <a:pos x="0" y="132"/>
                      </a:cxn>
                      <a:cxn ang="0">
                        <a:pos x="0" y="104"/>
                      </a:cxn>
                    </a:cxnLst>
                    <a:rect l="0" t="0" r="r" b="b"/>
                    <a:pathLst>
                      <a:path w="97" h="147">
                        <a:moveTo>
                          <a:pt x="0" y="104"/>
                        </a:moveTo>
                        <a:cubicBezTo>
                          <a:pt x="0" y="102"/>
                          <a:pt x="0" y="100"/>
                          <a:pt x="1" y="98"/>
                        </a:cubicBezTo>
                        <a:cubicBezTo>
                          <a:pt x="1" y="97"/>
                          <a:pt x="3" y="96"/>
                          <a:pt x="4" y="94"/>
                        </a:cubicBezTo>
                        <a:cubicBezTo>
                          <a:pt x="6" y="91"/>
                          <a:pt x="8" y="86"/>
                          <a:pt x="11" y="85"/>
                        </a:cubicBezTo>
                        <a:cubicBezTo>
                          <a:pt x="13" y="83"/>
                          <a:pt x="16" y="84"/>
                          <a:pt x="19" y="81"/>
                        </a:cubicBezTo>
                        <a:cubicBezTo>
                          <a:pt x="22" y="78"/>
                          <a:pt x="24" y="77"/>
                          <a:pt x="28" y="76"/>
                        </a:cubicBezTo>
                        <a:cubicBezTo>
                          <a:pt x="31" y="76"/>
                          <a:pt x="37" y="78"/>
                          <a:pt x="39" y="75"/>
                        </a:cubicBezTo>
                        <a:cubicBezTo>
                          <a:pt x="66" y="43"/>
                          <a:pt x="66" y="43"/>
                          <a:pt x="66" y="43"/>
                        </a:cubicBezTo>
                        <a:cubicBezTo>
                          <a:pt x="62" y="43"/>
                          <a:pt x="59" y="44"/>
                          <a:pt x="56" y="43"/>
                        </a:cubicBezTo>
                        <a:cubicBezTo>
                          <a:pt x="52" y="42"/>
                          <a:pt x="49" y="40"/>
                          <a:pt x="45" y="39"/>
                        </a:cubicBezTo>
                        <a:cubicBezTo>
                          <a:pt x="42" y="38"/>
                          <a:pt x="38" y="36"/>
                          <a:pt x="34" y="35"/>
                        </a:cubicBezTo>
                        <a:cubicBezTo>
                          <a:pt x="31" y="33"/>
                          <a:pt x="28" y="33"/>
                          <a:pt x="26" y="30"/>
                        </a:cubicBezTo>
                        <a:cubicBezTo>
                          <a:pt x="25" y="29"/>
                          <a:pt x="25" y="29"/>
                          <a:pt x="23" y="28"/>
                        </a:cubicBezTo>
                        <a:cubicBezTo>
                          <a:pt x="22" y="28"/>
                          <a:pt x="22" y="26"/>
                          <a:pt x="21" y="25"/>
                        </a:cubicBezTo>
                        <a:cubicBezTo>
                          <a:pt x="20" y="24"/>
                          <a:pt x="19" y="22"/>
                          <a:pt x="18" y="21"/>
                        </a:cubicBezTo>
                        <a:cubicBezTo>
                          <a:pt x="17" y="19"/>
                          <a:pt x="15" y="17"/>
                          <a:pt x="15" y="14"/>
                        </a:cubicBezTo>
                        <a:cubicBezTo>
                          <a:pt x="16" y="11"/>
                          <a:pt x="19" y="9"/>
                          <a:pt x="20" y="6"/>
                        </a:cubicBezTo>
                        <a:cubicBezTo>
                          <a:pt x="23" y="7"/>
                          <a:pt x="24" y="11"/>
                          <a:pt x="26" y="14"/>
                        </a:cubicBezTo>
                        <a:cubicBezTo>
                          <a:pt x="29" y="17"/>
                          <a:pt x="33" y="18"/>
                          <a:pt x="37" y="17"/>
                        </a:cubicBezTo>
                        <a:cubicBezTo>
                          <a:pt x="38" y="16"/>
                          <a:pt x="40" y="15"/>
                          <a:pt x="42" y="14"/>
                        </a:cubicBezTo>
                        <a:cubicBezTo>
                          <a:pt x="44" y="12"/>
                          <a:pt x="44" y="13"/>
                          <a:pt x="47" y="13"/>
                        </a:cubicBezTo>
                        <a:cubicBezTo>
                          <a:pt x="50" y="14"/>
                          <a:pt x="51" y="14"/>
                          <a:pt x="54" y="12"/>
                        </a:cubicBezTo>
                        <a:cubicBezTo>
                          <a:pt x="56" y="12"/>
                          <a:pt x="59" y="8"/>
                          <a:pt x="60" y="9"/>
                        </a:cubicBezTo>
                        <a:cubicBezTo>
                          <a:pt x="62" y="10"/>
                          <a:pt x="64" y="10"/>
                          <a:pt x="66" y="9"/>
                        </a:cubicBezTo>
                        <a:cubicBezTo>
                          <a:pt x="67" y="9"/>
                          <a:pt x="68" y="8"/>
                          <a:pt x="70" y="8"/>
                        </a:cubicBezTo>
                        <a:cubicBezTo>
                          <a:pt x="71" y="7"/>
                          <a:pt x="72" y="8"/>
                          <a:pt x="73" y="8"/>
                        </a:cubicBezTo>
                        <a:cubicBezTo>
                          <a:pt x="76" y="8"/>
                          <a:pt x="78" y="7"/>
                          <a:pt x="80" y="6"/>
                        </a:cubicBezTo>
                        <a:cubicBezTo>
                          <a:pt x="82" y="5"/>
                          <a:pt x="84" y="6"/>
                          <a:pt x="86" y="5"/>
                        </a:cubicBezTo>
                        <a:cubicBezTo>
                          <a:pt x="88" y="4"/>
                          <a:pt x="88" y="1"/>
                          <a:pt x="90" y="1"/>
                        </a:cubicBezTo>
                        <a:cubicBezTo>
                          <a:pt x="91" y="0"/>
                          <a:pt x="96" y="1"/>
                          <a:pt x="95" y="3"/>
                        </a:cubicBezTo>
                        <a:cubicBezTo>
                          <a:pt x="94" y="6"/>
                          <a:pt x="94" y="8"/>
                          <a:pt x="94" y="11"/>
                        </a:cubicBezTo>
                        <a:cubicBezTo>
                          <a:pt x="95" y="13"/>
                          <a:pt x="95" y="15"/>
                          <a:pt x="94" y="17"/>
                        </a:cubicBezTo>
                        <a:cubicBezTo>
                          <a:pt x="95" y="17"/>
                          <a:pt x="96" y="17"/>
                          <a:pt x="95" y="16"/>
                        </a:cubicBezTo>
                        <a:cubicBezTo>
                          <a:pt x="96" y="16"/>
                          <a:pt x="97" y="17"/>
                          <a:pt x="97" y="17"/>
                        </a:cubicBezTo>
                        <a:cubicBezTo>
                          <a:pt x="97" y="19"/>
                          <a:pt x="93" y="16"/>
                          <a:pt x="93" y="19"/>
                        </a:cubicBezTo>
                        <a:cubicBezTo>
                          <a:pt x="93" y="22"/>
                          <a:pt x="93" y="25"/>
                          <a:pt x="92" y="28"/>
                        </a:cubicBezTo>
                        <a:cubicBezTo>
                          <a:pt x="91" y="30"/>
                          <a:pt x="90" y="32"/>
                          <a:pt x="89" y="34"/>
                        </a:cubicBezTo>
                        <a:cubicBezTo>
                          <a:pt x="87" y="36"/>
                          <a:pt x="87" y="39"/>
                          <a:pt x="85" y="42"/>
                        </a:cubicBezTo>
                        <a:cubicBezTo>
                          <a:pt x="85" y="42"/>
                          <a:pt x="84" y="43"/>
                          <a:pt x="83" y="44"/>
                        </a:cubicBezTo>
                        <a:cubicBezTo>
                          <a:pt x="83" y="45"/>
                          <a:pt x="83" y="46"/>
                          <a:pt x="83" y="47"/>
                        </a:cubicBezTo>
                        <a:cubicBezTo>
                          <a:pt x="82" y="50"/>
                          <a:pt x="80" y="52"/>
                          <a:pt x="79" y="55"/>
                        </a:cubicBezTo>
                        <a:cubicBezTo>
                          <a:pt x="77" y="58"/>
                          <a:pt x="77" y="61"/>
                          <a:pt x="75" y="65"/>
                        </a:cubicBezTo>
                        <a:cubicBezTo>
                          <a:pt x="74" y="68"/>
                          <a:pt x="72" y="71"/>
                          <a:pt x="70" y="74"/>
                        </a:cubicBezTo>
                        <a:cubicBezTo>
                          <a:pt x="68" y="77"/>
                          <a:pt x="66" y="81"/>
                          <a:pt x="64" y="84"/>
                        </a:cubicBezTo>
                        <a:cubicBezTo>
                          <a:pt x="62" y="87"/>
                          <a:pt x="59" y="90"/>
                          <a:pt x="57" y="93"/>
                        </a:cubicBezTo>
                        <a:cubicBezTo>
                          <a:pt x="51" y="99"/>
                          <a:pt x="46" y="104"/>
                          <a:pt x="39" y="109"/>
                        </a:cubicBezTo>
                        <a:cubicBezTo>
                          <a:pt x="37" y="110"/>
                          <a:pt x="34" y="112"/>
                          <a:pt x="31" y="115"/>
                        </a:cubicBezTo>
                        <a:cubicBezTo>
                          <a:pt x="29" y="118"/>
                          <a:pt x="26" y="120"/>
                          <a:pt x="23" y="123"/>
                        </a:cubicBezTo>
                        <a:cubicBezTo>
                          <a:pt x="21" y="126"/>
                          <a:pt x="18" y="129"/>
                          <a:pt x="16" y="132"/>
                        </a:cubicBezTo>
                        <a:cubicBezTo>
                          <a:pt x="15" y="133"/>
                          <a:pt x="14" y="135"/>
                          <a:pt x="13" y="136"/>
                        </a:cubicBezTo>
                        <a:cubicBezTo>
                          <a:pt x="12" y="137"/>
                          <a:pt x="10" y="140"/>
                          <a:pt x="10" y="139"/>
                        </a:cubicBezTo>
                        <a:cubicBezTo>
                          <a:pt x="10" y="142"/>
                          <a:pt x="8" y="145"/>
                          <a:pt x="6" y="147"/>
                        </a:cubicBezTo>
                        <a:cubicBezTo>
                          <a:pt x="6" y="144"/>
                          <a:pt x="4" y="142"/>
                          <a:pt x="2" y="140"/>
                        </a:cubicBezTo>
                        <a:cubicBezTo>
                          <a:pt x="0" y="137"/>
                          <a:pt x="0" y="136"/>
                          <a:pt x="0" y="132"/>
                        </a:cubicBezTo>
                        <a:cubicBezTo>
                          <a:pt x="0" y="123"/>
                          <a:pt x="0" y="114"/>
                          <a:pt x="0" y="104"/>
                        </a:cubicBezTo>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13" name="Sierra Leone">
                    <a:extLst>
                      <a:ext uri="{FF2B5EF4-FFF2-40B4-BE49-F238E27FC236}">
                        <a16:creationId xmlns:a16="http://schemas.microsoft.com/office/drawing/2014/main" id="{7EB52BCA-B184-DF3F-C739-44104EF850B3}"/>
                      </a:ext>
                    </a:extLst>
                  </p:cNvPr>
                  <p:cNvSpPr>
                    <a:spLocks/>
                  </p:cNvSpPr>
                  <p:nvPr/>
                </p:nvSpPr>
                <p:spPr bwMode="auto">
                  <a:xfrm>
                    <a:off x="3503611" y="3095470"/>
                    <a:ext cx="65740" cy="78287"/>
                  </a:xfrm>
                  <a:custGeom>
                    <a:avLst/>
                    <a:gdLst>
                      <a:gd name="connsiteX0" fmla="*/ 7865 w 64509"/>
                      <a:gd name="connsiteY0" fmla="*/ 58962 h 76822"/>
                      <a:gd name="connsiteX1" fmla="*/ 16200 w 64509"/>
                      <a:gd name="connsiteY1" fmla="*/ 58962 h 76822"/>
                      <a:gd name="connsiteX2" fmla="*/ 16200 w 64509"/>
                      <a:gd name="connsiteY2" fmla="*/ 63725 h 76822"/>
                      <a:gd name="connsiteX3" fmla="*/ 7865 w 64509"/>
                      <a:gd name="connsiteY3" fmla="*/ 61344 h 76822"/>
                      <a:gd name="connsiteX4" fmla="*/ 7865 w 64509"/>
                      <a:gd name="connsiteY4" fmla="*/ 58962 h 76822"/>
                      <a:gd name="connsiteX5" fmla="*/ 2865 w 64509"/>
                      <a:gd name="connsiteY5" fmla="*/ 33574 h 76822"/>
                      <a:gd name="connsiteX6" fmla="*/ 3468 w 64509"/>
                      <a:gd name="connsiteY6" fmla="*/ 34029 h 76822"/>
                      <a:gd name="connsiteX7" fmla="*/ 2865 w 64509"/>
                      <a:gd name="connsiteY7" fmla="*/ 35850 h 76822"/>
                      <a:gd name="connsiteX8" fmla="*/ 2865 w 64509"/>
                      <a:gd name="connsiteY8" fmla="*/ 33574 h 76822"/>
                      <a:gd name="connsiteX9" fmla="*/ 27749 w 64509"/>
                      <a:gd name="connsiteY9" fmla="*/ 1707 h 76822"/>
                      <a:gd name="connsiteX10" fmla="*/ 45846 w 64509"/>
                      <a:gd name="connsiteY10" fmla="*/ 1707 h 76822"/>
                      <a:gd name="connsiteX11" fmla="*/ 52633 w 64509"/>
                      <a:gd name="connsiteY11" fmla="*/ 13088 h 76822"/>
                      <a:gd name="connsiteX12" fmla="*/ 54895 w 64509"/>
                      <a:gd name="connsiteY12" fmla="*/ 17641 h 76822"/>
                      <a:gd name="connsiteX13" fmla="*/ 54895 w 64509"/>
                      <a:gd name="connsiteY13" fmla="*/ 22193 h 76822"/>
                      <a:gd name="connsiteX14" fmla="*/ 59420 w 64509"/>
                      <a:gd name="connsiteY14" fmla="*/ 24469 h 76822"/>
                      <a:gd name="connsiteX15" fmla="*/ 59420 w 64509"/>
                      <a:gd name="connsiteY15" fmla="*/ 31298 h 76822"/>
                      <a:gd name="connsiteX16" fmla="*/ 54895 w 64509"/>
                      <a:gd name="connsiteY16" fmla="*/ 42679 h 76822"/>
                      <a:gd name="connsiteX17" fmla="*/ 61682 w 64509"/>
                      <a:gd name="connsiteY17" fmla="*/ 38127 h 76822"/>
                      <a:gd name="connsiteX18" fmla="*/ 63944 w 64509"/>
                      <a:gd name="connsiteY18" fmla="*/ 42679 h 76822"/>
                      <a:gd name="connsiteX19" fmla="*/ 57157 w 64509"/>
                      <a:gd name="connsiteY19" fmla="*/ 51784 h 76822"/>
                      <a:gd name="connsiteX20" fmla="*/ 52633 w 64509"/>
                      <a:gd name="connsiteY20" fmla="*/ 58612 h 76822"/>
                      <a:gd name="connsiteX21" fmla="*/ 45846 w 64509"/>
                      <a:gd name="connsiteY21" fmla="*/ 65441 h 76822"/>
                      <a:gd name="connsiteX22" fmla="*/ 39060 w 64509"/>
                      <a:gd name="connsiteY22" fmla="*/ 76822 h 76822"/>
                      <a:gd name="connsiteX23" fmla="*/ 16438 w 64509"/>
                      <a:gd name="connsiteY23" fmla="*/ 63165 h 76822"/>
                      <a:gd name="connsiteX24" fmla="*/ 23224 w 64509"/>
                      <a:gd name="connsiteY24" fmla="*/ 58612 h 76822"/>
                      <a:gd name="connsiteX25" fmla="*/ 16438 w 64509"/>
                      <a:gd name="connsiteY25" fmla="*/ 54060 h 76822"/>
                      <a:gd name="connsiteX26" fmla="*/ 9651 w 64509"/>
                      <a:gd name="connsiteY26" fmla="*/ 54060 h 76822"/>
                      <a:gd name="connsiteX27" fmla="*/ 7389 w 64509"/>
                      <a:gd name="connsiteY27" fmla="*/ 42679 h 76822"/>
                      <a:gd name="connsiteX28" fmla="*/ 602 w 64509"/>
                      <a:gd name="connsiteY28" fmla="*/ 38127 h 76822"/>
                      <a:gd name="connsiteX29" fmla="*/ 5127 w 64509"/>
                      <a:gd name="connsiteY29" fmla="*/ 40403 h 76822"/>
                      <a:gd name="connsiteX30" fmla="*/ 9651 w 64509"/>
                      <a:gd name="connsiteY30" fmla="*/ 35850 h 76822"/>
                      <a:gd name="connsiteX31" fmla="*/ 9651 w 64509"/>
                      <a:gd name="connsiteY31" fmla="*/ 33574 h 76822"/>
                      <a:gd name="connsiteX32" fmla="*/ 6258 w 64509"/>
                      <a:gd name="connsiteY32" fmla="*/ 36135 h 76822"/>
                      <a:gd name="connsiteX33" fmla="*/ 3468 w 64509"/>
                      <a:gd name="connsiteY33" fmla="*/ 34029 h 76822"/>
                      <a:gd name="connsiteX34" fmla="*/ 5127 w 64509"/>
                      <a:gd name="connsiteY34" fmla="*/ 29022 h 76822"/>
                      <a:gd name="connsiteX35" fmla="*/ 602 w 64509"/>
                      <a:gd name="connsiteY35" fmla="*/ 24469 h 76822"/>
                      <a:gd name="connsiteX36" fmla="*/ 5127 w 64509"/>
                      <a:gd name="connsiteY36" fmla="*/ 22193 h 76822"/>
                      <a:gd name="connsiteX37" fmla="*/ 9651 w 64509"/>
                      <a:gd name="connsiteY37" fmla="*/ 17641 h 76822"/>
                      <a:gd name="connsiteX38" fmla="*/ 16438 w 64509"/>
                      <a:gd name="connsiteY38" fmla="*/ 6260 h 76822"/>
                      <a:gd name="connsiteX39" fmla="*/ 27749 w 64509"/>
                      <a:gd name="connsiteY39" fmla="*/ 1707 h 76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4509" h="76822">
                        <a:moveTo>
                          <a:pt x="7865" y="58962"/>
                        </a:moveTo>
                        <a:cubicBezTo>
                          <a:pt x="9949" y="58962"/>
                          <a:pt x="14116" y="58962"/>
                          <a:pt x="16200" y="58962"/>
                        </a:cubicBezTo>
                        <a:cubicBezTo>
                          <a:pt x="16200" y="61344"/>
                          <a:pt x="16200" y="61344"/>
                          <a:pt x="16200" y="63725"/>
                        </a:cubicBezTo>
                        <a:cubicBezTo>
                          <a:pt x="14116" y="63725"/>
                          <a:pt x="9949" y="61344"/>
                          <a:pt x="7865" y="61344"/>
                        </a:cubicBezTo>
                        <a:cubicBezTo>
                          <a:pt x="7865" y="61344"/>
                          <a:pt x="7865" y="61344"/>
                          <a:pt x="7865" y="58962"/>
                        </a:cubicBezTo>
                        <a:close/>
                        <a:moveTo>
                          <a:pt x="2865" y="33574"/>
                        </a:moveTo>
                        <a:lnTo>
                          <a:pt x="3468" y="34029"/>
                        </a:lnTo>
                        <a:lnTo>
                          <a:pt x="2865" y="35850"/>
                        </a:lnTo>
                        <a:cubicBezTo>
                          <a:pt x="2865" y="35850"/>
                          <a:pt x="2865" y="35850"/>
                          <a:pt x="2865" y="33574"/>
                        </a:cubicBezTo>
                        <a:close/>
                        <a:moveTo>
                          <a:pt x="27749" y="1707"/>
                        </a:moveTo>
                        <a:cubicBezTo>
                          <a:pt x="32273" y="-569"/>
                          <a:pt x="41322" y="-569"/>
                          <a:pt x="45846" y="1707"/>
                        </a:cubicBezTo>
                        <a:cubicBezTo>
                          <a:pt x="48109" y="3984"/>
                          <a:pt x="50371" y="8536"/>
                          <a:pt x="52633" y="13088"/>
                        </a:cubicBezTo>
                        <a:cubicBezTo>
                          <a:pt x="54895" y="15365"/>
                          <a:pt x="54895" y="15365"/>
                          <a:pt x="54895" y="17641"/>
                        </a:cubicBezTo>
                        <a:cubicBezTo>
                          <a:pt x="57157" y="19917"/>
                          <a:pt x="54895" y="22193"/>
                          <a:pt x="54895" y="22193"/>
                        </a:cubicBezTo>
                        <a:cubicBezTo>
                          <a:pt x="57157" y="24469"/>
                          <a:pt x="59420" y="24469"/>
                          <a:pt x="59420" y="24469"/>
                        </a:cubicBezTo>
                        <a:cubicBezTo>
                          <a:pt x="59420" y="26746"/>
                          <a:pt x="57157" y="31298"/>
                          <a:pt x="59420" y="31298"/>
                        </a:cubicBezTo>
                        <a:cubicBezTo>
                          <a:pt x="61682" y="33574"/>
                          <a:pt x="54895" y="40403"/>
                          <a:pt x="54895" y="42679"/>
                        </a:cubicBezTo>
                        <a:cubicBezTo>
                          <a:pt x="54895" y="42679"/>
                          <a:pt x="59420" y="40403"/>
                          <a:pt x="61682" y="38127"/>
                        </a:cubicBezTo>
                        <a:cubicBezTo>
                          <a:pt x="66206" y="35850"/>
                          <a:pt x="63944" y="40403"/>
                          <a:pt x="63944" y="42679"/>
                        </a:cubicBezTo>
                        <a:cubicBezTo>
                          <a:pt x="61682" y="47231"/>
                          <a:pt x="57157" y="44955"/>
                          <a:pt x="57157" y="51784"/>
                        </a:cubicBezTo>
                        <a:cubicBezTo>
                          <a:pt x="57157" y="56336"/>
                          <a:pt x="57157" y="56336"/>
                          <a:pt x="52633" y="58612"/>
                        </a:cubicBezTo>
                        <a:cubicBezTo>
                          <a:pt x="50371" y="60889"/>
                          <a:pt x="50371" y="63165"/>
                          <a:pt x="45846" y="65441"/>
                        </a:cubicBezTo>
                        <a:cubicBezTo>
                          <a:pt x="41322" y="67717"/>
                          <a:pt x="39060" y="76822"/>
                          <a:pt x="39060" y="76822"/>
                        </a:cubicBezTo>
                        <a:cubicBezTo>
                          <a:pt x="36798" y="74546"/>
                          <a:pt x="20962" y="65441"/>
                          <a:pt x="16438" y="63165"/>
                        </a:cubicBezTo>
                        <a:cubicBezTo>
                          <a:pt x="18700" y="60889"/>
                          <a:pt x="20962" y="60889"/>
                          <a:pt x="23224" y="58612"/>
                        </a:cubicBezTo>
                        <a:cubicBezTo>
                          <a:pt x="18700" y="60889"/>
                          <a:pt x="14176" y="60889"/>
                          <a:pt x="16438" y="54060"/>
                        </a:cubicBezTo>
                        <a:cubicBezTo>
                          <a:pt x="14176" y="60889"/>
                          <a:pt x="11913" y="54060"/>
                          <a:pt x="9651" y="54060"/>
                        </a:cubicBezTo>
                        <a:cubicBezTo>
                          <a:pt x="7389" y="54060"/>
                          <a:pt x="7389" y="44955"/>
                          <a:pt x="7389" y="42679"/>
                        </a:cubicBezTo>
                        <a:cubicBezTo>
                          <a:pt x="2865" y="44955"/>
                          <a:pt x="-1660" y="42679"/>
                          <a:pt x="602" y="38127"/>
                        </a:cubicBezTo>
                        <a:cubicBezTo>
                          <a:pt x="2865" y="38127"/>
                          <a:pt x="2865" y="40403"/>
                          <a:pt x="5127" y="40403"/>
                        </a:cubicBezTo>
                        <a:cubicBezTo>
                          <a:pt x="2865" y="38127"/>
                          <a:pt x="7389" y="35850"/>
                          <a:pt x="9651" y="35850"/>
                        </a:cubicBezTo>
                        <a:cubicBezTo>
                          <a:pt x="7389" y="33574"/>
                          <a:pt x="9651" y="35850"/>
                          <a:pt x="9651" y="33574"/>
                        </a:cubicBezTo>
                        <a:cubicBezTo>
                          <a:pt x="8520" y="35850"/>
                          <a:pt x="7389" y="36419"/>
                          <a:pt x="6258" y="36135"/>
                        </a:cubicBezTo>
                        <a:lnTo>
                          <a:pt x="3468" y="34029"/>
                        </a:lnTo>
                        <a:lnTo>
                          <a:pt x="5127" y="29022"/>
                        </a:lnTo>
                        <a:cubicBezTo>
                          <a:pt x="5127" y="26746"/>
                          <a:pt x="602" y="26746"/>
                          <a:pt x="602" y="24469"/>
                        </a:cubicBezTo>
                        <a:cubicBezTo>
                          <a:pt x="2865" y="22193"/>
                          <a:pt x="5127" y="24469"/>
                          <a:pt x="5127" y="22193"/>
                        </a:cubicBezTo>
                        <a:cubicBezTo>
                          <a:pt x="7389" y="22193"/>
                          <a:pt x="7389" y="17641"/>
                          <a:pt x="9651" y="17641"/>
                        </a:cubicBezTo>
                        <a:cubicBezTo>
                          <a:pt x="14176" y="17641"/>
                          <a:pt x="16438" y="10812"/>
                          <a:pt x="16438" y="6260"/>
                        </a:cubicBezTo>
                        <a:cubicBezTo>
                          <a:pt x="18700" y="1707"/>
                          <a:pt x="25487" y="3984"/>
                          <a:pt x="27749" y="1707"/>
                        </a:cubicBezTo>
                        <a:close/>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14" name="Senegal">
                    <a:extLst>
                      <a:ext uri="{FF2B5EF4-FFF2-40B4-BE49-F238E27FC236}">
                        <a16:creationId xmlns:a16="http://schemas.microsoft.com/office/drawing/2014/main" id="{688F81DF-3B79-A074-3149-37433730404C}"/>
                      </a:ext>
                    </a:extLst>
                  </p:cNvPr>
                  <p:cNvSpPr>
                    <a:spLocks/>
                  </p:cNvSpPr>
                  <p:nvPr/>
                </p:nvSpPr>
                <p:spPr bwMode="auto">
                  <a:xfrm>
                    <a:off x="3415772" y="2928662"/>
                    <a:ext cx="132255" cy="111628"/>
                  </a:xfrm>
                  <a:custGeom>
                    <a:avLst/>
                    <a:gdLst/>
                    <a:ahLst/>
                    <a:cxnLst>
                      <a:cxn ang="0">
                        <a:pos x="0" y="22"/>
                      </a:cxn>
                      <a:cxn ang="0">
                        <a:pos x="8" y="13"/>
                      </a:cxn>
                      <a:cxn ang="0">
                        <a:pos x="23" y="2"/>
                      </a:cxn>
                      <a:cxn ang="0">
                        <a:pos x="37" y="7"/>
                      </a:cxn>
                      <a:cxn ang="0">
                        <a:pos x="42" y="14"/>
                      </a:cxn>
                      <a:cxn ang="0">
                        <a:pos x="47" y="19"/>
                      </a:cxn>
                      <a:cxn ang="0">
                        <a:pos x="49" y="25"/>
                      </a:cxn>
                      <a:cxn ang="0">
                        <a:pos x="51" y="32"/>
                      </a:cxn>
                      <a:cxn ang="0">
                        <a:pos x="52" y="35"/>
                      </a:cxn>
                      <a:cxn ang="0">
                        <a:pos x="56" y="40"/>
                      </a:cxn>
                      <a:cxn ang="0">
                        <a:pos x="57" y="47"/>
                      </a:cxn>
                      <a:cxn ang="0">
                        <a:pos x="52" y="47"/>
                      </a:cxn>
                      <a:cxn ang="0">
                        <a:pos x="45" y="47"/>
                      </a:cxn>
                      <a:cxn ang="0">
                        <a:pos x="41" y="45"/>
                      </a:cxn>
                      <a:cxn ang="0">
                        <a:pos x="23" y="44"/>
                      </a:cxn>
                      <a:cxn ang="0">
                        <a:pos x="13" y="46"/>
                      </a:cxn>
                      <a:cxn ang="0">
                        <a:pos x="8" y="47"/>
                      </a:cxn>
                      <a:cxn ang="0">
                        <a:pos x="6" y="46"/>
                      </a:cxn>
                      <a:cxn ang="0">
                        <a:pos x="13" y="45"/>
                      </a:cxn>
                      <a:cxn ang="0">
                        <a:pos x="17" y="45"/>
                      </a:cxn>
                      <a:cxn ang="0">
                        <a:pos x="17" y="45"/>
                      </a:cxn>
                      <a:cxn ang="0">
                        <a:pos x="8" y="43"/>
                      </a:cxn>
                      <a:cxn ang="0">
                        <a:pos x="6" y="43"/>
                      </a:cxn>
                      <a:cxn ang="0">
                        <a:pos x="10" y="39"/>
                      </a:cxn>
                      <a:cxn ang="0">
                        <a:pos x="16" y="37"/>
                      </a:cxn>
                      <a:cxn ang="0">
                        <a:pos x="20" y="36"/>
                      </a:cxn>
                      <a:cxn ang="0">
                        <a:pos x="32" y="38"/>
                      </a:cxn>
                      <a:cxn ang="0">
                        <a:pos x="30" y="35"/>
                      </a:cxn>
                      <a:cxn ang="0">
                        <a:pos x="26" y="34"/>
                      </a:cxn>
                      <a:cxn ang="0">
                        <a:pos x="21" y="32"/>
                      </a:cxn>
                      <a:cxn ang="0">
                        <a:pos x="19" y="33"/>
                      </a:cxn>
                      <a:cxn ang="0">
                        <a:pos x="9" y="34"/>
                      </a:cxn>
                      <a:cxn ang="0">
                        <a:pos x="9" y="32"/>
                      </a:cxn>
                      <a:cxn ang="0">
                        <a:pos x="7" y="32"/>
                      </a:cxn>
                      <a:cxn ang="0">
                        <a:pos x="6" y="31"/>
                      </a:cxn>
                    </a:cxnLst>
                    <a:rect l="0" t="0" r="r" b="b"/>
                    <a:pathLst>
                      <a:path w="57" h="48">
                        <a:moveTo>
                          <a:pt x="1" y="22"/>
                        </a:moveTo>
                        <a:cubicBezTo>
                          <a:pt x="1" y="22"/>
                          <a:pt x="0" y="22"/>
                          <a:pt x="0" y="22"/>
                        </a:cubicBezTo>
                        <a:cubicBezTo>
                          <a:pt x="0" y="21"/>
                          <a:pt x="2" y="20"/>
                          <a:pt x="3" y="20"/>
                        </a:cubicBezTo>
                        <a:cubicBezTo>
                          <a:pt x="5" y="18"/>
                          <a:pt x="7" y="15"/>
                          <a:pt x="8" y="13"/>
                        </a:cubicBezTo>
                        <a:cubicBezTo>
                          <a:pt x="8" y="11"/>
                          <a:pt x="11" y="0"/>
                          <a:pt x="14" y="3"/>
                        </a:cubicBezTo>
                        <a:cubicBezTo>
                          <a:pt x="15" y="4"/>
                          <a:pt x="22" y="3"/>
                          <a:pt x="23" y="2"/>
                        </a:cubicBezTo>
                        <a:cubicBezTo>
                          <a:pt x="24" y="0"/>
                          <a:pt x="30" y="2"/>
                          <a:pt x="32" y="3"/>
                        </a:cubicBezTo>
                        <a:cubicBezTo>
                          <a:pt x="34" y="6"/>
                          <a:pt x="34" y="6"/>
                          <a:pt x="37" y="7"/>
                        </a:cubicBezTo>
                        <a:cubicBezTo>
                          <a:pt x="38" y="7"/>
                          <a:pt x="40" y="10"/>
                          <a:pt x="40" y="12"/>
                        </a:cubicBezTo>
                        <a:cubicBezTo>
                          <a:pt x="40" y="12"/>
                          <a:pt x="42" y="14"/>
                          <a:pt x="42" y="14"/>
                        </a:cubicBezTo>
                        <a:cubicBezTo>
                          <a:pt x="43" y="15"/>
                          <a:pt x="43" y="16"/>
                          <a:pt x="44" y="17"/>
                        </a:cubicBezTo>
                        <a:cubicBezTo>
                          <a:pt x="45" y="18"/>
                          <a:pt x="46" y="18"/>
                          <a:pt x="47" y="19"/>
                        </a:cubicBezTo>
                        <a:cubicBezTo>
                          <a:pt x="47" y="21"/>
                          <a:pt x="50" y="21"/>
                          <a:pt x="50" y="23"/>
                        </a:cubicBezTo>
                        <a:cubicBezTo>
                          <a:pt x="50" y="24"/>
                          <a:pt x="49" y="25"/>
                          <a:pt x="49" y="25"/>
                        </a:cubicBezTo>
                        <a:cubicBezTo>
                          <a:pt x="50" y="26"/>
                          <a:pt x="51" y="26"/>
                          <a:pt x="51" y="28"/>
                        </a:cubicBezTo>
                        <a:cubicBezTo>
                          <a:pt x="51" y="29"/>
                          <a:pt x="52" y="32"/>
                          <a:pt x="51" y="32"/>
                        </a:cubicBezTo>
                        <a:cubicBezTo>
                          <a:pt x="50" y="33"/>
                          <a:pt x="50" y="33"/>
                          <a:pt x="51" y="34"/>
                        </a:cubicBezTo>
                        <a:cubicBezTo>
                          <a:pt x="51" y="34"/>
                          <a:pt x="51" y="35"/>
                          <a:pt x="52" y="35"/>
                        </a:cubicBezTo>
                        <a:cubicBezTo>
                          <a:pt x="53" y="36"/>
                          <a:pt x="52" y="37"/>
                          <a:pt x="53" y="37"/>
                        </a:cubicBezTo>
                        <a:cubicBezTo>
                          <a:pt x="54" y="34"/>
                          <a:pt x="56" y="39"/>
                          <a:pt x="56" y="40"/>
                        </a:cubicBezTo>
                        <a:cubicBezTo>
                          <a:pt x="56" y="41"/>
                          <a:pt x="57" y="41"/>
                          <a:pt x="56" y="43"/>
                        </a:cubicBezTo>
                        <a:cubicBezTo>
                          <a:pt x="56" y="44"/>
                          <a:pt x="57" y="46"/>
                          <a:pt x="57" y="47"/>
                        </a:cubicBezTo>
                        <a:cubicBezTo>
                          <a:pt x="56" y="46"/>
                          <a:pt x="55" y="47"/>
                          <a:pt x="54" y="47"/>
                        </a:cubicBezTo>
                        <a:cubicBezTo>
                          <a:pt x="53" y="47"/>
                          <a:pt x="52" y="47"/>
                          <a:pt x="52" y="47"/>
                        </a:cubicBezTo>
                        <a:cubicBezTo>
                          <a:pt x="50" y="47"/>
                          <a:pt x="49" y="48"/>
                          <a:pt x="47" y="48"/>
                        </a:cubicBezTo>
                        <a:cubicBezTo>
                          <a:pt x="47" y="48"/>
                          <a:pt x="46" y="47"/>
                          <a:pt x="45" y="47"/>
                        </a:cubicBezTo>
                        <a:cubicBezTo>
                          <a:pt x="44" y="46"/>
                          <a:pt x="42" y="46"/>
                          <a:pt x="42" y="46"/>
                        </a:cubicBezTo>
                        <a:cubicBezTo>
                          <a:pt x="41" y="47"/>
                          <a:pt x="41" y="45"/>
                          <a:pt x="41" y="45"/>
                        </a:cubicBezTo>
                        <a:cubicBezTo>
                          <a:pt x="39" y="44"/>
                          <a:pt x="40" y="44"/>
                          <a:pt x="39" y="44"/>
                        </a:cubicBezTo>
                        <a:cubicBezTo>
                          <a:pt x="23" y="44"/>
                          <a:pt x="23" y="44"/>
                          <a:pt x="23" y="44"/>
                        </a:cubicBezTo>
                        <a:cubicBezTo>
                          <a:pt x="21" y="44"/>
                          <a:pt x="20" y="44"/>
                          <a:pt x="19" y="45"/>
                        </a:cubicBezTo>
                        <a:cubicBezTo>
                          <a:pt x="17" y="46"/>
                          <a:pt x="15" y="46"/>
                          <a:pt x="13" y="46"/>
                        </a:cubicBezTo>
                        <a:cubicBezTo>
                          <a:pt x="12" y="46"/>
                          <a:pt x="10" y="47"/>
                          <a:pt x="9" y="47"/>
                        </a:cubicBezTo>
                        <a:cubicBezTo>
                          <a:pt x="8" y="47"/>
                          <a:pt x="8" y="47"/>
                          <a:pt x="8" y="47"/>
                        </a:cubicBezTo>
                        <a:cubicBezTo>
                          <a:pt x="7" y="47"/>
                          <a:pt x="7" y="47"/>
                          <a:pt x="6" y="48"/>
                        </a:cubicBezTo>
                        <a:cubicBezTo>
                          <a:pt x="6" y="47"/>
                          <a:pt x="5" y="47"/>
                          <a:pt x="6" y="46"/>
                        </a:cubicBezTo>
                        <a:cubicBezTo>
                          <a:pt x="7" y="45"/>
                          <a:pt x="7" y="44"/>
                          <a:pt x="9" y="45"/>
                        </a:cubicBezTo>
                        <a:cubicBezTo>
                          <a:pt x="10" y="46"/>
                          <a:pt x="11" y="45"/>
                          <a:pt x="13" y="45"/>
                        </a:cubicBezTo>
                        <a:cubicBezTo>
                          <a:pt x="14" y="45"/>
                          <a:pt x="14" y="45"/>
                          <a:pt x="15" y="45"/>
                        </a:cubicBezTo>
                        <a:cubicBezTo>
                          <a:pt x="16" y="45"/>
                          <a:pt x="16" y="45"/>
                          <a:pt x="17" y="45"/>
                        </a:cubicBezTo>
                        <a:cubicBezTo>
                          <a:pt x="18" y="46"/>
                          <a:pt x="18" y="43"/>
                          <a:pt x="19" y="42"/>
                        </a:cubicBezTo>
                        <a:cubicBezTo>
                          <a:pt x="17" y="42"/>
                          <a:pt x="18" y="44"/>
                          <a:pt x="17" y="45"/>
                        </a:cubicBezTo>
                        <a:cubicBezTo>
                          <a:pt x="16" y="46"/>
                          <a:pt x="13" y="45"/>
                          <a:pt x="13" y="43"/>
                        </a:cubicBezTo>
                        <a:cubicBezTo>
                          <a:pt x="12" y="46"/>
                          <a:pt x="6" y="44"/>
                          <a:pt x="8" y="43"/>
                        </a:cubicBezTo>
                        <a:cubicBezTo>
                          <a:pt x="7" y="43"/>
                          <a:pt x="7" y="45"/>
                          <a:pt x="6" y="45"/>
                        </a:cubicBezTo>
                        <a:cubicBezTo>
                          <a:pt x="6" y="44"/>
                          <a:pt x="6" y="44"/>
                          <a:pt x="6" y="43"/>
                        </a:cubicBezTo>
                        <a:cubicBezTo>
                          <a:pt x="5" y="44"/>
                          <a:pt x="6" y="41"/>
                          <a:pt x="6" y="40"/>
                        </a:cubicBezTo>
                        <a:cubicBezTo>
                          <a:pt x="7" y="39"/>
                          <a:pt x="8" y="39"/>
                          <a:pt x="10" y="39"/>
                        </a:cubicBezTo>
                        <a:cubicBezTo>
                          <a:pt x="15" y="38"/>
                          <a:pt x="15" y="38"/>
                          <a:pt x="15" y="38"/>
                        </a:cubicBezTo>
                        <a:cubicBezTo>
                          <a:pt x="16" y="39"/>
                          <a:pt x="14" y="38"/>
                          <a:pt x="16" y="37"/>
                        </a:cubicBezTo>
                        <a:cubicBezTo>
                          <a:pt x="16" y="36"/>
                          <a:pt x="17" y="36"/>
                          <a:pt x="18" y="37"/>
                        </a:cubicBezTo>
                        <a:cubicBezTo>
                          <a:pt x="19" y="37"/>
                          <a:pt x="19" y="37"/>
                          <a:pt x="20" y="36"/>
                        </a:cubicBezTo>
                        <a:cubicBezTo>
                          <a:pt x="22" y="36"/>
                          <a:pt x="21" y="34"/>
                          <a:pt x="23" y="35"/>
                        </a:cubicBezTo>
                        <a:cubicBezTo>
                          <a:pt x="26" y="37"/>
                          <a:pt x="29" y="39"/>
                          <a:pt x="32" y="38"/>
                        </a:cubicBezTo>
                        <a:cubicBezTo>
                          <a:pt x="33" y="37"/>
                          <a:pt x="35" y="36"/>
                          <a:pt x="33" y="35"/>
                        </a:cubicBezTo>
                        <a:cubicBezTo>
                          <a:pt x="32" y="34"/>
                          <a:pt x="31" y="35"/>
                          <a:pt x="30" y="35"/>
                        </a:cubicBezTo>
                        <a:cubicBezTo>
                          <a:pt x="30" y="35"/>
                          <a:pt x="30" y="35"/>
                          <a:pt x="29" y="35"/>
                        </a:cubicBezTo>
                        <a:cubicBezTo>
                          <a:pt x="27" y="35"/>
                          <a:pt x="28" y="33"/>
                          <a:pt x="26" y="34"/>
                        </a:cubicBezTo>
                        <a:cubicBezTo>
                          <a:pt x="25" y="34"/>
                          <a:pt x="25" y="33"/>
                          <a:pt x="24" y="32"/>
                        </a:cubicBezTo>
                        <a:cubicBezTo>
                          <a:pt x="24" y="31"/>
                          <a:pt x="22" y="32"/>
                          <a:pt x="21" y="32"/>
                        </a:cubicBezTo>
                        <a:cubicBezTo>
                          <a:pt x="21" y="33"/>
                          <a:pt x="20" y="33"/>
                          <a:pt x="20" y="32"/>
                        </a:cubicBezTo>
                        <a:cubicBezTo>
                          <a:pt x="20" y="32"/>
                          <a:pt x="19" y="32"/>
                          <a:pt x="19" y="33"/>
                        </a:cubicBezTo>
                        <a:cubicBezTo>
                          <a:pt x="19" y="33"/>
                          <a:pt x="19" y="34"/>
                          <a:pt x="18" y="34"/>
                        </a:cubicBezTo>
                        <a:cubicBezTo>
                          <a:pt x="9" y="34"/>
                          <a:pt x="9" y="34"/>
                          <a:pt x="9" y="34"/>
                        </a:cubicBezTo>
                        <a:cubicBezTo>
                          <a:pt x="9" y="33"/>
                          <a:pt x="8" y="33"/>
                          <a:pt x="7" y="33"/>
                        </a:cubicBezTo>
                        <a:cubicBezTo>
                          <a:pt x="8" y="32"/>
                          <a:pt x="8" y="32"/>
                          <a:pt x="9" y="32"/>
                        </a:cubicBezTo>
                        <a:cubicBezTo>
                          <a:pt x="9" y="31"/>
                          <a:pt x="9" y="30"/>
                          <a:pt x="9" y="30"/>
                        </a:cubicBezTo>
                        <a:cubicBezTo>
                          <a:pt x="8" y="31"/>
                          <a:pt x="8" y="32"/>
                          <a:pt x="7" y="32"/>
                        </a:cubicBezTo>
                        <a:cubicBezTo>
                          <a:pt x="6" y="31"/>
                          <a:pt x="9" y="28"/>
                          <a:pt x="10" y="28"/>
                        </a:cubicBezTo>
                        <a:cubicBezTo>
                          <a:pt x="9" y="28"/>
                          <a:pt x="6" y="30"/>
                          <a:pt x="6" y="31"/>
                        </a:cubicBezTo>
                        <a:cubicBezTo>
                          <a:pt x="6" y="28"/>
                          <a:pt x="4" y="23"/>
                          <a:pt x="1" y="22"/>
                        </a:cubicBezTo>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15" name="Sao Tome &amp; Principe">
                    <a:extLst>
                      <a:ext uri="{FF2B5EF4-FFF2-40B4-BE49-F238E27FC236}">
                        <a16:creationId xmlns:a16="http://schemas.microsoft.com/office/drawing/2014/main" id="{7BDBFB95-88B6-B02B-B570-95A55514BADE}"/>
                      </a:ext>
                    </a:extLst>
                  </p:cNvPr>
                  <p:cNvSpPr>
                    <a:spLocks/>
                  </p:cNvSpPr>
                  <p:nvPr/>
                </p:nvSpPr>
                <p:spPr bwMode="auto">
                  <a:xfrm>
                    <a:off x="3936900" y="3252353"/>
                    <a:ext cx="52292" cy="93699"/>
                  </a:xfrm>
                  <a:custGeom>
                    <a:avLst/>
                    <a:gdLst>
                      <a:gd name="connsiteX0" fmla="*/ 2977 w 51313"/>
                      <a:gd name="connsiteY0" fmla="*/ 82420 h 91945"/>
                      <a:gd name="connsiteX1" fmla="*/ 5358 w 51313"/>
                      <a:gd name="connsiteY1" fmla="*/ 87183 h 91945"/>
                      <a:gd name="connsiteX2" fmla="*/ 595 w 51313"/>
                      <a:gd name="connsiteY2" fmla="*/ 91945 h 91945"/>
                      <a:gd name="connsiteX3" fmla="*/ 2977 w 51313"/>
                      <a:gd name="connsiteY3" fmla="*/ 82420 h 91945"/>
                      <a:gd name="connsiteX4" fmla="*/ 48220 w 51313"/>
                      <a:gd name="connsiteY4" fmla="*/ 266 h 91945"/>
                      <a:gd name="connsiteX5" fmla="*/ 45839 w 51313"/>
                      <a:gd name="connsiteY5" fmla="*/ 14554 h 91945"/>
                      <a:gd name="connsiteX6" fmla="*/ 41076 w 51313"/>
                      <a:gd name="connsiteY6" fmla="*/ 9791 h 91945"/>
                      <a:gd name="connsiteX7" fmla="*/ 45839 w 51313"/>
                      <a:gd name="connsiteY7" fmla="*/ 2647 h 91945"/>
                      <a:gd name="connsiteX8" fmla="*/ 48220 w 51313"/>
                      <a:gd name="connsiteY8" fmla="*/ 266 h 9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13" h="91945">
                        <a:moveTo>
                          <a:pt x="2977" y="82420"/>
                        </a:moveTo>
                        <a:cubicBezTo>
                          <a:pt x="5358" y="80039"/>
                          <a:pt x="5358" y="84802"/>
                          <a:pt x="5358" y="87183"/>
                        </a:cubicBezTo>
                        <a:cubicBezTo>
                          <a:pt x="5358" y="89564"/>
                          <a:pt x="2977" y="89564"/>
                          <a:pt x="595" y="91945"/>
                        </a:cubicBezTo>
                        <a:cubicBezTo>
                          <a:pt x="595" y="87183"/>
                          <a:pt x="-1786" y="82420"/>
                          <a:pt x="2977" y="82420"/>
                        </a:cubicBezTo>
                        <a:close/>
                        <a:moveTo>
                          <a:pt x="48220" y="266"/>
                        </a:moveTo>
                        <a:cubicBezTo>
                          <a:pt x="55364" y="-2115"/>
                          <a:pt x="48220" y="12173"/>
                          <a:pt x="45839" y="14554"/>
                        </a:cubicBezTo>
                        <a:cubicBezTo>
                          <a:pt x="45839" y="12173"/>
                          <a:pt x="38695" y="12173"/>
                          <a:pt x="41076" y="9791"/>
                        </a:cubicBezTo>
                        <a:cubicBezTo>
                          <a:pt x="41076" y="7410"/>
                          <a:pt x="43458" y="7410"/>
                          <a:pt x="45839" y="2647"/>
                        </a:cubicBezTo>
                        <a:cubicBezTo>
                          <a:pt x="45839" y="266"/>
                          <a:pt x="45839" y="266"/>
                          <a:pt x="48220" y="266"/>
                        </a:cubicBezTo>
                        <a:close/>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16" name="Saudi Arabia">
                    <a:extLst>
                      <a:ext uri="{FF2B5EF4-FFF2-40B4-BE49-F238E27FC236}">
                        <a16:creationId xmlns:a16="http://schemas.microsoft.com/office/drawing/2014/main" id="{8B4A6E94-701E-2929-7099-B51C33EE8F48}"/>
                      </a:ext>
                    </a:extLst>
                  </p:cNvPr>
                  <p:cNvSpPr>
                    <a:spLocks/>
                  </p:cNvSpPr>
                  <p:nvPr/>
                </p:nvSpPr>
                <p:spPr bwMode="auto">
                  <a:xfrm>
                    <a:off x="4545827" y="2498239"/>
                    <a:ext cx="493700" cy="429417"/>
                  </a:xfrm>
                  <a:custGeom>
                    <a:avLst/>
                    <a:gdLst/>
                    <a:ahLst/>
                    <a:cxnLst>
                      <a:cxn ang="0">
                        <a:pos x="81" y="164"/>
                      </a:cxn>
                      <a:cxn ang="0">
                        <a:pos x="73" y="153"/>
                      </a:cxn>
                      <a:cxn ang="0">
                        <a:pos x="67" y="145"/>
                      </a:cxn>
                      <a:cxn ang="0">
                        <a:pos x="65" y="138"/>
                      </a:cxn>
                      <a:cxn ang="0">
                        <a:pos x="63" y="135"/>
                      </a:cxn>
                      <a:cxn ang="0">
                        <a:pos x="61" y="132"/>
                      </a:cxn>
                      <a:cxn ang="0">
                        <a:pos x="53" y="126"/>
                      </a:cxn>
                      <a:cxn ang="0">
                        <a:pos x="47" y="115"/>
                      </a:cxn>
                      <a:cxn ang="0">
                        <a:pos x="45" y="103"/>
                      </a:cxn>
                      <a:cxn ang="0">
                        <a:pos x="44" y="99"/>
                      </a:cxn>
                      <a:cxn ang="0">
                        <a:pos x="41" y="94"/>
                      </a:cxn>
                      <a:cxn ang="0">
                        <a:pos x="30" y="84"/>
                      </a:cxn>
                      <a:cxn ang="0">
                        <a:pos x="26" y="78"/>
                      </a:cxn>
                      <a:cxn ang="0">
                        <a:pos x="22" y="67"/>
                      </a:cxn>
                      <a:cxn ang="0">
                        <a:pos x="9" y="48"/>
                      </a:cxn>
                      <a:cxn ang="0">
                        <a:pos x="1" y="44"/>
                      </a:cxn>
                      <a:cxn ang="0">
                        <a:pos x="3" y="33"/>
                      </a:cxn>
                      <a:cxn ang="0">
                        <a:pos x="14" y="32"/>
                      </a:cxn>
                      <a:cxn ang="0">
                        <a:pos x="27" y="22"/>
                      </a:cxn>
                      <a:cxn ang="0">
                        <a:pos x="21" y="7"/>
                      </a:cxn>
                      <a:cxn ang="0">
                        <a:pos x="51" y="3"/>
                      </a:cxn>
                      <a:cxn ang="0">
                        <a:pos x="90" y="30"/>
                      </a:cxn>
                      <a:cxn ang="0">
                        <a:pos x="107" y="33"/>
                      </a:cxn>
                      <a:cxn ang="0">
                        <a:pos x="116" y="34"/>
                      </a:cxn>
                      <a:cxn ang="0">
                        <a:pos x="125" y="39"/>
                      </a:cxn>
                      <a:cxn ang="0">
                        <a:pos x="132" y="47"/>
                      </a:cxn>
                      <a:cxn ang="0">
                        <a:pos x="132" y="49"/>
                      </a:cxn>
                      <a:cxn ang="0">
                        <a:pos x="139" y="53"/>
                      </a:cxn>
                      <a:cxn ang="0">
                        <a:pos x="143" y="58"/>
                      </a:cxn>
                      <a:cxn ang="0">
                        <a:pos x="144" y="64"/>
                      </a:cxn>
                      <a:cxn ang="0">
                        <a:pos x="146" y="70"/>
                      </a:cxn>
                      <a:cxn ang="0">
                        <a:pos x="149" y="73"/>
                      </a:cxn>
                      <a:cxn ang="0">
                        <a:pos x="154" y="81"/>
                      </a:cxn>
                      <a:cxn ang="0">
                        <a:pos x="159" y="81"/>
                      </a:cxn>
                      <a:cxn ang="0">
                        <a:pos x="161" y="88"/>
                      </a:cxn>
                      <a:cxn ang="0">
                        <a:pos x="193" y="102"/>
                      </a:cxn>
                      <a:cxn ang="0">
                        <a:pos x="199" y="108"/>
                      </a:cxn>
                      <a:cxn ang="0">
                        <a:pos x="194" y="131"/>
                      </a:cxn>
                      <a:cxn ang="0">
                        <a:pos x="134" y="148"/>
                      </a:cxn>
                      <a:cxn ang="0">
                        <a:pos x="123" y="163"/>
                      </a:cxn>
                      <a:cxn ang="0">
                        <a:pos x="115" y="159"/>
                      </a:cxn>
                      <a:cxn ang="0">
                        <a:pos x="101" y="158"/>
                      </a:cxn>
                      <a:cxn ang="0">
                        <a:pos x="89" y="157"/>
                      </a:cxn>
                      <a:cxn ang="0">
                        <a:pos x="86" y="166"/>
                      </a:cxn>
                      <a:cxn ang="0">
                        <a:pos x="83" y="169"/>
                      </a:cxn>
                    </a:cxnLst>
                    <a:rect l="0" t="0" r="r" b="b"/>
                    <a:pathLst>
                      <a:path w="200" h="169">
                        <a:moveTo>
                          <a:pt x="83" y="169"/>
                        </a:moveTo>
                        <a:cubicBezTo>
                          <a:pt x="83" y="168"/>
                          <a:pt x="82" y="165"/>
                          <a:pt x="81" y="164"/>
                        </a:cubicBezTo>
                        <a:cubicBezTo>
                          <a:pt x="81" y="164"/>
                          <a:pt x="78" y="159"/>
                          <a:pt x="79" y="161"/>
                        </a:cubicBezTo>
                        <a:cubicBezTo>
                          <a:pt x="78" y="157"/>
                          <a:pt x="75" y="156"/>
                          <a:pt x="73" y="153"/>
                        </a:cubicBezTo>
                        <a:cubicBezTo>
                          <a:pt x="72" y="151"/>
                          <a:pt x="70" y="150"/>
                          <a:pt x="70" y="148"/>
                        </a:cubicBezTo>
                        <a:cubicBezTo>
                          <a:pt x="69" y="147"/>
                          <a:pt x="68" y="146"/>
                          <a:pt x="67" y="145"/>
                        </a:cubicBezTo>
                        <a:cubicBezTo>
                          <a:pt x="67" y="144"/>
                          <a:pt x="67" y="143"/>
                          <a:pt x="67" y="142"/>
                        </a:cubicBezTo>
                        <a:cubicBezTo>
                          <a:pt x="66" y="141"/>
                          <a:pt x="65" y="139"/>
                          <a:pt x="65" y="138"/>
                        </a:cubicBezTo>
                        <a:cubicBezTo>
                          <a:pt x="65" y="138"/>
                          <a:pt x="65" y="137"/>
                          <a:pt x="64" y="136"/>
                        </a:cubicBezTo>
                        <a:cubicBezTo>
                          <a:pt x="64" y="135"/>
                          <a:pt x="63" y="135"/>
                          <a:pt x="63" y="135"/>
                        </a:cubicBezTo>
                        <a:cubicBezTo>
                          <a:pt x="63" y="134"/>
                          <a:pt x="63" y="133"/>
                          <a:pt x="63" y="133"/>
                        </a:cubicBezTo>
                        <a:cubicBezTo>
                          <a:pt x="62" y="132"/>
                          <a:pt x="61" y="132"/>
                          <a:pt x="61" y="132"/>
                        </a:cubicBezTo>
                        <a:cubicBezTo>
                          <a:pt x="60" y="131"/>
                          <a:pt x="58" y="130"/>
                          <a:pt x="57" y="128"/>
                        </a:cubicBezTo>
                        <a:cubicBezTo>
                          <a:pt x="56" y="127"/>
                          <a:pt x="54" y="127"/>
                          <a:pt x="53" y="126"/>
                        </a:cubicBezTo>
                        <a:cubicBezTo>
                          <a:pt x="50" y="125"/>
                          <a:pt x="49" y="121"/>
                          <a:pt x="47" y="119"/>
                        </a:cubicBezTo>
                        <a:cubicBezTo>
                          <a:pt x="46" y="117"/>
                          <a:pt x="47" y="116"/>
                          <a:pt x="47" y="115"/>
                        </a:cubicBezTo>
                        <a:cubicBezTo>
                          <a:pt x="47" y="113"/>
                          <a:pt x="45" y="112"/>
                          <a:pt x="45" y="110"/>
                        </a:cubicBezTo>
                        <a:cubicBezTo>
                          <a:pt x="45" y="108"/>
                          <a:pt x="46" y="106"/>
                          <a:pt x="45" y="103"/>
                        </a:cubicBezTo>
                        <a:cubicBezTo>
                          <a:pt x="45" y="102"/>
                          <a:pt x="45" y="101"/>
                          <a:pt x="44" y="101"/>
                        </a:cubicBezTo>
                        <a:cubicBezTo>
                          <a:pt x="44" y="100"/>
                          <a:pt x="42" y="98"/>
                          <a:pt x="44" y="99"/>
                        </a:cubicBezTo>
                        <a:cubicBezTo>
                          <a:pt x="44" y="98"/>
                          <a:pt x="43" y="98"/>
                          <a:pt x="42" y="97"/>
                        </a:cubicBezTo>
                        <a:cubicBezTo>
                          <a:pt x="42" y="96"/>
                          <a:pt x="42" y="95"/>
                          <a:pt x="41" y="94"/>
                        </a:cubicBezTo>
                        <a:cubicBezTo>
                          <a:pt x="40" y="91"/>
                          <a:pt x="38" y="89"/>
                          <a:pt x="36" y="87"/>
                        </a:cubicBezTo>
                        <a:cubicBezTo>
                          <a:pt x="34" y="85"/>
                          <a:pt x="32" y="85"/>
                          <a:pt x="30" y="84"/>
                        </a:cubicBezTo>
                        <a:cubicBezTo>
                          <a:pt x="30" y="84"/>
                          <a:pt x="29" y="83"/>
                          <a:pt x="29" y="82"/>
                        </a:cubicBezTo>
                        <a:cubicBezTo>
                          <a:pt x="28" y="80"/>
                          <a:pt x="27" y="79"/>
                          <a:pt x="26" y="78"/>
                        </a:cubicBezTo>
                        <a:cubicBezTo>
                          <a:pt x="30" y="77"/>
                          <a:pt x="25" y="72"/>
                          <a:pt x="24" y="71"/>
                        </a:cubicBezTo>
                        <a:cubicBezTo>
                          <a:pt x="24" y="70"/>
                          <a:pt x="22" y="68"/>
                          <a:pt x="22" y="67"/>
                        </a:cubicBezTo>
                        <a:cubicBezTo>
                          <a:pt x="22" y="65"/>
                          <a:pt x="19" y="64"/>
                          <a:pt x="19" y="63"/>
                        </a:cubicBezTo>
                        <a:cubicBezTo>
                          <a:pt x="16" y="57"/>
                          <a:pt x="12" y="53"/>
                          <a:pt x="9" y="48"/>
                        </a:cubicBezTo>
                        <a:cubicBezTo>
                          <a:pt x="8" y="46"/>
                          <a:pt x="8" y="44"/>
                          <a:pt x="6" y="43"/>
                        </a:cubicBezTo>
                        <a:cubicBezTo>
                          <a:pt x="5" y="43"/>
                          <a:pt x="2" y="43"/>
                          <a:pt x="1" y="44"/>
                        </a:cubicBezTo>
                        <a:cubicBezTo>
                          <a:pt x="0" y="43"/>
                          <a:pt x="2" y="41"/>
                          <a:pt x="2" y="39"/>
                        </a:cubicBezTo>
                        <a:cubicBezTo>
                          <a:pt x="3" y="37"/>
                          <a:pt x="3" y="35"/>
                          <a:pt x="3" y="33"/>
                        </a:cubicBezTo>
                        <a:cubicBezTo>
                          <a:pt x="3" y="30"/>
                          <a:pt x="3" y="32"/>
                          <a:pt x="3" y="30"/>
                        </a:cubicBezTo>
                        <a:cubicBezTo>
                          <a:pt x="5" y="30"/>
                          <a:pt x="11" y="32"/>
                          <a:pt x="14" y="32"/>
                        </a:cubicBezTo>
                        <a:cubicBezTo>
                          <a:pt x="18" y="31"/>
                          <a:pt x="18" y="25"/>
                          <a:pt x="22" y="24"/>
                        </a:cubicBezTo>
                        <a:cubicBezTo>
                          <a:pt x="23" y="24"/>
                          <a:pt x="27" y="24"/>
                          <a:pt x="27" y="22"/>
                        </a:cubicBezTo>
                        <a:cubicBezTo>
                          <a:pt x="26" y="17"/>
                          <a:pt x="28" y="19"/>
                          <a:pt x="31" y="18"/>
                        </a:cubicBezTo>
                        <a:cubicBezTo>
                          <a:pt x="27" y="14"/>
                          <a:pt x="24" y="11"/>
                          <a:pt x="21" y="7"/>
                        </a:cubicBezTo>
                        <a:cubicBezTo>
                          <a:pt x="27" y="6"/>
                          <a:pt x="31" y="4"/>
                          <a:pt x="39" y="0"/>
                        </a:cubicBezTo>
                        <a:cubicBezTo>
                          <a:pt x="42" y="1"/>
                          <a:pt x="48" y="1"/>
                          <a:pt x="51" y="3"/>
                        </a:cubicBezTo>
                        <a:cubicBezTo>
                          <a:pt x="63" y="8"/>
                          <a:pt x="73" y="17"/>
                          <a:pt x="83" y="24"/>
                        </a:cubicBezTo>
                        <a:cubicBezTo>
                          <a:pt x="86" y="26"/>
                          <a:pt x="88" y="28"/>
                          <a:pt x="90" y="30"/>
                        </a:cubicBezTo>
                        <a:cubicBezTo>
                          <a:pt x="92" y="32"/>
                          <a:pt x="94" y="32"/>
                          <a:pt x="97" y="32"/>
                        </a:cubicBezTo>
                        <a:cubicBezTo>
                          <a:pt x="100" y="32"/>
                          <a:pt x="104" y="33"/>
                          <a:pt x="107" y="33"/>
                        </a:cubicBezTo>
                        <a:cubicBezTo>
                          <a:pt x="109" y="33"/>
                          <a:pt x="109" y="32"/>
                          <a:pt x="111" y="33"/>
                        </a:cubicBezTo>
                        <a:cubicBezTo>
                          <a:pt x="113" y="33"/>
                          <a:pt x="115" y="33"/>
                          <a:pt x="116" y="34"/>
                        </a:cubicBezTo>
                        <a:cubicBezTo>
                          <a:pt x="119" y="34"/>
                          <a:pt x="119" y="36"/>
                          <a:pt x="119" y="38"/>
                        </a:cubicBezTo>
                        <a:cubicBezTo>
                          <a:pt x="120" y="40"/>
                          <a:pt x="124" y="38"/>
                          <a:pt x="125" y="39"/>
                        </a:cubicBezTo>
                        <a:cubicBezTo>
                          <a:pt x="127" y="39"/>
                          <a:pt x="128" y="40"/>
                          <a:pt x="128" y="41"/>
                        </a:cubicBezTo>
                        <a:cubicBezTo>
                          <a:pt x="129" y="43"/>
                          <a:pt x="132" y="45"/>
                          <a:pt x="132" y="47"/>
                        </a:cubicBezTo>
                        <a:cubicBezTo>
                          <a:pt x="131" y="46"/>
                          <a:pt x="131" y="46"/>
                          <a:pt x="131" y="46"/>
                        </a:cubicBezTo>
                        <a:cubicBezTo>
                          <a:pt x="131" y="48"/>
                          <a:pt x="132" y="48"/>
                          <a:pt x="132" y="49"/>
                        </a:cubicBezTo>
                        <a:cubicBezTo>
                          <a:pt x="132" y="49"/>
                          <a:pt x="137" y="49"/>
                          <a:pt x="135" y="51"/>
                        </a:cubicBezTo>
                        <a:cubicBezTo>
                          <a:pt x="136" y="51"/>
                          <a:pt x="138" y="56"/>
                          <a:pt x="139" y="53"/>
                        </a:cubicBezTo>
                        <a:cubicBezTo>
                          <a:pt x="138" y="55"/>
                          <a:pt x="143" y="58"/>
                          <a:pt x="145" y="59"/>
                        </a:cubicBezTo>
                        <a:cubicBezTo>
                          <a:pt x="144" y="59"/>
                          <a:pt x="143" y="58"/>
                          <a:pt x="143" y="58"/>
                        </a:cubicBezTo>
                        <a:cubicBezTo>
                          <a:pt x="143" y="60"/>
                          <a:pt x="145" y="60"/>
                          <a:pt x="145" y="62"/>
                        </a:cubicBezTo>
                        <a:cubicBezTo>
                          <a:pt x="145" y="63"/>
                          <a:pt x="145" y="66"/>
                          <a:pt x="144" y="64"/>
                        </a:cubicBezTo>
                        <a:cubicBezTo>
                          <a:pt x="144" y="65"/>
                          <a:pt x="143" y="66"/>
                          <a:pt x="145" y="66"/>
                        </a:cubicBezTo>
                        <a:cubicBezTo>
                          <a:pt x="145" y="66"/>
                          <a:pt x="146" y="69"/>
                          <a:pt x="146" y="70"/>
                        </a:cubicBezTo>
                        <a:cubicBezTo>
                          <a:pt x="145" y="69"/>
                          <a:pt x="145" y="69"/>
                          <a:pt x="145" y="69"/>
                        </a:cubicBezTo>
                        <a:cubicBezTo>
                          <a:pt x="146" y="70"/>
                          <a:pt x="148" y="71"/>
                          <a:pt x="149" y="73"/>
                        </a:cubicBezTo>
                        <a:cubicBezTo>
                          <a:pt x="150" y="74"/>
                          <a:pt x="150" y="76"/>
                          <a:pt x="151" y="77"/>
                        </a:cubicBezTo>
                        <a:cubicBezTo>
                          <a:pt x="152" y="78"/>
                          <a:pt x="153" y="81"/>
                          <a:pt x="154" y="81"/>
                        </a:cubicBezTo>
                        <a:cubicBezTo>
                          <a:pt x="155" y="81"/>
                          <a:pt x="157" y="80"/>
                          <a:pt x="157" y="82"/>
                        </a:cubicBezTo>
                        <a:cubicBezTo>
                          <a:pt x="157" y="81"/>
                          <a:pt x="158" y="81"/>
                          <a:pt x="159" y="81"/>
                        </a:cubicBezTo>
                        <a:cubicBezTo>
                          <a:pt x="158" y="82"/>
                          <a:pt x="157" y="85"/>
                          <a:pt x="160" y="84"/>
                        </a:cubicBezTo>
                        <a:cubicBezTo>
                          <a:pt x="161" y="88"/>
                          <a:pt x="161" y="88"/>
                          <a:pt x="161" y="88"/>
                        </a:cubicBezTo>
                        <a:cubicBezTo>
                          <a:pt x="165" y="92"/>
                          <a:pt x="169" y="98"/>
                          <a:pt x="171" y="99"/>
                        </a:cubicBezTo>
                        <a:cubicBezTo>
                          <a:pt x="182" y="100"/>
                          <a:pt x="187" y="101"/>
                          <a:pt x="193" y="102"/>
                        </a:cubicBezTo>
                        <a:cubicBezTo>
                          <a:pt x="193" y="102"/>
                          <a:pt x="194" y="101"/>
                          <a:pt x="194" y="101"/>
                        </a:cubicBezTo>
                        <a:cubicBezTo>
                          <a:pt x="196" y="104"/>
                          <a:pt x="199" y="106"/>
                          <a:pt x="199" y="108"/>
                        </a:cubicBezTo>
                        <a:cubicBezTo>
                          <a:pt x="200" y="109"/>
                          <a:pt x="200" y="111"/>
                          <a:pt x="199" y="112"/>
                        </a:cubicBezTo>
                        <a:cubicBezTo>
                          <a:pt x="198" y="119"/>
                          <a:pt x="197" y="130"/>
                          <a:pt x="194" y="131"/>
                        </a:cubicBezTo>
                        <a:cubicBezTo>
                          <a:pt x="179" y="139"/>
                          <a:pt x="159" y="142"/>
                          <a:pt x="141" y="145"/>
                        </a:cubicBezTo>
                        <a:cubicBezTo>
                          <a:pt x="139" y="146"/>
                          <a:pt x="136" y="147"/>
                          <a:pt x="134" y="148"/>
                        </a:cubicBezTo>
                        <a:cubicBezTo>
                          <a:pt x="131" y="150"/>
                          <a:pt x="128" y="156"/>
                          <a:pt x="127" y="159"/>
                        </a:cubicBezTo>
                        <a:cubicBezTo>
                          <a:pt x="126" y="161"/>
                          <a:pt x="124" y="163"/>
                          <a:pt x="123" y="163"/>
                        </a:cubicBezTo>
                        <a:cubicBezTo>
                          <a:pt x="121" y="163"/>
                          <a:pt x="120" y="160"/>
                          <a:pt x="119" y="159"/>
                        </a:cubicBezTo>
                        <a:cubicBezTo>
                          <a:pt x="117" y="159"/>
                          <a:pt x="116" y="160"/>
                          <a:pt x="115" y="159"/>
                        </a:cubicBezTo>
                        <a:cubicBezTo>
                          <a:pt x="112" y="159"/>
                          <a:pt x="109" y="159"/>
                          <a:pt x="107" y="158"/>
                        </a:cubicBezTo>
                        <a:cubicBezTo>
                          <a:pt x="105" y="157"/>
                          <a:pt x="103" y="158"/>
                          <a:pt x="101" y="158"/>
                        </a:cubicBezTo>
                        <a:cubicBezTo>
                          <a:pt x="98" y="158"/>
                          <a:pt x="96" y="159"/>
                          <a:pt x="93" y="159"/>
                        </a:cubicBezTo>
                        <a:cubicBezTo>
                          <a:pt x="90" y="159"/>
                          <a:pt x="90" y="157"/>
                          <a:pt x="89" y="157"/>
                        </a:cubicBezTo>
                        <a:cubicBezTo>
                          <a:pt x="87" y="158"/>
                          <a:pt x="86" y="160"/>
                          <a:pt x="86" y="162"/>
                        </a:cubicBezTo>
                        <a:cubicBezTo>
                          <a:pt x="86" y="164"/>
                          <a:pt x="88" y="165"/>
                          <a:pt x="86" y="166"/>
                        </a:cubicBezTo>
                        <a:cubicBezTo>
                          <a:pt x="86" y="166"/>
                          <a:pt x="85" y="169"/>
                          <a:pt x="83" y="169"/>
                        </a:cubicBezTo>
                        <a:cubicBezTo>
                          <a:pt x="83" y="169"/>
                          <a:pt x="83" y="169"/>
                          <a:pt x="83" y="169"/>
                        </a:cubicBezTo>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17" name="Rwanda">
                    <a:extLst>
                      <a:ext uri="{FF2B5EF4-FFF2-40B4-BE49-F238E27FC236}">
                        <a16:creationId xmlns:a16="http://schemas.microsoft.com/office/drawing/2014/main" id="{A7760785-7E3A-7F24-228F-3DD631CFB020}"/>
                      </a:ext>
                    </a:extLst>
                  </p:cNvPr>
                  <p:cNvSpPr>
                    <a:spLocks/>
                  </p:cNvSpPr>
                  <p:nvPr/>
                </p:nvSpPr>
                <p:spPr bwMode="auto">
                  <a:xfrm>
                    <a:off x="4426481" y="3371530"/>
                    <a:ext cx="46107" cy="43680"/>
                  </a:xfrm>
                  <a:custGeom>
                    <a:avLst/>
                    <a:gdLst/>
                    <a:ahLst/>
                    <a:cxnLst>
                      <a:cxn ang="0">
                        <a:pos x="1" y="16"/>
                      </a:cxn>
                      <a:cxn ang="0">
                        <a:pos x="3" y="10"/>
                      </a:cxn>
                      <a:cxn ang="0">
                        <a:pos x="7" y="4"/>
                      </a:cxn>
                      <a:cxn ang="0">
                        <a:pos x="10" y="3"/>
                      </a:cxn>
                      <a:cxn ang="0">
                        <a:pos x="12" y="4"/>
                      </a:cxn>
                      <a:cxn ang="0">
                        <a:pos x="16" y="0"/>
                      </a:cxn>
                      <a:cxn ang="0">
                        <a:pos x="18" y="6"/>
                      </a:cxn>
                      <a:cxn ang="0">
                        <a:pos x="20" y="12"/>
                      </a:cxn>
                      <a:cxn ang="0">
                        <a:pos x="16" y="14"/>
                      </a:cxn>
                      <a:cxn ang="0">
                        <a:pos x="11" y="14"/>
                      </a:cxn>
                      <a:cxn ang="0">
                        <a:pos x="8" y="19"/>
                      </a:cxn>
                      <a:cxn ang="0">
                        <a:pos x="5" y="18"/>
                      </a:cxn>
                      <a:cxn ang="0">
                        <a:pos x="2" y="18"/>
                      </a:cxn>
                      <a:cxn ang="0">
                        <a:pos x="1" y="16"/>
                      </a:cxn>
                    </a:cxnLst>
                    <a:rect l="0" t="0" r="r" b="b"/>
                    <a:pathLst>
                      <a:path w="20" h="19">
                        <a:moveTo>
                          <a:pt x="1" y="16"/>
                        </a:moveTo>
                        <a:cubicBezTo>
                          <a:pt x="0" y="14"/>
                          <a:pt x="3" y="12"/>
                          <a:pt x="3" y="10"/>
                        </a:cubicBezTo>
                        <a:cubicBezTo>
                          <a:pt x="3" y="7"/>
                          <a:pt x="5" y="6"/>
                          <a:pt x="7" y="4"/>
                        </a:cubicBezTo>
                        <a:cubicBezTo>
                          <a:pt x="8" y="4"/>
                          <a:pt x="9" y="3"/>
                          <a:pt x="10" y="3"/>
                        </a:cubicBezTo>
                        <a:cubicBezTo>
                          <a:pt x="10" y="4"/>
                          <a:pt x="11" y="5"/>
                          <a:pt x="12" y="4"/>
                        </a:cubicBezTo>
                        <a:cubicBezTo>
                          <a:pt x="12" y="3"/>
                          <a:pt x="15" y="0"/>
                          <a:pt x="16" y="0"/>
                        </a:cubicBezTo>
                        <a:cubicBezTo>
                          <a:pt x="15" y="2"/>
                          <a:pt x="17" y="4"/>
                          <a:pt x="18" y="6"/>
                        </a:cubicBezTo>
                        <a:cubicBezTo>
                          <a:pt x="19" y="7"/>
                          <a:pt x="20" y="10"/>
                          <a:pt x="20" y="12"/>
                        </a:cubicBezTo>
                        <a:cubicBezTo>
                          <a:pt x="19" y="15"/>
                          <a:pt x="18" y="15"/>
                          <a:pt x="16" y="14"/>
                        </a:cubicBezTo>
                        <a:cubicBezTo>
                          <a:pt x="13" y="13"/>
                          <a:pt x="13" y="16"/>
                          <a:pt x="11" y="14"/>
                        </a:cubicBezTo>
                        <a:cubicBezTo>
                          <a:pt x="11" y="16"/>
                          <a:pt x="11" y="18"/>
                          <a:pt x="8" y="19"/>
                        </a:cubicBezTo>
                        <a:cubicBezTo>
                          <a:pt x="7" y="19"/>
                          <a:pt x="5" y="19"/>
                          <a:pt x="5" y="18"/>
                        </a:cubicBezTo>
                        <a:cubicBezTo>
                          <a:pt x="4" y="16"/>
                          <a:pt x="2" y="17"/>
                          <a:pt x="2" y="18"/>
                        </a:cubicBezTo>
                        <a:cubicBezTo>
                          <a:pt x="1" y="18"/>
                          <a:pt x="1" y="17"/>
                          <a:pt x="1" y="16"/>
                        </a:cubicBezTo>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18" name="Qatar">
                    <a:extLst>
                      <a:ext uri="{FF2B5EF4-FFF2-40B4-BE49-F238E27FC236}">
                        <a16:creationId xmlns:a16="http://schemas.microsoft.com/office/drawing/2014/main" id="{6409BF66-F6D4-EB93-2A4A-895512BCDDB1}"/>
                      </a:ext>
                    </a:extLst>
                  </p:cNvPr>
                  <p:cNvSpPr>
                    <a:spLocks/>
                  </p:cNvSpPr>
                  <p:nvPr/>
                </p:nvSpPr>
                <p:spPr bwMode="auto">
                  <a:xfrm>
                    <a:off x="4918041" y="2658268"/>
                    <a:ext cx="23263" cy="48009"/>
                  </a:xfrm>
                  <a:custGeom>
                    <a:avLst/>
                    <a:gdLst/>
                    <a:ahLst/>
                    <a:cxnLst>
                      <a:cxn ang="0">
                        <a:pos x="0" y="11"/>
                      </a:cxn>
                      <a:cxn ang="0">
                        <a:pos x="1" y="9"/>
                      </a:cxn>
                      <a:cxn ang="0">
                        <a:pos x="1" y="8"/>
                      </a:cxn>
                      <a:cxn ang="0">
                        <a:pos x="5" y="3"/>
                      </a:cxn>
                      <a:cxn ang="0">
                        <a:pos x="8" y="5"/>
                      </a:cxn>
                      <a:cxn ang="0">
                        <a:pos x="7" y="8"/>
                      </a:cxn>
                      <a:cxn ang="0">
                        <a:pos x="7" y="10"/>
                      </a:cxn>
                      <a:cxn ang="0">
                        <a:pos x="8" y="11"/>
                      </a:cxn>
                      <a:cxn ang="0">
                        <a:pos x="8" y="14"/>
                      </a:cxn>
                      <a:cxn ang="0">
                        <a:pos x="6" y="18"/>
                      </a:cxn>
                      <a:cxn ang="0">
                        <a:pos x="2" y="17"/>
                      </a:cxn>
                      <a:cxn ang="0">
                        <a:pos x="0" y="11"/>
                      </a:cxn>
                    </a:cxnLst>
                    <a:rect l="0" t="0" r="r" b="b"/>
                    <a:pathLst>
                      <a:path w="9" h="19">
                        <a:moveTo>
                          <a:pt x="0" y="11"/>
                        </a:moveTo>
                        <a:cubicBezTo>
                          <a:pt x="0" y="10"/>
                          <a:pt x="0" y="7"/>
                          <a:pt x="1" y="9"/>
                        </a:cubicBezTo>
                        <a:cubicBezTo>
                          <a:pt x="1" y="8"/>
                          <a:pt x="1" y="5"/>
                          <a:pt x="1" y="8"/>
                        </a:cubicBezTo>
                        <a:cubicBezTo>
                          <a:pt x="2" y="5"/>
                          <a:pt x="2" y="0"/>
                          <a:pt x="5" y="3"/>
                        </a:cubicBezTo>
                        <a:cubicBezTo>
                          <a:pt x="6" y="4"/>
                          <a:pt x="8" y="4"/>
                          <a:pt x="8" y="5"/>
                        </a:cubicBezTo>
                        <a:cubicBezTo>
                          <a:pt x="8" y="6"/>
                          <a:pt x="7" y="7"/>
                          <a:pt x="7" y="8"/>
                        </a:cubicBezTo>
                        <a:cubicBezTo>
                          <a:pt x="7" y="8"/>
                          <a:pt x="7" y="9"/>
                          <a:pt x="7" y="10"/>
                        </a:cubicBezTo>
                        <a:cubicBezTo>
                          <a:pt x="7" y="11"/>
                          <a:pt x="8" y="11"/>
                          <a:pt x="8" y="11"/>
                        </a:cubicBezTo>
                        <a:cubicBezTo>
                          <a:pt x="9" y="12"/>
                          <a:pt x="8" y="13"/>
                          <a:pt x="8" y="14"/>
                        </a:cubicBezTo>
                        <a:cubicBezTo>
                          <a:pt x="7" y="16"/>
                          <a:pt x="8" y="17"/>
                          <a:pt x="6" y="18"/>
                        </a:cubicBezTo>
                        <a:cubicBezTo>
                          <a:pt x="4" y="18"/>
                          <a:pt x="3" y="19"/>
                          <a:pt x="2" y="17"/>
                        </a:cubicBezTo>
                        <a:cubicBezTo>
                          <a:pt x="1" y="15"/>
                          <a:pt x="1" y="13"/>
                          <a:pt x="0" y="11"/>
                        </a:cubicBezTo>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19" name="Palestine">
                    <a:extLst>
                      <a:ext uri="{FF2B5EF4-FFF2-40B4-BE49-F238E27FC236}">
                        <a16:creationId xmlns:a16="http://schemas.microsoft.com/office/drawing/2014/main" id="{CF1BA358-5889-2B8A-4DC9-F67022C62497}"/>
                      </a:ext>
                    </a:extLst>
                  </p:cNvPr>
                  <p:cNvSpPr>
                    <a:spLocks/>
                  </p:cNvSpPr>
                  <p:nvPr/>
                </p:nvSpPr>
                <p:spPr bwMode="auto">
                  <a:xfrm>
                    <a:off x="4532903" y="2467564"/>
                    <a:ext cx="29833" cy="104021"/>
                  </a:xfrm>
                  <a:custGeom>
                    <a:avLst/>
                    <a:gdLst>
                      <a:gd name="connsiteX0" fmla="*/ 26844 w 29275"/>
                      <a:gd name="connsiteY0" fmla="*/ 0 h 102074"/>
                      <a:gd name="connsiteX1" fmla="*/ 29275 w 29275"/>
                      <a:gd name="connsiteY1" fmla="*/ 24896 h 102074"/>
                      <a:gd name="connsiteX2" fmla="*/ 21983 w 29275"/>
                      <a:gd name="connsiteY2" fmla="*/ 19917 h 102074"/>
                      <a:gd name="connsiteX3" fmla="*/ 17121 w 29275"/>
                      <a:gd name="connsiteY3" fmla="*/ 24896 h 102074"/>
                      <a:gd name="connsiteX4" fmla="*/ 17121 w 29275"/>
                      <a:gd name="connsiteY4" fmla="*/ 39834 h 102074"/>
                      <a:gd name="connsiteX5" fmla="*/ 17121 w 29275"/>
                      <a:gd name="connsiteY5" fmla="*/ 49792 h 102074"/>
                      <a:gd name="connsiteX6" fmla="*/ 26844 w 29275"/>
                      <a:gd name="connsiteY6" fmla="*/ 47303 h 102074"/>
                      <a:gd name="connsiteX7" fmla="*/ 26844 w 29275"/>
                      <a:gd name="connsiteY7" fmla="*/ 57261 h 102074"/>
                      <a:gd name="connsiteX8" fmla="*/ 24414 w 29275"/>
                      <a:gd name="connsiteY8" fmla="*/ 72199 h 102074"/>
                      <a:gd name="connsiteX9" fmla="*/ 19552 w 29275"/>
                      <a:gd name="connsiteY9" fmla="*/ 102074 h 102074"/>
                      <a:gd name="connsiteX10" fmla="*/ 4663 w 29275"/>
                      <a:gd name="connsiteY10" fmla="*/ 60684 h 102074"/>
                      <a:gd name="connsiteX11" fmla="*/ 2577 w 29275"/>
                      <a:gd name="connsiteY11" fmla="*/ 54885 h 102074"/>
                      <a:gd name="connsiteX12" fmla="*/ 2536 w 29275"/>
                      <a:gd name="connsiteY12" fmla="*/ 54963 h 102074"/>
                      <a:gd name="connsiteX13" fmla="*/ 0 w 29275"/>
                      <a:gd name="connsiteY13" fmla="*/ 52346 h 102074"/>
                      <a:gd name="connsiteX14" fmla="*/ 5050 w 29275"/>
                      <a:gd name="connsiteY14" fmla="*/ 44530 h 102074"/>
                      <a:gd name="connsiteX15" fmla="*/ 12259 w 29275"/>
                      <a:gd name="connsiteY15" fmla="*/ 19917 h 102074"/>
                      <a:gd name="connsiteX16" fmla="*/ 14690 w 29275"/>
                      <a:gd name="connsiteY16" fmla="*/ 9958 h 102074"/>
                      <a:gd name="connsiteX17" fmla="*/ 17121 w 29275"/>
                      <a:gd name="connsiteY17" fmla="*/ 4979 h 102074"/>
                      <a:gd name="connsiteX18" fmla="*/ 21983 w 29275"/>
                      <a:gd name="connsiteY18" fmla="*/ 4979 h 102074"/>
                      <a:gd name="connsiteX19" fmla="*/ 26844 w 29275"/>
                      <a:gd name="connsiteY19" fmla="*/ 0 h 102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9275" h="102074">
                        <a:moveTo>
                          <a:pt x="26844" y="0"/>
                        </a:moveTo>
                        <a:cubicBezTo>
                          <a:pt x="31706" y="0"/>
                          <a:pt x="26844" y="19917"/>
                          <a:pt x="29275" y="24896"/>
                        </a:cubicBezTo>
                        <a:cubicBezTo>
                          <a:pt x="26844" y="22406"/>
                          <a:pt x="24414" y="19917"/>
                          <a:pt x="21983" y="19917"/>
                        </a:cubicBezTo>
                        <a:cubicBezTo>
                          <a:pt x="17121" y="19917"/>
                          <a:pt x="17121" y="22406"/>
                          <a:pt x="17121" y="24896"/>
                        </a:cubicBezTo>
                        <a:cubicBezTo>
                          <a:pt x="14690" y="29875"/>
                          <a:pt x="14690" y="39834"/>
                          <a:pt x="17121" y="39834"/>
                        </a:cubicBezTo>
                        <a:cubicBezTo>
                          <a:pt x="26844" y="37344"/>
                          <a:pt x="14690" y="44813"/>
                          <a:pt x="17121" y="49792"/>
                        </a:cubicBezTo>
                        <a:cubicBezTo>
                          <a:pt x="17121" y="54771"/>
                          <a:pt x="26844" y="47303"/>
                          <a:pt x="26844" y="47303"/>
                        </a:cubicBezTo>
                        <a:cubicBezTo>
                          <a:pt x="26844" y="49792"/>
                          <a:pt x="26844" y="52282"/>
                          <a:pt x="26844" y="57261"/>
                        </a:cubicBezTo>
                        <a:cubicBezTo>
                          <a:pt x="26844" y="62240"/>
                          <a:pt x="26844" y="67220"/>
                          <a:pt x="24414" y="72199"/>
                        </a:cubicBezTo>
                        <a:cubicBezTo>
                          <a:pt x="21983" y="79668"/>
                          <a:pt x="24414" y="92116"/>
                          <a:pt x="19552" y="102074"/>
                        </a:cubicBezTo>
                        <a:cubicBezTo>
                          <a:pt x="11044" y="78423"/>
                          <a:pt x="6790" y="66597"/>
                          <a:pt x="4663" y="60684"/>
                        </a:cubicBezTo>
                        <a:lnTo>
                          <a:pt x="2577" y="54885"/>
                        </a:lnTo>
                        <a:lnTo>
                          <a:pt x="2536" y="54963"/>
                        </a:lnTo>
                        <a:cubicBezTo>
                          <a:pt x="2536" y="54963"/>
                          <a:pt x="0" y="52346"/>
                          <a:pt x="0" y="52346"/>
                        </a:cubicBezTo>
                        <a:lnTo>
                          <a:pt x="5050" y="44530"/>
                        </a:lnTo>
                        <a:lnTo>
                          <a:pt x="12259" y="19917"/>
                        </a:lnTo>
                        <a:cubicBezTo>
                          <a:pt x="14690" y="17427"/>
                          <a:pt x="14690" y="12448"/>
                          <a:pt x="14690" y="9958"/>
                        </a:cubicBezTo>
                        <a:cubicBezTo>
                          <a:pt x="17121" y="9958"/>
                          <a:pt x="14690" y="7469"/>
                          <a:pt x="17121" y="4979"/>
                        </a:cubicBezTo>
                        <a:cubicBezTo>
                          <a:pt x="17121" y="2490"/>
                          <a:pt x="21983" y="4979"/>
                          <a:pt x="21983" y="4979"/>
                        </a:cubicBezTo>
                        <a:cubicBezTo>
                          <a:pt x="26844" y="4979"/>
                          <a:pt x="24414" y="2490"/>
                          <a:pt x="26844" y="0"/>
                        </a:cubicBezTo>
                        <a:close/>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20" name="Nigeria">
                    <a:extLst>
                      <a:ext uri="{FF2B5EF4-FFF2-40B4-BE49-F238E27FC236}">
                        <a16:creationId xmlns:a16="http://schemas.microsoft.com/office/drawing/2014/main" id="{F634AD25-DDC6-F0C0-6978-3E40E14A92D5}"/>
                      </a:ext>
                    </a:extLst>
                  </p:cNvPr>
                  <p:cNvSpPr>
                    <a:spLocks/>
                  </p:cNvSpPr>
                  <p:nvPr/>
                </p:nvSpPr>
                <p:spPr bwMode="auto">
                  <a:xfrm>
                    <a:off x="3851360" y="3000250"/>
                    <a:ext cx="269361" cy="241455"/>
                  </a:xfrm>
                  <a:custGeom>
                    <a:avLst/>
                    <a:gdLst/>
                    <a:ahLst/>
                    <a:cxnLst>
                      <a:cxn ang="0">
                        <a:pos x="2" y="52"/>
                      </a:cxn>
                      <a:cxn ang="0">
                        <a:pos x="6" y="46"/>
                      </a:cxn>
                      <a:cxn ang="0">
                        <a:pos x="10" y="40"/>
                      </a:cxn>
                      <a:cxn ang="0">
                        <a:pos x="11" y="33"/>
                      </a:cxn>
                      <a:cxn ang="0">
                        <a:pos x="9" y="27"/>
                      </a:cxn>
                      <a:cxn ang="0">
                        <a:pos x="10" y="17"/>
                      </a:cxn>
                      <a:cxn ang="0">
                        <a:pos x="15" y="7"/>
                      </a:cxn>
                      <a:cxn ang="0">
                        <a:pos x="22" y="1"/>
                      </a:cxn>
                      <a:cxn ang="0">
                        <a:pos x="31" y="2"/>
                      </a:cxn>
                      <a:cxn ang="0">
                        <a:pos x="40" y="8"/>
                      </a:cxn>
                      <a:cxn ang="0">
                        <a:pos x="44" y="8"/>
                      </a:cxn>
                      <a:cxn ang="0">
                        <a:pos x="55" y="9"/>
                      </a:cxn>
                      <a:cxn ang="0">
                        <a:pos x="61" y="11"/>
                      </a:cxn>
                      <a:cxn ang="0">
                        <a:pos x="70" y="8"/>
                      </a:cxn>
                      <a:cxn ang="0">
                        <a:pos x="87" y="7"/>
                      </a:cxn>
                      <a:cxn ang="0">
                        <a:pos x="97" y="5"/>
                      </a:cxn>
                      <a:cxn ang="0">
                        <a:pos x="101" y="3"/>
                      </a:cxn>
                      <a:cxn ang="0">
                        <a:pos x="109" y="13"/>
                      </a:cxn>
                      <a:cxn ang="0">
                        <a:pos x="112" y="16"/>
                      </a:cxn>
                      <a:cxn ang="0">
                        <a:pos x="108" y="28"/>
                      </a:cxn>
                      <a:cxn ang="0">
                        <a:pos x="103" y="39"/>
                      </a:cxn>
                      <a:cxn ang="0">
                        <a:pos x="100" y="46"/>
                      </a:cxn>
                      <a:cxn ang="0">
                        <a:pos x="97" y="53"/>
                      </a:cxn>
                      <a:cxn ang="0">
                        <a:pos x="91" y="59"/>
                      </a:cxn>
                      <a:cxn ang="0">
                        <a:pos x="88" y="69"/>
                      </a:cxn>
                      <a:cxn ang="0">
                        <a:pos x="85" y="77"/>
                      </a:cxn>
                      <a:cxn ang="0">
                        <a:pos x="80" y="80"/>
                      </a:cxn>
                      <a:cxn ang="0">
                        <a:pos x="77" y="75"/>
                      </a:cxn>
                      <a:cxn ang="0">
                        <a:pos x="74" y="75"/>
                      </a:cxn>
                      <a:cxn ang="0">
                        <a:pos x="66" y="79"/>
                      </a:cxn>
                      <a:cxn ang="0">
                        <a:pos x="58" y="93"/>
                      </a:cxn>
                      <a:cxn ang="0">
                        <a:pos x="55" y="97"/>
                      </a:cxn>
                      <a:cxn ang="0">
                        <a:pos x="51" y="100"/>
                      </a:cxn>
                      <a:cxn ang="0">
                        <a:pos x="45" y="100"/>
                      </a:cxn>
                      <a:cxn ang="0">
                        <a:pos x="42" y="101"/>
                      </a:cxn>
                      <a:cxn ang="0">
                        <a:pos x="41" y="102"/>
                      </a:cxn>
                      <a:cxn ang="0">
                        <a:pos x="39" y="102"/>
                      </a:cxn>
                      <a:cxn ang="0">
                        <a:pos x="38" y="100"/>
                      </a:cxn>
                      <a:cxn ang="0">
                        <a:pos x="37" y="101"/>
                      </a:cxn>
                      <a:cxn ang="0">
                        <a:pos x="34" y="101"/>
                      </a:cxn>
                      <a:cxn ang="0">
                        <a:pos x="31" y="102"/>
                      </a:cxn>
                      <a:cxn ang="0">
                        <a:pos x="27" y="95"/>
                      </a:cxn>
                      <a:cxn ang="0">
                        <a:pos x="27" y="92"/>
                      </a:cxn>
                      <a:cxn ang="0">
                        <a:pos x="25" y="91"/>
                      </a:cxn>
                      <a:cxn ang="0">
                        <a:pos x="26" y="89"/>
                      </a:cxn>
                      <a:cxn ang="0">
                        <a:pos x="23" y="88"/>
                      </a:cxn>
                      <a:cxn ang="0">
                        <a:pos x="23" y="87"/>
                      </a:cxn>
                      <a:cxn ang="0">
                        <a:pos x="11" y="80"/>
                      </a:cxn>
                      <a:cxn ang="0">
                        <a:pos x="11" y="78"/>
                      </a:cxn>
                      <a:cxn ang="0">
                        <a:pos x="7" y="80"/>
                      </a:cxn>
                      <a:cxn ang="0">
                        <a:pos x="2" y="77"/>
                      </a:cxn>
                      <a:cxn ang="0">
                        <a:pos x="1" y="64"/>
                      </a:cxn>
                    </a:cxnLst>
                    <a:rect l="0" t="0" r="r" b="b"/>
                    <a:pathLst>
                      <a:path w="116" h="104">
                        <a:moveTo>
                          <a:pt x="1" y="64"/>
                        </a:moveTo>
                        <a:cubicBezTo>
                          <a:pt x="2" y="60"/>
                          <a:pt x="0" y="56"/>
                          <a:pt x="2" y="52"/>
                        </a:cubicBezTo>
                        <a:cubicBezTo>
                          <a:pt x="2" y="51"/>
                          <a:pt x="4" y="52"/>
                          <a:pt x="5" y="51"/>
                        </a:cubicBezTo>
                        <a:cubicBezTo>
                          <a:pt x="6" y="50"/>
                          <a:pt x="5" y="48"/>
                          <a:pt x="6" y="46"/>
                        </a:cubicBezTo>
                        <a:cubicBezTo>
                          <a:pt x="7" y="45"/>
                          <a:pt x="7" y="44"/>
                          <a:pt x="8" y="43"/>
                        </a:cubicBezTo>
                        <a:cubicBezTo>
                          <a:pt x="9" y="43"/>
                          <a:pt x="11" y="41"/>
                          <a:pt x="10" y="40"/>
                        </a:cubicBezTo>
                        <a:cubicBezTo>
                          <a:pt x="10" y="39"/>
                          <a:pt x="9" y="38"/>
                          <a:pt x="11" y="37"/>
                        </a:cubicBezTo>
                        <a:cubicBezTo>
                          <a:pt x="13" y="37"/>
                          <a:pt x="11" y="34"/>
                          <a:pt x="11" y="33"/>
                        </a:cubicBezTo>
                        <a:cubicBezTo>
                          <a:pt x="11" y="32"/>
                          <a:pt x="11" y="31"/>
                          <a:pt x="10" y="30"/>
                        </a:cubicBezTo>
                        <a:cubicBezTo>
                          <a:pt x="10" y="29"/>
                          <a:pt x="9" y="28"/>
                          <a:pt x="9" y="27"/>
                        </a:cubicBezTo>
                        <a:cubicBezTo>
                          <a:pt x="8" y="26"/>
                          <a:pt x="9" y="24"/>
                          <a:pt x="10" y="23"/>
                        </a:cubicBezTo>
                        <a:cubicBezTo>
                          <a:pt x="10" y="21"/>
                          <a:pt x="10" y="19"/>
                          <a:pt x="10" y="17"/>
                        </a:cubicBezTo>
                        <a:cubicBezTo>
                          <a:pt x="10" y="14"/>
                          <a:pt x="11" y="14"/>
                          <a:pt x="13" y="12"/>
                        </a:cubicBezTo>
                        <a:cubicBezTo>
                          <a:pt x="14" y="11"/>
                          <a:pt x="15" y="9"/>
                          <a:pt x="15" y="7"/>
                        </a:cubicBezTo>
                        <a:cubicBezTo>
                          <a:pt x="15" y="5"/>
                          <a:pt x="16" y="4"/>
                          <a:pt x="17" y="3"/>
                        </a:cubicBezTo>
                        <a:cubicBezTo>
                          <a:pt x="18" y="2"/>
                          <a:pt x="20" y="2"/>
                          <a:pt x="22" y="1"/>
                        </a:cubicBezTo>
                        <a:cubicBezTo>
                          <a:pt x="24" y="1"/>
                          <a:pt x="25" y="1"/>
                          <a:pt x="28" y="0"/>
                        </a:cubicBezTo>
                        <a:cubicBezTo>
                          <a:pt x="29" y="0"/>
                          <a:pt x="30" y="1"/>
                          <a:pt x="31" y="2"/>
                        </a:cubicBezTo>
                        <a:cubicBezTo>
                          <a:pt x="33" y="3"/>
                          <a:pt x="35" y="2"/>
                          <a:pt x="37" y="3"/>
                        </a:cubicBezTo>
                        <a:cubicBezTo>
                          <a:pt x="38" y="5"/>
                          <a:pt x="39" y="6"/>
                          <a:pt x="40" y="8"/>
                        </a:cubicBezTo>
                        <a:cubicBezTo>
                          <a:pt x="40" y="9"/>
                          <a:pt x="40" y="9"/>
                          <a:pt x="41" y="9"/>
                        </a:cubicBezTo>
                        <a:cubicBezTo>
                          <a:pt x="43" y="10"/>
                          <a:pt x="43" y="8"/>
                          <a:pt x="44" y="8"/>
                        </a:cubicBezTo>
                        <a:cubicBezTo>
                          <a:pt x="48" y="8"/>
                          <a:pt x="49" y="4"/>
                          <a:pt x="53" y="7"/>
                        </a:cubicBezTo>
                        <a:cubicBezTo>
                          <a:pt x="54" y="8"/>
                          <a:pt x="54" y="8"/>
                          <a:pt x="55" y="9"/>
                        </a:cubicBezTo>
                        <a:cubicBezTo>
                          <a:pt x="56" y="9"/>
                          <a:pt x="56" y="9"/>
                          <a:pt x="56" y="9"/>
                        </a:cubicBezTo>
                        <a:cubicBezTo>
                          <a:pt x="58" y="10"/>
                          <a:pt x="59" y="11"/>
                          <a:pt x="61" y="11"/>
                        </a:cubicBezTo>
                        <a:cubicBezTo>
                          <a:pt x="62" y="11"/>
                          <a:pt x="65" y="12"/>
                          <a:pt x="66" y="11"/>
                        </a:cubicBezTo>
                        <a:cubicBezTo>
                          <a:pt x="68" y="11"/>
                          <a:pt x="68" y="9"/>
                          <a:pt x="70" y="8"/>
                        </a:cubicBezTo>
                        <a:cubicBezTo>
                          <a:pt x="73" y="5"/>
                          <a:pt x="78" y="5"/>
                          <a:pt x="82" y="5"/>
                        </a:cubicBezTo>
                        <a:cubicBezTo>
                          <a:pt x="84" y="6"/>
                          <a:pt x="86" y="6"/>
                          <a:pt x="87" y="7"/>
                        </a:cubicBezTo>
                        <a:cubicBezTo>
                          <a:pt x="89" y="8"/>
                          <a:pt x="91" y="9"/>
                          <a:pt x="93" y="8"/>
                        </a:cubicBezTo>
                        <a:cubicBezTo>
                          <a:pt x="94" y="8"/>
                          <a:pt x="95" y="6"/>
                          <a:pt x="97" y="5"/>
                        </a:cubicBezTo>
                        <a:cubicBezTo>
                          <a:pt x="97" y="4"/>
                          <a:pt x="98" y="4"/>
                          <a:pt x="99" y="4"/>
                        </a:cubicBezTo>
                        <a:cubicBezTo>
                          <a:pt x="101" y="3"/>
                          <a:pt x="100" y="3"/>
                          <a:pt x="101" y="3"/>
                        </a:cubicBezTo>
                        <a:cubicBezTo>
                          <a:pt x="104" y="0"/>
                          <a:pt x="105" y="3"/>
                          <a:pt x="106" y="6"/>
                        </a:cubicBezTo>
                        <a:cubicBezTo>
                          <a:pt x="107" y="8"/>
                          <a:pt x="109" y="8"/>
                          <a:pt x="109" y="13"/>
                        </a:cubicBezTo>
                        <a:cubicBezTo>
                          <a:pt x="108" y="13"/>
                          <a:pt x="109" y="16"/>
                          <a:pt x="110" y="16"/>
                        </a:cubicBezTo>
                        <a:cubicBezTo>
                          <a:pt x="111" y="17"/>
                          <a:pt x="111" y="16"/>
                          <a:pt x="112" y="16"/>
                        </a:cubicBezTo>
                        <a:cubicBezTo>
                          <a:pt x="116" y="18"/>
                          <a:pt x="112" y="22"/>
                          <a:pt x="113" y="24"/>
                        </a:cubicBezTo>
                        <a:cubicBezTo>
                          <a:pt x="115" y="26"/>
                          <a:pt x="110" y="28"/>
                          <a:pt x="108" y="28"/>
                        </a:cubicBezTo>
                        <a:cubicBezTo>
                          <a:pt x="105" y="28"/>
                          <a:pt x="104" y="34"/>
                          <a:pt x="104" y="36"/>
                        </a:cubicBezTo>
                        <a:cubicBezTo>
                          <a:pt x="103" y="37"/>
                          <a:pt x="103" y="38"/>
                          <a:pt x="103" y="39"/>
                        </a:cubicBezTo>
                        <a:cubicBezTo>
                          <a:pt x="102" y="41"/>
                          <a:pt x="101" y="41"/>
                          <a:pt x="101" y="42"/>
                        </a:cubicBezTo>
                        <a:cubicBezTo>
                          <a:pt x="101" y="43"/>
                          <a:pt x="101" y="45"/>
                          <a:pt x="100" y="46"/>
                        </a:cubicBezTo>
                        <a:cubicBezTo>
                          <a:pt x="99" y="47"/>
                          <a:pt x="98" y="48"/>
                          <a:pt x="97" y="49"/>
                        </a:cubicBezTo>
                        <a:cubicBezTo>
                          <a:pt x="98" y="49"/>
                          <a:pt x="97" y="52"/>
                          <a:pt x="97" y="53"/>
                        </a:cubicBezTo>
                        <a:cubicBezTo>
                          <a:pt x="96" y="55"/>
                          <a:pt x="95" y="56"/>
                          <a:pt x="93" y="57"/>
                        </a:cubicBezTo>
                        <a:cubicBezTo>
                          <a:pt x="93" y="58"/>
                          <a:pt x="92" y="58"/>
                          <a:pt x="91" y="59"/>
                        </a:cubicBezTo>
                        <a:cubicBezTo>
                          <a:pt x="90" y="60"/>
                          <a:pt x="91" y="61"/>
                          <a:pt x="91" y="62"/>
                        </a:cubicBezTo>
                        <a:cubicBezTo>
                          <a:pt x="90" y="65"/>
                          <a:pt x="89" y="67"/>
                          <a:pt x="88" y="69"/>
                        </a:cubicBezTo>
                        <a:cubicBezTo>
                          <a:pt x="86" y="71"/>
                          <a:pt x="89" y="72"/>
                          <a:pt x="86" y="74"/>
                        </a:cubicBezTo>
                        <a:cubicBezTo>
                          <a:pt x="84" y="75"/>
                          <a:pt x="85" y="76"/>
                          <a:pt x="85" y="77"/>
                        </a:cubicBezTo>
                        <a:cubicBezTo>
                          <a:pt x="84" y="78"/>
                          <a:pt x="83" y="79"/>
                          <a:pt x="83" y="80"/>
                        </a:cubicBezTo>
                        <a:cubicBezTo>
                          <a:pt x="82" y="81"/>
                          <a:pt x="81" y="80"/>
                          <a:pt x="80" y="80"/>
                        </a:cubicBezTo>
                        <a:cubicBezTo>
                          <a:pt x="80" y="80"/>
                          <a:pt x="80" y="78"/>
                          <a:pt x="80" y="77"/>
                        </a:cubicBezTo>
                        <a:cubicBezTo>
                          <a:pt x="80" y="76"/>
                          <a:pt x="77" y="76"/>
                          <a:pt x="77" y="75"/>
                        </a:cubicBezTo>
                        <a:cubicBezTo>
                          <a:pt x="76" y="73"/>
                          <a:pt x="76" y="74"/>
                          <a:pt x="75" y="72"/>
                        </a:cubicBezTo>
                        <a:cubicBezTo>
                          <a:pt x="75" y="73"/>
                          <a:pt x="75" y="75"/>
                          <a:pt x="74" y="75"/>
                        </a:cubicBezTo>
                        <a:cubicBezTo>
                          <a:pt x="72" y="76"/>
                          <a:pt x="72" y="74"/>
                          <a:pt x="71" y="74"/>
                        </a:cubicBezTo>
                        <a:cubicBezTo>
                          <a:pt x="68" y="75"/>
                          <a:pt x="68" y="78"/>
                          <a:pt x="66" y="79"/>
                        </a:cubicBezTo>
                        <a:cubicBezTo>
                          <a:pt x="65" y="81"/>
                          <a:pt x="59" y="87"/>
                          <a:pt x="59" y="87"/>
                        </a:cubicBezTo>
                        <a:cubicBezTo>
                          <a:pt x="61" y="89"/>
                          <a:pt x="58" y="92"/>
                          <a:pt x="58" y="93"/>
                        </a:cubicBezTo>
                        <a:cubicBezTo>
                          <a:pt x="58" y="95"/>
                          <a:pt x="58" y="96"/>
                          <a:pt x="56" y="99"/>
                        </a:cubicBezTo>
                        <a:cubicBezTo>
                          <a:pt x="55" y="99"/>
                          <a:pt x="54" y="98"/>
                          <a:pt x="55" y="97"/>
                        </a:cubicBezTo>
                        <a:cubicBezTo>
                          <a:pt x="54" y="97"/>
                          <a:pt x="53" y="97"/>
                          <a:pt x="53" y="96"/>
                        </a:cubicBezTo>
                        <a:cubicBezTo>
                          <a:pt x="54" y="99"/>
                          <a:pt x="55" y="100"/>
                          <a:pt x="51" y="100"/>
                        </a:cubicBezTo>
                        <a:cubicBezTo>
                          <a:pt x="50" y="100"/>
                          <a:pt x="45" y="101"/>
                          <a:pt x="47" y="98"/>
                        </a:cubicBezTo>
                        <a:cubicBezTo>
                          <a:pt x="46" y="100"/>
                          <a:pt x="46" y="100"/>
                          <a:pt x="45" y="100"/>
                        </a:cubicBezTo>
                        <a:cubicBezTo>
                          <a:pt x="43" y="100"/>
                          <a:pt x="43" y="99"/>
                          <a:pt x="42" y="98"/>
                        </a:cubicBezTo>
                        <a:cubicBezTo>
                          <a:pt x="43" y="99"/>
                          <a:pt x="43" y="101"/>
                          <a:pt x="42" y="101"/>
                        </a:cubicBezTo>
                        <a:cubicBezTo>
                          <a:pt x="41" y="100"/>
                          <a:pt x="42" y="98"/>
                          <a:pt x="40" y="99"/>
                        </a:cubicBezTo>
                        <a:cubicBezTo>
                          <a:pt x="41" y="100"/>
                          <a:pt x="41" y="101"/>
                          <a:pt x="41" y="102"/>
                        </a:cubicBezTo>
                        <a:cubicBezTo>
                          <a:pt x="40" y="102"/>
                          <a:pt x="39" y="98"/>
                          <a:pt x="39" y="97"/>
                        </a:cubicBezTo>
                        <a:cubicBezTo>
                          <a:pt x="38" y="98"/>
                          <a:pt x="40" y="101"/>
                          <a:pt x="39" y="102"/>
                        </a:cubicBezTo>
                        <a:cubicBezTo>
                          <a:pt x="39" y="104"/>
                          <a:pt x="39" y="100"/>
                          <a:pt x="39" y="100"/>
                        </a:cubicBezTo>
                        <a:cubicBezTo>
                          <a:pt x="39" y="100"/>
                          <a:pt x="38" y="103"/>
                          <a:pt x="38" y="100"/>
                        </a:cubicBezTo>
                        <a:cubicBezTo>
                          <a:pt x="38" y="101"/>
                          <a:pt x="38" y="102"/>
                          <a:pt x="38" y="102"/>
                        </a:cubicBezTo>
                        <a:cubicBezTo>
                          <a:pt x="38" y="102"/>
                          <a:pt x="37" y="101"/>
                          <a:pt x="37" y="101"/>
                        </a:cubicBezTo>
                        <a:cubicBezTo>
                          <a:pt x="38" y="101"/>
                          <a:pt x="37" y="103"/>
                          <a:pt x="36" y="103"/>
                        </a:cubicBezTo>
                        <a:cubicBezTo>
                          <a:pt x="34" y="102"/>
                          <a:pt x="35" y="103"/>
                          <a:pt x="34" y="101"/>
                        </a:cubicBezTo>
                        <a:cubicBezTo>
                          <a:pt x="34" y="103"/>
                          <a:pt x="33" y="104"/>
                          <a:pt x="32" y="102"/>
                        </a:cubicBezTo>
                        <a:cubicBezTo>
                          <a:pt x="32" y="103"/>
                          <a:pt x="32" y="102"/>
                          <a:pt x="31" y="102"/>
                        </a:cubicBezTo>
                        <a:cubicBezTo>
                          <a:pt x="29" y="101"/>
                          <a:pt x="28" y="100"/>
                          <a:pt x="28" y="98"/>
                        </a:cubicBezTo>
                        <a:cubicBezTo>
                          <a:pt x="27" y="97"/>
                          <a:pt x="26" y="96"/>
                          <a:pt x="27" y="95"/>
                        </a:cubicBezTo>
                        <a:cubicBezTo>
                          <a:pt x="27" y="94"/>
                          <a:pt x="27" y="93"/>
                          <a:pt x="26" y="93"/>
                        </a:cubicBezTo>
                        <a:cubicBezTo>
                          <a:pt x="26" y="92"/>
                          <a:pt x="26" y="92"/>
                          <a:pt x="27" y="92"/>
                        </a:cubicBezTo>
                        <a:cubicBezTo>
                          <a:pt x="29" y="91"/>
                          <a:pt x="27" y="91"/>
                          <a:pt x="28" y="90"/>
                        </a:cubicBezTo>
                        <a:cubicBezTo>
                          <a:pt x="27" y="90"/>
                          <a:pt x="26" y="91"/>
                          <a:pt x="25" y="91"/>
                        </a:cubicBezTo>
                        <a:cubicBezTo>
                          <a:pt x="22" y="90"/>
                          <a:pt x="27" y="89"/>
                          <a:pt x="27" y="89"/>
                        </a:cubicBezTo>
                        <a:cubicBezTo>
                          <a:pt x="27" y="88"/>
                          <a:pt x="26" y="88"/>
                          <a:pt x="26" y="89"/>
                        </a:cubicBezTo>
                        <a:cubicBezTo>
                          <a:pt x="26" y="88"/>
                          <a:pt x="26" y="88"/>
                          <a:pt x="26" y="88"/>
                        </a:cubicBezTo>
                        <a:cubicBezTo>
                          <a:pt x="25" y="89"/>
                          <a:pt x="24" y="89"/>
                          <a:pt x="23" y="88"/>
                        </a:cubicBezTo>
                        <a:cubicBezTo>
                          <a:pt x="23" y="87"/>
                          <a:pt x="24" y="86"/>
                          <a:pt x="25" y="86"/>
                        </a:cubicBezTo>
                        <a:cubicBezTo>
                          <a:pt x="24" y="86"/>
                          <a:pt x="24" y="87"/>
                          <a:pt x="23" y="87"/>
                        </a:cubicBezTo>
                        <a:cubicBezTo>
                          <a:pt x="22" y="84"/>
                          <a:pt x="19" y="81"/>
                          <a:pt x="16" y="80"/>
                        </a:cubicBezTo>
                        <a:cubicBezTo>
                          <a:pt x="15" y="80"/>
                          <a:pt x="13" y="80"/>
                          <a:pt x="11" y="80"/>
                        </a:cubicBezTo>
                        <a:cubicBezTo>
                          <a:pt x="10" y="80"/>
                          <a:pt x="8" y="81"/>
                          <a:pt x="7" y="80"/>
                        </a:cubicBezTo>
                        <a:cubicBezTo>
                          <a:pt x="9" y="80"/>
                          <a:pt x="11" y="79"/>
                          <a:pt x="11" y="78"/>
                        </a:cubicBezTo>
                        <a:cubicBezTo>
                          <a:pt x="10" y="78"/>
                          <a:pt x="9" y="80"/>
                          <a:pt x="8" y="78"/>
                        </a:cubicBezTo>
                        <a:cubicBezTo>
                          <a:pt x="7" y="79"/>
                          <a:pt x="7" y="80"/>
                          <a:pt x="7" y="80"/>
                        </a:cubicBezTo>
                        <a:cubicBezTo>
                          <a:pt x="5" y="81"/>
                          <a:pt x="3" y="80"/>
                          <a:pt x="1" y="81"/>
                        </a:cubicBezTo>
                        <a:cubicBezTo>
                          <a:pt x="1" y="79"/>
                          <a:pt x="2" y="78"/>
                          <a:pt x="2" y="77"/>
                        </a:cubicBezTo>
                        <a:cubicBezTo>
                          <a:pt x="2" y="75"/>
                          <a:pt x="1" y="74"/>
                          <a:pt x="1" y="73"/>
                        </a:cubicBezTo>
                        <a:cubicBezTo>
                          <a:pt x="2" y="71"/>
                          <a:pt x="2" y="66"/>
                          <a:pt x="1" y="64"/>
                        </a:cubicBezTo>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21" name="Namibia">
                    <a:extLst>
                      <a:ext uri="{FF2B5EF4-FFF2-40B4-BE49-F238E27FC236}">
                        <a16:creationId xmlns:a16="http://schemas.microsoft.com/office/drawing/2014/main" id="{A8F5CEA6-A29C-4DD4-2F18-1C18277F28F4}"/>
                      </a:ext>
                    </a:extLst>
                  </p:cNvPr>
                  <p:cNvSpPr>
                    <a:spLocks/>
                  </p:cNvSpPr>
                  <p:nvPr/>
                </p:nvSpPr>
                <p:spPr bwMode="auto">
                  <a:xfrm>
                    <a:off x="4051561" y="3764651"/>
                    <a:ext cx="291201" cy="302121"/>
                  </a:xfrm>
                  <a:custGeom>
                    <a:avLst/>
                    <a:gdLst/>
                    <a:ahLst/>
                    <a:cxnLst>
                      <a:cxn ang="0">
                        <a:pos x="0" y="4"/>
                      </a:cxn>
                      <a:cxn ang="0">
                        <a:pos x="4" y="3"/>
                      </a:cxn>
                      <a:cxn ang="0">
                        <a:pos x="7" y="4"/>
                      </a:cxn>
                      <a:cxn ang="0">
                        <a:pos x="15" y="1"/>
                      </a:cxn>
                      <a:cxn ang="0">
                        <a:pos x="21" y="5"/>
                      </a:cxn>
                      <a:cxn ang="0">
                        <a:pos x="29" y="6"/>
                      </a:cxn>
                      <a:cxn ang="0">
                        <a:pos x="59" y="5"/>
                      </a:cxn>
                      <a:cxn ang="0">
                        <a:pos x="64" y="8"/>
                      </a:cxn>
                      <a:cxn ang="0">
                        <a:pos x="71" y="10"/>
                      </a:cxn>
                      <a:cxn ang="0">
                        <a:pos x="83" y="12"/>
                      </a:cxn>
                      <a:cxn ang="0">
                        <a:pos x="86" y="12"/>
                      </a:cxn>
                      <a:cxn ang="0">
                        <a:pos x="90" y="12"/>
                      </a:cxn>
                      <a:cxn ang="0">
                        <a:pos x="94" y="11"/>
                      </a:cxn>
                      <a:cxn ang="0">
                        <a:pos x="114" y="7"/>
                      </a:cxn>
                      <a:cxn ang="0">
                        <a:pos x="118" y="7"/>
                      </a:cxn>
                      <a:cxn ang="0">
                        <a:pos x="121" y="7"/>
                      </a:cxn>
                      <a:cxn ang="0">
                        <a:pos x="126" y="10"/>
                      </a:cxn>
                      <a:cxn ang="0">
                        <a:pos x="122" y="10"/>
                      </a:cxn>
                      <a:cxn ang="0">
                        <a:pos x="119" y="12"/>
                      </a:cxn>
                      <a:cxn ang="0">
                        <a:pos x="111" y="17"/>
                      </a:cxn>
                      <a:cxn ang="0">
                        <a:pos x="107" y="12"/>
                      </a:cxn>
                      <a:cxn ang="0">
                        <a:pos x="97" y="14"/>
                      </a:cxn>
                      <a:cxn ang="0">
                        <a:pos x="87" y="15"/>
                      </a:cxn>
                      <a:cxn ang="0">
                        <a:pos x="86" y="55"/>
                      </a:cxn>
                      <a:cxn ang="0">
                        <a:pos x="77" y="55"/>
                      </a:cxn>
                      <a:cxn ang="0">
                        <a:pos x="75" y="122"/>
                      </a:cxn>
                      <a:cxn ang="0">
                        <a:pos x="71" y="125"/>
                      </a:cxn>
                      <a:cxn ang="0">
                        <a:pos x="69" y="127"/>
                      </a:cxn>
                      <a:cxn ang="0">
                        <a:pos x="69" y="129"/>
                      </a:cxn>
                      <a:cxn ang="0">
                        <a:pos x="64" y="129"/>
                      </a:cxn>
                      <a:cxn ang="0">
                        <a:pos x="58" y="129"/>
                      </a:cxn>
                      <a:cxn ang="0">
                        <a:pos x="51" y="126"/>
                      </a:cxn>
                      <a:cxn ang="0">
                        <a:pos x="51" y="123"/>
                      </a:cxn>
                      <a:cxn ang="0">
                        <a:pos x="50" y="122"/>
                      </a:cxn>
                      <a:cxn ang="0">
                        <a:pos x="48" y="120"/>
                      </a:cxn>
                      <a:cxn ang="0">
                        <a:pos x="45" y="124"/>
                      </a:cxn>
                      <a:cxn ang="0">
                        <a:pos x="41" y="125"/>
                      </a:cxn>
                      <a:cxn ang="0">
                        <a:pos x="36" y="119"/>
                      </a:cxn>
                      <a:cxn ang="0">
                        <a:pos x="33" y="113"/>
                      </a:cxn>
                      <a:cxn ang="0">
                        <a:pos x="32" y="110"/>
                      </a:cxn>
                      <a:cxn ang="0">
                        <a:pos x="31" y="107"/>
                      </a:cxn>
                      <a:cxn ang="0">
                        <a:pos x="30" y="102"/>
                      </a:cxn>
                      <a:cxn ang="0">
                        <a:pos x="29" y="100"/>
                      </a:cxn>
                      <a:cxn ang="0">
                        <a:pos x="29" y="95"/>
                      </a:cxn>
                      <a:cxn ang="0">
                        <a:pos x="28" y="92"/>
                      </a:cxn>
                      <a:cxn ang="0">
                        <a:pos x="28" y="88"/>
                      </a:cxn>
                      <a:cxn ang="0">
                        <a:pos x="26" y="80"/>
                      </a:cxn>
                      <a:cxn ang="0">
                        <a:pos x="25" y="73"/>
                      </a:cxn>
                      <a:cxn ang="0">
                        <a:pos x="25" y="67"/>
                      </a:cxn>
                      <a:cxn ang="0">
                        <a:pos x="26" y="62"/>
                      </a:cxn>
                      <a:cxn ang="0">
                        <a:pos x="23" y="56"/>
                      </a:cxn>
                      <a:cxn ang="0">
                        <a:pos x="21" y="52"/>
                      </a:cxn>
                      <a:cxn ang="0">
                        <a:pos x="19" y="49"/>
                      </a:cxn>
                      <a:cxn ang="0">
                        <a:pos x="12" y="34"/>
                      </a:cxn>
                      <a:cxn ang="0">
                        <a:pos x="5" y="19"/>
                      </a:cxn>
                      <a:cxn ang="0">
                        <a:pos x="0" y="4"/>
                      </a:cxn>
                    </a:cxnLst>
                    <a:rect l="0" t="0" r="r" b="b"/>
                    <a:pathLst>
                      <a:path w="126" h="130">
                        <a:moveTo>
                          <a:pt x="0" y="4"/>
                        </a:moveTo>
                        <a:cubicBezTo>
                          <a:pt x="1" y="4"/>
                          <a:pt x="2" y="3"/>
                          <a:pt x="4" y="3"/>
                        </a:cubicBezTo>
                        <a:cubicBezTo>
                          <a:pt x="5" y="3"/>
                          <a:pt x="6" y="4"/>
                          <a:pt x="7" y="4"/>
                        </a:cubicBezTo>
                        <a:cubicBezTo>
                          <a:pt x="10" y="3"/>
                          <a:pt x="12" y="0"/>
                          <a:pt x="15" y="1"/>
                        </a:cubicBezTo>
                        <a:cubicBezTo>
                          <a:pt x="17" y="2"/>
                          <a:pt x="19" y="4"/>
                          <a:pt x="21" y="5"/>
                        </a:cubicBezTo>
                        <a:cubicBezTo>
                          <a:pt x="22" y="6"/>
                          <a:pt x="26" y="6"/>
                          <a:pt x="29" y="6"/>
                        </a:cubicBezTo>
                        <a:cubicBezTo>
                          <a:pt x="39" y="6"/>
                          <a:pt x="49" y="6"/>
                          <a:pt x="59" y="5"/>
                        </a:cubicBezTo>
                        <a:cubicBezTo>
                          <a:pt x="62" y="5"/>
                          <a:pt x="63" y="5"/>
                          <a:pt x="64" y="8"/>
                        </a:cubicBezTo>
                        <a:cubicBezTo>
                          <a:pt x="66" y="11"/>
                          <a:pt x="68" y="10"/>
                          <a:pt x="71" y="10"/>
                        </a:cubicBezTo>
                        <a:cubicBezTo>
                          <a:pt x="75" y="11"/>
                          <a:pt x="79" y="10"/>
                          <a:pt x="83" y="12"/>
                        </a:cubicBezTo>
                        <a:cubicBezTo>
                          <a:pt x="84" y="12"/>
                          <a:pt x="85" y="12"/>
                          <a:pt x="86" y="12"/>
                        </a:cubicBezTo>
                        <a:cubicBezTo>
                          <a:pt x="87" y="11"/>
                          <a:pt x="88" y="11"/>
                          <a:pt x="90" y="12"/>
                        </a:cubicBezTo>
                        <a:cubicBezTo>
                          <a:pt x="92" y="12"/>
                          <a:pt x="93" y="12"/>
                          <a:pt x="94" y="11"/>
                        </a:cubicBezTo>
                        <a:cubicBezTo>
                          <a:pt x="100" y="10"/>
                          <a:pt x="107" y="8"/>
                          <a:pt x="114" y="7"/>
                        </a:cubicBezTo>
                        <a:cubicBezTo>
                          <a:pt x="115" y="7"/>
                          <a:pt x="116" y="6"/>
                          <a:pt x="118" y="7"/>
                        </a:cubicBezTo>
                        <a:cubicBezTo>
                          <a:pt x="119" y="7"/>
                          <a:pt x="120" y="7"/>
                          <a:pt x="121" y="7"/>
                        </a:cubicBezTo>
                        <a:cubicBezTo>
                          <a:pt x="123" y="6"/>
                          <a:pt x="124" y="8"/>
                          <a:pt x="126" y="10"/>
                        </a:cubicBezTo>
                        <a:cubicBezTo>
                          <a:pt x="125" y="9"/>
                          <a:pt x="123" y="10"/>
                          <a:pt x="122" y="10"/>
                        </a:cubicBezTo>
                        <a:cubicBezTo>
                          <a:pt x="121" y="11"/>
                          <a:pt x="120" y="13"/>
                          <a:pt x="119" y="12"/>
                        </a:cubicBezTo>
                        <a:cubicBezTo>
                          <a:pt x="117" y="10"/>
                          <a:pt x="112" y="17"/>
                          <a:pt x="111" y="17"/>
                        </a:cubicBezTo>
                        <a:cubicBezTo>
                          <a:pt x="110" y="16"/>
                          <a:pt x="109" y="12"/>
                          <a:pt x="107" y="12"/>
                        </a:cubicBezTo>
                        <a:cubicBezTo>
                          <a:pt x="104" y="12"/>
                          <a:pt x="100" y="13"/>
                          <a:pt x="97" y="14"/>
                        </a:cubicBezTo>
                        <a:cubicBezTo>
                          <a:pt x="94" y="15"/>
                          <a:pt x="90" y="15"/>
                          <a:pt x="87" y="15"/>
                        </a:cubicBezTo>
                        <a:cubicBezTo>
                          <a:pt x="86" y="55"/>
                          <a:pt x="86" y="55"/>
                          <a:pt x="86" y="55"/>
                        </a:cubicBezTo>
                        <a:cubicBezTo>
                          <a:pt x="77" y="55"/>
                          <a:pt x="77" y="55"/>
                          <a:pt x="77" y="55"/>
                        </a:cubicBezTo>
                        <a:cubicBezTo>
                          <a:pt x="75" y="122"/>
                          <a:pt x="75" y="122"/>
                          <a:pt x="75" y="122"/>
                        </a:cubicBezTo>
                        <a:cubicBezTo>
                          <a:pt x="75" y="125"/>
                          <a:pt x="73" y="124"/>
                          <a:pt x="71" y="125"/>
                        </a:cubicBezTo>
                        <a:cubicBezTo>
                          <a:pt x="71" y="126"/>
                          <a:pt x="71" y="127"/>
                          <a:pt x="69" y="127"/>
                        </a:cubicBezTo>
                        <a:cubicBezTo>
                          <a:pt x="68" y="128"/>
                          <a:pt x="68" y="128"/>
                          <a:pt x="69" y="129"/>
                        </a:cubicBezTo>
                        <a:cubicBezTo>
                          <a:pt x="66" y="130"/>
                          <a:pt x="67" y="129"/>
                          <a:pt x="64" y="129"/>
                        </a:cubicBezTo>
                        <a:cubicBezTo>
                          <a:pt x="62" y="128"/>
                          <a:pt x="60" y="129"/>
                          <a:pt x="58" y="129"/>
                        </a:cubicBezTo>
                        <a:cubicBezTo>
                          <a:pt x="54" y="128"/>
                          <a:pt x="51" y="126"/>
                          <a:pt x="51" y="126"/>
                        </a:cubicBezTo>
                        <a:cubicBezTo>
                          <a:pt x="51" y="124"/>
                          <a:pt x="51" y="124"/>
                          <a:pt x="51" y="123"/>
                        </a:cubicBezTo>
                        <a:cubicBezTo>
                          <a:pt x="51" y="122"/>
                          <a:pt x="50" y="122"/>
                          <a:pt x="50" y="122"/>
                        </a:cubicBezTo>
                        <a:cubicBezTo>
                          <a:pt x="49" y="121"/>
                          <a:pt x="49" y="120"/>
                          <a:pt x="48" y="120"/>
                        </a:cubicBezTo>
                        <a:cubicBezTo>
                          <a:pt x="45" y="122"/>
                          <a:pt x="46" y="124"/>
                          <a:pt x="45" y="124"/>
                        </a:cubicBezTo>
                        <a:cubicBezTo>
                          <a:pt x="44" y="125"/>
                          <a:pt x="43" y="126"/>
                          <a:pt x="41" y="125"/>
                        </a:cubicBezTo>
                        <a:cubicBezTo>
                          <a:pt x="40" y="123"/>
                          <a:pt x="38" y="121"/>
                          <a:pt x="36" y="119"/>
                        </a:cubicBezTo>
                        <a:cubicBezTo>
                          <a:pt x="35" y="117"/>
                          <a:pt x="34" y="115"/>
                          <a:pt x="33" y="113"/>
                        </a:cubicBezTo>
                        <a:cubicBezTo>
                          <a:pt x="32" y="112"/>
                          <a:pt x="32" y="111"/>
                          <a:pt x="32" y="110"/>
                        </a:cubicBezTo>
                        <a:cubicBezTo>
                          <a:pt x="32" y="108"/>
                          <a:pt x="31" y="108"/>
                          <a:pt x="31" y="107"/>
                        </a:cubicBezTo>
                        <a:cubicBezTo>
                          <a:pt x="30" y="105"/>
                          <a:pt x="31" y="104"/>
                          <a:pt x="30" y="102"/>
                        </a:cubicBezTo>
                        <a:cubicBezTo>
                          <a:pt x="29" y="101"/>
                          <a:pt x="29" y="101"/>
                          <a:pt x="29" y="100"/>
                        </a:cubicBezTo>
                        <a:cubicBezTo>
                          <a:pt x="29" y="98"/>
                          <a:pt x="29" y="97"/>
                          <a:pt x="29" y="95"/>
                        </a:cubicBezTo>
                        <a:cubicBezTo>
                          <a:pt x="29" y="94"/>
                          <a:pt x="29" y="93"/>
                          <a:pt x="28" y="92"/>
                        </a:cubicBezTo>
                        <a:cubicBezTo>
                          <a:pt x="28" y="91"/>
                          <a:pt x="29" y="89"/>
                          <a:pt x="28" y="88"/>
                        </a:cubicBezTo>
                        <a:cubicBezTo>
                          <a:pt x="28" y="85"/>
                          <a:pt x="27" y="83"/>
                          <a:pt x="26" y="80"/>
                        </a:cubicBezTo>
                        <a:cubicBezTo>
                          <a:pt x="25" y="78"/>
                          <a:pt x="26" y="75"/>
                          <a:pt x="25" y="73"/>
                        </a:cubicBezTo>
                        <a:cubicBezTo>
                          <a:pt x="25" y="71"/>
                          <a:pt x="25" y="68"/>
                          <a:pt x="25" y="67"/>
                        </a:cubicBezTo>
                        <a:cubicBezTo>
                          <a:pt x="25" y="67"/>
                          <a:pt x="26" y="62"/>
                          <a:pt x="26" y="62"/>
                        </a:cubicBezTo>
                        <a:cubicBezTo>
                          <a:pt x="26" y="60"/>
                          <a:pt x="24" y="58"/>
                          <a:pt x="23" y="56"/>
                        </a:cubicBezTo>
                        <a:cubicBezTo>
                          <a:pt x="22" y="54"/>
                          <a:pt x="21" y="53"/>
                          <a:pt x="21" y="52"/>
                        </a:cubicBezTo>
                        <a:cubicBezTo>
                          <a:pt x="20" y="51"/>
                          <a:pt x="20" y="50"/>
                          <a:pt x="19" y="49"/>
                        </a:cubicBezTo>
                        <a:cubicBezTo>
                          <a:pt x="15" y="44"/>
                          <a:pt x="15" y="39"/>
                          <a:pt x="12" y="34"/>
                        </a:cubicBezTo>
                        <a:cubicBezTo>
                          <a:pt x="9" y="29"/>
                          <a:pt x="9" y="23"/>
                          <a:pt x="5" y="19"/>
                        </a:cubicBezTo>
                        <a:cubicBezTo>
                          <a:pt x="0" y="15"/>
                          <a:pt x="0" y="10"/>
                          <a:pt x="0" y="4"/>
                        </a:cubicBezTo>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22" name="Niger">
                    <a:extLst>
                      <a:ext uri="{FF2B5EF4-FFF2-40B4-BE49-F238E27FC236}">
                        <a16:creationId xmlns:a16="http://schemas.microsoft.com/office/drawing/2014/main" id="{E2C5DFD8-3494-7D37-7204-CA9A8650110F}"/>
                      </a:ext>
                    </a:extLst>
                  </p:cNvPr>
                  <p:cNvSpPr>
                    <a:spLocks/>
                  </p:cNvSpPr>
                  <p:nvPr/>
                </p:nvSpPr>
                <p:spPr bwMode="auto">
                  <a:xfrm>
                    <a:off x="3797972" y="2758795"/>
                    <a:ext cx="345802" cy="297268"/>
                  </a:xfrm>
                  <a:custGeom>
                    <a:avLst/>
                    <a:gdLst/>
                    <a:ahLst/>
                    <a:cxnLst>
                      <a:cxn ang="0">
                        <a:pos x="1" y="92"/>
                      </a:cxn>
                      <a:cxn ang="0">
                        <a:pos x="10" y="90"/>
                      </a:cxn>
                      <a:cxn ang="0">
                        <a:pos x="23" y="88"/>
                      </a:cxn>
                      <a:cxn ang="0">
                        <a:pos x="27" y="87"/>
                      </a:cxn>
                      <a:cxn ang="0">
                        <a:pos x="36" y="84"/>
                      </a:cxn>
                      <a:cxn ang="0">
                        <a:pos x="39" y="68"/>
                      </a:cxn>
                      <a:cxn ang="0">
                        <a:pos x="43" y="46"/>
                      </a:cxn>
                      <a:cxn ang="0">
                        <a:pos x="60" y="38"/>
                      </a:cxn>
                      <a:cxn ang="0">
                        <a:pos x="97" y="10"/>
                      </a:cxn>
                      <a:cxn ang="0">
                        <a:pos x="122" y="3"/>
                      </a:cxn>
                      <a:cxn ang="0">
                        <a:pos x="133" y="10"/>
                      </a:cxn>
                      <a:cxn ang="0">
                        <a:pos x="141" y="20"/>
                      </a:cxn>
                      <a:cxn ang="0">
                        <a:pos x="145" y="28"/>
                      </a:cxn>
                      <a:cxn ang="0">
                        <a:pos x="148" y="34"/>
                      </a:cxn>
                      <a:cxn ang="0">
                        <a:pos x="145" y="57"/>
                      </a:cxn>
                      <a:cxn ang="0">
                        <a:pos x="144" y="71"/>
                      </a:cxn>
                      <a:cxn ang="0">
                        <a:pos x="135" y="82"/>
                      </a:cxn>
                      <a:cxn ang="0">
                        <a:pos x="127" y="97"/>
                      </a:cxn>
                      <a:cxn ang="0">
                        <a:pos x="127" y="106"/>
                      </a:cxn>
                      <a:cxn ang="0">
                        <a:pos x="122" y="108"/>
                      </a:cxn>
                      <a:cxn ang="0">
                        <a:pos x="111" y="111"/>
                      </a:cxn>
                      <a:cxn ang="0">
                        <a:pos x="92" y="112"/>
                      </a:cxn>
                      <a:cxn ang="0">
                        <a:pos x="87" y="115"/>
                      </a:cxn>
                      <a:cxn ang="0">
                        <a:pos x="71" y="110"/>
                      </a:cxn>
                      <a:cxn ang="0">
                        <a:pos x="66" y="113"/>
                      </a:cxn>
                      <a:cxn ang="0">
                        <a:pos x="56" y="106"/>
                      </a:cxn>
                      <a:cxn ang="0">
                        <a:pos x="47" y="105"/>
                      </a:cxn>
                      <a:cxn ang="0">
                        <a:pos x="38" y="110"/>
                      </a:cxn>
                      <a:cxn ang="0">
                        <a:pos x="33" y="121"/>
                      </a:cxn>
                      <a:cxn ang="0">
                        <a:pos x="25" y="120"/>
                      </a:cxn>
                      <a:cxn ang="0">
                        <a:pos x="21" y="122"/>
                      </a:cxn>
                      <a:cxn ang="0">
                        <a:pos x="19" y="122"/>
                      </a:cxn>
                      <a:cxn ang="0">
                        <a:pos x="19" y="117"/>
                      </a:cxn>
                      <a:cxn ang="0">
                        <a:pos x="8" y="110"/>
                      </a:cxn>
                      <a:cxn ang="0">
                        <a:pos x="5" y="106"/>
                      </a:cxn>
                      <a:cxn ang="0">
                        <a:pos x="1" y="98"/>
                      </a:cxn>
                    </a:cxnLst>
                    <a:rect l="0" t="0" r="r" b="b"/>
                    <a:pathLst>
                      <a:path w="149" h="128">
                        <a:moveTo>
                          <a:pt x="1" y="98"/>
                        </a:moveTo>
                        <a:cubicBezTo>
                          <a:pt x="0" y="97"/>
                          <a:pt x="1" y="94"/>
                          <a:pt x="1" y="92"/>
                        </a:cubicBezTo>
                        <a:cubicBezTo>
                          <a:pt x="3" y="93"/>
                          <a:pt x="5" y="92"/>
                          <a:pt x="6" y="92"/>
                        </a:cubicBezTo>
                        <a:cubicBezTo>
                          <a:pt x="8" y="92"/>
                          <a:pt x="9" y="91"/>
                          <a:pt x="10" y="90"/>
                        </a:cubicBezTo>
                        <a:cubicBezTo>
                          <a:pt x="11" y="88"/>
                          <a:pt x="13" y="89"/>
                          <a:pt x="15" y="89"/>
                        </a:cubicBezTo>
                        <a:cubicBezTo>
                          <a:pt x="17" y="89"/>
                          <a:pt x="20" y="88"/>
                          <a:pt x="23" y="88"/>
                        </a:cubicBezTo>
                        <a:cubicBezTo>
                          <a:pt x="24" y="88"/>
                          <a:pt x="25" y="88"/>
                          <a:pt x="26" y="88"/>
                        </a:cubicBezTo>
                        <a:cubicBezTo>
                          <a:pt x="28" y="89"/>
                          <a:pt x="26" y="88"/>
                          <a:pt x="27" y="87"/>
                        </a:cubicBezTo>
                        <a:cubicBezTo>
                          <a:pt x="29" y="87"/>
                          <a:pt x="31" y="89"/>
                          <a:pt x="32" y="87"/>
                        </a:cubicBezTo>
                        <a:cubicBezTo>
                          <a:pt x="33" y="86"/>
                          <a:pt x="35" y="85"/>
                          <a:pt x="36" y="84"/>
                        </a:cubicBezTo>
                        <a:cubicBezTo>
                          <a:pt x="36" y="82"/>
                          <a:pt x="36" y="80"/>
                          <a:pt x="37" y="79"/>
                        </a:cubicBezTo>
                        <a:cubicBezTo>
                          <a:pt x="39" y="75"/>
                          <a:pt x="39" y="72"/>
                          <a:pt x="39" y="68"/>
                        </a:cubicBezTo>
                        <a:cubicBezTo>
                          <a:pt x="39" y="62"/>
                          <a:pt x="39" y="57"/>
                          <a:pt x="39" y="51"/>
                        </a:cubicBezTo>
                        <a:cubicBezTo>
                          <a:pt x="39" y="48"/>
                          <a:pt x="39" y="47"/>
                          <a:pt x="43" y="46"/>
                        </a:cubicBezTo>
                        <a:cubicBezTo>
                          <a:pt x="46" y="46"/>
                          <a:pt x="49" y="46"/>
                          <a:pt x="52" y="45"/>
                        </a:cubicBezTo>
                        <a:cubicBezTo>
                          <a:pt x="55" y="44"/>
                          <a:pt x="58" y="41"/>
                          <a:pt x="60" y="38"/>
                        </a:cubicBezTo>
                        <a:cubicBezTo>
                          <a:pt x="64" y="35"/>
                          <a:pt x="67" y="31"/>
                          <a:pt x="71" y="28"/>
                        </a:cubicBezTo>
                        <a:cubicBezTo>
                          <a:pt x="79" y="21"/>
                          <a:pt x="88" y="16"/>
                          <a:pt x="97" y="10"/>
                        </a:cubicBezTo>
                        <a:cubicBezTo>
                          <a:pt x="101" y="8"/>
                          <a:pt x="105" y="5"/>
                          <a:pt x="109" y="2"/>
                        </a:cubicBezTo>
                        <a:cubicBezTo>
                          <a:pt x="113" y="0"/>
                          <a:pt x="118" y="2"/>
                          <a:pt x="122" y="3"/>
                        </a:cubicBezTo>
                        <a:cubicBezTo>
                          <a:pt x="125" y="4"/>
                          <a:pt x="128" y="7"/>
                          <a:pt x="131" y="9"/>
                        </a:cubicBezTo>
                        <a:cubicBezTo>
                          <a:pt x="132" y="10"/>
                          <a:pt x="132" y="10"/>
                          <a:pt x="133" y="10"/>
                        </a:cubicBezTo>
                        <a:cubicBezTo>
                          <a:pt x="135" y="8"/>
                          <a:pt x="137" y="7"/>
                          <a:pt x="139" y="6"/>
                        </a:cubicBezTo>
                        <a:cubicBezTo>
                          <a:pt x="140" y="11"/>
                          <a:pt x="141" y="16"/>
                          <a:pt x="141" y="20"/>
                        </a:cubicBezTo>
                        <a:cubicBezTo>
                          <a:pt x="141" y="22"/>
                          <a:pt x="142" y="24"/>
                          <a:pt x="143" y="25"/>
                        </a:cubicBezTo>
                        <a:cubicBezTo>
                          <a:pt x="144" y="26"/>
                          <a:pt x="144" y="27"/>
                          <a:pt x="145" y="28"/>
                        </a:cubicBezTo>
                        <a:cubicBezTo>
                          <a:pt x="145" y="29"/>
                          <a:pt x="144" y="30"/>
                          <a:pt x="145" y="31"/>
                        </a:cubicBezTo>
                        <a:cubicBezTo>
                          <a:pt x="146" y="32"/>
                          <a:pt x="148" y="33"/>
                          <a:pt x="148" y="34"/>
                        </a:cubicBezTo>
                        <a:cubicBezTo>
                          <a:pt x="149" y="36"/>
                          <a:pt x="146" y="38"/>
                          <a:pt x="146" y="40"/>
                        </a:cubicBezTo>
                        <a:cubicBezTo>
                          <a:pt x="146" y="46"/>
                          <a:pt x="145" y="52"/>
                          <a:pt x="145" y="57"/>
                        </a:cubicBezTo>
                        <a:cubicBezTo>
                          <a:pt x="145" y="60"/>
                          <a:pt x="145" y="62"/>
                          <a:pt x="144" y="65"/>
                        </a:cubicBezTo>
                        <a:cubicBezTo>
                          <a:pt x="144" y="67"/>
                          <a:pt x="145" y="69"/>
                          <a:pt x="144" y="71"/>
                        </a:cubicBezTo>
                        <a:cubicBezTo>
                          <a:pt x="143" y="73"/>
                          <a:pt x="142" y="74"/>
                          <a:pt x="141" y="76"/>
                        </a:cubicBezTo>
                        <a:cubicBezTo>
                          <a:pt x="139" y="78"/>
                          <a:pt x="137" y="80"/>
                          <a:pt x="135" y="82"/>
                        </a:cubicBezTo>
                        <a:cubicBezTo>
                          <a:pt x="132" y="86"/>
                          <a:pt x="130" y="90"/>
                          <a:pt x="128" y="94"/>
                        </a:cubicBezTo>
                        <a:cubicBezTo>
                          <a:pt x="128" y="95"/>
                          <a:pt x="127" y="96"/>
                          <a:pt x="127" y="97"/>
                        </a:cubicBezTo>
                        <a:cubicBezTo>
                          <a:pt x="126" y="98"/>
                          <a:pt x="126" y="97"/>
                          <a:pt x="125" y="98"/>
                        </a:cubicBezTo>
                        <a:cubicBezTo>
                          <a:pt x="125" y="100"/>
                          <a:pt x="127" y="104"/>
                          <a:pt x="127" y="106"/>
                        </a:cubicBezTo>
                        <a:cubicBezTo>
                          <a:pt x="126" y="106"/>
                          <a:pt x="125" y="106"/>
                          <a:pt x="124" y="106"/>
                        </a:cubicBezTo>
                        <a:cubicBezTo>
                          <a:pt x="123" y="107"/>
                          <a:pt x="123" y="107"/>
                          <a:pt x="122" y="108"/>
                        </a:cubicBezTo>
                        <a:cubicBezTo>
                          <a:pt x="120" y="108"/>
                          <a:pt x="119" y="109"/>
                          <a:pt x="117" y="111"/>
                        </a:cubicBezTo>
                        <a:cubicBezTo>
                          <a:pt x="115" y="114"/>
                          <a:pt x="114" y="112"/>
                          <a:pt x="111" y="111"/>
                        </a:cubicBezTo>
                        <a:cubicBezTo>
                          <a:pt x="107" y="110"/>
                          <a:pt x="104" y="110"/>
                          <a:pt x="100" y="110"/>
                        </a:cubicBezTo>
                        <a:cubicBezTo>
                          <a:pt x="97" y="109"/>
                          <a:pt x="95" y="110"/>
                          <a:pt x="92" y="112"/>
                        </a:cubicBezTo>
                        <a:cubicBezTo>
                          <a:pt x="91" y="113"/>
                          <a:pt x="91" y="114"/>
                          <a:pt x="90" y="115"/>
                        </a:cubicBezTo>
                        <a:cubicBezTo>
                          <a:pt x="89" y="116"/>
                          <a:pt x="88" y="115"/>
                          <a:pt x="87" y="115"/>
                        </a:cubicBezTo>
                        <a:cubicBezTo>
                          <a:pt x="83" y="116"/>
                          <a:pt x="82" y="114"/>
                          <a:pt x="79" y="113"/>
                        </a:cubicBezTo>
                        <a:cubicBezTo>
                          <a:pt x="77" y="112"/>
                          <a:pt x="74" y="109"/>
                          <a:pt x="71" y="110"/>
                        </a:cubicBezTo>
                        <a:cubicBezTo>
                          <a:pt x="70" y="111"/>
                          <a:pt x="70" y="111"/>
                          <a:pt x="69" y="112"/>
                        </a:cubicBezTo>
                        <a:cubicBezTo>
                          <a:pt x="68" y="112"/>
                          <a:pt x="67" y="112"/>
                          <a:pt x="66" y="113"/>
                        </a:cubicBezTo>
                        <a:cubicBezTo>
                          <a:pt x="65" y="116"/>
                          <a:pt x="63" y="112"/>
                          <a:pt x="62" y="111"/>
                        </a:cubicBezTo>
                        <a:cubicBezTo>
                          <a:pt x="61" y="108"/>
                          <a:pt x="59" y="107"/>
                          <a:pt x="56" y="106"/>
                        </a:cubicBezTo>
                        <a:cubicBezTo>
                          <a:pt x="54" y="106"/>
                          <a:pt x="53" y="104"/>
                          <a:pt x="51" y="104"/>
                        </a:cubicBezTo>
                        <a:cubicBezTo>
                          <a:pt x="49" y="104"/>
                          <a:pt x="49" y="106"/>
                          <a:pt x="47" y="105"/>
                        </a:cubicBezTo>
                        <a:cubicBezTo>
                          <a:pt x="44" y="105"/>
                          <a:pt x="41" y="105"/>
                          <a:pt x="39" y="108"/>
                        </a:cubicBezTo>
                        <a:cubicBezTo>
                          <a:pt x="39" y="108"/>
                          <a:pt x="38" y="109"/>
                          <a:pt x="38" y="110"/>
                        </a:cubicBezTo>
                        <a:cubicBezTo>
                          <a:pt x="38" y="112"/>
                          <a:pt x="37" y="113"/>
                          <a:pt x="36" y="115"/>
                        </a:cubicBezTo>
                        <a:cubicBezTo>
                          <a:pt x="35" y="117"/>
                          <a:pt x="33" y="118"/>
                          <a:pt x="33" y="121"/>
                        </a:cubicBezTo>
                        <a:cubicBezTo>
                          <a:pt x="33" y="122"/>
                          <a:pt x="33" y="128"/>
                          <a:pt x="32" y="127"/>
                        </a:cubicBezTo>
                        <a:cubicBezTo>
                          <a:pt x="31" y="126"/>
                          <a:pt x="27" y="120"/>
                          <a:pt x="25" y="120"/>
                        </a:cubicBezTo>
                        <a:cubicBezTo>
                          <a:pt x="25" y="120"/>
                          <a:pt x="24" y="121"/>
                          <a:pt x="24" y="121"/>
                        </a:cubicBezTo>
                        <a:cubicBezTo>
                          <a:pt x="23" y="121"/>
                          <a:pt x="22" y="121"/>
                          <a:pt x="21" y="122"/>
                        </a:cubicBezTo>
                        <a:cubicBezTo>
                          <a:pt x="21" y="122"/>
                          <a:pt x="22" y="125"/>
                          <a:pt x="21" y="125"/>
                        </a:cubicBezTo>
                        <a:cubicBezTo>
                          <a:pt x="21" y="125"/>
                          <a:pt x="19" y="122"/>
                          <a:pt x="19" y="122"/>
                        </a:cubicBezTo>
                        <a:cubicBezTo>
                          <a:pt x="18" y="120"/>
                          <a:pt x="19" y="120"/>
                          <a:pt x="20" y="119"/>
                        </a:cubicBezTo>
                        <a:cubicBezTo>
                          <a:pt x="20" y="119"/>
                          <a:pt x="19" y="117"/>
                          <a:pt x="19" y="117"/>
                        </a:cubicBezTo>
                        <a:cubicBezTo>
                          <a:pt x="17" y="116"/>
                          <a:pt x="16" y="118"/>
                          <a:pt x="15" y="118"/>
                        </a:cubicBezTo>
                        <a:cubicBezTo>
                          <a:pt x="12" y="117"/>
                          <a:pt x="7" y="113"/>
                          <a:pt x="8" y="110"/>
                        </a:cubicBezTo>
                        <a:cubicBezTo>
                          <a:pt x="9" y="110"/>
                          <a:pt x="10" y="110"/>
                          <a:pt x="11" y="110"/>
                        </a:cubicBezTo>
                        <a:cubicBezTo>
                          <a:pt x="10" y="109"/>
                          <a:pt x="5" y="105"/>
                          <a:pt x="5" y="106"/>
                        </a:cubicBezTo>
                        <a:cubicBezTo>
                          <a:pt x="5" y="105"/>
                          <a:pt x="3" y="103"/>
                          <a:pt x="3" y="102"/>
                        </a:cubicBezTo>
                        <a:cubicBezTo>
                          <a:pt x="2" y="101"/>
                          <a:pt x="3" y="99"/>
                          <a:pt x="1" y="98"/>
                        </a:cubicBezTo>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23" name="Mozambique">
                    <a:extLst>
                      <a:ext uri="{FF2B5EF4-FFF2-40B4-BE49-F238E27FC236}">
                        <a16:creationId xmlns:a16="http://schemas.microsoft.com/office/drawing/2014/main" id="{00FB842E-4EFC-D787-D298-5E110B4CC4A9}"/>
                      </a:ext>
                    </a:extLst>
                  </p:cNvPr>
                  <p:cNvSpPr>
                    <a:spLocks/>
                  </p:cNvSpPr>
                  <p:nvPr/>
                </p:nvSpPr>
                <p:spPr bwMode="auto">
                  <a:xfrm>
                    <a:off x="4451961" y="3605706"/>
                    <a:ext cx="231747" cy="410107"/>
                  </a:xfrm>
                  <a:custGeom>
                    <a:avLst/>
                    <a:gdLst/>
                    <a:ahLst/>
                    <a:cxnLst>
                      <a:cxn ang="0">
                        <a:pos x="26" y="39"/>
                      </a:cxn>
                      <a:cxn ang="0">
                        <a:pos x="37" y="43"/>
                      </a:cxn>
                      <a:cxn ang="0">
                        <a:pos x="39" y="60"/>
                      </a:cxn>
                      <a:cxn ang="0">
                        <a:pos x="45" y="68"/>
                      </a:cxn>
                      <a:cxn ang="0">
                        <a:pos x="46" y="66"/>
                      </a:cxn>
                      <a:cxn ang="0">
                        <a:pos x="53" y="52"/>
                      </a:cxn>
                      <a:cxn ang="0">
                        <a:pos x="46" y="34"/>
                      </a:cxn>
                      <a:cxn ang="0">
                        <a:pos x="44" y="24"/>
                      </a:cxn>
                      <a:cxn ang="0">
                        <a:pos x="52" y="12"/>
                      </a:cxn>
                      <a:cxn ang="0">
                        <a:pos x="62" y="14"/>
                      </a:cxn>
                      <a:cxn ang="0">
                        <a:pos x="77" y="9"/>
                      </a:cxn>
                      <a:cxn ang="0">
                        <a:pos x="91" y="5"/>
                      </a:cxn>
                      <a:cxn ang="0">
                        <a:pos x="99" y="4"/>
                      </a:cxn>
                      <a:cxn ang="0">
                        <a:pos x="98" y="15"/>
                      </a:cxn>
                      <a:cxn ang="0">
                        <a:pos x="98" y="22"/>
                      </a:cxn>
                      <a:cxn ang="0">
                        <a:pos x="98" y="33"/>
                      </a:cxn>
                      <a:cxn ang="0">
                        <a:pos x="100" y="44"/>
                      </a:cxn>
                      <a:cxn ang="0">
                        <a:pos x="99" y="50"/>
                      </a:cxn>
                      <a:cxn ang="0">
                        <a:pos x="93" y="59"/>
                      </a:cxn>
                      <a:cxn ang="0">
                        <a:pos x="78" y="72"/>
                      </a:cxn>
                      <a:cxn ang="0">
                        <a:pos x="68" y="77"/>
                      </a:cxn>
                      <a:cxn ang="0">
                        <a:pos x="56" y="89"/>
                      </a:cxn>
                      <a:cxn ang="0">
                        <a:pos x="46" y="99"/>
                      </a:cxn>
                      <a:cxn ang="0">
                        <a:pos x="41" y="102"/>
                      </a:cxn>
                      <a:cxn ang="0">
                        <a:pos x="41" y="106"/>
                      </a:cxn>
                      <a:cxn ang="0">
                        <a:pos x="44" y="116"/>
                      </a:cxn>
                      <a:cxn ang="0">
                        <a:pos x="46" y="129"/>
                      </a:cxn>
                      <a:cxn ang="0">
                        <a:pos x="47" y="131"/>
                      </a:cxn>
                      <a:cxn ang="0">
                        <a:pos x="46" y="143"/>
                      </a:cxn>
                      <a:cxn ang="0">
                        <a:pos x="24" y="160"/>
                      </a:cxn>
                      <a:cxn ang="0">
                        <a:pos x="22" y="169"/>
                      </a:cxn>
                      <a:cxn ang="0">
                        <a:pos x="14" y="171"/>
                      </a:cxn>
                      <a:cxn ang="0">
                        <a:pos x="13" y="159"/>
                      </a:cxn>
                      <a:cxn ang="0">
                        <a:pos x="10" y="139"/>
                      </a:cxn>
                      <a:cxn ang="0">
                        <a:pos x="8" y="128"/>
                      </a:cxn>
                      <a:cxn ang="0">
                        <a:pos x="20" y="112"/>
                      </a:cxn>
                      <a:cxn ang="0">
                        <a:pos x="25" y="102"/>
                      </a:cxn>
                      <a:cxn ang="0">
                        <a:pos x="23" y="96"/>
                      </a:cxn>
                      <a:cxn ang="0">
                        <a:pos x="25" y="88"/>
                      </a:cxn>
                      <a:cxn ang="0">
                        <a:pos x="26" y="78"/>
                      </a:cxn>
                      <a:cxn ang="0">
                        <a:pos x="26" y="67"/>
                      </a:cxn>
                      <a:cxn ang="0">
                        <a:pos x="9" y="60"/>
                      </a:cxn>
                      <a:cxn ang="0">
                        <a:pos x="0" y="49"/>
                      </a:cxn>
                    </a:cxnLst>
                    <a:rect l="0" t="0" r="r" b="b"/>
                    <a:pathLst>
                      <a:path w="100" h="177">
                        <a:moveTo>
                          <a:pt x="0" y="49"/>
                        </a:moveTo>
                        <a:cubicBezTo>
                          <a:pt x="7" y="46"/>
                          <a:pt x="14" y="44"/>
                          <a:pt x="21" y="41"/>
                        </a:cubicBezTo>
                        <a:cubicBezTo>
                          <a:pt x="23" y="41"/>
                          <a:pt x="24" y="40"/>
                          <a:pt x="26" y="39"/>
                        </a:cubicBezTo>
                        <a:cubicBezTo>
                          <a:pt x="26" y="39"/>
                          <a:pt x="27" y="38"/>
                          <a:pt x="28" y="39"/>
                        </a:cubicBezTo>
                        <a:cubicBezTo>
                          <a:pt x="33" y="44"/>
                          <a:pt x="33" y="44"/>
                          <a:pt x="33" y="44"/>
                        </a:cubicBezTo>
                        <a:cubicBezTo>
                          <a:pt x="33" y="43"/>
                          <a:pt x="36" y="44"/>
                          <a:pt x="37" y="43"/>
                        </a:cubicBezTo>
                        <a:cubicBezTo>
                          <a:pt x="38" y="43"/>
                          <a:pt x="39" y="42"/>
                          <a:pt x="40" y="43"/>
                        </a:cubicBezTo>
                        <a:cubicBezTo>
                          <a:pt x="42" y="45"/>
                          <a:pt x="42" y="50"/>
                          <a:pt x="41" y="52"/>
                        </a:cubicBezTo>
                        <a:cubicBezTo>
                          <a:pt x="40" y="55"/>
                          <a:pt x="38" y="57"/>
                          <a:pt x="39" y="60"/>
                        </a:cubicBezTo>
                        <a:cubicBezTo>
                          <a:pt x="40" y="61"/>
                          <a:pt x="39" y="62"/>
                          <a:pt x="40" y="62"/>
                        </a:cubicBezTo>
                        <a:cubicBezTo>
                          <a:pt x="40" y="63"/>
                          <a:pt x="41" y="63"/>
                          <a:pt x="41" y="64"/>
                        </a:cubicBezTo>
                        <a:cubicBezTo>
                          <a:pt x="42" y="66"/>
                          <a:pt x="44" y="67"/>
                          <a:pt x="45" y="68"/>
                        </a:cubicBezTo>
                        <a:cubicBezTo>
                          <a:pt x="46" y="69"/>
                          <a:pt x="46" y="69"/>
                          <a:pt x="45" y="71"/>
                        </a:cubicBezTo>
                        <a:cubicBezTo>
                          <a:pt x="44" y="72"/>
                          <a:pt x="47" y="73"/>
                          <a:pt x="48" y="71"/>
                        </a:cubicBezTo>
                        <a:cubicBezTo>
                          <a:pt x="48" y="69"/>
                          <a:pt x="47" y="67"/>
                          <a:pt x="46" y="66"/>
                        </a:cubicBezTo>
                        <a:cubicBezTo>
                          <a:pt x="48" y="64"/>
                          <a:pt x="47" y="62"/>
                          <a:pt x="49" y="61"/>
                        </a:cubicBezTo>
                        <a:cubicBezTo>
                          <a:pt x="53" y="60"/>
                          <a:pt x="53" y="59"/>
                          <a:pt x="53" y="55"/>
                        </a:cubicBezTo>
                        <a:cubicBezTo>
                          <a:pt x="53" y="54"/>
                          <a:pt x="53" y="53"/>
                          <a:pt x="53" y="52"/>
                        </a:cubicBezTo>
                        <a:cubicBezTo>
                          <a:pt x="53" y="49"/>
                          <a:pt x="54" y="47"/>
                          <a:pt x="53" y="45"/>
                        </a:cubicBezTo>
                        <a:cubicBezTo>
                          <a:pt x="53" y="43"/>
                          <a:pt x="51" y="41"/>
                          <a:pt x="50" y="39"/>
                        </a:cubicBezTo>
                        <a:cubicBezTo>
                          <a:pt x="48" y="38"/>
                          <a:pt x="47" y="36"/>
                          <a:pt x="46" y="34"/>
                        </a:cubicBezTo>
                        <a:cubicBezTo>
                          <a:pt x="45" y="33"/>
                          <a:pt x="45" y="34"/>
                          <a:pt x="44" y="33"/>
                        </a:cubicBezTo>
                        <a:cubicBezTo>
                          <a:pt x="44" y="32"/>
                          <a:pt x="45" y="30"/>
                          <a:pt x="44" y="29"/>
                        </a:cubicBezTo>
                        <a:cubicBezTo>
                          <a:pt x="43" y="26"/>
                          <a:pt x="45" y="25"/>
                          <a:pt x="44" y="24"/>
                        </a:cubicBezTo>
                        <a:cubicBezTo>
                          <a:pt x="43" y="18"/>
                          <a:pt x="44" y="20"/>
                          <a:pt x="43" y="19"/>
                        </a:cubicBezTo>
                        <a:cubicBezTo>
                          <a:pt x="44" y="17"/>
                          <a:pt x="46" y="18"/>
                          <a:pt x="46" y="12"/>
                        </a:cubicBezTo>
                        <a:cubicBezTo>
                          <a:pt x="48" y="12"/>
                          <a:pt x="49" y="13"/>
                          <a:pt x="52" y="12"/>
                        </a:cubicBezTo>
                        <a:cubicBezTo>
                          <a:pt x="53" y="12"/>
                          <a:pt x="54" y="10"/>
                          <a:pt x="55" y="11"/>
                        </a:cubicBezTo>
                        <a:cubicBezTo>
                          <a:pt x="56" y="12"/>
                          <a:pt x="57" y="13"/>
                          <a:pt x="58" y="13"/>
                        </a:cubicBezTo>
                        <a:cubicBezTo>
                          <a:pt x="58" y="14"/>
                          <a:pt x="61" y="14"/>
                          <a:pt x="62" y="14"/>
                        </a:cubicBezTo>
                        <a:cubicBezTo>
                          <a:pt x="63" y="13"/>
                          <a:pt x="64" y="11"/>
                          <a:pt x="66" y="13"/>
                        </a:cubicBezTo>
                        <a:cubicBezTo>
                          <a:pt x="69" y="16"/>
                          <a:pt x="72" y="12"/>
                          <a:pt x="74" y="10"/>
                        </a:cubicBezTo>
                        <a:cubicBezTo>
                          <a:pt x="74" y="9"/>
                          <a:pt x="76" y="9"/>
                          <a:pt x="77" y="9"/>
                        </a:cubicBezTo>
                        <a:cubicBezTo>
                          <a:pt x="79" y="11"/>
                          <a:pt x="79" y="11"/>
                          <a:pt x="81" y="9"/>
                        </a:cubicBezTo>
                        <a:cubicBezTo>
                          <a:pt x="83" y="8"/>
                          <a:pt x="84" y="7"/>
                          <a:pt x="86" y="8"/>
                        </a:cubicBezTo>
                        <a:cubicBezTo>
                          <a:pt x="87" y="8"/>
                          <a:pt x="90" y="6"/>
                          <a:pt x="91" y="5"/>
                        </a:cubicBezTo>
                        <a:cubicBezTo>
                          <a:pt x="93" y="4"/>
                          <a:pt x="95" y="3"/>
                          <a:pt x="96" y="1"/>
                        </a:cubicBezTo>
                        <a:cubicBezTo>
                          <a:pt x="99" y="0"/>
                          <a:pt x="100" y="3"/>
                          <a:pt x="98" y="4"/>
                        </a:cubicBezTo>
                        <a:cubicBezTo>
                          <a:pt x="99" y="4"/>
                          <a:pt x="99" y="4"/>
                          <a:pt x="99" y="4"/>
                        </a:cubicBezTo>
                        <a:cubicBezTo>
                          <a:pt x="98" y="5"/>
                          <a:pt x="99" y="6"/>
                          <a:pt x="98" y="8"/>
                        </a:cubicBezTo>
                        <a:cubicBezTo>
                          <a:pt x="98" y="8"/>
                          <a:pt x="96" y="9"/>
                          <a:pt x="97" y="10"/>
                        </a:cubicBezTo>
                        <a:cubicBezTo>
                          <a:pt x="98" y="11"/>
                          <a:pt x="98" y="14"/>
                          <a:pt x="98" y="15"/>
                        </a:cubicBezTo>
                        <a:cubicBezTo>
                          <a:pt x="98" y="16"/>
                          <a:pt x="98" y="17"/>
                          <a:pt x="98" y="18"/>
                        </a:cubicBezTo>
                        <a:cubicBezTo>
                          <a:pt x="98" y="19"/>
                          <a:pt x="98" y="19"/>
                          <a:pt x="98" y="20"/>
                        </a:cubicBezTo>
                        <a:cubicBezTo>
                          <a:pt x="98" y="21"/>
                          <a:pt x="98" y="21"/>
                          <a:pt x="98" y="22"/>
                        </a:cubicBezTo>
                        <a:cubicBezTo>
                          <a:pt x="98" y="22"/>
                          <a:pt x="98" y="23"/>
                          <a:pt x="98" y="23"/>
                        </a:cubicBezTo>
                        <a:cubicBezTo>
                          <a:pt x="99" y="25"/>
                          <a:pt x="98" y="26"/>
                          <a:pt x="98" y="27"/>
                        </a:cubicBezTo>
                        <a:cubicBezTo>
                          <a:pt x="100" y="27"/>
                          <a:pt x="97" y="33"/>
                          <a:pt x="98" y="33"/>
                        </a:cubicBezTo>
                        <a:cubicBezTo>
                          <a:pt x="100" y="34"/>
                          <a:pt x="98" y="39"/>
                          <a:pt x="98" y="41"/>
                        </a:cubicBezTo>
                        <a:cubicBezTo>
                          <a:pt x="100" y="39"/>
                          <a:pt x="98" y="43"/>
                          <a:pt x="99" y="44"/>
                        </a:cubicBezTo>
                        <a:cubicBezTo>
                          <a:pt x="99" y="42"/>
                          <a:pt x="100" y="43"/>
                          <a:pt x="100" y="44"/>
                        </a:cubicBezTo>
                        <a:cubicBezTo>
                          <a:pt x="100" y="46"/>
                          <a:pt x="100" y="47"/>
                          <a:pt x="99" y="48"/>
                        </a:cubicBezTo>
                        <a:cubicBezTo>
                          <a:pt x="99" y="49"/>
                          <a:pt x="99" y="49"/>
                          <a:pt x="99" y="49"/>
                        </a:cubicBezTo>
                        <a:cubicBezTo>
                          <a:pt x="97" y="48"/>
                          <a:pt x="99" y="49"/>
                          <a:pt x="99" y="50"/>
                        </a:cubicBezTo>
                        <a:cubicBezTo>
                          <a:pt x="98" y="50"/>
                          <a:pt x="98" y="50"/>
                          <a:pt x="97" y="51"/>
                        </a:cubicBezTo>
                        <a:cubicBezTo>
                          <a:pt x="99" y="50"/>
                          <a:pt x="98" y="53"/>
                          <a:pt x="97" y="54"/>
                        </a:cubicBezTo>
                        <a:cubicBezTo>
                          <a:pt x="96" y="56"/>
                          <a:pt x="94" y="57"/>
                          <a:pt x="93" y="59"/>
                        </a:cubicBezTo>
                        <a:cubicBezTo>
                          <a:pt x="92" y="61"/>
                          <a:pt x="91" y="63"/>
                          <a:pt x="90" y="65"/>
                        </a:cubicBezTo>
                        <a:cubicBezTo>
                          <a:pt x="89" y="66"/>
                          <a:pt x="83" y="68"/>
                          <a:pt x="83" y="70"/>
                        </a:cubicBezTo>
                        <a:cubicBezTo>
                          <a:pt x="83" y="70"/>
                          <a:pt x="79" y="71"/>
                          <a:pt x="78" y="72"/>
                        </a:cubicBezTo>
                        <a:cubicBezTo>
                          <a:pt x="77" y="72"/>
                          <a:pt x="76" y="73"/>
                          <a:pt x="75" y="73"/>
                        </a:cubicBezTo>
                        <a:cubicBezTo>
                          <a:pt x="74" y="73"/>
                          <a:pt x="74" y="73"/>
                          <a:pt x="73" y="74"/>
                        </a:cubicBezTo>
                        <a:cubicBezTo>
                          <a:pt x="72" y="75"/>
                          <a:pt x="70" y="76"/>
                          <a:pt x="68" y="77"/>
                        </a:cubicBezTo>
                        <a:cubicBezTo>
                          <a:pt x="66" y="77"/>
                          <a:pt x="63" y="82"/>
                          <a:pt x="61" y="80"/>
                        </a:cubicBezTo>
                        <a:cubicBezTo>
                          <a:pt x="65" y="84"/>
                          <a:pt x="56" y="86"/>
                          <a:pt x="57" y="90"/>
                        </a:cubicBezTo>
                        <a:cubicBezTo>
                          <a:pt x="56" y="90"/>
                          <a:pt x="56" y="89"/>
                          <a:pt x="56" y="89"/>
                        </a:cubicBezTo>
                        <a:cubicBezTo>
                          <a:pt x="56" y="90"/>
                          <a:pt x="54" y="92"/>
                          <a:pt x="55" y="90"/>
                        </a:cubicBezTo>
                        <a:cubicBezTo>
                          <a:pt x="53" y="91"/>
                          <a:pt x="51" y="92"/>
                          <a:pt x="49" y="94"/>
                        </a:cubicBezTo>
                        <a:cubicBezTo>
                          <a:pt x="48" y="96"/>
                          <a:pt x="47" y="97"/>
                          <a:pt x="46" y="99"/>
                        </a:cubicBezTo>
                        <a:cubicBezTo>
                          <a:pt x="45" y="99"/>
                          <a:pt x="43" y="102"/>
                          <a:pt x="42" y="101"/>
                        </a:cubicBezTo>
                        <a:cubicBezTo>
                          <a:pt x="41" y="100"/>
                          <a:pt x="41" y="98"/>
                          <a:pt x="39" y="98"/>
                        </a:cubicBezTo>
                        <a:cubicBezTo>
                          <a:pt x="41" y="98"/>
                          <a:pt x="41" y="101"/>
                          <a:pt x="41" y="102"/>
                        </a:cubicBezTo>
                        <a:cubicBezTo>
                          <a:pt x="42" y="102"/>
                          <a:pt x="42" y="103"/>
                          <a:pt x="41" y="104"/>
                        </a:cubicBezTo>
                        <a:cubicBezTo>
                          <a:pt x="40" y="105"/>
                          <a:pt x="40" y="105"/>
                          <a:pt x="40" y="105"/>
                        </a:cubicBezTo>
                        <a:cubicBezTo>
                          <a:pt x="41" y="105"/>
                          <a:pt x="41" y="106"/>
                          <a:pt x="41" y="106"/>
                        </a:cubicBezTo>
                        <a:cubicBezTo>
                          <a:pt x="41" y="109"/>
                          <a:pt x="41" y="108"/>
                          <a:pt x="43" y="110"/>
                        </a:cubicBezTo>
                        <a:cubicBezTo>
                          <a:pt x="44" y="111"/>
                          <a:pt x="44" y="112"/>
                          <a:pt x="44" y="114"/>
                        </a:cubicBezTo>
                        <a:cubicBezTo>
                          <a:pt x="44" y="114"/>
                          <a:pt x="44" y="118"/>
                          <a:pt x="44" y="116"/>
                        </a:cubicBezTo>
                        <a:cubicBezTo>
                          <a:pt x="44" y="118"/>
                          <a:pt x="45" y="120"/>
                          <a:pt x="45" y="122"/>
                        </a:cubicBezTo>
                        <a:cubicBezTo>
                          <a:pt x="45" y="123"/>
                          <a:pt x="46" y="125"/>
                          <a:pt x="46" y="126"/>
                        </a:cubicBezTo>
                        <a:cubicBezTo>
                          <a:pt x="45" y="127"/>
                          <a:pt x="45" y="128"/>
                          <a:pt x="46" y="129"/>
                        </a:cubicBezTo>
                        <a:cubicBezTo>
                          <a:pt x="46" y="128"/>
                          <a:pt x="46" y="126"/>
                          <a:pt x="47" y="125"/>
                        </a:cubicBezTo>
                        <a:cubicBezTo>
                          <a:pt x="47" y="126"/>
                          <a:pt x="47" y="129"/>
                          <a:pt x="48" y="126"/>
                        </a:cubicBezTo>
                        <a:cubicBezTo>
                          <a:pt x="47" y="128"/>
                          <a:pt x="47" y="129"/>
                          <a:pt x="47" y="131"/>
                        </a:cubicBezTo>
                        <a:cubicBezTo>
                          <a:pt x="47" y="132"/>
                          <a:pt x="48" y="133"/>
                          <a:pt x="48" y="134"/>
                        </a:cubicBezTo>
                        <a:cubicBezTo>
                          <a:pt x="47" y="138"/>
                          <a:pt x="45" y="141"/>
                          <a:pt x="45" y="145"/>
                        </a:cubicBezTo>
                        <a:cubicBezTo>
                          <a:pt x="45" y="143"/>
                          <a:pt x="46" y="145"/>
                          <a:pt x="46" y="143"/>
                        </a:cubicBezTo>
                        <a:cubicBezTo>
                          <a:pt x="48" y="146"/>
                          <a:pt x="45" y="149"/>
                          <a:pt x="44" y="151"/>
                        </a:cubicBezTo>
                        <a:cubicBezTo>
                          <a:pt x="41" y="153"/>
                          <a:pt x="38" y="154"/>
                          <a:pt x="35" y="156"/>
                        </a:cubicBezTo>
                        <a:cubicBezTo>
                          <a:pt x="31" y="157"/>
                          <a:pt x="27" y="158"/>
                          <a:pt x="24" y="160"/>
                        </a:cubicBezTo>
                        <a:cubicBezTo>
                          <a:pt x="23" y="161"/>
                          <a:pt x="21" y="162"/>
                          <a:pt x="20" y="164"/>
                        </a:cubicBezTo>
                        <a:cubicBezTo>
                          <a:pt x="20" y="165"/>
                          <a:pt x="19" y="167"/>
                          <a:pt x="18" y="167"/>
                        </a:cubicBezTo>
                        <a:cubicBezTo>
                          <a:pt x="19" y="167"/>
                          <a:pt x="21" y="171"/>
                          <a:pt x="22" y="169"/>
                        </a:cubicBezTo>
                        <a:cubicBezTo>
                          <a:pt x="22" y="171"/>
                          <a:pt x="23" y="177"/>
                          <a:pt x="20" y="176"/>
                        </a:cubicBezTo>
                        <a:cubicBezTo>
                          <a:pt x="15" y="176"/>
                          <a:pt x="15" y="176"/>
                          <a:pt x="15" y="176"/>
                        </a:cubicBezTo>
                        <a:cubicBezTo>
                          <a:pt x="15" y="174"/>
                          <a:pt x="14" y="172"/>
                          <a:pt x="14" y="171"/>
                        </a:cubicBezTo>
                        <a:cubicBezTo>
                          <a:pt x="14" y="170"/>
                          <a:pt x="14" y="169"/>
                          <a:pt x="13" y="168"/>
                        </a:cubicBezTo>
                        <a:cubicBezTo>
                          <a:pt x="12" y="167"/>
                          <a:pt x="12" y="165"/>
                          <a:pt x="13" y="163"/>
                        </a:cubicBezTo>
                        <a:cubicBezTo>
                          <a:pt x="13" y="163"/>
                          <a:pt x="13" y="159"/>
                          <a:pt x="13" y="159"/>
                        </a:cubicBezTo>
                        <a:cubicBezTo>
                          <a:pt x="14" y="156"/>
                          <a:pt x="13" y="154"/>
                          <a:pt x="14" y="152"/>
                        </a:cubicBezTo>
                        <a:cubicBezTo>
                          <a:pt x="14" y="150"/>
                          <a:pt x="13" y="149"/>
                          <a:pt x="13" y="147"/>
                        </a:cubicBezTo>
                        <a:cubicBezTo>
                          <a:pt x="13" y="144"/>
                          <a:pt x="11" y="142"/>
                          <a:pt x="10" y="139"/>
                        </a:cubicBezTo>
                        <a:cubicBezTo>
                          <a:pt x="10" y="138"/>
                          <a:pt x="10" y="137"/>
                          <a:pt x="10" y="135"/>
                        </a:cubicBezTo>
                        <a:cubicBezTo>
                          <a:pt x="10" y="134"/>
                          <a:pt x="9" y="132"/>
                          <a:pt x="9" y="130"/>
                        </a:cubicBezTo>
                        <a:cubicBezTo>
                          <a:pt x="8" y="129"/>
                          <a:pt x="8" y="129"/>
                          <a:pt x="8" y="128"/>
                        </a:cubicBezTo>
                        <a:cubicBezTo>
                          <a:pt x="9" y="128"/>
                          <a:pt x="11" y="125"/>
                          <a:pt x="12" y="125"/>
                        </a:cubicBezTo>
                        <a:cubicBezTo>
                          <a:pt x="13" y="123"/>
                          <a:pt x="18" y="116"/>
                          <a:pt x="20" y="117"/>
                        </a:cubicBezTo>
                        <a:cubicBezTo>
                          <a:pt x="18" y="115"/>
                          <a:pt x="20" y="114"/>
                          <a:pt x="20" y="112"/>
                        </a:cubicBezTo>
                        <a:cubicBezTo>
                          <a:pt x="20" y="111"/>
                          <a:pt x="19" y="109"/>
                          <a:pt x="21" y="109"/>
                        </a:cubicBezTo>
                        <a:cubicBezTo>
                          <a:pt x="22" y="108"/>
                          <a:pt x="23" y="106"/>
                          <a:pt x="24" y="105"/>
                        </a:cubicBezTo>
                        <a:cubicBezTo>
                          <a:pt x="24" y="104"/>
                          <a:pt x="24" y="103"/>
                          <a:pt x="25" y="102"/>
                        </a:cubicBezTo>
                        <a:cubicBezTo>
                          <a:pt x="25" y="101"/>
                          <a:pt x="25" y="100"/>
                          <a:pt x="25" y="99"/>
                        </a:cubicBezTo>
                        <a:cubicBezTo>
                          <a:pt x="24" y="99"/>
                          <a:pt x="24" y="99"/>
                          <a:pt x="24" y="99"/>
                        </a:cubicBezTo>
                        <a:cubicBezTo>
                          <a:pt x="23" y="98"/>
                          <a:pt x="23" y="97"/>
                          <a:pt x="23" y="96"/>
                        </a:cubicBezTo>
                        <a:cubicBezTo>
                          <a:pt x="23" y="95"/>
                          <a:pt x="24" y="94"/>
                          <a:pt x="24" y="93"/>
                        </a:cubicBezTo>
                        <a:cubicBezTo>
                          <a:pt x="24" y="92"/>
                          <a:pt x="22" y="93"/>
                          <a:pt x="23" y="91"/>
                        </a:cubicBezTo>
                        <a:cubicBezTo>
                          <a:pt x="23" y="90"/>
                          <a:pt x="25" y="90"/>
                          <a:pt x="25" y="88"/>
                        </a:cubicBezTo>
                        <a:cubicBezTo>
                          <a:pt x="25" y="86"/>
                          <a:pt x="26" y="86"/>
                          <a:pt x="26" y="85"/>
                        </a:cubicBezTo>
                        <a:cubicBezTo>
                          <a:pt x="26" y="83"/>
                          <a:pt x="25" y="82"/>
                          <a:pt x="25" y="81"/>
                        </a:cubicBezTo>
                        <a:cubicBezTo>
                          <a:pt x="26" y="80"/>
                          <a:pt x="26" y="79"/>
                          <a:pt x="26" y="78"/>
                        </a:cubicBezTo>
                        <a:cubicBezTo>
                          <a:pt x="25" y="76"/>
                          <a:pt x="26" y="75"/>
                          <a:pt x="26" y="72"/>
                        </a:cubicBezTo>
                        <a:cubicBezTo>
                          <a:pt x="26" y="72"/>
                          <a:pt x="25" y="71"/>
                          <a:pt x="25" y="71"/>
                        </a:cubicBezTo>
                        <a:cubicBezTo>
                          <a:pt x="25" y="70"/>
                          <a:pt x="26" y="68"/>
                          <a:pt x="26" y="67"/>
                        </a:cubicBezTo>
                        <a:cubicBezTo>
                          <a:pt x="25" y="68"/>
                          <a:pt x="24" y="68"/>
                          <a:pt x="23" y="66"/>
                        </a:cubicBezTo>
                        <a:cubicBezTo>
                          <a:pt x="23" y="65"/>
                          <a:pt x="19" y="65"/>
                          <a:pt x="18" y="64"/>
                        </a:cubicBezTo>
                        <a:cubicBezTo>
                          <a:pt x="15" y="63"/>
                          <a:pt x="12" y="61"/>
                          <a:pt x="9" y="60"/>
                        </a:cubicBezTo>
                        <a:cubicBezTo>
                          <a:pt x="8" y="60"/>
                          <a:pt x="4" y="60"/>
                          <a:pt x="3" y="59"/>
                        </a:cubicBezTo>
                        <a:cubicBezTo>
                          <a:pt x="1" y="59"/>
                          <a:pt x="2" y="56"/>
                          <a:pt x="2" y="55"/>
                        </a:cubicBezTo>
                        <a:cubicBezTo>
                          <a:pt x="2" y="53"/>
                          <a:pt x="0" y="51"/>
                          <a:pt x="0" y="49"/>
                        </a:cubicBezTo>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24" name="Morocco">
                    <a:extLst>
                      <a:ext uri="{FF2B5EF4-FFF2-40B4-BE49-F238E27FC236}">
                        <a16:creationId xmlns:a16="http://schemas.microsoft.com/office/drawing/2014/main" id="{F207DB52-F6ED-8D08-C42F-FAC357AE1EAA}"/>
                      </a:ext>
                    </a:extLst>
                  </p:cNvPr>
                  <p:cNvSpPr>
                    <a:spLocks/>
                  </p:cNvSpPr>
                  <p:nvPr/>
                </p:nvSpPr>
                <p:spPr bwMode="auto">
                  <a:xfrm>
                    <a:off x="3520120" y="2450608"/>
                    <a:ext cx="264508" cy="208694"/>
                  </a:xfrm>
                  <a:custGeom>
                    <a:avLst/>
                    <a:gdLst/>
                    <a:ahLst/>
                    <a:cxnLst>
                      <a:cxn ang="0">
                        <a:pos x="0" y="89"/>
                      </a:cxn>
                      <a:cxn ang="0">
                        <a:pos x="3" y="86"/>
                      </a:cxn>
                      <a:cxn ang="0">
                        <a:pos x="8" y="85"/>
                      </a:cxn>
                      <a:cxn ang="0">
                        <a:pos x="18" y="81"/>
                      </a:cxn>
                      <a:cxn ang="0">
                        <a:pos x="25" y="74"/>
                      </a:cxn>
                      <a:cxn ang="0">
                        <a:pos x="32" y="67"/>
                      </a:cxn>
                      <a:cxn ang="0">
                        <a:pos x="34" y="58"/>
                      </a:cxn>
                      <a:cxn ang="0">
                        <a:pos x="32" y="56"/>
                      </a:cxn>
                      <a:cxn ang="0">
                        <a:pos x="33" y="52"/>
                      </a:cxn>
                      <a:cxn ang="0">
                        <a:pos x="37" y="43"/>
                      </a:cxn>
                      <a:cxn ang="0">
                        <a:pos x="39" y="37"/>
                      </a:cxn>
                      <a:cxn ang="0">
                        <a:pos x="42" y="34"/>
                      </a:cxn>
                      <a:cxn ang="0">
                        <a:pos x="49" y="28"/>
                      </a:cxn>
                      <a:cxn ang="0">
                        <a:pos x="58" y="23"/>
                      </a:cxn>
                      <a:cxn ang="0">
                        <a:pos x="70" y="5"/>
                      </a:cxn>
                      <a:cxn ang="0">
                        <a:pos x="72" y="2"/>
                      </a:cxn>
                      <a:cxn ang="0">
                        <a:pos x="75" y="1"/>
                      </a:cxn>
                      <a:cxn ang="0">
                        <a:pos x="77" y="3"/>
                      </a:cxn>
                      <a:cxn ang="0">
                        <a:pos x="80" y="7"/>
                      </a:cxn>
                      <a:cxn ang="0">
                        <a:pos x="89" y="8"/>
                      </a:cxn>
                      <a:cxn ang="0">
                        <a:pos x="97" y="6"/>
                      </a:cxn>
                      <a:cxn ang="0">
                        <a:pos x="98" y="8"/>
                      </a:cxn>
                      <a:cxn ang="0">
                        <a:pos x="98" y="8"/>
                      </a:cxn>
                      <a:cxn ang="0">
                        <a:pos x="101" y="9"/>
                      </a:cxn>
                      <a:cxn ang="0">
                        <a:pos x="104" y="10"/>
                      </a:cxn>
                      <a:cxn ang="0">
                        <a:pos x="107" y="13"/>
                      </a:cxn>
                      <a:cxn ang="0">
                        <a:pos x="108" y="16"/>
                      </a:cxn>
                      <a:cxn ang="0">
                        <a:pos x="108" y="19"/>
                      </a:cxn>
                      <a:cxn ang="0">
                        <a:pos x="108" y="24"/>
                      </a:cxn>
                      <a:cxn ang="0">
                        <a:pos x="108" y="27"/>
                      </a:cxn>
                      <a:cxn ang="0">
                        <a:pos x="109" y="31"/>
                      </a:cxn>
                      <a:cxn ang="0">
                        <a:pos x="110" y="34"/>
                      </a:cxn>
                      <a:cxn ang="0">
                        <a:pos x="112" y="36"/>
                      </a:cxn>
                      <a:cxn ang="0">
                        <a:pos x="112" y="42"/>
                      </a:cxn>
                      <a:cxn ang="0">
                        <a:pos x="96" y="43"/>
                      </a:cxn>
                      <a:cxn ang="0">
                        <a:pos x="90" y="46"/>
                      </a:cxn>
                      <a:cxn ang="0">
                        <a:pos x="88" y="49"/>
                      </a:cxn>
                      <a:cxn ang="0">
                        <a:pos x="89" y="53"/>
                      </a:cxn>
                      <a:cxn ang="0">
                        <a:pos x="85" y="55"/>
                      </a:cxn>
                      <a:cxn ang="0">
                        <a:pos x="81" y="57"/>
                      </a:cxn>
                      <a:cxn ang="0">
                        <a:pos x="78" y="58"/>
                      </a:cxn>
                      <a:cxn ang="0">
                        <a:pos x="74" y="63"/>
                      </a:cxn>
                      <a:cxn ang="0">
                        <a:pos x="67" y="66"/>
                      </a:cxn>
                      <a:cxn ang="0">
                        <a:pos x="62" y="67"/>
                      </a:cxn>
                      <a:cxn ang="0">
                        <a:pos x="58" y="68"/>
                      </a:cxn>
                      <a:cxn ang="0">
                        <a:pos x="55" y="70"/>
                      </a:cxn>
                      <a:cxn ang="0">
                        <a:pos x="52" y="71"/>
                      </a:cxn>
                      <a:cxn ang="0">
                        <a:pos x="49" y="73"/>
                      </a:cxn>
                      <a:cxn ang="0">
                        <a:pos x="46" y="75"/>
                      </a:cxn>
                      <a:cxn ang="0">
                        <a:pos x="42" y="80"/>
                      </a:cxn>
                      <a:cxn ang="0">
                        <a:pos x="42" y="89"/>
                      </a:cxn>
                      <a:cxn ang="0">
                        <a:pos x="0" y="89"/>
                      </a:cxn>
                    </a:cxnLst>
                    <a:rect l="0" t="0" r="r" b="b"/>
                    <a:pathLst>
                      <a:path w="114" h="90">
                        <a:moveTo>
                          <a:pt x="0" y="89"/>
                        </a:moveTo>
                        <a:cubicBezTo>
                          <a:pt x="1" y="89"/>
                          <a:pt x="2" y="86"/>
                          <a:pt x="3" y="86"/>
                        </a:cubicBezTo>
                        <a:cubicBezTo>
                          <a:pt x="5" y="86"/>
                          <a:pt x="6" y="86"/>
                          <a:pt x="8" y="85"/>
                        </a:cubicBezTo>
                        <a:cubicBezTo>
                          <a:pt x="12" y="84"/>
                          <a:pt x="15" y="83"/>
                          <a:pt x="18" y="81"/>
                        </a:cubicBezTo>
                        <a:cubicBezTo>
                          <a:pt x="20" y="79"/>
                          <a:pt x="23" y="77"/>
                          <a:pt x="25" y="74"/>
                        </a:cubicBezTo>
                        <a:cubicBezTo>
                          <a:pt x="28" y="72"/>
                          <a:pt x="30" y="69"/>
                          <a:pt x="32" y="67"/>
                        </a:cubicBezTo>
                        <a:cubicBezTo>
                          <a:pt x="33" y="65"/>
                          <a:pt x="36" y="60"/>
                          <a:pt x="34" y="58"/>
                        </a:cubicBezTo>
                        <a:cubicBezTo>
                          <a:pt x="33" y="57"/>
                          <a:pt x="32" y="57"/>
                          <a:pt x="32" y="56"/>
                        </a:cubicBezTo>
                        <a:cubicBezTo>
                          <a:pt x="33" y="55"/>
                          <a:pt x="33" y="53"/>
                          <a:pt x="33" y="52"/>
                        </a:cubicBezTo>
                        <a:cubicBezTo>
                          <a:pt x="33" y="48"/>
                          <a:pt x="35" y="46"/>
                          <a:pt x="37" y="43"/>
                        </a:cubicBezTo>
                        <a:cubicBezTo>
                          <a:pt x="39" y="41"/>
                          <a:pt x="38" y="39"/>
                          <a:pt x="39" y="37"/>
                        </a:cubicBezTo>
                        <a:cubicBezTo>
                          <a:pt x="39" y="36"/>
                          <a:pt x="41" y="35"/>
                          <a:pt x="42" y="34"/>
                        </a:cubicBezTo>
                        <a:cubicBezTo>
                          <a:pt x="44" y="32"/>
                          <a:pt x="46" y="29"/>
                          <a:pt x="49" y="28"/>
                        </a:cubicBezTo>
                        <a:cubicBezTo>
                          <a:pt x="52" y="26"/>
                          <a:pt x="55" y="25"/>
                          <a:pt x="58" y="23"/>
                        </a:cubicBezTo>
                        <a:cubicBezTo>
                          <a:pt x="64" y="20"/>
                          <a:pt x="67" y="12"/>
                          <a:pt x="70" y="5"/>
                        </a:cubicBezTo>
                        <a:cubicBezTo>
                          <a:pt x="70" y="5"/>
                          <a:pt x="71" y="2"/>
                          <a:pt x="72" y="2"/>
                        </a:cubicBezTo>
                        <a:cubicBezTo>
                          <a:pt x="73" y="2"/>
                          <a:pt x="74" y="2"/>
                          <a:pt x="75" y="1"/>
                        </a:cubicBezTo>
                        <a:cubicBezTo>
                          <a:pt x="76" y="0"/>
                          <a:pt x="76" y="2"/>
                          <a:pt x="77" y="3"/>
                        </a:cubicBezTo>
                        <a:cubicBezTo>
                          <a:pt x="77" y="5"/>
                          <a:pt x="78" y="6"/>
                          <a:pt x="80" y="7"/>
                        </a:cubicBezTo>
                        <a:cubicBezTo>
                          <a:pt x="83" y="9"/>
                          <a:pt x="85" y="8"/>
                          <a:pt x="89" y="8"/>
                        </a:cubicBezTo>
                        <a:cubicBezTo>
                          <a:pt x="92" y="8"/>
                          <a:pt x="95" y="9"/>
                          <a:pt x="97" y="6"/>
                        </a:cubicBezTo>
                        <a:cubicBezTo>
                          <a:pt x="97" y="7"/>
                          <a:pt x="97" y="7"/>
                          <a:pt x="98" y="8"/>
                        </a:cubicBezTo>
                        <a:cubicBezTo>
                          <a:pt x="98" y="9"/>
                          <a:pt x="99" y="10"/>
                          <a:pt x="98" y="8"/>
                        </a:cubicBezTo>
                        <a:cubicBezTo>
                          <a:pt x="99" y="9"/>
                          <a:pt x="100" y="10"/>
                          <a:pt x="101" y="9"/>
                        </a:cubicBezTo>
                        <a:cubicBezTo>
                          <a:pt x="103" y="8"/>
                          <a:pt x="103" y="10"/>
                          <a:pt x="104" y="10"/>
                        </a:cubicBezTo>
                        <a:cubicBezTo>
                          <a:pt x="105" y="11"/>
                          <a:pt x="107" y="12"/>
                          <a:pt x="107" y="13"/>
                        </a:cubicBezTo>
                        <a:cubicBezTo>
                          <a:pt x="108" y="14"/>
                          <a:pt x="106" y="15"/>
                          <a:pt x="108" y="16"/>
                        </a:cubicBezTo>
                        <a:cubicBezTo>
                          <a:pt x="107" y="17"/>
                          <a:pt x="108" y="18"/>
                          <a:pt x="108" y="19"/>
                        </a:cubicBezTo>
                        <a:cubicBezTo>
                          <a:pt x="108" y="21"/>
                          <a:pt x="107" y="22"/>
                          <a:pt x="108" y="24"/>
                        </a:cubicBezTo>
                        <a:cubicBezTo>
                          <a:pt x="108" y="25"/>
                          <a:pt x="109" y="26"/>
                          <a:pt x="108" y="27"/>
                        </a:cubicBezTo>
                        <a:cubicBezTo>
                          <a:pt x="108" y="29"/>
                          <a:pt x="108" y="30"/>
                          <a:pt x="109" y="31"/>
                        </a:cubicBezTo>
                        <a:cubicBezTo>
                          <a:pt x="109" y="32"/>
                          <a:pt x="109" y="33"/>
                          <a:pt x="110" y="34"/>
                        </a:cubicBezTo>
                        <a:cubicBezTo>
                          <a:pt x="110" y="35"/>
                          <a:pt x="111" y="35"/>
                          <a:pt x="112" y="36"/>
                        </a:cubicBezTo>
                        <a:cubicBezTo>
                          <a:pt x="114" y="38"/>
                          <a:pt x="109" y="40"/>
                          <a:pt x="112" y="42"/>
                        </a:cubicBezTo>
                        <a:cubicBezTo>
                          <a:pt x="108" y="42"/>
                          <a:pt x="97" y="38"/>
                          <a:pt x="96" y="43"/>
                        </a:cubicBezTo>
                        <a:cubicBezTo>
                          <a:pt x="95" y="45"/>
                          <a:pt x="92" y="46"/>
                          <a:pt x="90" y="46"/>
                        </a:cubicBezTo>
                        <a:cubicBezTo>
                          <a:pt x="88" y="46"/>
                          <a:pt x="86" y="48"/>
                          <a:pt x="88" y="49"/>
                        </a:cubicBezTo>
                        <a:cubicBezTo>
                          <a:pt x="86" y="51"/>
                          <a:pt x="90" y="52"/>
                          <a:pt x="89" y="53"/>
                        </a:cubicBezTo>
                        <a:cubicBezTo>
                          <a:pt x="88" y="54"/>
                          <a:pt x="86" y="54"/>
                          <a:pt x="85" y="55"/>
                        </a:cubicBezTo>
                        <a:cubicBezTo>
                          <a:pt x="84" y="56"/>
                          <a:pt x="83" y="57"/>
                          <a:pt x="81" y="57"/>
                        </a:cubicBezTo>
                        <a:cubicBezTo>
                          <a:pt x="80" y="58"/>
                          <a:pt x="79" y="58"/>
                          <a:pt x="78" y="58"/>
                        </a:cubicBezTo>
                        <a:cubicBezTo>
                          <a:pt x="76" y="59"/>
                          <a:pt x="75" y="62"/>
                          <a:pt x="74" y="63"/>
                        </a:cubicBezTo>
                        <a:cubicBezTo>
                          <a:pt x="72" y="65"/>
                          <a:pt x="69" y="66"/>
                          <a:pt x="67" y="66"/>
                        </a:cubicBezTo>
                        <a:cubicBezTo>
                          <a:pt x="65" y="66"/>
                          <a:pt x="63" y="65"/>
                          <a:pt x="62" y="67"/>
                        </a:cubicBezTo>
                        <a:cubicBezTo>
                          <a:pt x="62" y="70"/>
                          <a:pt x="59" y="68"/>
                          <a:pt x="58" y="68"/>
                        </a:cubicBezTo>
                        <a:cubicBezTo>
                          <a:pt x="56" y="68"/>
                          <a:pt x="56" y="69"/>
                          <a:pt x="55" y="70"/>
                        </a:cubicBezTo>
                        <a:cubicBezTo>
                          <a:pt x="54" y="71"/>
                          <a:pt x="53" y="70"/>
                          <a:pt x="52" y="71"/>
                        </a:cubicBezTo>
                        <a:cubicBezTo>
                          <a:pt x="51" y="71"/>
                          <a:pt x="50" y="72"/>
                          <a:pt x="49" y="73"/>
                        </a:cubicBezTo>
                        <a:cubicBezTo>
                          <a:pt x="48" y="74"/>
                          <a:pt x="47" y="75"/>
                          <a:pt x="46" y="75"/>
                        </a:cubicBezTo>
                        <a:cubicBezTo>
                          <a:pt x="44" y="77"/>
                          <a:pt x="42" y="77"/>
                          <a:pt x="42" y="80"/>
                        </a:cubicBezTo>
                        <a:cubicBezTo>
                          <a:pt x="42" y="83"/>
                          <a:pt x="42" y="86"/>
                          <a:pt x="42" y="89"/>
                        </a:cubicBezTo>
                        <a:cubicBezTo>
                          <a:pt x="42" y="90"/>
                          <a:pt x="4" y="89"/>
                          <a:pt x="0" y="89"/>
                        </a:cubicBezTo>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25" name="Mauritania">
                    <a:extLst>
                      <a:ext uri="{FF2B5EF4-FFF2-40B4-BE49-F238E27FC236}">
                        <a16:creationId xmlns:a16="http://schemas.microsoft.com/office/drawing/2014/main" id="{1D981B17-E088-840F-60B6-06190D2AB79F}"/>
                      </a:ext>
                    </a:extLst>
                  </p:cNvPr>
                  <p:cNvSpPr>
                    <a:spLocks/>
                  </p:cNvSpPr>
                  <p:nvPr/>
                </p:nvSpPr>
                <p:spPr bwMode="auto">
                  <a:xfrm>
                    <a:off x="3430332" y="2666583"/>
                    <a:ext cx="265721" cy="313041"/>
                  </a:xfrm>
                  <a:custGeom>
                    <a:avLst/>
                    <a:gdLst/>
                    <a:ahLst/>
                    <a:cxnLst>
                      <a:cxn ang="0">
                        <a:pos x="0" y="70"/>
                      </a:cxn>
                      <a:cxn ang="0">
                        <a:pos x="1" y="66"/>
                      </a:cxn>
                      <a:cxn ang="0">
                        <a:pos x="3" y="64"/>
                      </a:cxn>
                      <a:cxn ang="0">
                        <a:pos x="37" y="64"/>
                      </a:cxn>
                      <a:cxn ang="0">
                        <a:pos x="38" y="52"/>
                      </a:cxn>
                      <a:cxn ang="0">
                        <a:pos x="40" y="45"/>
                      </a:cxn>
                      <a:cxn ang="0">
                        <a:pos x="48" y="41"/>
                      </a:cxn>
                      <a:cxn ang="0">
                        <a:pos x="49" y="14"/>
                      </a:cxn>
                      <a:cxn ang="0">
                        <a:pos x="80" y="14"/>
                      </a:cxn>
                      <a:cxn ang="0">
                        <a:pos x="81" y="0"/>
                      </a:cxn>
                      <a:cxn ang="0">
                        <a:pos x="115" y="25"/>
                      </a:cxn>
                      <a:cxn ang="0">
                        <a:pos x="99" y="25"/>
                      </a:cxn>
                      <a:cxn ang="0">
                        <a:pos x="106" y="115"/>
                      </a:cxn>
                      <a:cxn ang="0">
                        <a:pos x="108" y="118"/>
                      </a:cxn>
                      <a:cxn ang="0">
                        <a:pos x="107" y="122"/>
                      </a:cxn>
                      <a:cxn ang="0">
                        <a:pos x="106" y="127"/>
                      </a:cxn>
                      <a:cxn ang="0">
                        <a:pos x="87" y="127"/>
                      </a:cxn>
                      <a:cxn ang="0">
                        <a:pos x="70" y="125"/>
                      </a:cxn>
                      <a:cxn ang="0">
                        <a:pos x="63" y="128"/>
                      </a:cxn>
                      <a:cxn ang="0">
                        <a:pos x="56" y="131"/>
                      </a:cxn>
                      <a:cxn ang="0">
                        <a:pos x="52" y="127"/>
                      </a:cxn>
                      <a:cxn ang="0">
                        <a:pos x="49" y="126"/>
                      </a:cxn>
                      <a:cxn ang="0">
                        <a:pos x="43" y="135"/>
                      </a:cxn>
                      <a:cxn ang="0">
                        <a:pos x="41" y="132"/>
                      </a:cxn>
                      <a:cxn ang="0">
                        <a:pos x="38" y="130"/>
                      </a:cxn>
                      <a:cxn ang="0">
                        <a:pos x="36" y="127"/>
                      </a:cxn>
                      <a:cxn ang="0">
                        <a:pos x="34" y="123"/>
                      </a:cxn>
                      <a:cxn ang="0">
                        <a:pos x="31" y="120"/>
                      </a:cxn>
                      <a:cxn ang="0">
                        <a:pos x="24" y="115"/>
                      </a:cxn>
                      <a:cxn ang="0">
                        <a:pos x="19" y="114"/>
                      </a:cxn>
                      <a:cxn ang="0">
                        <a:pos x="9" y="116"/>
                      </a:cxn>
                      <a:cxn ang="0">
                        <a:pos x="6" y="116"/>
                      </a:cxn>
                      <a:cxn ang="0">
                        <a:pos x="3" y="121"/>
                      </a:cxn>
                      <a:cxn ang="0">
                        <a:pos x="8" y="103"/>
                      </a:cxn>
                      <a:cxn ang="0">
                        <a:pos x="8" y="92"/>
                      </a:cxn>
                      <a:cxn ang="0">
                        <a:pos x="7" y="88"/>
                      </a:cxn>
                      <a:cxn ang="0">
                        <a:pos x="5" y="85"/>
                      </a:cxn>
                      <a:cxn ang="0">
                        <a:pos x="7" y="83"/>
                      </a:cxn>
                      <a:cxn ang="0">
                        <a:pos x="5" y="85"/>
                      </a:cxn>
                      <a:cxn ang="0">
                        <a:pos x="7" y="81"/>
                      </a:cxn>
                      <a:cxn ang="0">
                        <a:pos x="7" y="79"/>
                      </a:cxn>
                      <a:cxn ang="0">
                        <a:pos x="5" y="71"/>
                      </a:cxn>
                      <a:cxn ang="0">
                        <a:pos x="5" y="72"/>
                      </a:cxn>
                      <a:cxn ang="0">
                        <a:pos x="1" y="66"/>
                      </a:cxn>
                      <a:cxn ang="0">
                        <a:pos x="0" y="70"/>
                      </a:cxn>
                    </a:cxnLst>
                    <a:rect l="0" t="0" r="r" b="b"/>
                    <a:pathLst>
                      <a:path w="115" h="135">
                        <a:moveTo>
                          <a:pt x="0" y="70"/>
                        </a:moveTo>
                        <a:cubicBezTo>
                          <a:pt x="0" y="68"/>
                          <a:pt x="0" y="67"/>
                          <a:pt x="1" y="66"/>
                        </a:cubicBezTo>
                        <a:cubicBezTo>
                          <a:pt x="1" y="65"/>
                          <a:pt x="2" y="64"/>
                          <a:pt x="3" y="64"/>
                        </a:cubicBezTo>
                        <a:cubicBezTo>
                          <a:pt x="37" y="64"/>
                          <a:pt x="37" y="64"/>
                          <a:pt x="37" y="64"/>
                        </a:cubicBezTo>
                        <a:cubicBezTo>
                          <a:pt x="39" y="63"/>
                          <a:pt x="38" y="55"/>
                          <a:pt x="38" y="52"/>
                        </a:cubicBezTo>
                        <a:cubicBezTo>
                          <a:pt x="38" y="49"/>
                          <a:pt x="37" y="48"/>
                          <a:pt x="40" y="45"/>
                        </a:cubicBezTo>
                        <a:cubicBezTo>
                          <a:pt x="42" y="43"/>
                          <a:pt x="42" y="44"/>
                          <a:pt x="48" y="41"/>
                        </a:cubicBezTo>
                        <a:cubicBezTo>
                          <a:pt x="49" y="14"/>
                          <a:pt x="49" y="14"/>
                          <a:pt x="49" y="14"/>
                        </a:cubicBezTo>
                        <a:cubicBezTo>
                          <a:pt x="80" y="14"/>
                          <a:pt x="80" y="14"/>
                          <a:pt x="80" y="14"/>
                        </a:cubicBezTo>
                        <a:cubicBezTo>
                          <a:pt x="81" y="0"/>
                          <a:pt x="81" y="0"/>
                          <a:pt x="81" y="0"/>
                        </a:cubicBezTo>
                        <a:cubicBezTo>
                          <a:pt x="92" y="8"/>
                          <a:pt x="104" y="16"/>
                          <a:pt x="115" y="25"/>
                        </a:cubicBezTo>
                        <a:cubicBezTo>
                          <a:pt x="110" y="25"/>
                          <a:pt x="104" y="25"/>
                          <a:pt x="99" y="25"/>
                        </a:cubicBezTo>
                        <a:cubicBezTo>
                          <a:pt x="106" y="115"/>
                          <a:pt x="106" y="115"/>
                          <a:pt x="106" y="115"/>
                        </a:cubicBezTo>
                        <a:cubicBezTo>
                          <a:pt x="106" y="117"/>
                          <a:pt x="108" y="117"/>
                          <a:pt x="108" y="118"/>
                        </a:cubicBezTo>
                        <a:cubicBezTo>
                          <a:pt x="109" y="120"/>
                          <a:pt x="107" y="121"/>
                          <a:pt x="107" y="122"/>
                        </a:cubicBezTo>
                        <a:cubicBezTo>
                          <a:pt x="107" y="124"/>
                          <a:pt x="107" y="126"/>
                          <a:pt x="106" y="127"/>
                        </a:cubicBezTo>
                        <a:cubicBezTo>
                          <a:pt x="87" y="127"/>
                          <a:pt x="87" y="127"/>
                          <a:pt x="87" y="127"/>
                        </a:cubicBezTo>
                        <a:cubicBezTo>
                          <a:pt x="76" y="127"/>
                          <a:pt x="71" y="128"/>
                          <a:pt x="70" y="125"/>
                        </a:cubicBezTo>
                        <a:cubicBezTo>
                          <a:pt x="69" y="128"/>
                          <a:pt x="65" y="129"/>
                          <a:pt x="63" y="128"/>
                        </a:cubicBezTo>
                        <a:cubicBezTo>
                          <a:pt x="59" y="126"/>
                          <a:pt x="57" y="127"/>
                          <a:pt x="56" y="131"/>
                        </a:cubicBezTo>
                        <a:cubicBezTo>
                          <a:pt x="55" y="130"/>
                          <a:pt x="54" y="128"/>
                          <a:pt x="52" y="127"/>
                        </a:cubicBezTo>
                        <a:cubicBezTo>
                          <a:pt x="51" y="126"/>
                          <a:pt x="50" y="125"/>
                          <a:pt x="49" y="126"/>
                        </a:cubicBezTo>
                        <a:cubicBezTo>
                          <a:pt x="46" y="127"/>
                          <a:pt x="50" y="135"/>
                          <a:pt x="43" y="135"/>
                        </a:cubicBezTo>
                        <a:cubicBezTo>
                          <a:pt x="43" y="135"/>
                          <a:pt x="41" y="133"/>
                          <a:pt x="41" y="132"/>
                        </a:cubicBezTo>
                        <a:cubicBezTo>
                          <a:pt x="40" y="131"/>
                          <a:pt x="39" y="131"/>
                          <a:pt x="38" y="130"/>
                        </a:cubicBezTo>
                        <a:cubicBezTo>
                          <a:pt x="37" y="129"/>
                          <a:pt x="37" y="127"/>
                          <a:pt x="36" y="127"/>
                        </a:cubicBezTo>
                        <a:cubicBezTo>
                          <a:pt x="33" y="125"/>
                          <a:pt x="34" y="125"/>
                          <a:pt x="34" y="123"/>
                        </a:cubicBezTo>
                        <a:cubicBezTo>
                          <a:pt x="34" y="122"/>
                          <a:pt x="32" y="120"/>
                          <a:pt x="31" y="120"/>
                        </a:cubicBezTo>
                        <a:cubicBezTo>
                          <a:pt x="27" y="120"/>
                          <a:pt x="27" y="116"/>
                          <a:pt x="24" y="115"/>
                        </a:cubicBezTo>
                        <a:cubicBezTo>
                          <a:pt x="22" y="114"/>
                          <a:pt x="21" y="114"/>
                          <a:pt x="19" y="114"/>
                        </a:cubicBezTo>
                        <a:cubicBezTo>
                          <a:pt x="16" y="114"/>
                          <a:pt x="16" y="117"/>
                          <a:pt x="9" y="116"/>
                        </a:cubicBezTo>
                        <a:cubicBezTo>
                          <a:pt x="7" y="116"/>
                          <a:pt x="8" y="115"/>
                          <a:pt x="6" y="116"/>
                        </a:cubicBezTo>
                        <a:cubicBezTo>
                          <a:pt x="5" y="116"/>
                          <a:pt x="4" y="120"/>
                          <a:pt x="3" y="121"/>
                        </a:cubicBezTo>
                        <a:cubicBezTo>
                          <a:pt x="3" y="114"/>
                          <a:pt x="8" y="109"/>
                          <a:pt x="8" y="103"/>
                        </a:cubicBezTo>
                        <a:cubicBezTo>
                          <a:pt x="9" y="99"/>
                          <a:pt x="8" y="96"/>
                          <a:pt x="8" y="92"/>
                        </a:cubicBezTo>
                        <a:cubicBezTo>
                          <a:pt x="8" y="91"/>
                          <a:pt x="8" y="89"/>
                          <a:pt x="7" y="88"/>
                        </a:cubicBezTo>
                        <a:cubicBezTo>
                          <a:pt x="6" y="87"/>
                          <a:pt x="5" y="86"/>
                          <a:pt x="5" y="85"/>
                        </a:cubicBezTo>
                        <a:cubicBezTo>
                          <a:pt x="6" y="85"/>
                          <a:pt x="7" y="84"/>
                          <a:pt x="7" y="83"/>
                        </a:cubicBezTo>
                        <a:cubicBezTo>
                          <a:pt x="6" y="84"/>
                          <a:pt x="5" y="84"/>
                          <a:pt x="5" y="85"/>
                        </a:cubicBezTo>
                        <a:cubicBezTo>
                          <a:pt x="5" y="83"/>
                          <a:pt x="6" y="82"/>
                          <a:pt x="7" y="81"/>
                        </a:cubicBezTo>
                        <a:cubicBezTo>
                          <a:pt x="7" y="81"/>
                          <a:pt x="7" y="79"/>
                          <a:pt x="7" y="79"/>
                        </a:cubicBezTo>
                        <a:cubicBezTo>
                          <a:pt x="9" y="77"/>
                          <a:pt x="6" y="73"/>
                          <a:pt x="5" y="71"/>
                        </a:cubicBezTo>
                        <a:cubicBezTo>
                          <a:pt x="5" y="71"/>
                          <a:pt x="5" y="72"/>
                          <a:pt x="5" y="72"/>
                        </a:cubicBezTo>
                        <a:cubicBezTo>
                          <a:pt x="3" y="71"/>
                          <a:pt x="3" y="68"/>
                          <a:pt x="1" y="66"/>
                        </a:cubicBezTo>
                        <a:cubicBezTo>
                          <a:pt x="1" y="68"/>
                          <a:pt x="1" y="69"/>
                          <a:pt x="0" y="70"/>
                        </a:cubicBezTo>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26" name="Mali">
                    <a:extLst>
                      <a:ext uri="{FF2B5EF4-FFF2-40B4-BE49-F238E27FC236}">
                        <a16:creationId xmlns:a16="http://schemas.microsoft.com/office/drawing/2014/main" id="{C8330752-6E57-4AC0-1C16-F3C210B861BD}"/>
                      </a:ext>
                    </a:extLst>
                  </p:cNvPr>
                  <p:cNvSpPr>
                    <a:spLocks/>
                  </p:cNvSpPr>
                  <p:nvPr/>
                </p:nvSpPr>
                <p:spPr bwMode="auto">
                  <a:xfrm>
                    <a:off x="3529827" y="2724823"/>
                    <a:ext cx="361574" cy="367641"/>
                  </a:xfrm>
                  <a:custGeom>
                    <a:avLst/>
                    <a:gdLst/>
                    <a:ahLst/>
                    <a:cxnLst>
                      <a:cxn ang="0">
                        <a:pos x="4" y="108"/>
                      </a:cxn>
                      <a:cxn ang="0">
                        <a:pos x="13" y="106"/>
                      </a:cxn>
                      <a:cxn ang="0">
                        <a:pos x="27" y="100"/>
                      </a:cxn>
                      <a:cxn ang="0">
                        <a:pos x="56" y="102"/>
                      </a:cxn>
                      <a:cxn ang="0">
                        <a:pos x="64" y="98"/>
                      </a:cxn>
                      <a:cxn ang="0">
                        <a:pos x="62" y="87"/>
                      </a:cxn>
                      <a:cxn ang="0">
                        <a:pos x="72" y="0"/>
                      </a:cxn>
                      <a:cxn ang="0">
                        <a:pos x="127" y="43"/>
                      </a:cxn>
                      <a:cxn ang="0">
                        <a:pos x="130" y="47"/>
                      </a:cxn>
                      <a:cxn ang="0">
                        <a:pos x="135" y="51"/>
                      </a:cxn>
                      <a:cxn ang="0">
                        <a:pos x="139" y="53"/>
                      </a:cxn>
                      <a:cxn ang="0">
                        <a:pos x="146" y="60"/>
                      </a:cxn>
                      <a:cxn ang="0">
                        <a:pos x="155" y="62"/>
                      </a:cxn>
                      <a:cxn ang="0">
                        <a:pos x="154" y="91"/>
                      </a:cxn>
                      <a:cxn ang="0">
                        <a:pos x="152" y="99"/>
                      </a:cxn>
                      <a:cxn ang="0">
                        <a:pos x="147" y="103"/>
                      </a:cxn>
                      <a:cxn ang="0">
                        <a:pos x="131" y="104"/>
                      </a:cxn>
                      <a:cxn ang="0">
                        <a:pos x="121" y="107"/>
                      </a:cxn>
                      <a:cxn ang="0">
                        <a:pos x="117" y="108"/>
                      </a:cxn>
                      <a:cxn ang="0">
                        <a:pos x="111" y="107"/>
                      </a:cxn>
                      <a:cxn ang="0">
                        <a:pos x="102" y="111"/>
                      </a:cxn>
                      <a:cxn ang="0">
                        <a:pos x="94" y="116"/>
                      </a:cxn>
                      <a:cxn ang="0">
                        <a:pos x="88" y="119"/>
                      </a:cxn>
                      <a:cxn ang="0">
                        <a:pos x="84" y="121"/>
                      </a:cxn>
                      <a:cxn ang="0">
                        <a:pos x="82" y="127"/>
                      </a:cxn>
                      <a:cxn ang="0">
                        <a:pos x="75" y="128"/>
                      </a:cxn>
                      <a:cxn ang="0">
                        <a:pos x="73" y="132"/>
                      </a:cxn>
                      <a:cxn ang="0">
                        <a:pos x="67" y="139"/>
                      </a:cxn>
                      <a:cxn ang="0">
                        <a:pos x="65" y="143"/>
                      </a:cxn>
                      <a:cxn ang="0">
                        <a:pos x="63" y="150"/>
                      </a:cxn>
                      <a:cxn ang="0">
                        <a:pos x="60" y="156"/>
                      </a:cxn>
                      <a:cxn ang="0">
                        <a:pos x="56" y="153"/>
                      </a:cxn>
                      <a:cxn ang="0">
                        <a:pos x="52" y="154"/>
                      </a:cxn>
                      <a:cxn ang="0">
                        <a:pos x="49" y="159"/>
                      </a:cxn>
                      <a:cxn ang="0">
                        <a:pos x="42" y="156"/>
                      </a:cxn>
                      <a:cxn ang="0">
                        <a:pos x="36" y="154"/>
                      </a:cxn>
                      <a:cxn ang="0">
                        <a:pos x="33" y="150"/>
                      </a:cxn>
                      <a:cxn ang="0">
                        <a:pos x="33" y="143"/>
                      </a:cxn>
                      <a:cxn ang="0">
                        <a:pos x="30" y="138"/>
                      </a:cxn>
                      <a:cxn ang="0">
                        <a:pos x="27" y="134"/>
                      </a:cxn>
                      <a:cxn ang="0">
                        <a:pos x="23" y="139"/>
                      </a:cxn>
                      <a:cxn ang="0">
                        <a:pos x="16" y="138"/>
                      </a:cxn>
                      <a:cxn ang="0">
                        <a:pos x="7" y="138"/>
                      </a:cxn>
                      <a:cxn ang="0">
                        <a:pos x="7" y="130"/>
                      </a:cxn>
                      <a:cxn ang="0">
                        <a:pos x="2" y="122"/>
                      </a:cxn>
                      <a:cxn ang="0">
                        <a:pos x="1" y="114"/>
                      </a:cxn>
                      <a:cxn ang="0">
                        <a:pos x="0" y="110"/>
                      </a:cxn>
                    </a:cxnLst>
                    <a:rect l="0" t="0" r="r" b="b"/>
                    <a:pathLst>
                      <a:path w="156" h="159">
                        <a:moveTo>
                          <a:pt x="0" y="110"/>
                        </a:moveTo>
                        <a:cubicBezTo>
                          <a:pt x="2" y="109"/>
                          <a:pt x="2" y="110"/>
                          <a:pt x="4" y="108"/>
                        </a:cubicBezTo>
                        <a:cubicBezTo>
                          <a:pt x="5" y="107"/>
                          <a:pt x="4" y="104"/>
                          <a:pt x="5" y="102"/>
                        </a:cubicBezTo>
                        <a:cubicBezTo>
                          <a:pt x="6" y="98"/>
                          <a:pt x="12" y="105"/>
                          <a:pt x="13" y="106"/>
                        </a:cubicBezTo>
                        <a:cubicBezTo>
                          <a:pt x="14" y="103"/>
                          <a:pt x="16" y="101"/>
                          <a:pt x="19" y="103"/>
                        </a:cubicBezTo>
                        <a:cubicBezTo>
                          <a:pt x="21" y="103"/>
                          <a:pt x="26" y="103"/>
                          <a:pt x="27" y="100"/>
                        </a:cubicBezTo>
                        <a:cubicBezTo>
                          <a:pt x="28" y="103"/>
                          <a:pt x="35" y="102"/>
                          <a:pt x="37" y="102"/>
                        </a:cubicBezTo>
                        <a:cubicBezTo>
                          <a:pt x="43" y="101"/>
                          <a:pt x="50" y="102"/>
                          <a:pt x="56" y="102"/>
                        </a:cubicBezTo>
                        <a:cubicBezTo>
                          <a:pt x="58" y="102"/>
                          <a:pt x="61" y="101"/>
                          <a:pt x="63" y="102"/>
                        </a:cubicBezTo>
                        <a:cubicBezTo>
                          <a:pt x="65" y="102"/>
                          <a:pt x="64" y="99"/>
                          <a:pt x="64" y="98"/>
                        </a:cubicBezTo>
                        <a:cubicBezTo>
                          <a:pt x="64" y="96"/>
                          <a:pt x="66" y="93"/>
                          <a:pt x="64" y="92"/>
                        </a:cubicBezTo>
                        <a:cubicBezTo>
                          <a:pt x="62" y="90"/>
                          <a:pt x="62" y="89"/>
                          <a:pt x="62" y="87"/>
                        </a:cubicBezTo>
                        <a:cubicBezTo>
                          <a:pt x="56" y="0"/>
                          <a:pt x="56" y="0"/>
                          <a:pt x="56" y="0"/>
                        </a:cubicBezTo>
                        <a:cubicBezTo>
                          <a:pt x="72" y="0"/>
                          <a:pt x="72" y="0"/>
                          <a:pt x="72" y="0"/>
                        </a:cubicBezTo>
                        <a:cubicBezTo>
                          <a:pt x="89" y="12"/>
                          <a:pt x="105" y="25"/>
                          <a:pt x="121" y="38"/>
                        </a:cubicBezTo>
                        <a:cubicBezTo>
                          <a:pt x="123" y="39"/>
                          <a:pt x="127" y="41"/>
                          <a:pt x="127" y="43"/>
                        </a:cubicBezTo>
                        <a:cubicBezTo>
                          <a:pt x="126" y="44"/>
                          <a:pt x="126" y="45"/>
                          <a:pt x="128" y="46"/>
                        </a:cubicBezTo>
                        <a:cubicBezTo>
                          <a:pt x="129" y="46"/>
                          <a:pt x="130" y="46"/>
                          <a:pt x="130" y="47"/>
                        </a:cubicBezTo>
                        <a:cubicBezTo>
                          <a:pt x="131" y="48"/>
                          <a:pt x="131" y="49"/>
                          <a:pt x="132" y="50"/>
                        </a:cubicBezTo>
                        <a:cubicBezTo>
                          <a:pt x="133" y="51"/>
                          <a:pt x="134" y="51"/>
                          <a:pt x="135" y="51"/>
                        </a:cubicBezTo>
                        <a:cubicBezTo>
                          <a:pt x="136" y="51"/>
                          <a:pt x="135" y="50"/>
                          <a:pt x="137" y="51"/>
                        </a:cubicBezTo>
                        <a:cubicBezTo>
                          <a:pt x="138" y="51"/>
                          <a:pt x="138" y="53"/>
                          <a:pt x="139" y="53"/>
                        </a:cubicBezTo>
                        <a:cubicBezTo>
                          <a:pt x="141" y="54"/>
                          <a:pt x="144" y="54"/>
                          <a:pt x="145" y="55"/>
                        </a:cubicBezTo>
                        <a:cubicBezTo>
                          <a:pt x="146" y="56"/>
                          <a:pt x="146" y="59"/>
                          <a:pt x="146" y="60"/>
                        </a:cubicBezTo>
                        <a:cubicBezTo>
                          <a:pt x="145" y="62"/>
                          <a:pt x="144" y="63"/>
                          <a:pt x="146" y="64"/>
                        </a:cubicBezTo>
                        <a:cubicBezTo>
                          <a:pt x="149" y="64"/>
                          <a:pt x="152" y="63"/>
                          <a:pt x="155" y="62"/>
                        </a:cubicBezTo>
                        <a:cubicBezTo>
                          <a:pt x="155" y="70"/>
                          <a:pt x="156" y="78"/>
                          <a:pt x="155" y="86"/>
                        </a:cubicBezTo>
                        <a:cubicBezTo>
                          <a:pt x="155" y="87"/>
                          <a:pt x="155" y="87"/>
                          <a:pt x="154" y="91"/>
                        </a:cubicBezTo>
                        <a:cubicBezTo>
                          <a:pt x="154" y="93"/>
                          <a:pt x="155" y="91"/>
                          <a:pt x="153" y="95"/>
                        </a:cubicBezTo>
                        <a:cubicBezTo>
                          <a:pt x="152" y="96"/>
                          <a:pt x="152" y="98"/>
                          <a:pt x="152" y="99"/>
                        </a:cubicBezTo>
                        <a:cubicBezTo>
                          <a:pt x="151" y="100"/>
                          <a:pt x="150" y="100"/>
                          <a:pt x="149" y="101"/>
                        </a:cubicBezTo>
                        <a:cubicBezTo>
                          <a:pt x="148" y="102"/>
                          <a:pt x="149" y="103"/>
                          <a:pt x="147" y="103"/>
                        </a:cubicBezTo>
                        <a:cubicBezTo>
                          <a:pt x="147" y="103"/>
                          <a:pt x="143" y="102"/>
                          <a:pt x="143" y="103"/>
                        </a:cubicBezTo>
                        <a:cubicBezTo>
                          <a:pt x="143" y="104"/>
                          <a:pt x="133" y="104"/>
                          <a:pt x="131" y="104"/>
                        </a:cubicBezTo>
                        <a:cubicBezTo>
                          <a:pt x="127" y="104"/>
                          <a:pt x="127" y="104"/>
                          <a:pt x="125" y="106"/>
                        </a:cubicBezTo>
                        <a:cubicBezTo>
                          <a:pt x="124" y="107"/>
                          <a:pt x="122" y="108"/>
                          <a:pt x="121" y="107"/>
                        </a:cubicBezTo>
                        <a:cubicBezTo>
                          <a:pt x="120" y="107"/>
                          <a:pt x="119" y="107"/>
                          <a:pt x="118" y="107"/>
                        </a:cubicBezTo>
                        <a:cubicBezTo>
                          <a:pt x="117" y="107"/>
                          <a:pt x="117" y="106"/>
                          <a:pt x="117" y="108"/>
                        </a:cubicBezTo>
                        <a:cubicBezTo>
                          <a:pt x="116" y="108"/>
                          <a:pt x="115" y="107"/>
                          <a:pt x="114" y="107"/>
                        </a:cubicBezTo>
                        <a:cubicBezTo>
                          <a:pt x="112" y="106"/>
                          <a:pt x="112" y="107"/>
                          <a:pt x="111" y="107"/>
                        </a:cubicBezTo>
                        <a:cubicBezTo>
                          <a:pt x="110" y="106"/>
                          <a:pt x="109" y="105"/>
                          <a:pt x="107" y="107"/>
                        </a:cubicBezTo>
                        <a:cubicBezTo>
                          <a:pt x="105" y="109"/>
                          <a:pt x="103" y="110"/>
                          <a:pt x="102" y="111"/>
                        </a:cubicBezTo>
                        <a:cubicBezTo>
                          <a:pt x="100" y="112"/>
                          <a:pt x="99" y="113"/>
                          <a:pt x="97" y="113"/>
                        </a:cubicBezTo>
                        <a:cubicBezTo>
                          <a:pt x="95" y="114"/>
                          <a:pt x="97" y="117"/>
                          <a:pt x="94" y="116"/>
                        </a:cubicBezTo>
                        <a:cubicBezTo>
                          <a:pt x="93" y="115"/>
                          <a:pt x="92" y="114"/>
                          <a:pt x="90" y="115"/>
                        </a:cubicBezTo>
                        <a:cubicBezTo>
                          <a:pt x="89" y="116"/>
                          <a:pt x="89" y="118"/>
                          <a:pt x="88" y="119"/>
                        </a:cubicBezTo>
                        <a:cubicBezTo>
                          <a:pt x="88" y="120"/>
                          <a:pt x="87" y="121"/>
                          <a:pt x="87" y="122"/>
                        </a:cubicBezTo>
                        <a:cubicBezTo>
                          <a:pt x="87" y="122"/>
                          <a:pt x="85" y="121"/>
                          <a:pt x="84" y="121"/>
                        </a:cubicBezTo>
                        <a:cubicBezTo>
                          <a:pt x="85" y="122"/>
                          <a:pt x="84" y="124"/>
                          <a:pt x="84" y="125"/>
                        </a:cubicBezTo>
                        <a:cubicBezTo>
                          <a:pt x="83" y="125"/>
                          <a:pt x="82" y="125"/>
                          <a:pt x="82" y="127"/>
                        </a:cubicBezTo>
                        <a:cubicBezTo>
                          <a:pt x="81" y="127"/>
                          <a:pt x="77" y="125"/>
                          <a:pt x="77" y="123"/>
                        </a:cubicBezTo>
                        <a:cubicBezTo>
                          <a:pt x="75" y="129"/>
                          <a:pt x="73" y="126"/>
                          <a:pt x="75" y="128"/>
                        </a:cubicBezTo>
                        <a:cubicBezTo>
                          <a:pt x="75" y="129"/>
                          <a:pt x="75" y="130"/>
                          <a:pt x="75" y="131"/>
                        </a:cubicBezTo>
                        <a:cubicBezTo>
                          <a:pt x="75" y="131"/>
                          <a:pt x="72" y="131"/>
                          <a:pt x="73" y="132"/>
                        </a:cubicBezTo>
                        <a:cubicBezTo>
                          <a:pt x="74" y="134"/>
                          <a:pt x="73" y="137"/>
                          <a:pt x="71" y="139"/>
                        </a:cubicBezTo>
                        <a:cubicBezTo>
                          <a:pt x="70" y="140"/>
                          <a:pt x="68" y="139"/>
                          <a:pt x="67" y="139"/>
                        </a:cubicBezTo>
                        <a:cubicBezTo>
                          <a:pt x="66" y="140"/>
                          <a:pt x="65" y="141"/>
                          <a:pt x="64" y="141"/>
                        </a:cubicBezTo>
                        <a:cubicBezTo>
                          <a:pt x="66" y="142"/>
                          <a:pt x="64" y="143"/>
                          <a:pt x="65" y="143"/>
                        </a:cubicBezTo>
                        <a:cubicBezTo>
                          <a:pt x="66" y="144"/>
                          <a:pt x="65" y="147"/>
                          <a:pt x="65" y="149"/>
                        </a:cubicBezTo>
                        <a:cubicBezTo>
                          <a:pt x="64" y="149"/>
                          <a:pt x="63" y="149"/>
                          <a:pt x="63" y="150"/>
                        </a:cubicBezTo>
                        <a:cubicBezTo>
                          <a:pt x="64" y="151"/>
                          <a:pt x="64" y="154"/>
                          <a:pt x="62" y="155"/>
                        </a:cubicBezTo>
                        <a:cubicBezTo>
                          <a:pt x="62" y="156"/>
                          <a:pt x="60" y="156"/>
                          <a:pt x="60" y="156"/>
                        </a:cubicBezTo>
                        <a:cubicBezTo>
                          <a:pt x="58" y="157"/>
                          <a:pt x="59" y="159"/>
                          <a:pt x="57" y="159"/>
                        </a:cubicBezTo>
                        <a:cubicBezTo>
                          <a:pt x="55" y="158"/>
                          <a:pt x="56" y="154"/>
                          <a:pt x="56" y="153"/>
                        </a:cubicBezTo>
                        <a:cubicBezTo>
                          <a:pt x="55" y="153"/>
                          <a:pt x="55" y="155"/>
                          <a:pt x="54" y="155"/>
                        </a:cubicBezTo>
                        <a:cubicBezTo>
                          <a:pt x="53" y="155"/>
                          <a:pt x="52" y="154"/>
                          <a:pt x="52" y="154"/>
                        </a:cubicBezTo>
                        <a:cubicBezTo>
                          <a:pt x="52" y="155"/>
                          <a:pt x="52" y="157"/>
                          <a:pt x="51" y="157"/>
                        </a:cubicBezTo>
                        <a:cubicBezTo>
                          <a:pt x="50" y="157"/>
                          <a:pt x="48" y="157"/>
                          <a:pt x="49" y="159"/>
                        </a:cubicBezTo>
                        <a:cubicBezTo>
                          <a:pt x="47" y="159"/>
                          <a:pt x="44" y="158"/>
                          <a:pt x="44" y="156"/>
                        </a:cubicBezTo>
                        <a:cubicBezTo>
                          <a:pt x="43" y="156"/>
                          <a:pt x="42" y="156"/>
                          <a:pt x="42" y="156"/>
                        </a:cubicBezTo>
                        <a:cubicBezTo>
                          <a:pt x="41" y="158"/>
                          <a:pt x="41" y="159"/>
                          <a:pt x="39" y="159"/>
                        </a:cubicBezTo>
                        <a:cubicBezTo>
                          <a:pt x="40" y="157"/>
                          <a:pt x="36" y="156"/>
                          <a:pt x="36" y="154"/>
                        </a:cubicBezTo>
                        <a:cubicBezTo>
                          <a:pt x="36" y="153"/>
                          <a:pt x="37" y="151"/>
                          <a:pt x="36" y="150"/>
                        </a:cubicBezTo>
                        <a:cubicBezTo>
                          <a:pt x="36" y="148"/>
                          <a:pt x="34" y="150"/>
                          <a:pt x="33" y="150"/>
                        </a:cubicBezTo>
                        <a:cubicBezTo>
                          <a:pt x="33" y="149"/>
                          <a:pt x="34" y="146"/>
                          <a:pt x="36" y="147"/>
                        </a:cubicBezTo>
                        <a:cubicBezTo>
                          <a:pt x="36" y="145"/>
                          <a:pt x="33" y="144"/>
                          <a:pt x="33" y="143"/>
                        </a:cubicBezTo>
                        <a:cubicBezTo>
                          <a:pt x="31" y="143"/>
                          <a:pt x="32" y="142"/>
                          <a:pt x="32" y="141"/>
                        </a:cubicBezTo>
                        <a:cubicBezTo>
                          <a:pt x="32" y="140"/>
                          <a:pt x="31" y="139"/>
                          <a:pt x="30" y="138"/>
                        </a:cubicBezTo>
                        <a:cubicBezTo>
                          <a:pt x="30" y="137"/>
                          <a:pt x="31" y="135"/>
                          <a:pt x="29" y="135"/>
                        </a:cubicBezTo>
                        <a:cubicBezTo>
                          <a:pt x="29" y="134"/>
                          <a:pt x="27" y="133"/>
                          <a:pt x="27" y="134"/>
                        </a:cubicBezTo>
                        <a:cubicBezTo>
                          <a:pt x="26" y="134"/>
                          <a:pt x="28" y="136"/>
                          <a:pt x="27" y="136"/>
                        </a:cubicBezTo>
                        <a:cubicBezTo>
                          <a:pt x="25" y="137"/>
                          <a:pt x="24" y="138"/>
                          <a:pt x="23" y="139"/>
                        </a:cubicBezTo>
                        <a:cubicBezTo>
                          <a:pt x="22" y="139"/>
                          <a:pt x="21" y="138"/>
                          <a:pt x="20" y="138"/>
                        </a:cubicBezTo>
                        <a:cubicBezTo>
                          <a:pt x="18" y="137"/>
                          <a:pt x="17" y="137"/>
                          <a:pt x="16" y="138"/>
                        </a:cubicBezTo>
                        <a:cubicBezTo>
                          <a:pt x="13" y="142"/>
                          <a:pt x="14" y="138"/>
                          <a:pt x="12" y="137"/>
                        </a:cubicBezTo>
                        <a:cubicBezTo>
                          <a:pt x="10" y="136"/>
                          <a:pt x="8" y="142"/>
                          <a:pt x="7" y="138"/>
                        </a:cubicBezTo>
                        <a:cubicBezTo>
                          <a:pt x="6" y="136"/>
                          <a:pt x="8" y="135"/>
                          <a:pt x="7" y="133"/>
                        </a:cubicBezTo>
                        <a:cubicBezTo>
                          <a:pt x="7" y="133"/>
                          <a:pt x="7" y="130"/>
                          <a:pt x="7" y="130"/>
                        </a:cubicBezTo>
                        <a:cubicBezTo>
                          <a:pt x="8" y="128"/>
                          <a:pt x="5" y="122"/>
                          <a:pt x="4" y="125"/>
                        </a:cubicBezTo>
                        <a:cubicBezTo>
                          <a:pt x="3" y="125"/>
                          <a:pt x="2" y="122"/>
                          <a:pt x="2" y="122"/>
                        </a:cubicBezTo>
                        <a:cubicBezTo>
                          <a:pt x="1" y="121"/>
                          <a:pt x="2" y="120"/>
                          <a:pt x="2" y="118"/>
                        </a:cubicBezTo>
                        <a:cubicBezTo>
                          <a:pt x="2" y="116"/>
                          <a:pt x="2" y="116"/>
                          <a:pt x="1" y="114"/>
                        </a:cubicBezTo>
                        <a:cubicBezTo>
                          <a:pt x="0" y="114"/>
                          <a:pt x="0" y="113"/>
                          <a:pt x="0" y="112"/>
                        </a:cubicBezTo>
                        <a:cubicBezTo>
                          <a:pt x="1" y="111"/>
                          <a:pt x="0" y="111"/>
                          <a:pt x="0" y="110"/>
                        </a:cubicBezTo>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27" name="Malawi">
                    <a:extLst>
                      <a:ext uri="{FF2B5EF4-FFF2-40B4-BE49-F238E27FC236}">
                        <a16:creationId xmlns:a16="http://schemas.microsoft.com/office/drawing/2014/main" id="{7565EDF6-D827-A41E-B8A3-7F3827A225E4}"/>
                      </a:ext>
                    </a:extLst>
                  </p:cNvPr>
                  <p:cNvSpPr>
                    <a:spLocks/>
                  </p:cNvSpPr>
                  <p:nvPr/>
                </p:nvSpPr>
                <p:spPr bwMode="auto">
                  <a:xfrm>
                    <a:off x="4507776" y="3580224"/>
                    <a:ext cx="69160" cy="191707"/>
                  </a:xfrm>
                  <a:custGeom>
                    <a:avLst/>
                    <a:gdLst/>
                    <a:ahLst/>
                    <a:cxnLst>
                      <a:cxn ang="0">
                        <a:pos x="0" y="46"/>
                      </a:cxn>
                      <a:cxn ang="0">
                        <a:pos x="3" y="41"/>
                      </a:cxn>
                      <a:cxn ang="0">
                        <a:pos x="3" y="36"/>
                      </a:cxn>
                      <a:cxn ang="0">
                        <a:pos x="8" y="32"/>
                      </a:cxn>
                      <a:cxn ang="0">
                        <a:pos x="6" y="22"/>
                      </a:cxn>
                      <a:cxn ang="0">
                        <a:pos x="6" y="17"/>
                      </a:cxn>
                      <a:cxn ang="0">
                        <a:pos x="8" y="14"/>
                      </a:cxn>
                      <a:cxn ang="0">
                        <a:pos x="8" y="8"/>
                      </a:cxn>
                      <a:cxn ang="0">
                        <a:pos x="6" y="3"/>
                      </a:cxn>
                      <a:cxn ang="0">
                        <a:pos x="4" y="2"/>
                      </a:cxn>
                      <a:cxn ang="0">
                        <a:pos x="3" y="0"/>
                      </a:cxn>
                      <a:cxn ang="0">
                        <a:pos x="7" y="1"/>
                      </a:cxn>
                      <a:cxn ang="0">
                        <a:pos x="9" y="2"/>
                      </a:cxn>
                      <a:cxn ang="0">
                        <a:pos x="13" y="3"/>
                      </a:cxn>
                      <a:cxn ang="0">
                        <a:pos x="15" y="9"/>
                      </a:cxn>
                      <a:cxn ang="0">
                        <a:pos x="15" y="13"/>
                      </a:cxn>
                      <a:cxn ang="0">
                        <a:pos x="16" y="23"/>
                      </a:cxn>
                      <a:cxn ang="0">
                        <a:pos x="13" y="31"/>
                      </a:cxn>
                      <a:cxn ang="0">
                        <a:pos x="15" y="39"/>
                      </a:cxn>
                      <a:cxn ang="0">
                        <a:pos x="18" y="47"/>
                      </a:cxn>
                      <a:cxn ang="0">
                        <a:pos x="20" y="49"/>
                      </a:cxn>
                      <a:cxn ang="0">
                        <a:pos x="24" y="54"/>
                      </a:cxn>
                      <a:cxn ang="0">
                        <a:pos x="22" y="46"/>
                      </a:cxn>
                      <a:cxn ang="0">
                        <a:pos x="20" y="44"/>
                      </a:cxn>
                      <a:cxn ang="0">
                        <a:pos x="24" y="48"/>
                      </a:cxn>
                      <a:cxn ang="0">
                        <a:pos x="28" y="54"/>
                      </a:cxn>
                      <a:cxn ang="0">
                        <a:pos x="29" y="61"/>
                      </a:cxn>
                      <a:cxn ang="0">
                        <a:pos x="29" y="68"/>
                      </a:cxn>
                      <a:cxn ang="0">
                        <a:pos x="28" y="71"/>
                      </a:cxn>
                      <a:cxn ang="0">
                        <a:pos x="24" y="73"/>
                      </a:cxn>
                      <a:cxn ang="0">
                        <a:pos x="22" y="76"/>
                      </a:cxn>
                      <a:cxn ang="0">
                        <a:pos x="24" y="80"/>
                      </a:cxn>
                      <a:cxn ang="0">
                        <a:pos x="23" y="83"/>
                      </a:cxn>
                      <a:cxn ang="0">
                        <a:pos x="21" y="82"/>
                      </a:cxn>
                      <a:cxn ang="0">
                        <a:pos x="21" y="79"/>
                      </a:cxn>
                      <a:cxn ang="0">
                        <a:pos x="15" y="72"/>
                      </a:cxn>
                      <a:cxn ang="0">
                        <a:pos x="15" y="68"/>
                      </a:cxn>
                      <a:cxn ang="0">
                        <a:pos x="16" y="64"/>
                      </a:cxn>
                      <a:cxn ang="0">
                        <a:pos x="17" y="61"/>
                      </a:cxn>
                      <a:cxn ang="0">
                        <a:pos x="16" y="54"/>
                      </a:cxn>
                      <a:cxn ang="0">
                        <a:pos x="12" y="54"/>
                      </a:cxn>
                      <a:cxn ang="0">
                        <a:pos x="9" y="55"/>
                      </a:cxn>
                      <a:cxn ang="0">
                        <a:pos x="4" y="49"/>
                      </a:cxn>
                      <a:cxn ang="0">
                        <a:pos x="0" y="46"/>
                      </a:cxn>
                    </a:cxnLst>
                    <a:rect l="0" t="0" r="r" b="b"/>
                    <a:pathLst>
                      <a:path w="30" h="83">
                        <a:moveTo>
                          <a:pt x="0" y="46"/>
                        </a:moveTo>
                        <a:cubicBezTo>
                          <a:pt x="0" y="45"/>
                          <a:pt x="2" y="43"/>
                          <a:pt x="3" y="41"/>
                        </a:cubicBezTo>
                        <a:cubicBezTo>
                          <a:pt x="3" y="39"/>
                          <a:pt x="3" y="39"/>
                          <a:pt x="3" y="36"/>
                        </a:cubicBezTo>
                        <a:cubicBezTo>
                          <a:pt x="2" y="34"/>
                          <a:pt x="7" y="33"/>
                          <a:pt x="8" y="32"/>
                        </a:cubicBezTo>
                        <a:cubicBezTo>
                          <a:pt x="5" y="31"/>
                          <a:pt x="6" y="25"/>
                          <a:pt x="6" y="22"/>
                        </a:cubicBezTo>
                        <a:cubicBezTo>
                          <a:pt x="6" y="20"/>
                          <a:pt x="8" y="19"/>
                          <a:pt x="6" y="17"/>
                        </a:cubicBezTo>
                        <a:cubicBezTo>
                          <a:pt x="5" y="15"/>
                          <a:pt x="7" y="15"/>
                          <a:pt x="8" y="14"/>
                        </a:cubicBezTo>
                        <a:cubicBezTo>
                          <a:pt x="10" y="13"/>
                          <a:pt x="10" y="11"/>
                          <a:pt x="8" y="8"/>
                        </a:cubicBezTo>
                        <a:cubicBezTo>
                          <a:pt x="6" y="5"/>
                          <a:pt x="8" y="5"/>
                          <a:pt x="6" y="3"/>
                        </a:cubicBezTo>
                        <a:cubicBezTo>
                          <a:pt x="5" y="2"/>
                          <a:pt x="4" y="2"/>
                          <a:pt x="4" y="2"/>
                        </a:cubicBezTo>
                        <a:cubicBezTo>
                          <a:pt x="3" y="2"/>
                          <a:pt x="4" y="0"/>
                          <a:pt x="3" y="0"/>
                        </a:cubicBezTo>
                        <a:cubicBezTo>
                          <a:pt x="4" y="0"/>
                          <a:pt x="6" y="1"/>
                          <a:pt x="7" y="1"/>
                        </a:cubicBezTo>
                        <a:cubicBezTo>
                          <a:pt x="8" y="1"/>
                          <a:pt x="8" y="2"/>
                          <a:pt x="9" y="2"/>
                        </a:cubicBezTo>
                        <a:cubicBezTo>
                          <a:pt x="10" y="2"/>
                          <a:pt x="12" y="2"/>
                          <a:pt x="13" y="3"/>
                        </a:cubicBezTo>
                        <a:cubicBezTo>
                          <a:pt x="13" y="5"/>
                          <a:pt x="13" y="7"/>
                          <a:pt x="15" y="9"/>
                        </a:cubicBezTo>
                        <a:cubicBezTo>
                          <a:pt x="16" y="11"/>
                          <a:pt x="15" y="12"/>
                          <a:pt x="15" y="13"/>
                        </a:cubicBezTo>
                        <a:cubicBezTo>
                          <a:pt x="15" y="15"/>
                          <a:pt x="16" y="22"/>
                          <a:pt x="16" y="23"/>
                        </a:cubicBezTo>
                        <a:cubicBezTo>
                          <a:pt x="16" y="26"/>
                          <a:pt x="12" y="29"/>
                          <a:pt x="13" y="31"/>
                        </a:cubicBezTo>
                        <a:cubicBezTo>
                          <a:pt x="17" y="38"/>
                          <a:pt x="16" y="38"/>
                          <a:pt x="15" y="39"/>
                        </a:cubicBezTo>
                        <a:cubicBezTo>
                          <a:pt x="14" y="45"/>
                          <a:pt x="19" y="44"/>
                          <a:pt x="18" y="47"/>
                        </a:cubicBezTo>
                        <a:cubicBezTo>
                          <a:pt x="16" y="54"/>
                          <a:pt x="21" y="52"/>
                          <a:pt x="20" y="49"/>
                        </a:cubicBezTo>
                        <a:cubicBezTo>
                          <a:pt x="24" y="54"/>
                          <a:pt x="24" y="54"/>
                          <a:pt x="24" y="54"/>
                        </a:cubicBezTo>
                        <a:cubicBezTo>
                          <a:pt x="24" y="54"/>
                          <a:pt x="24" y="48"/>
                          <a:pt x="22" y="46"/>
                        </a:cubicBezTo>
                        <a:cubicBezTo>
                          <a:pt x="20" y="46"/>
                          <a:pt x="21" y="45"/>
                          <a:pt x="20" y="44"/>
                        </a:cubicBezTo>
                        <a:cubicBezTo>
                          <a:pt x="22" y="45"/>
                          <a:pt x="22" y="45"/>
                          <a:pt x="24" y="48"/>
                        </a:cubicBezTo>
                        <a:cubicBezTo>
                          <a:pt x="25" y="50"/>
                          <a:pt x="26" y="52"/>
                          <a:pt x="28" y="54"/>
                        </a:cubicBezTo>
                        <a:cubicBezTo>
                          <a:pt x="30" y="56"/>
                          <a:pt x="30" y="58"/>
                          <a:pt x="29" y="61"/>
                        </a:cubicBezTo>
                        <a:cubicBezTo>
                          <a:pt x="29" y="63"/>
                          <a:pt x="30" y="66"/>
                          <a:pt x="29" y="68"/>
                        </a:cubicBezTo>
                        <a:cubicBezTo>
                          <a:pt x="29" y="69"/>
                          <a:pt x="29" y="71"/>
                          <a:pt x="28" y="71"/>
                        </a:cubicBezTo>
                        <a:cubicBezTo>
                          <a:pt x="27" y="72"/>
                          <a:pt x="25" y="72"/>
                          <a:pt x="24" y="73"/>
                        </a:cubicBezTo>
                        <a:cubicBezTo>
                          <a:pt x="23" y="74"/>
                          <a:pt x="24" y="75"/>
                          <a:pt x="22" y="76"/>
                        </a:cubicBezTo>
                        <a:cubicBezTo>
                          <a:pt x="22" y="77"/>
                          <a:pt x="24" y="79"/>
                          <a:pt x="24" y="80"/>
                        </a:cubicBezTo>
                        <a:cubicBezTo>
                          <a:pt x="24" y="81"/>
                          <a:pt x="24" y="82"/>
                          <a:pt x="23" y="83"/>
                        </a:cubicBezTo>
                        <a:cubicBezTo>
                          <a:pt x="23" y="83"/>
                          <a:pt x="21" y="83"/>
                          <a:pt x="21" y="82"/>
                        </a:cubicBezTo>
                        <a:cubicBezTo>
                          <a:pt x="22" y="80"/>
                          <a:pt x="23" y="81"/>
                          <a:pt x="21" y="79"/>
                        </a:cubicBezTo>
                        <a:cubicBezTo>
                          <a:pt x="19" y="77"/>
                          <a:pt x="15" y="74"/>
                          <a:pt x="15" y="72"/>
                        </a:cubicBezTo>
                        <a:cubicBezTo>
                          <a:pt x="15" y="70"/>
                          <a:pt x="14" y="70"/>
                          <a:pt x="15" y="68"/>
                        </a:cubicBezTo>
                        <a:cubicBezTo>
                          <a:pt x="15" y="67"/>
                          <a:pt x="16" y="65"/>
                          <a:pt x="16" y="64"/>
                        </a:cubicBezTo>
                        <a:cubicBezTo>
                          <a:pt x="17" y="63"/>
                          <a:pt x="17" y="63"/>
                          <a:pt x="17" y="61"/>
                        </a:cubicBezTo>
                        <a:cubicBezTo>
                          <a:pt x="17" y="59"/>
                          <a:pt x="17" y="56"/>
                          <a:pt x="16" y="54"/>
                        </a:cubicBezTo>
                        <a:cubicBezTo>
                          <a:pt x="15" y="53"/>
                          <a:pt x="14" y="54"/>
                          <a:pt x="12" y="54"/>
                        </a:cubicBezTo>
                        <a:cubicBezTo>
                          <a:pt x="11" y="55"/>
                          <a:pt x="9" y="54"/>
                          <a:pt x="9" y="55"/>
                        </a:cubicBezTo>
                        <a:cubicBezTo>
                          <a:pt x="9" y="55"/>
                          <a:pt x="4" y="49"/>
                          <a:pt x="4" y="49"/>
                        </a:cubicBezTo>
                        <a:cubicBezTo>
                          <a:pt x="2" y="50"/>
                          <a:pt x="0" y="47"/>
                          <a:pt x="0" y="46"/>
                        </a:cubicBezTo>
                        <a:close/>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28" name="Madagascar">
                    <a:extLst>
                      <a:ext uri="{FF2B5EF4-FFF2-40B4-BE49-F238E27FC236}">
                        <a16:creationId xmlns:a16="http://schemas.microsoft.com/office/drawing/2014/main" id="{9122E320-1A04-5811-49B2-928BC32D072F}"/>
                      </a:ext>
                    </a:extLst>
                  </p:cNvPr>
                  <p:cNvSpPr>
                    <a:spLocks/>
                  </p:cNvSpPr>
                  <p:nvPr/>
                </p:nvSpPr>
                <p:spPr bwMode="auto">
                  <a:xfrm>
                    <a:off x="4727289" y="3646639"/>
                    <a:ext cx="167540" cy="336414"/>
                  </a:xfrm>
                  <a:custGeom>
                    <a:avLst/>
                    <a:gdLst>
                      <a:gd name="connsiteX0" fmla="*/ 150117 w 164404"/>
                      <a:gd name="connsiteY0" fmla="*/ 112232 h 330117"/>
                      <a:gd name="connsiteX1" fmla="*/ 150117 w 164404"/>
                      <a:gd name="connsiteY1" fmla="*/ 114316 h 330117"/>
                      <a:gd name="connsiteX2" fmla="*/ 148331 w 164404"/>
                      <a:gd name="connsiteY2" fmla="*/ 120567 h 330117"/>
                      <a:gd name="connsiteX3" fmla="*/ 150117 w 164404"/>
                      <a:gd name="connsiteY3" fmla="*/ 112232 h 330117"/>
                      <a:gd name="connsiteX4" fmla="*/ 139287 w 164404"/>
                      <a:gd name="connsiteY4" fmla="*/ 0 h 330117"/>
                      <a:gd name="connsiteX5" fmla="*/ 141570 w 164404"/>
                      <a:gd name="connsiteY5" fmla="*/ 2277 h 330117"/>
                      <a:gd name="connsiteX6" fmla="*/ 146137 w 164404"/>
                      <a:gd name="connsiteY6" fmla="*/ 9107 h 330117"/>
                      <a:gd name="connsiteX7" fmla="*/ 146137 w 164404"/>
                      <a:gd name="connsiteY7" fmla="*/ 13660 h 330117"/>
                      <a:gd name="connsiteX8" fmla="*/ 148420 w 164404"/>
                      <a:gd name="connsiteY8" fmla="*/ 15937 h 330117"/>
                      <a:gd name="connsiteX9" fmla="*/ 150704 w 164404"/>
                      <a:gd name="connsiteY9" fmla="*/ 15937 h 330117"/>
                      <a:gd name="connsiteX10" fmla="*/ 157554 w 164404"/>
                      <a:gd name="connsiteY10" fmla="*/ 50087 h 330117"/>
                      <a:gd name="connsiteX11" fmla="*/ 159837 w 164404"/>
                      <a:gd name="connsiteY11" fmla="*/ 70577 h 330117"/>
                      <a:gd name="connsiteX12" fmla="*/ 164404 w 164404"/>
                      <a:gd name="connsiteY12" fmla="*/ 79684 h 330117"/>
                      <a:gd name="connsiteX13" fmla="*/ 155271 w 164404"/>
                      <a:gd name="connsiteY13" fmla="*/ 93344 h 330117"/>
                      <a:gd name="connsiteX14" fmla="*/ 148420 w 164404"/>
                      <a:gd name="connsiteY14" fmla="*/ 81960 h 330117"/>
                      <a:gd name="connsiteX15" fmla="*/ 146137 w 164404"/>
                      <a:gd name="connsiteY15" fmla="*/ 95620 h 330117"/>
                      <a:gd name="connsiteX16" fmla="*/ 148420 w 164404"/>
                      <a:gd name="connsiteY16" fmla="*/ 102450 h 330117"/>
                      <a:gd name="connsiteX17" fmla="*/ 148420 w 164404"/>
                      <a:gd name="connsiteY17" fmla="*/ 107004 h 330117"/>
                      <a:gd name="connsiteX18" fmla="*/ 143854 w 164404"/>
                      <a:gd name="connsiteY18" fmla="*/ 116110 h 330117"/>
                      <a:gd name="connsiteX19" fmla="*/ 139287 w 164404"/>
                      <a:gd name="connsiteY19" fmla="*/ 138877 h 330117"/>
                      <a:gd name="connsiteX20" fmla="*/ 130153 w 164404"/>
                      <a:gd name="connsiteY20" fmla="*/ 166197 h 330117"/>
                      <a:gd name="connsiteX21" fmla="*/ 123303 w 164404"/>
                      <a:gd name="connsiteY21" fmla="*/ 184410 h 330117"/>
                      <a:gd name="connsiteX22" fmla="*/ 121020 w 164404"/>
                      <a:gd name="connsiteY22" fmla="*/ 191240 h 330117"/>
                      <a:gd name="connsiteX23" fmla="*/ 118736 w 164404"/>
                      <a:gd name="connsiteY23" fmla="*/ 200347 h 330117"/>
                      <a:gd name="connsiteX24" fmla="*/ 107319 w 164404"/>
                      <a:gd name="connsiteY24" fmla="*/ 229944 h 330117"/>
                      <a:gd name="connsiteX25" fmla="*/ 95902 w 164404"/>
                      <a:gd name="connsiteY25" fmla="*/ 264094 h 330117"/>
                      <a:gd name="connsiteX26" fmla="*/ 89052 w 164404"/>
                      <a:gd name="connsiteY26" fmla="*/ 286860 h 330117"/>
                      <a:gd name="connsiteX27" fmla="*/ 82202 w 164404"/>
                      <a:gd name="connsiteY27" fmla="*/ 300520 h 330117"/>
                      <a:gd name="connsiteX28" fmla="*/ 79918 w 164404"/>
                      <a:gd name="connsiteY28" fmla="*/ 309627 h 330117"/>
                      <a:gd name="connsiteX29" fmla="*/ 73068 w 164404"/>
                      <a:gd name="connsiteY29" fmla="*/ 316457 h 330117"/>
                      <a:gd name="connsiteX30" fmla="*/ 68501 w 164404"/>
                      <a:gd name="connsiteY30" fmla="*/ 318734 h 330117"/>
                      <a:gd name="connsiteX31" fmla="*/ 61651 w 164404"/>
                      <a:gd name="connsiteY31" fmla="*/ 318734 h 330117"/>
                      <a:gd name="connsiteX32" fmla="*/ 38817 w 164404"/>
                      <a:gd name="connsiteY32" fmla="*/ 330117 h 330117"/>
                      <a:gd name="connsiteX33" fmla="*/ 27400 w 164404"/>
                      <a:gd name="connsiteY33" fmla="*/ 323287 h 330117"/>
                      <a:gd name="connsiteX34" fmla="*/ 20550 w 164404"/>
                      <a:gd name="connsiteY34" fmla="*/ 321010 h 330117"/>
                      <a:gd name="connsiteX35" fmla="*/ 11417 w 164404"/>
                      <a:gd name="connsiteY35" fmla="*/ 309627 h 330117"/>
                      <a:gd name="connsiteX36" fmla="*/ 6850 w 164404"/>
                      <a:gd name="connsiteY36" fmla="*/ 300520 h 330117"/>
                      <a:gd name="connsiteX37" fmla="*/ 6850 w 164404"/>
                      <a:gd name="connsiteY37" fmla="*/ 280030 h 330117"/>
                      <a:gd name="connsiteX38" fmla="*/ 6850 w 164404"/>
                      <a:gd name="connsiteY38" fmla="*/ 273200 h 330117"/>
                      <a:gd name="connsiteX39" fmla="*/ 2283 w 164404"/>
                      <a:gd name="connsiteY39" fmla="*/ 264094 h 330117"/>
                      <a:gd name="connsiteX40" fmla="*/ 0 w 164404"/>
                      <a:gd name="connsiteY40" fmla="*/ 243604 h 330117"/>
                      <a:gd name="connsiteX41" fmla="*/ 4566 w 164404"/>
                      <a:gd name="connsiteY41" fmla="*/ 229944 h 330117"/>
                      <a:gd name="connsiteX42" fmla="*/ 11417 w 164404"/>
                      <a:gd name="connsiteY42" fmla="*/ 223114 h 330117"/>
                      <a:gd name="connsiteX43" fmla="*/ 15983 w 164404"/>
                      <a:gd name="connsiteY43" fmla="*/ 214007 h 330117"/>
                      <a:gd name="connsiteX44" fmla="*/ 22833 w 164404"/>
                      <a:gd name="connsiteY44" fmla="*/ 202624 h 330117"/>
                      <a:gd name="connsiteX45" fmla="*/ 29684 w 164404"/>
                      <a:gd name="connsiteY45" fmla="*/ 193517 h 330117"/>
                      <a:gd name="connsiteX46" fmla="*/ 27400 w 164404"/>
                      <a:gd name="connsiteY46" fmla="*/ 186687 h 330117"/>
                      <a:gd name="connsiteX47" fmla="*/ 27400 w 164404"/>
                      <a:gd name="connsiteY47" fmla="*/ 175304 h 330117"/>
                      <a:gd name="connsiteX48" fmla="*/ 25117 w 164404"/>
                      <a:gd name="connsiteY48" fmla="*/ 163920 h 330117"/>
                      <a:gd name="connsiteX49" fmla="*/ 22833 w 164404"/>
                      <a:gd name="connsiteY49" fmla="*/ 150260 h 330117"/>
                      <a:gd name="connsiteX50" fmla="*/ 20550 w 164404"/>
                      <a:gd name="connsiteY50" fmla="*/ 136600 h 330117"/>
                      <a:gd name="connsiteX51" fmla="*/ 29684 w 164404"/>
                      <a:gd name="connsiteY51" fmla="*/ 118387 h 330117"/>
                      <a:gd name="connsiteX52" fmla="*/ 31967 w 164404"/>
                      <a:gd name="connsiteY52" fmla="*/ 109280 h 330117"/>
                      <a:gd name="connsiteX53" fmla="*/ 34250 w 164404"/>
                      <a:gd name="connsiteY53" fmla="*/ 100174 h 330117"/>
                      <a:gd name="connsiteX54" fmla="*/ 43384 w 164404"/>
                      <a:gd name="connsiteY54" fmla="*/ 100174 h 330117"/>
                      <a:gd name="connsiteX55" fmla="*/ 50234 w 164404"/>
                      <a:gd name="connsiteY55" fmla="*/ 93344 h 330117"/>
                      <a:gd name="connsiteX56" fmla="*/ 52518 w 164404"/>
                      <a:gd name="connsiteY56" fmla="*/ 97897 h 330117"/>
                      <a:gd name="connsiteX57" fmla="*/ 57084 w 164404"/>
                      <a:gd name="connsiteY57" fmla="*/ 95620 h 330117"/>
                      <a:gd name="connsiteX58" fmla="*/ 59368 w 164404"/>
                      <a:gd name="connsiteY58" fmla="*/ 88790 h 330117"/>
                      <a:gd name="connsiteX59" fmla="*/ 66218 w 164404"/>
                      <a:gd name="connsiteY59" fmla="*/ 91067 h 330117"/>
                      <a:gd name="connsiteX60" fmla="*/ 70785 w 164404"/>
                      <a:gd name="connsiteY60" fmla="*/ 91067 h 330117"/>
                      <a:gd name="connsiteX61" fmla="*/ 77635 w 164404"/>
                      <a:gd name="connsiteY61" fmla="*/ 93344 h 330117"/>
                      <a:gd name="connsiteX62" fmla="*/ 73068 w 164404"/>
                      <a:gd name="connsiteY62" fmla="*/ 91067 h 330117"/>
                      <a:gd name="connsiteX63" fmla="*/ 73068 w 164404"/>
                      <a:gd name="connsiteY63" fmla="*/ 86514 h 330117"/>
                      <a:gd name="connsiteX64" fmla="*/ 79918 w 164404"/>
                      <a:gd name="connsiteY64" fmla="*/ 81960 h 330117"/>
                      <a:gd name="connsiteX65" fmla="*/ 86769 w 164404"/>
                      <a:gd name="connsiteY65" fmla="*/ 77407 h 330117"/>
                      <a:gd name="connsiteX66" fmla="*/ 86769 w 164404"/>
                      <a:gd name="connsiteY66" fmla="*/ 84237 h 330117"/>
                      <a:gd name="connsiteX67" fmla="*/ 93619 w 164404"/>
                      <a:gd name="connsiteY67" fmla="*/ 79684 h 330117"/>
                      <a:gd name="connsiteX68" fmla="*/ 91335 w 164404"/>
                      <a:gd name="connsiteY68" fmla="*/ 75130 h 330117"/>
                      <a:gd name="connsiteX69" fmla="*/ 95902 w 164404"/>
                      <a:gd name="connsiteY69" fmla="*/ 68300 h 330117"/>
                      <a:gd name="connsiteX70" fmla="*/ 100469 w 164404"/>
                      <a:gd name="connsiteY70" fmla="*/ 63747 h 330117"/>
                      <a:gd name="connsiteX71" fmla="*/ 98186 w 164404"/>
                      <a:gd name="connsiteY71" fmla="*/ 72854 h 330117"/>
                      <a:gd name="connsiteX72" fmla="*/ 105036 w 164404"/>
                      <a:gd name="connsiteY72" fmla="*/ 61470 h 330117"/>
                      <a:gd name="connsiteX73" fmla="*/ 109603 w 164404"/>
                      <a:gd name="connsiteY73" fmla="*/ 63747 h 330117"/>
                      <a:gd name="connsiteX74" fmla="*/ 105036 w 164404"/>
                      <a:gd name="connsiteY74" fmla="*/ 59194 h 330117"/>
                      <a:gd name="connsiteX75" fmla="*/ 109603 w 164404"/>
                      <a:gd name="connsiteY75" fmla="*/ 50087 h 330117"/>
                      <a:gd name="connsiteX76" fmla="*/ 111886 w 164404"/>
                      <a:gd name="connsiteY76" fmla="*/ 45534 h 330117"/>
                      <a:gd name="connsiteX77" fmla="*/ 109603 w 164404"/>
                      <a:gd name="connsiteY77" fmla="*/ 36427 h 330117"/>
                      <a:gd name="connsiteX78" fmla="*/ 118736 w 164404"/>
                      <a:gd name="connsiteY78" fmla="*/ 40980 h 330117"/>
                      <a:gd name="connsiteX79" fmla="*/ 121020 w 164404"/>
                      <a:gd name="connsiteY79" fmla="*/ 34150 h 330117"/>
                      <a:gd name="connsiteX80" fmla="*/ 123303 w 164404"/>
                      <a:gd name="connsiteY80" fmla="*/ 31873 h 330117"/>
                      <a:gd name="connsiteX81" fmla="*/ 130153 w 164404"/>
                      <a:gd name="connsiteY81" fmla="*/ 22767 h 330117"/>
                      <a:gd name="connsiteX82" fmla="*/ 130153 w 164404"/>
                      <a:gd name="connsiteY82" fmla="*/ 9107 h 330117"/>
                      <a:gd name="connsiteX83" fmla="*/ 139287 w 164404"/>
                      <a:gd name="connsiteY83" fmla="*/ 0 h 330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64404" h="330117">
                        <a:moveTo>
                          <a:pt x="150117" y="112232"/>
                        </a:moveTo>
                        <a:cubicBezTo>
                          <a:pt x="150117" y="112232"/>
                          <a:pt x="150117" y="112232"/>
                          <a:pt x="150117" y="114316"/>
                        </a:cubicBezTo>
                        <a:cubicBezTo>
                          <a:pt x="150117" y="116400"/>
                          <a:pt x="148331" y="118483"/>
                          <a:pt x="148331" y="120567"/>
                        </a:cubicBezTo>
                        <a:cubicBezTo>
                          <a:pt x="146545" y="116400"/>
                          <a:pt x="150117" y="114316"/>
                          <a:pt x="150117" y="112232"/>
                        </a:cubicBezTo>
                        <a:close/>
                        <a:moveTo>
                          <a:pt x="139287" y="0"/>
                        </a:moveTo>
                        <a:cubicBezTo>
                          <a:pt x="139287" y="0"/>
                          <a:pt x="139287" y="0"/>
                          <a:pt x="141570" y="2277"/>
                        </a:cubicBezTo>
                        <a:cubicBezTo>
                          <a:pt x="143854" y="0"/>
                          <a:pt x="146137" y="6830"/>
                          <a:pt x="146137" y="9107"/>
                        </a:cubicBezTo>
                        <a:cubicBezTo>
                          <a:pt x="148420" y="11383"/>
                          <a:pt x="146137" y="11383"/>
                          <a:pt x="146137" y="13660"/>
                        </a:cubicBezTo>
                        <a:cubicBezTo>
                          <a:pt x="148420" y="13660"/>
                          <a:pt x="148420" y="15937"/>
                          <a:pt x="148420" y="15937"/>
                        </a:cubicBezTo>
                        <a:cubicBezTo>
                          <a:pt x="148420" y="15937"/>
                          <a:pt x="148420" y="15937"/>
                          <a:pt x="150704" y="15937"/>
                        </a:cubicBezTo>
                        <a:cubicBezTo>
                          <a:pt x="155271" y="25043"/>
                          <a:pt x="157554" y="38704"/>
                          <a:pt x="157554" y="50087"/>
                        </a:cubicBezTo>
                        <a:cubicBezTo>
                          <a:pt x="157554" y="56917"/>
                          <a:pt x="157554" y="63747"/>
                          <a:pt x="159837" y="70577"/>
                        </a:cubicBezTo>
                        <a:cubicBezTo>
                          <a:pt x="162121" y="72854"/>
                          <a:pt x="164404" y="75130"/>
                          <a:pt x="164404" y="79684"/>
                        </a:cubicBezTo>
                        <a:cubicBezTo>
                          <a:pt x="162121" y="81960"/>
                          <a:pt x="159837" y="95620"/>
                          <a:pt x="155271" y="93344"/>
                        </a:cubicBezTo>
                        <a:cubicBezTo>
                          <a:pt x="150704" y="91067"/>
                          <a:pt x="152987" y="81960"/>
                          <a:pt x="148420" y="81960"/>
                        </a:cubicBezTo>
                        <a:cubicBezTo>
                          <a:pt x="143854" y="79684"/>
                          <a:pt x="146137" y="93344"/>
                          <a:pt x="146137" y="95620"/>
                        </a:cubicBezTo>
                        <a:cubicBezTo>
                          <a:pt x="146137" y="100174"/>
                          <a:pt x="148420" y="97897"/>
                          <a:pt x="148420" y="102450"/>
                        </a:cubicBezTo>
                        <a:cubicBezTo>
                          <a:pt x="148420" y="102450"/>
                          <a:pt x="148420" y="104727"/>
                          <a:pt x="148420" y="107004"/>
                        </a:cubicBezTo>
                        <a:cubicBezTo>
                          <a:pt x="148420" y="109280"/>
                          <a:pt x="146137" y="116110"/>
                          <a:pt x="143854" y="116110"/>
                        </a:cubicBezTo>
                        <a:cubicBezTo>
                          <a:pt x="134720" y="120664"/>
                          <a:pt x="139287" y="132047"/>
                          <a:pt x="139287" y="138877"/>
                        </a:cubicBezTo>
                        <a:cubicBezTo>
                          <a:pt x="137003" y="147984"/>
                          <a:pt x="132437" y="157090"/>
                          <a:pt x="130153" y="166197"/>
                        </a:cubicBezTo>
                        <a:cubicBezTo>
                          <a:pt x="127870" y="170750"/>
                          <a:pt x="125586" y="177580"/>
                          <a:pt x="123303" y="184410"/>
                        </a:cubicBezTo>
                        <a:cubicBezTo>
                          <a:pt x="123303" y="186687"/>
                          <a:pt x="121020" y="191240"/>
                          <a:pt x="121020" y="191240"/>
                        </a:cubicBezTo>
                        <a:cubicBezTo>
                          <a:pt x="121020" y="193517"/>
                          <a:pt x="118736" y="198070"/>
                          <a:pt x="118736" y="200347"/>
                        </a:cubicBezTo>
                        <a:cubicBezTo>
                          <a:pt x="114169" y="209454"/>
                          <a:pt x="111886" y="220837"/>
                          <a:pt x="107319" y="229944"/>
                        </a:cubicBezTo>
                        <a:cubicBezTo>
                          <a:pt x="105036" y="241327"/>
                          <a:pt x="98186" y="252710"/>
                          <a:pt x="95902" y="264094"/>
                        </a:cubicBezTo>
                        <a:cubicBezTo>
                          <a:pt x="93619" y="270924"/>
                          <a:pt x="91335" y="280030"/>
                          <a:pt x="89052" y="286860"/>
                        </a:cubicBezTo>
                        <a:cubicBezTo>
                          <a:pt x="86769" y="291414"/>
                          <a:pt x="84485" y="295967"/>
                          <a:pt x="82202" y="300520"/>
                        </a:cubicBezTo>
                        <a:cubicBezTo>
                          <a:pt x="82202" y="305074"/>
                          <a:pt x="79918" y="307350"/>
                          <a:pt x="79918" y="309627"/>
                        </a:cubicBezTo>
                        <a:cubicBezTo>
                          <a:pt x="77635" y="311904"/>
                          <a:pt x="77635" y="316457"/>
                          <a:pt x="73068" y="316457"/>
                        </a:cubicBezTo>
                        <a:cubicBezTo>
                          <a:pt x="70785" y="316457"/>
                          <a:pt x="70785" y="318734"/>
                          <a:pt x="68501" y="318734"/>
                        </a:cubicBezTo>
                        <a:cubicBezTo>
                          <a:pt x="66218" y="318734"/>
                          <a:pt x="63935" y="318734"/>
                          <a:pt x="61651" y="318734"/>
                        </a:cubicBezTo>
                        <a:cubicBezTo>
                          <a:pt x="52518" y="321010"/>
                          <a:pt x="45667" y="330117"/>
                          <a:pt x="38817" y="330117"/>
                        </a:cubicBezTo>
                        <a:cubicBezTo>
                          <a:pt x="34250" y="327840"/>
                          <a:pt x="31967" y="323287"/>
                          <a:pt x="27400" y="323287"/>
                        </a:cubicBezTo>
                        <a:cubicBezTo>
                          <a:pt x="25117" y="321010"/>
                          <a:pt x="22833" y="321010"/>
                          <a:pt x="20550" y="321010"/>
                        </a:cubicBezTo>
                        <a:cubicBezTo>
                          <a:pt x="15983" y="316457"/>
                          <a:pt x="13700" y="314180"/>
                          <a:pt x="11417" y="309627"/>
                        </a:cubicBezTo>
                        <a:cubicBezTo>
                          <a:pt x="11417" y="305074"/>
                          <a:pt x="9133" y="302797"/>
                          <a:pt x="6850" y="300520"/>
                        </a:cubicBezTo>
                        <a:cubicBezTo>
                          <a:pt x="4566" y="295967"/>
                          <a:pt x="4566" y="284584"/>
                          <a:pt x="6850" y="280030"/>
                        </a:cubicBezTo>
                        <a:cubicBezTo>
                          <a:pt x="11417" y="277754"/>
                          <a:pt x="6850" y="277754"/>
                          <a:pt x="6850" y="273200"/>
                        </a:cubicBezTo>
                        <a:cubicBezTo>
                          <a:pt x="4566" y="270924"/>
                          <a:pt x="4566" y="266370"/>
                          <a:pt x="2283" y="264094"/>
                        </a:cubicBezTo>
                        <a:cubicBezTo>
                          <a:pt x="-2284" y="257264"/>
                          <a:pt x="2283" y="250434"/>
                          <a:pt x="0" y="243604"/>
                        </a:cubicBezTo>
                        <a:cubicBezTo>
                          <a:pt x="2283" y="239050"/>
                          <a:pt x="4566" y="234497"/>
                          <a:pt x="4566" y="229944"/>
                        </a:cubicBezTo>
                        <a:cubicBezTo>
                          <a:pt x="6850" y="225390"/>
                          <a:pt x="6850" y="225390"/>
                          <a:pt x="11417" y="223114"/>
                        </a:cubicBezTo>
                        <a:cubicBezTo>
                          <a:pt x="15983" y="220837"/>
                          <a:pt x="13700" y="216284"/>
                          <a:pt x="15983" y="214007"/>
                        </a:cubicBezTo>
                        <a:cubicBezTo>
                          <a:pt x="18267" y="209454"/>
                          <a:pt x="20550" y="207177"/>
                          <a:pt x="22833" y="202624"/>
                        </a:cubicBezTo>
                        <a:cubicBezTo>
                          <a:pt x="25117" y="200347"/>
                          <a:pt x="27400" y="195794"/>
                          <a:pt x="29684" y="193517"/>
                        </a:cubicBezTo>
                        <a:cubicBezTo>
                          <a:pt x="29684" y="188964"/>
                          <a:pt x="27400" y="188964"/>
                          <a:pt x="27400" y="186687"/>
                        </a:cubicBezTo>
                        <a:cubicBezTo>
                          <a:pt x="29684" y="182134"/>
                          <a:pt x="29684" y="179857"/>
                          <a:pt x="27400" y="175304"/>
                        </a:cubicBezTo>
                        <a:cubicBezTo>
                          <a:pt x="25117" y="170750"/>
                          <a:pt x="25117" y="168474"/>
                          <a:pt x="25117" y="163920"/>
                        </a:cubicBezTo>
                        <a:cubicBezTo>
                          <a:pt x="25117" y="159367"/>
                          <a:pt x="22833" y="154814"/>
                          <a:pt x="22833" y="150260"/>
                        </a:cubicBezTo>
                        <a:cubicBezTo>
                          <a:pt x="20550" y="145707"/>
                          <a:pt x="22833" y="138877"/>
                          <a:pt x="20550" y="136600"/>
                        </a:cubicBezTo>
                        <a:cubicBezTo>
                          <a:pt x="18267" y="129770"/>
                          <a:pt x="27400" y="122940"/>
                          <a:pt x="29684" y="118387"/>
                        </a:cubicBezTo>
                        <a:cubicBezTo>
                          <a:pt x="29684" y="116110"/>
                          <a:pt x="31967" y="111557"/>
                          <a:pt x="31967" y="109280"/>
                        </a:cubicBezTo>
                        <a:cubicBezTo>
                          <a:pt x="31967" y="109280"/>
                          <a:pt x="31967" y="100174"/>
                          <a:pt x="34250" y="100174"/>
                        </a:cubicBezTo>
                        <a:cubicBezTo>
                          <a:pt x="34250" y="97897"/>
                          <a:pt x="41101" y="100174"/>
                          <a:pt x="43384" y="100174"/>
                        </a:cubicBezTo>
                        <a:cubicBezTo>
                          <a:pt x="45667" y="97897"/>
                          <a:pt x="47951" y="95620"/>
                          <a:pt x="50234" y="93344"/>
                        </a:cubicBezTo>
                        <a:cubicBezTo>
                          <a:pt x="50234" y="95620"/>
                          <a:pt x="52518" y="95620"/>
                          <a:pt x="52518" y="97897"/>
                        </a:cubicBezTo>
                        <a:cubicBezTo>
                          <a:pt x="52518" y="95620"/>
                          <a:pt x="57084" y="91067"/>
                          <a:pt x="57084" y="95620"/>
                        </a:cubicBezTo>
                        <a:cubicBezTo>
                          <a:pt x="59368" y="93344"/>
                          <a:pt x="57084" y="91067"/>
                          <a:pt x="59368" y="88790"/>
                        </a:cubicBezTo>
                        <a:cubicBezTo>
                          <a:pt x="61651" y="88790"/>
                          <a:pt x="66218" y="88790"/>
                          <a:pt x="66218" y="91067"/>
                        </a:cubicBezTo>
                        <a:cubicBezTo>
                          <a:pt x="66218" y="86514"/>
                          <a:pt x="70785" y="86514"/>
                          <a:pt x="70785" y="91067"/>
                        </a:cubicBezTo>
                        <a:cubicBezTo>
                          <a:pt x="73068" y="93344"/>
                          <a:pt x="75352" y="93344"/>
                          <a:pt x="77635" y="93344"/>
                        </a:cubicBezTo>
                        <a:cubicBezTo>
                          <a:pt x="75352" y="91067"/>
                          <a:pt x="75352" y="91067"/>
                          <a:pt x="73068" y="91067"/>
                        </a:cubicBezTo>
                        <a:cubicBezTo>
                          <a:pt x="73068" y="88790"/>
                          <a:pt x="73068" y="88790"/>
                          <a:pt x="73068" y="86514"/>
                        </a:cubicBezTo>
                        <a:cubicBezTo>
                          <a:pt x="73068" y="84237"/>
                          <a:pt x="77635" y="81960"/>
                          <a:pt x="79918" y="81960"/>
                        </a:cubicBezTo>
                        <a:cubicBezTo>
                          <a:pt x="82202" y="79684"/>
                          <a:pt x="84485" y="77407"/>
                          <a:pt x="86769" y="77407"/>
                        </a:cubicBezTo>
                        <a:cubicBezTo>
                          <a:pt x="91335" y="77407"/>
                          <a:pt x="86769" y="81960"/>
                          <a:pt x="86769" y="84237"/>
                        </a:cubicBezTo>
                        <a:cubicBezTo>
                          <a:pt x="89052" y="81960"/>
                          <a:pt x="93619" y="81960"/>
                          <a:pt x="93619" y="79684"/>
                        </a:cubicBezTo>
                        <a:cubicBezTo>
                          <a:pt x="91335" y="77407"/>
                          <a:pt x="91335" y="75130"/>
                          <a:pt x="91335" y="75130"/>
                        </a:cubicBezTo>
                        <a:cubicBezTo>
                          <a:pt x="91335" y="70577"/>
                          <a:pt x="93619" y="70577"/>
                          <a:pt x="95902" y="68300"/>
                        </a:cubicBezTo>
                        <a:cubicBezTo>
                          <a:pt x="98186" y="66024"/>
                          <a:pt x="95902" y="63747"/>
                          <a:pt x="100469" y="63747"/>
                        </a:cubicBezTo>
                        <a:cubicBezTo>
                          <a:pt x="100469" y="66024"/>
                          <a:pt x="98186" y="68300"/>
                          <a:pt x="98186" y="72854"/>
                        </a:cubicBezTo>
                        <a:cubicBezTo>
                          <a:pt x="102752" y="70577"/>
                          <a:pt x="102752" y="66024"/>
                          <a:pt x="105036" y="61470"/>
                        </a:cubicBezTo>
                        <a:cubicBezTo>
                          <a:pt x="107319" y="61470"/>
                          <a:pt x="111886" y="61470"/>
                          <a:pt x="109603" y="63747"/>
                        </a:cubicBezTo>
                        <a:cubicBezTo>
                          <a:pt x="111886" y="59194"/>
                          <a:pt x="107319" y="61470"/>
                          <a:pt x="105036" y="59194"/>
                        </a:cubicBezTo>
                        <a:cubicBezTo>
                          <a:pt x="102752" y="52364"/>
                          <a:pt x="109603" y="52364"/>
                          <a:pt x="109603" y="50087"/>
                        </a:cubicBezTo>
                        <a:cubicBezTo>
                          <a:pt x="109603" y="54640"/>
                          <a:pt x="111886" y="47810"/>
                          <a:pt x="111886" y="45534"/>
                        </a:cubicBezTo>
                        <a:cubicBezTo>
                          <a:pt x="109603" y="43257"/>
                          <a:pt x="109603" y="40980"/>
                          <a:pt x="109603" y="36427"/>
                        </a:cubicBezTo>
                        <a:cubicBezTo>
                          <a:pt x="109603" y="29597"/>
                          <a:pt x="116453" y="40980"/>
                          <a:pt x="118736" y="40980"/>
                        </a:cubicBezTo>
                        <a:cubicBezTo>
                          <a:pt x="118736" y="38704"/>
                          <a:pt x="118736" y="36427"/>
                          <a:pt x="121020" y="34150"/>
                        </a:cubicBezTo>
                        <a:cubicBezTo>
                          <a:pt x="121020" y="31873"/>
                          <a:pt x="123303" y="36427"/>
                          <a:pt x="123303" y="31873"/>
                        </a:cubicBezTo>
                        <a:cubicBezTo>
                          <a:pt x="130153" y="31873"/>
                          <a:pt x="127870" y="29597"/>
                          <a:pt x="130153" y="22767"/>
                        </a:cubicBezTo>
                        <a:cubicBezTo>
                          <a:pt x="132437" y="20490"/>
                          <a:pt x="134720" y="11383"/>
                          <a:pt x="130153" y="9107"/>
                        </a:cubicBezTo>
                        <a:cubicBezTo>
                          <a:pt x="132437" y="9107"/>
                          <a:pt x="139287" y="2277"/>
                          <a:pt x="139287" y="0"/>
                        </a:cubicBezTo>
                        <a:close/>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29" name="Liberia">
                    <a:extLst>
                      <a:ext uri="{FF2B5EF4-FFF2-40B4-BE49-F238E27FC236}">
                        <a16:creationId xmlns:a16="http://schemas.microsoft.com/office/drawing/2014/main" id="{8F69121B-F1FE-D5DE-6E60-1F9EEDE8452C}"/>
                      </a:ext>
                    </a:extLst>
                  </p:cNvPr>
                  <p:cNvSpPr>
                    <a:spLocks/>
                  </p:cNvSpPr>
                  <p:nvPr/>
                </p:nvSpPr>
                <p:spPr bwMode="auto">
                  <a:xfrm>
                    <a:off x="3543173" y="3132504"/>
                    <a:ext cx="91001" cy="104348"/>
                  </a:xfrm>
                  <a:custGeom>
                    <a:avLst/>
                    <a:gdLst/>
                    <a:ahLst/>
                    <a:cxnLst>
                      <a:cxn ang="0">
                        <a:pos x="0" y="18"/>
                      </a:cxn>
                      <a:cxn ang="0">
                        <a:pos x="2" y="14"/>
                      </a:cxn>
                      <a:cxn ang="0">
                        <a:pos x="7" y="9"/>
                      </a:cxn>
                      <a:cxn ang="0">
                        <a:pos x="8" y="5"/>
                      </a:cxn>
                      <a:cxn ang="0">
                        <a:pos x="11" y="2"/>
                      </a:cxn>
                      <a:cxn ang="0">
                        <a:pos x="11" y="1"/>
                      </a:cxn>
                      <a:cxn ang="0">
                        <a:pos x="14" y="1"/>
                      </a:cxn>
                      <a:cxn ang="0">
                        <a:pos x="16" y="0"/>
                      </a:cxn>
                      <a:cxn ang="0">
                        <a:pos x="19" y="2"/>
                      </a:cxn>
                      <a:cxn ang="0">
                        <a:pos x="19" y="4"/>
                      </a:cxn>
                      <a:cxn ang="0">
                        <a:pos x="19" y="5"/>
                      </a:cxn>
                      <a:cxn ang="0">
                        <a:pos x="19" y="13"/>
                      </a:cxn>
                      <a:cxn ang="0">
                        <a:pos x="22" y="15"/>
                      </a:cxn>
                      <a:cxn ang="0">
                        <a:pos x="26" y="11"/>
                      </a:cxn>
                      <a:cxn ang="0">
                        <a:pos x="27" y="9"/>
                      </a:cxn>
                      <a:cxn ang="0">
                        <a:pos x="29" y="12"/>
                      </a:cxn>
                      <a:cxn ang="0">
                        <a:pos x="30" y="18"/>
                      </a:cxn>
                      <a:cxn ang="0">
                        <a:pos x="28" y="21"/>
                      </a:cxn>
                      <a:cxn ang="0">
                        <a:pos x="27" y="22"/>
                      </a:cxn>
                      <a:cxn ang="0">
                        <a:pos x="29" y="23"/>
                      </a:cxn>
                      <a:cxn ang="0">
                        <a:pos x="34" y="25"/>
                      </a:cxn>
                      <a:cxn ang="0">
                        <a:pos x="35" y="28"/>
                      </a:cxn>
                      <a:cxn ang="0">
                        <a:pos x="38" y="31"/>
                      </a:cxn>
                      <a:cxn ang="0">
                        <a:pos x="38" y="36"/>
                      </a:cxn>
                      <a:cxn ang="0">
                        <a:pos x="37" y="45"/>
                      </a:cxn>
                      <a:cxn ang="0">
                        <a:pos x="33" y="44"/>
                      </a:cxn>
                      <a:cxn ang="0">
                        <a:pos x="28" y="42"/>
                      </a:cxn>
                      <a:cxn ang="0">
                        <a:pos x="20" y="36"/>
                      </a:cxn>
                      <a:cxn ang="0">
                        <a:pos x="12" y="28"/>
                      </a:cxn>
                      <a:cxn ang="0">
                        <a:pos x="6" y="23"/>
                      </a:cxn>
                      <a:cxn ang="0">
                        <a:pos x="3" y="21"/>
                      </a:cxn>
                      <a:cxn ang="0">
                        <a:pos x="0" y="18"/>
                      </a:cxn>
                    </a:cxnLst>
                    <a:rect l="0" t="0" r="r" b="b"/>
                    <a:pathLst>
                      <a:path w="39" h="45">
                        <a:moveTo>
                          <a:pt x="0" y="18"/>
                        </a:moveTo>
                        <a:cubicBezTo>
                          <a:pt x="1" y="17"/>
                          <a:pt x="1" y="15"/>
                          <a:pt x="2" y="14"/>
                        </a:cubicBezTo>
                        <a:cubicBezTo>
                          <a:pt x="4" y="12"/>
                          <a:pt x="6" y="11"/>
                          <a:pt x="7" y="9"/>
                        </a:cubicBezTo>
                        <a:cubicBezTo>
                          <a:pt x="8" y="8"/>
                          <a:pt x="7" y="6"/>
                          <a:pt x="8" y="5"/>
                        </a:cubicBezTo>
                        <a:cubicBezTo>
                          <a:pt x="9" y="4"/>
                          <a:pt x="10" y="5"/>
                          <a:pt x="11" y="2"/>
                        </a:cubicBezTo>
                        <a:cubicBezTo>
                          <a:pt x="11" y="2"/>
                          <a:pt x="11" y="1"/>
                          <a:pt x="11" y="1"/>
                        </a:cubicBezTo>
                        <a:cubicBezTo>
                          <a:pt x="10" y="1"/>
                          <a:pt x="13" y="1"/>
                          <a:pt x="14" y="1"/>
                        </a:cubicBezTo>
                        <a:cubicBezTo>
                          <a:pt x="15" y="1"/>
                          <a:pt x="15" y="0"/>
                          <a:pt x="16" y="0"/>
                        </a:cubicBezTo>
                        <a:cubicBezTo>
                          <a:pt x="17" y="0"/>
                          <a:pt x="18" y="2"/>
                          <a:pt x="19" y="2"/>
                        </a:cubicBezTo>
                        <a:cubicBezTo>
                          <a:pt x="18" y="3"/>
                          <a:pt x="18" y="4"/>
                          <a:pt x="19" y="4"/>
                        </a:cubicBezTo>
                        <a:cubicBezTo>
                          <a:pt x="19" y="5"/>
                          <a:pt x="19" y="6"/>
                          <a:pt x="19" y="5"/>
                        </a:cubicBezTo>
                        <a:cubicBezTo>
                          <a:pt x="20" y="8"/>
                          <a:pt x="19" y="10"/>
                          <a:pt x="19" y="13"/>
                        </a:cubicBezTo>
                        <a:cubicBezTo>
                          <a:pt x="20" y="12"/>
                          <a:pt x="22" y="13"/>
                          <a:pt x="22" y="15"/>
                        </a:cubicBezTo>
                        <a:cubicBezTo>
                          <a:pt x="24" y="14"/>
                          <a:pt x="25" y="13"/>
                          <a:pt x="26" y="11"/>
                        </a:cubicBezTo>
                        <a:cubicBezTo>
                          <a:pt x="26" y="11"/>
                          <a:pt x="26" y="9"/>
                          <a:pt x="27" y="9"/>
                        </a:cubicBezTo>
                        <a:cubicBezTo>
                          <a:pt x="28" y="9"/>
                          <a:pt x="29" y="11"/>
                          <a:pt x="29" y="12"/>
                        </a:cubicBezTo>
                        <a:cubicBezTo>
                          <a:pt x="30" y="14"/>
                          <a:pt x="30" y="16"/>
                          <a:pt x="30" y="18"/>
                        </a:cubicBezTo>
                        <a:cubicBezTo>
                          <a:pt x="29" y="20"/>
                          <a:pt x="29" y="21"/>
                          <a:pt x="28" y="21"/>
                        </a:cubicBezTo>
                        <a:cubicBezTo>
                          <a:pt x="27" y="21"/>
                          <a:pt x="27" y="22"/>
                          <a:pt x="27" y="22"/>
                        </a:cubicBezTo>
                        <a:cubicBezTo>
                          <a:pt x="27" y="22"/>
                          <a:pt x="27" y="23"/>
                          <a:pt x="29" y="23"/>
                        </a:cubicBezTo>
                        <a:cubicBezTo>
                          <a:pt x="28" y="25"/>
                          <a:pt x="33" y="23"/>
                          <a:pt x="34" y="25"/>
                        </a:cubicBezTo>
                        <a:cubicBezTo>
                          <a:pt x="34" y="26"/>
                          <a:pt x="34" y="27"/>
                          <a:pt x="35" y="28"/>
                        </a:cubicBezTo>
                        <a:cubicBezTo>
                          <a:pt x="36" y="29"/>
                          <a:pt x="37" y="30"/>
                          <a:pt x="38" y="31"/>
                        </a:cubicBezTo>
                        <a:cubicBezTo>
                          <a:pt x="39" y="33"/>
                          <a:pt x="38" y="35"/>
                          <a:pt x="38" y="36"/>
                        </a:cubicBezTo>
                        <a:cubicBezTo>
                          <a:pt x="37" y="40"/>
                          <a:pt x="35" y="42"/>
                          <a:pt x="37" y="45"/>
                        </a:cubicBezTo>
                        <a:cubicBezTo>
                          <a:pt x="35" y="45"/>
                          <a:pt x="34" y="45"/>
                          <a:pt x="33" y="44"/>
                        </a:cubicBezTo>
                        <a:cubicBezTo>
                          <a:pt x="31" y="43"/>
                          <a:pt x="30" y="43"/>
                          <a:pt x="28" y="42"/>
                        </a:cubicBezTo>
                        <a:cubicBezTo>
                          <a:pt x="26" y="40"/>
                          <a:pt x="22" y="39"/>
                          <a:pt x="20" y="36"/>
                        </a:cubicBezTo>
                        <a:cubicBezTo>
                          <a:pt x="17" y="34"/>
                          <a:pt x="15" y="30"/>
                          <a:pt x="12" y="28"/>
                        </a:cubicBezTo>
                        <a:cubicBezTo>
                          <a:pt x="11" y="27"/>
                          <a:pt x="5" y="25"/>
                          <a:pt x="6" y="23"/>
                        </a:cubicBezTo>
                        <a:cubicBezTo>
                          <a:pt x="5" y="23"/>
                          <a:pt x="4" y="22"/>
                          <a:pt x="3" y="21"/>
                        </a:cubicBezTo>
                        <a:cubicBezTo>
                          <a:pt x="1" y="20"/>
                          <a:pt x="1" y="19"/>
                          <a:pt x="0" y="18"/>
                        </a:cubicBezTo>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30" name="Lesotho">
                    <a:extLst>
                      <a:ext uri="{FF2B5EF4-FFF2-40B4-BE49-F238E27FC236}">
                        <a16:creationId xmlns:a16="http://schemas.microsoft.com/office/drawing/2014/main" id="{79D6FE25-4EA0-F35A-DA36-4EBEADA9DCAB}"/>
                      </a:ext>
                    </a:extLst>
                  </p:cNvPr>
                  <p:cNvSpPr>
                    <a:spLocks/>
                  </p:cNvSpPr>
                  <p:nvPr/>
                </p:nvSpPr>
                <p:spPr bwMode="auto">
                  <a:xfrm>
                    <a:off x="4373095" y="4054640"/>
                    <a:ext cx="50960" cy="55813"/>
                  </a:xfrm>
                  <a:custGeom>
                    <a:avLst/>
                    <a:gdLst/>
                    <a:ahLst/>
                    <a:cxnLst>
                      <a:cxn ang="0">
                        <a:pos x="0" y="12"/>
                      </a:cxn>
                      <a:cxn ang="0">
                        <a:pos x="2" y="16"/>
                      </a:cxn>
                      <a:cxn ang="0">
                        <a:pos x="3" y="19"/>
                      </a:cxn>
                      <a:cxn ang="0">
                        <a:pos x="9" y="23"/>
                      </a:cxn>
                      <a:cxn ang="0">
                        <a:pos x="11" y="19"/>
                      </a:cxn>
                      <a:cxn ang="0">
                        <a:pos x="15" y="17"/>
                      </a:cxn>
                      <a:cxn ang="0">
                        <a:pos x="19" y="15"/>
                      </a:cxn>
                      <a:cxn ang="0">
                        <a:pos x="21" y="11"/>
                      </a:cxn>
                      <a:cxn ang="0">
                        <a:pos x="22" y="9"/>
                      </a:cxn>
                      <a:cxn ang="0">
                        <a:pos x="19" y="5"/>
                      </a:cxn>
                      <a:cxn ang="0">
                        <a:pos x="15" y="1"/>
                      </a:cxn>
                      <a:cxn ang="0">
                        <a:pos x="12" y="2"/>
                      </a:cxn>
                      <a:cxn ang="0">
                        <a:pos x="9" y="4"/>
                      </a:cxn>
                      <a:cxn ang="0">
                        <a:pos x="6" y="5"/>
                      </a:cxn>
                      <a:cxn ang="0">
                        <a:pos x="4" y="9"/>
                      </a:cxn>
                      <a:cxn ang="0">
                        <a:pos x="0" y="12"/>
                      </a:cxn>
                    </a:cxnLst>
                    <a:rect l="0" t="0" r="r" b="b"/>
                    <a:pathLst>
                      <a:path w="22" h="24">
                        <a:moveTo>
                          <a:pt x="0" y="12"/>
                        </a:moveTo>
                        <a:cubicBezTo>
                          <a:pt x="1" y="13"/>
                          <a:pt x="1" y="15"/>
                          <a:pt x="2" y="16"/>
                        </a:cubicBezTo>
                        <a:cubicBezTo>
                          <a:pt x="3" y="17"/>
                          <a:pt x="2" y="19"/>
                          <a:pt x="3" y="19"/>
                        </a:cubicBezTo>
                        <a:cubicBezTo>
                          <a:pt x="4" y="20"/>
                          <a:pt x="7" y="24"/>
                          <a:pt x="9" y="23"/>
                        </a:cubicBezTo>
                        <a:cubicBezTo>
                          <a:pt x="10" y="22"/>
                          <a:pt x="11" y="20"/>
                          <a:pt x="11" y="19"/>
                        </a:cubicBezTo>
                        <a:cubicBezTo>
                          <a:pt x="12" y="17"/>
                          <a:pt x="14" y="18"/>
                          <a:pt x="15" y="17"/>
                        </a:cubicBezTo>
                        <a:cubicBezTo>
                          <a:pt x="16" y="17"/>
                          <a:pt x="18" y="16"/>
                          <a:pt x="19" y="15"/>
                        </a:cubicBezTo>
                        <a:cubicBezTo>
                          <a:pt x="20" y="13"/>
                          <a:pt x="20" y="12"/>
                          <a:pt x="21" y="11"/>
                        </a:cubicBezTo>
                        <a:cubicBezTo>
                          <a:pt x="21" y="11"/>
                          <a:pt x="22" y="9"/>
                          <a:pt x="22" y="9"/>
                        </a:cubicBezTo>
                        <a:cubicBezTo>
                          <a:pt x="21" y="6"/>
                          <a:pt x="20" y="6"/>
                          <a:pt x="19" y="5"/>
                        </a:cubicBezTo>
                        <a:cubicBezTo>
                          <a:pt x="18" y="3"/>
                          <a:pt x="17" y="2"/>
                          <a:pt x="15" y="1"/>
                        </a:cubicBezTo>
                        <a:cubicBezTo>
                          <a:pt x="14" y="0"/>
                          <a:pt x="13" y="2"/>
                          <a:pt x="12" y="2"/>
                        </a:cubicBezTo>
                        <a:cubicBezTo>
                          <a:pt x="11" y="3"/>
                          <a:pt x="10" y="3"/>
                          <a:pt x="9" y="4"/>
                        </a:cubicBezTo>
                        <a:cubicBezTo>
                          <a:pt x="8" y="4"/>
                          <a:pt x="7" y="4"/>
                          <a:pt x="6" y="5"/>
                        </a:cubicBezTo>
                        <a:cubicBezTo>
                          <a:pt x="5" y="6"/>
                          <a:pt x="5" y="8"/>
                          <a:pt x="4" y="9"/>
                        </a:cubicBezTo>
                        <a:cubicBezTo>
                          <a:pt x="3" y="11"/>
                          <a:pt x="1" y="11"/>
                          <a:pt x="0" y="12"/>
                        </a:cubicBezTo>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31" name="Libya">
                    <a:extLst>
                      <a:ext uri="{FF2B5EF4-FFF2-40B4-BE49-F238E27FC236}">
                        <a16:creationId xmlns:a16="http://schemas.microsoft.com/office/drawing/2014/main" id="{350A7472-5CF0-3F9B-DD5E-C1819A0FA3DD}"/>
                      </a:ext>
                    </a:extLst>
                  </p:cNvPr>
                  <p:cNvSpPr>
                    <a:spLocks/>
                  </p:cNvSpPr>
                  <p:nvPr/>
                </p:nvSpPr>
                <p:spPr bwMode="auto">
                  <a:xfrm>
                    <a:off x="3998175" y="2520982"/>
                    <a:ext cx="338521" cy="339734"/>
                  </a:xfrm>
                  <a:custGeom>
                    <a:avLst/>
                    <a:gdLst/>
                    <a:ahLst/>
                    <a:cxnLst>
                      <a:cxn ang="0">
                        <a:pos x="1" y="34"/>
                      </a:cxn>
                      <a:cxn ang="0">
                        <a:pos x="3" y="31"/>
                      </a:cxn>
                      <a:cxn ang="0">
                        <a:pos x="7" y="28"/>
                      </a:cxn>
                      <a:cxn ang="0">
                        <a:pos x="9" y="23"/>
                      </a:cxn>
                      <a:cxn ang="0">
                        <a:pos x="8" y="18"/>
                      </a:cxn>
                      <a:cxn ang="0">
                        <a:pos x="12" y="14"/>
                      </a:cxn>
                      <a:cxn ang="0">
                        <a:pos x="16" y="11"/>
                      </a:cxn>
                      <a:cxn ang="0">
                        <a:pos x="21" y="7"/>
                      </a:cxn>
                      <a:cxn ang="0">
                        <a:pos x="20" y="5"/>
                      </a:cxn>
                      <a:cxn ang="0">
                        <a:pos x="20" y="0"/>
                      </a:cxn>
                      <a:cxn ang="0">
                        <a:pos x="26" y="3"/>
                      </a:cxn>
                      <a:cxn ang="0">
                        <a:pos x="32" y="4"/>
                      </a:cxn>
                      <a:cxn ang="0">
                        <a:pos x="38" y="3"/>
                      </a:cxn>
                      <a:cxn ang="0">
                        <a:pos x="44" y="5"/>
                      </a:cxn>
                      <a:cxn ang="0">
                        <a:pos x="48" y="7"/>
                      </a:cxn>
                      <a:cxn ang="0">
                        <a:pos x="53" y="8"/>
                      </a:cxn>
                      <a:cxn ang="0">
                        <a:pos x="55" y="13"/>
                      </a:cxn>
                      <a:cxn ang="0">
                        <a:pos x="58" y="19"/>
                      </a:cxn>
                      <a:cxn ang="0">
                        <a:pos x="69" y="21"/>
                      </a:cxn>
                      <a:cxn ang="0">
                        <a:pos x="81" y="26"/>
                      </a:cxn>
                      <a:cxn ang="0">
                        <a:pos x="90" y="31"/>
                      </a:cxn>
                      <a:cxn ang="0">
                        <a:pos x="99" y="23"/>
                      </a:cxn>
                      <a:cxn ang="0">
                        <a:pos x="97" y="18"/>
                      </a:cxn>
                      <a:cxn ang="0">
                        <a:pos x="97" y="12"/>
                      </a:cxn>
                      <a:cxn ang="0">
                        <a:pos x="107" y="4"/>
                      </a:cxn>
                      <a:cxn ang="0">
                        <a:pos x="112" y="3"/>
                      </a:cxn>
                      <a:cxn ang="0">
                        <a:pos x="118" y="3"/>
                      </a:cxn>
                      <a:cxn ang="0">
                        <a:pos x="123" y="5"/>
                      </a:cxn>
                      <a:cxn ang="0">
                        <a:pos x="125" y="9"/>
                      </a:cxn>
                      <a:cxn ang="0">
                        <a:pos x="129" y="11"/>
                      </a:cxn>
                      <a:cxn ang="0">
                        <a:pos x="135" y="12"/>
                      </a:cxn>
                      <a:cxn ang="0">
                        <a:pos x="141" y="13"/>
                      </a:cxn>
                      <a:cxn ang="0">
                        <a:pos x="144" y="17"/>
                      </a:cxn>
                      <a:cxn ang="0">
                        <a:pos x="141" y="20"/>
                      </a:cxn>
                      <a:cxn ang="0">
                        <a:pos x="143" y="25"/>
                      </a:cxn>
                      <a:cxn ang="0">
                        <a:pos x="141" y="31"/>
                      </a:cxn>
                      <a:cxn ang="0">
                        <a:pos x="143" y="38"/>
                      </a:cxn>
                      <a:cxn ang="0">
                        <a:pos x="144" y="48"/>
                      </a:cxn>
                      <a:cxn ang="0">
                        <a:pos x="146" y="141"/>
                      </a:cxn>
                      <a:cxn ang="0">
                        <a:pos x="137" y="141"/>
                      </a:cxn>
                      <a:cxn ang="0">
                        <a:pos x="137" y="147"/>
                      </a:cxn>
                      <a:cxn ang="0">
                        <a:pos x="63" y="105"/>
                      </a:cxn>
                      <a:cxn ang="0">
                        <a:pos x="47" y="113"/>
                      </a:cxn>
                      <a:cxn ang="0">
                        <a:pos x="43" y="110"/>
                      </a:cxn>
                      <a:cxn ang="0">
                        <a:pos x="31" y="105"/>
                      </a:cxn>
                      <a:cxn ang="0">
                        <a:pos x="25" y="103"/>
                      </a:cxn>
                      <a:cxn ang="0">
                        <a:pos x="23" y="100"/>
                      </a:cxn>
                      <a:cxn ang="0">
                        <a:pos x="17" y="94"/>
                      </a:cxn>
                      <a:cxn ang="0">
                        <a:pos x="13" y="92"/>
                      </a:cxn>
                      <a:cxn ang="0">
                        <a:pos x="10" y="93"/>
                      </a:cxn>
                      <a:cxn ang="0">
                        <a:pos x="7" y="88"/>
                      </a:cxn>
                      <a:cxn ang="0">
                        <a:pos x="5" y="81"/>
                      </a:cxn>
                      <a:cxn ang="0">
                        <a:pos x="2" y="74"/>
                      </a:cxn>
                      <a:cxn ang="0">
                        <a:pos x="5" y="67"/>
                      </a:cxn>
                      <a:cxn ang="0">
                        <a:pos x="5" y="60"/>
                      </a:cxn>
                      <a:cxn ang="0">
                        <a:pos x="5" y="55"/>
                      </a:cxn>
                      <a:cxn ang="0">
                        <a:pos x="5" y="48"/>
                      </a:cxn>
                      <a:cxn ang="0">
                        <a:pos x="4" y="40"/>
                      </a:cxn>
                      <a:cxn ang="0">
                        <a:pos x="1" y="34"/>
                      </a:cxn>
                    </a:cxnLst>
                    <a:rect l="0" t="0" r="r" b="b"/>
                    <a:pathLst>
                      <a:path w="146" h="147">
                        <a:moveTo>
                          <a:pt x="1" y="34"/>
                        </a:moveTo>
                        <a:cubicBezTo>
                          <a:pt x="0" y="33"/>
                          <a:pt x="3" y="31"/>
                          <a:pt x="3" y="31"/>
                        </a:cubicBezTo>
                        <a:cubicBezTo>
                          <a:pt x="5" y="30"/>
                          <a:pt x="6" y="30"/>
                          <a:pt x="7" y="28"/>
                        </a:cubicBezTo>
                        <a:cubicBezTo>
                          <a:pt x="8" y="26"/>
                          <a:pt x="9" y="25"/>
                          <a:pt x="9" y="23"/>
                        </a:cubicBezTo>
                        <a:cubicBezTo>
                          <a:pt x="9" y="22"/>
                          <a:pt x="8" y="20"/>
                          <a:pt x="8" y="18"/>
                        </a:cubicBezTo>
                        <a:cubicBezTo>
                          <a:pt x="8" y="16"/>
                          <a:pt x="11" y="16"/>
                          <a:pt x="12" y="14"/>
                        </a:cubicBezTo>
                        <a:cubicBezTo>
                          <a:pt x="12" y="12"/>
                          <a:pt x="14" y="11"/>
                          <a:pt x="16" y="11"/>
                        </a:cubicBezTo>
                        <a:cubicBezTo>
                          <a:pt x="17" y="10"/>
                          <a:pt x="21" y="9"/>
                          <a:pt x="21" y="7"/>
                        </a:cubicBezTo>
                        <a:cubicBezTo>
                          <a:pt x="21" y="6"/>
                          <a:pt x="20" y="6"/>
                          <a:pt x="20" y="5"/>
                        </a:cubicBezTo>
                        <a:cubicBezTo>
                          <a:pt x="20" y="3"/>
                          <a:pt x="20" y="2"/>
                          <a:pt x="20" y="0"/>
                        </a:cubicBezTo>
                        <a:cubicBezTo>
                          <a:pt x="22" y="1"/>
                          <a:pt x="24" y="2"/>
                          <a:pt x="26" y="3"/>
                        </a:cubicBezTo>
                        <a:cubicBezTo>
                          <a:pt x="28" y="4"/>
                          <a:pt x="30" y="4"/>
                          <a:pt x="32" y="4"/>
                        </a:cubicBezTo>
                        <a:cubicBezTo>
                          <a:pt x="34" y="4"/>
                          <a:pt x="36" y="2"/>
                          <a:pt x="38" y="3"/>
                        </a:cubicBezTo>
                        <a:cubicBezTo>
                          <a:pt x="40" y="4"/>
                          <a:pt x="42" y="4"/>
                          <a:pt x="44" y="5"/>
                        </a:cubicBezTo>
                        <a:cubicBezTo>
                          <a:pt x="45" y="6"/>
                          <a:pt x="47" y="7"/>
                          <a:pt x="48" y="7"/>
                        </a:cubicBezTo>
                        <a:cubicBezTo>
                          <a:pt x="50" y="8"/>
                          <a:pt x="52" y="7"/>
                          <a:pt x="53" y="8"/>
                        </a:cubicBezTo>
                        <a:cubicBezTo>
                          <a:pt x="55" y="9"/>
                          <a:pt x="55" y="11"/>
                          <a:pt x="55" y="13"/>
                        </a:cubicBezTo>
                        <a:cubicBezTo>
                          <a:pt x="56" y="15"/>
                          <a:pt x="57" y="17"/>
                          <a:pt x="58" y="19"/>
                        </a:cubicBezTo>
                        <a:cubicBezTo>
                          <a:pt x="62" y="21"/>
                          <a:pt x="65" y="21"/>
                          <a:pt x="69" y="21"/>
                        </a:cubicBezTo>
                        <a:cubicBezTo>
                          <a:pt x="73" y="22"/>
                          <a:pt x="78" y="24"/>
                          <a:pt x="81" y="26"/>
                        </a:cubicBezTo>
                        <a:cubicBezTo>
                          <a:pt x="84" y="28"/>
                          <a:pt x="86" y="31"/>
                          <a:pt x="90" y="31"/>
                        </a:cubicBezTo>
                        <a:cubicBezTo>
                          <a:pt x="94" y="31"/>
                          <a:pt x="98" y="27"/>
                          <a:pt x="99" y="23"/>
                        </a:cubicBezTo>
                        <a:cubicBezTo>
                          <a:pt x="99" y="21"/>
                          <a:pt x="98" y="20"/>
                          <a:pt x="97" y="18"/>
                        </a:cubicBezTo>
                        <a:cubicBezTo>
                          <a:pt x="97" y="16"/>
                          <a:pt x="96" y="14"/>
                          <a:pt x="97" y="12"/>
                        </a:cubicBezTo>
                        <a:cubicBezTo>
                          <a:pt x="98" y="9"/>
                          <a:pt x="104" y="5"/>
                          <a:pt x="107" y="4"/>
                        </a:cubicBezTo>
                        <a:cubicBezTo>
                          <a:pt x="109" y="4"/>
                          <a:pt x="110" y="3"/>
                          <a:pt x="112" y="3"/>
                        </a:cubicBezTo>
                        <a:cubicBezTo>
                          <a:pt x="114" y="3"/>
                          <a:pt x="116" y="3"/>
                          <a:pt x="118" y="3"/>
                        </a:cubicBezTo>
                        <a:cubicBezTo>
                          <a:pt x="120" y="4"/>
                          <a:pt x="121" y="5"/>
                          <a:pt x="123" y="5"/>
                        </a:cubicBezTo>
                        <a:cubicBezTo>
                          <a:pt x="126" y="6"/>
                          <a:pt x="125" y="7"/>
                          <a:pt x="125" y="9"/>
                        </a:cubicBezTo>
                        <a:cubicBezTo>
                          <a:pt x="125" y="10"/>
                          <a:pt x="128" y="11"/>
                          <a:pt x="129" y="11"/>
                        </a:cubicBezTo>
                        <a:cubicBezTo>
                          <a:pt x="131" y="11"/>
                          <a:pt x="133" y="12"/>
                          <a:pt x="135" y="12"/>
                        </a:cubicBezTo>
                        <a:cubicBezTo>
                          <a:pt x="137" y="13"/>
                          <a:pt x="139" y="12"/>
                          <a:pt x="141" y="13"/>
                        </a:cubicBezTo>
                        <a:cubicBezTo>
                          <a:pt x="142" y="13"/>
                          <a:pt x="144" y="15"/>
                          <a:pt x="144" y="17"/>
                        </a:cubicBezTo>
                        <a:cubicBezTo>
                          <a:pt x="143" y="18"/>
                          <a:pt x="142" y="18"/>
                          <a:pt x="141" y="20"/>
                        </a:cubicBezTo>
                        <a:cubicBezTo>
                          <a:pt x="141" y="22"/>
                          <a:pt x="142" y="23"/>
                          <a:pt x="143" y="25"/>
                        </a:cubicBezTo>
                        <a:cubicBezTo>
                          <a:pt x="143" y="27"/>
                          <a:pt x="142" y="29"/>
                          <a:pt x="141" y="31"/>
                        </a:cubicBezTo>
                        <a:cubicBezTo>
                          <a:pt x="140" y="33"/>
                          <a:pt x="142" y="36"/>
                          <a:pt x="143" y="38"/>
                        </a:cubicBezTo>
                        <a:cubicBezTo>
                          <a:pt x="143" y="41"/>
                          <a:pt x="144" y="44"/>
                          <a:pt x="144" y="48"/>
                        </a:cubicBezTo>
                        <a:cubicBezTo>
                          <a:pt x="146" y="141"/>
                          <a:pt x="146" y="141"/>
                          <a:pt x="146" y="141"/>
                        </a:cubicBezTo>
                        <a:cubicBezTo>
                          <a:pt x="143" y="141"/>
                          <a:pt x="140" y="141"/>
                          <a:pt x="137" y="141"/>
                        </a:cubicBezTo>
                        <a:cubicBezTo>
                          <a:pt x="137" y="143"/>
                          <a:pt x="137" y="145"/>
                          <a:pt x="137" y="147"/>
                        </a:cubicBezTo>
                        <a:cubicBezTo>
                          <a:pt x="63" y="105"/>
                          <a:pt x="63" y="105"/>
                          <a:pt x="63" y="105"/>
                        </a:cubicBezTo>
                        <a:cubicBezTo>
                          <a:pt x="47" y="113"/>
                          <a:pt x="47" y="113"/>
                          <a:pt x="47" y="113"/>
                        </a:cubicBezTo>
                        <a:cubicBezTo>
                          <a:pt x="45" y="113"/>
                          <a:pt x="43" y="111"/>
                          <a:pt x="43" y="110"/>
                        </a:cubicBezTo>
                        <a:cubicBezTo>
                          <a:pt x="39" y="107"/>
                          <a:pt x="35" y="106"/>
                          <a:pt x="31" y="105"/>
                        </a:cubicBezTo>
                        <a:cubicBezTo>
                          <a:pt x="29" y="105"/>
                          <a:pt x="27" y="104"/>
                          <a:pt x="25" y="103"/>
                        </a:cubicBezTo>
                        <a:cubicBezTo>
                          <a:pt x="24" y="103"/>
                          <a:pt x="24" y="101"/>
                          <a:pt x="23" y="100"/>
                        </a:cubicBezTo>
                        <a:cubicBezTo>
                          <a:pt x="22" y="96"/>
                          <a:pt x="20" y="95"/>
                          <a:pt x="17" y="94"/>
                        </a:cubicBezTo>
                        <a:cubicBezTo>
                          <a:pt x="16" y="93"/>
                          <a:pt x="15" y="92"/>
                          <a:pt x="13" y="92"/>
                        </a:cubicBezTo>
                        <a:cubicBezTo>
                          <a:pt x="12" y="93"/>
                          <a:pt x="11" y="94"/>
                          <a:pt x="10" y="93"/>
                        </a:cubicBezTo>
                        <a:cubicBezTo>
                          <a:pt x="9" y="92"/>
                          <a:pt x="7" y="89"/>
                          <a:pt x="7" y="88"/>
                        </a:cubicBezTo>
                        <a:cubicBezTo>
                          <a:pt x="7" y="85"/>
                          <a:pt x="7" y="84"/>
                          <a:pt x="5" y="81"/>
                        </a:cubicBezTo>
                        <a:cubicBezTo>
                          <a:pt x="4" y="79"/>
                          <a:pt x="0" y="76"/>
                          <a:pt x="2" y="74"/>
                        </a:cubicBezTo>
                        <a:cubicBezTo>
                          <a:pt x="4" y="71"/>
                          <a:pt x="7" y="72"/>
                          <a:pt x="5" y="67"/>
                        </a:cubicBezTo>
                        <a:cubicBezTo>
                          <a:pt x="5" y="65"/>
                          <a:pt x="4" y="63"/>
                          <a:pt x="5" y="60"/>
                        </a:cubicBezTo>
                        <a:cubicBezTo>
                          <a:pt x="6" y="58"/>
                          <a:pt x="6" y="57"/>
                          <a:pt x="5" y="55"/>
                        </a:cubicBezTo>
                        <a:cubicBezTo>
                          <a:pt x="5" y="52"/>
                          <a:pt x="5" y="50"/>
                          <a:pt x="5" y="48"/>
                        </a:cubicBezTo>
                        <a:cubicBezTo>
                          <a:pt x="6" y="45"/>
                          <a:pt x="5" y="42"/>
                          <a:pt x="4" y="40"/>
                        </a:cubicBezTo>
                        <a:cubicBezTo>
                          <a:pt x="4" y="38"/>
                          <a:pt x="3" y="36"/>
                          <a:pt x="1" y="34"/>
                        </a:cubicBezTo>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32" name="Lebanon">
                    <a:extLst>
                      <a:ext uri="{FF2B5EF4-FFF2-40B4-BE49-F238E27FC236}">
                        <a16:creationId xmlns:a16="http://schemas.microsoft.com/office/drawing/2014/main" id="{CDDE7FA4-3791-B616-1927-2684A1ED294D}"/>
                      </a:ext>
                    </a:extLst>
                  </p:cNvPr>
                  <p:cNvSpPr>
                    <a:spLocks/>
                  </p:cNvSpPr>
                  <p:nvPr/>
                </p:nvSpPr>
                <p:spPr bwMode="auto">
                  <a:xfrm>
                    <a:off x="4550996" y="2426223"/>
                    <a:ext cx="32311" cy="49343"/>
                  </a:xfrm>
                  <a:custGeom>
                    <a:avLst/>
                    <a:gdLst/>
                    <a:ahLst/>
                    <a:cxnLst>
                      <a:cxn ang="0">
                        <a:pos x="0" y="18"/>
                      </a:cxn>
                      <a:cxn ang="0">
                        <a:pos x="3" y="9"/>
                      </a:cxn>
                      <a:cxn ang="0">
                        <a:pos x="4" y="5"/>
                      </a:cxn>
                      <a:cxn ang="0">
                        <a:pos x="6" y="1"/>
                      </a:cxn>
                      <a:cxn ang="0">
                        <a:pos x="9" y="1"/>
                      </a:cxn>
                      <a:cxn ang="0">
                        <a:pos x="10" y="3"/>
                      </a:cxn>
                      <a:cxn ang="0">
                        <a:pos x="11" y="3"/>
                      </a:cxn>
                      <a:cxn ang="0">
                        <a:pos x="12" y="5"/>
                      </a:cxn>
                      <a:cxn ang="0">
                        <a:pos x="11" y="10"/>
                      </a:cxn>
                      <a:cxn ang="0">
                        <a:pos x="8" y="13"/>
                      </a:cxn>
                      <a:cxn ang="0">
                        <a:pos x="4" y="16"/>
                      </a:cxn>
                      <a:cxn ang="0">
                        <a:pos x="4" y="16"/>
                      </a:cxn>
                      <a:cxn ang="0">
                        <a:pos x="3" y="18"/>
                      </a:cxn>
                      <a:cxn ang="0">
                        <a:pos x="0" y="18"/>
                      </a:cxn>
                    </a:cxnLst>
                    <a:rect l="0" t="0" r="r" b="b"/>
                    <a:pathLst>
                      <a:path w="13" h="19">
                        <a:moveTo>
                          <a:pt x="0" y="18"/>
                        </a:moveTo>
                        <a:cubicBezTo>
                          <a:pt x="2" y="16"/>
                          <a:pt x="2" y="11"/>
                          <a:pt x="3" y="9"/>
                        </a:cubicBezTo>
                        <a:cubicBezTo>
                          <a:pt x="4" y="8"/>
                          <a:pt x="3" y="6"/>
                          <a:pt x="4" y="5"/>
                        </a:cubicBezTo>
                        <a:cubicBezTo>
                          <a:pt x="5" y="4"/>
                          <a:pt x="7" y="3"/>
                          <a:pt x="6" y="1"/>
                        </a:cubicBezTo>
                        <a:cubicBezTo>
                          <a:pt x="7" y="1"/>
                          <a:pt x="8" y="2"/>
                          <a:pt x="9" y="1"/>
                        </a:cubicBezTo>
                        <a:cubicBezTo>
                          <a:pt x="11" y="0"/>
                          <a:pt x="9" y="2"/>
                          <a:pt x="10" y="3"/>
                        </a:cubicBezTo>
                        <a:cubicBezTo>
                          <a:pt x="11" y="3"/>
                          <a:pt x="11" y="3"/>
                          <a:pt x="11" y="3"/>
                        </a:cubicBezTo>
                        <a:cubicBezTo>
                          <a:pt x="12" y="4"/>
                          <a:pt x="11" y="4"/>
                          <a:pt x="12" y="5"/>
                        </a:cubicBezTo>
                        <a:cubicBezTo>
                          <a:pt x="13" y="7"/>
                          <a:pt x="9" y="8"/>
                          <a:pt x="11" y="10"/>
                        </a:cubicBezTo>
                        <a:cubicBezTo>
                          <a:pt x="9" y="9"/>
                          <a:pt x="6" y="11"/>
                          <a:pt x="8" y="13"/>
                        </a:cubicBezTo>
                        <a:cubicBezTo>
                          <a:pt x="7" y="13"/>
                          <a:pt x="4" y="15"/>
                          <a:pt x="4" y="16"/>
                        </a:cubicBezTo>
                        <a:cubicBezTo>
                          <a:pt x="4" y="16"/>
                          <a:pt x="4" y="16"/>
                          <a:pt x="4" y="16"/>
                        </a:cubicBezTo>
                        <a:cubicBezTo>
                          <a:pt x="4" y="16"/>
                          <a:pt x="4" y="17"/>
                          <a:pt x="3" y="18"/>
                        </a:cubicBezTo>
                        <a:cubicBezTo>
                          <a:pt x="3" y="19"/>
                          <a:pt x="1" y="17"/>
                          <a:pt x="0" y="18"/>
                        </a:cubicBezTo>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33" name="Kenya">
                    <a:extLst>
                      <a:ext uri="{FF2B5EF4-FFF2-40B4-BE49-F238E27FC236}">
                        <a16:creationId xmlns:a16="http://schemas.microsoft.com/office/drawing/2014/main" id="{A7DC2715-991D-1565-BB1A-BB18C6F2A97F}"/>
                      </a:ext>
                    </a:extLst>
                  </p:cNvPr>
                  <p:cNvSpPr>
                    <a:spLocks/>
                  </p:cNvSpPr>
                  <p:nvPr/>
                </p:nvSpPr>
                <p:spPr bwMode="auto">
                  <a:xfrm>
                    <a:off x="4535682" y="3229571"/>
                    <a:ext cx="178361" cy="231747"/>
                  </a:xfrm>
                  <a:custGeom>
                    <a:avLst/>
                    <a:gdLst/>
                    <a:ahLst/>
                    <a:cxnLst>
                      <a:cxn ang="0">
                        <a:pos x="3" y="61"/>
                      </a:cxn>
                      <a:cxn ang="0">
                        <a:pos x="6" y="55"/>
                      </a:cxn>
                      <a:cxn ang="0">
                        <a:pos x="6" y="54"/>
                      </a:cxn>
                      <a:cxn ang="0">
                        <a:pos x="10" y="53"/>
                      </a:cxn>
                      <a:cxn ang="0">
                        <a:pos x="5" y="53"/>
                      </a:cxn>
                      <a:cxn ang="0">
                        <a:pos x="2" y="48"/>
                      </a:cxn>
                      <a:cxn ang="0">
                        <a:pos x="4" y="44"/>
                      </a:cxn>
                      <a:cxn ang="0">
                        <a:pos x="9" y="37"/>
                      </a:cxn>
                      <a:cxn ang="0">
                        <a:pos x="10" y="36"/>
                      </a:cxn>
                      <a:cxn ang="0">
                        <a:pos x="12" y="32"/>
                      </a:cxn>
                      <a:cxn ang="0">
                        <a:pos x="12" y="28"/>
                      </a:cxn>
                      <a:cxn ang="0">
                        <a:pos x="11" y="24"/>
                      </a:cxn>
                      <a:cxn ang="0">
                        <a:pos x="8" y="18"/>
                      </a:cxn>
                      <a:cxn ang="0">
                        <a:pos x="6" y="15"/>
                      </a:cxn>
                      <a:cxn ang="0">
                        <a:pos x="6" y="13"/>
                      </a:cxn>
                      <a:cxn ang="0">
                        <a:pos x="7" y="11"/>
                      </a:cxn>
                      <a:cxn ang="0">
                        <a:pos x="5" y="10"/>
                      </a:cxn>
                      <a:cxn ang="0">
                        <a:pos x="3" y="8"/>
                      </a:cxn>
                      <a:cxn ang="0">
                        <a:pos x="2" y="5"/>
                      </a:cxn>
                      <a:cxn ang="0">
                        <a:pos x="4" y="2"/>
                      </a:cxn>
                      <a:cxn ang="0">
                        <a:pos x="12" y="0"/>
                      </a:cxn>
                      <a:cxn ang="0">
                        <a:pos x="17" y="0"/>
                      </a:cxn>
                      <a:cxn ang="0">
                        <a:pos x="20" y="0"/>
                      </a:cxn>
                      <a:cxn ang="0">
                        <a:pos x="22" y="2"/>
                      </a:cxn>
                      <a:cxn ang="0">
                        <a:pos x="30" y="3"/>
                      </a:cxn>
                      <a:cxn ang="0">
                        <a:pos x="39" y="9"/>
                      </a:cxn>
                      <a:cxn ang="0">
                        <a:pos x="42" y="11"/>
                      </a:cxn>
                      <a:cxn ang="0">
                        <a:pos x="47" y="11"/>
                      </a:cxn>
                      <a:cxn ang="0">
                        <a:pos x="55" y="13"/>
                      </a:cxn>
                      <a:cxn ang="0">
                        <a:pos x="58" y="9"/>
                      </a:cxn>
                      <a:cxn ang="0">
                        <a:pos x="65" y="5"/>
                      </a:cxn>
                      <a:cxn ang="0">
                        <a:pos x="70" y="7"/>
                      </a:cxn>
                      <a:cxn ang="0">
                        <a:pos x="74" y="7"/>
                      </a:cxn>
                      <a:cxn ang="0">
                        <a:pos x="77" y="7"/>
                      </a:cxn>
                      <a:cxn ang="0">
                        <a:pos x="72" y="15"/>
                      </a:cxn>
                      <a:cxn ang="0">
                        <a:pos x="68" y="22"/>
                      </a:cxn>
                      <a:cxn ang="0">
                        <a:pos x="68" y="46"/>
                      </a:cxn>
                      <a:cxn ang="0">
                        <a:pos x="71" y="63"/>
                      </a:cxn>
                      <a:cxn ang="0">
                        <a:pos x="73" y="69"/>
                      </a:cxn>
                      <a:cxn ang="0">
                        <a:pos x="68" y="71"/>
                      </a:cxn>
                      <a:cxn ang="0">
                        <a:pos x="68" y="72"/>
                      </a:cxn>
                      <a:cxn ang="0">
                        <a:pos x="67" y="71"/>
                      </a:cxn>
                      <a:cxn ang="0">
                        <a:pos x="68" y="75"/>
                      </a:cxn>
                      <a:cxn ang="0">
                        <a:pos x="66" y="76"/>
                      </a:cxn>
                      <a:cxn ang="0">
                        <a:pos x="64" y="77"/>
                      </a:cxn>
                      <a:cxn ang="0">
                        <a:pos x="61" y="82"/>
                      </a:cxn>
                      <a:cxn ang="0">
                        <a:pos x="59" y="86"/>
                      </a:cxn>
                      <a:cxn ang="0">
                        <a:pos x="55" y="93"/>
                      </a:cxn>
                      <a:cxn ang="0">
                        <a:pos x="53" y="100"/>
                      </a:cxn>
                      <a:cxn ang="0">
                        <a:pos x="51" y="100"/>
                      </a:cxn>
                      <a:cxn ang="0">
                        <a:pos x="48" y="97"/>
                      </a:cxn>
                      <a:cxn ang="0">
                        <a:pos x="37" y="88"/>
                      </a:cxn>
                      <a:cxn ang="0">
                        <a:pos x="37" y="86"/>
                      </a:cxn>
                      <a:cxn ang="0">
                        <a:pos x="34" y="81"/>
                      </a:cxn>
                      <a:cxn ang="0">
                        <a:pos x="3" y="61"/>
                      </a:cxn>
                    </a:cxnLst>
                    <a:rect l="0" t="0" r="r" b="b"/>
                    <a:pathLst>
                      <a:path w="77" h="100">
                        <a:moveTo>
                          <a:pt x="3" y="61"/>
                        </a:moveTo>
                        <a:cubicBezTo>
                          <a:pt x="5" y="60"/>
                          <a:pt x="0" y="54"/>
                          <a:pt x="6" y="55"/>
                        </a:cubicBezTo>
                        <a:cubicBezTo>
                          <a:pt x="6" y="55"/>
                          <a:pt x="7" y="54"/>
                          <a:pt x="6" y="54"/>
                        </a:cubicBezTo>
                        <a:cubicBezTo>
                          <a:pt x="10" y="53"/>
                          <a:pt x="10" y="53"/>
                          <a:pt x="10" y="53"/>
                        </a:cubicBezTo>
                        <a:cubicBezTo>
                          <a:pt x="8" y="49"/>
                          <a:pt x="7" y="52"/>
                          <a:pt x="5" y="53"/>
                        </a:cubicBezTo>
                        <a:cubicBezTo>
                          <a:pt x="4" y="54"/>
                          <a:pt x="2" y="50"/>
                          <a:pt x="2" y="48"/>
                        </a:cubicBezTo>
                        <a:cubicBezTo>
                          <a:pt x="3" y="46"/>
                          <a:pt x="2" y="45"/>
                          <a:pt x="4" y="44"/>
                        </a:cubicBezTo>
                        <a:cubicBezTo>
                          <a:pt x="5" y="42"/>
                          <a:pt x="7" y="38"/>
                          <a:pt x="9" y="37"/>
                        </a:cubicBezTo>
                        <a:cubicBezTo>
                          <a:pt x="10" y="37"/>
                          <a:pt x="10" y="37"/>
                          <a:pt x="10" y="36"/>
                        </a:cubicBezTo>
                        <a:cubicBezTo>
                          <a:pt x="10" y="34"/>
                          <a:pt x="11" y="33"/>
                          <a:pt x="12" y="32"/>
                        </a:cubicBezTo>
                        <a:cubicBezTo>
                          <a:pt x="12" y="31"/>
                          <a:pt x="12" y="29"/>
                          <a:pt x="12" y="28"/>
                        </a:cubicBezTo>
                        <a:cubicBezTo>
                          <a:pt x="12" y="26"/>
                          <a:pt x="11" y="25"/>
                          <a:pt x="11" y="24"/>
                        </a:cubicBezTo>
                        <a:cubicBezTo>
                          <a:pt x="10" y="20"/>
                          <a:pt x="8" y="19"/>
                          <a:pt x="8" y="18"/>
                        </a:cubicBezTo>
                        <a:cubicBezTo>
                          <a:pt x="7" y="17"/>
                          <a:pt x="7" y="16"/>
                          <a:pt x="6" y="15"/>
                        </a:cubicBezTo>
                        <a:cubicBezTo>
                          <a:pt x="6" y="14"/>
                          <a:pt x="6" y="14"/>
                          <a:pt x="6" y="13"/>
                        </a:cubicBezTo>
                        <a:cubicBezTo>
                          <a:pt x="6" y="12"/>
                          <a:pt x="7" y="12"/>
                          <a:pt x="7" y="11"/>
                        </a:cubicBezTo>
                        <a:cubicBezTo>
                          <a:pt x="6" y="10"/>
                          <a:pt x="6" y="10"/>
                          <a:pt x="5" y="10"/>
                        </a:cubicBezTo>
                        <a:cubicBezTo>
                          <a:pt x="3" y="9"/>
                          <a:pt x="5" y="8"/>
                          <a:pt x="3" y="8"/>
                        </a:cubicBezTo>
                        <a:cubicBezTo>
                          <a:pt x="4" y="7"/>
                          <a:pt x="2" y="6"/>
                          <a:pt x="2" y="5"/>
                        </a:cubicBezTo>
                        <a:cubicBezTo>
                          <a:pt x="2" y="4"/>
                          <a:pt x="3" y="3"/>
                          <a:pt x="4" y="2"/>
                        </a:cubicBezTo>
                        <a:cubicBezTo>
                          <a:pt x="6" y="0"/>
                          <a:pt x="9" y="0"/>
                          <a:pt x="12" y="0"/>
                        </a:cubicBezTo>
                        <a:cubicBezTo>
                          <a:pt x="14" y="0"/>
                          <a:pt x="16" y="0"/>
                          <a:pt x="17" y="0"/>
                        </a:cubicBezTo>
                        <a:cubicBezTo>
                          <a:pt x="18" y="0"/>
                          <a:pt x="19" y="0"/>
                          <a:pt x="20" y="0"/>
                        </a:cubicBezTo>
                        <a:cubicBezTo>
                          <a:pt x="21" y="0"/>
                          <a:pt x="21" y="2"/>
                          <a:pt x="22" y="2"/>
                        </a:cubicBezTo>
                        <a:cubicBezTo>
                          <a:pt x="25" y="3"/>
                          <a:pt x="28" y="2"/>
                          <a:pt x="30" y="3"/>
                        </a:cubicBezTo>
                        <a:cubicBezTo>
                          <a:pt x="33" y="4"/>
                          <a:pt x="36" y="7"/>
                          <a:pt x="39" y="9"/>
                        </a:cubicBezTo>
                        <a:cubicBezTo>
                          <a:pt x="40" y="10"/>
                          <a:pt x="41" y="11"/>
                          <a:pt x="42" y="11"/>
                        </a:cubicBezTo>
                        <a:cubicBezTo>
                          <a:pt x="43" y="11"/>
                          <a:pt x="46" y="11"/>
                          <a:pt x="47" y="11"/>
                        </a:cubicBezTo>
                        <a:cubicBezTo>
                          <a:pt x="49" y="13"/>
                          <a:pt x="53" y="11"/>
                          <a:pt x="55" y="13"/>
                        </a:cubicBezTo>
                        <a:cubicBezTo>
                          <a:pt x="55" y="12"/>
                          <a:pt x="57" y="10"/>
                          <a:pt x="58" y="9"/>
                        </a:cubicBezTo>
                        <a:cubicBezTo>
                          <a:pt x="59" y="7"/>
                          <a:pt x="63" y="6"/>
                          <a:pt x="65" y="5"/>
                        </a:cubicBezTo>
                        <a:cubicBezTo>
                          <a:pt x="67" y="4"/>
                          <a:pt x="68" y="6"/>
                          <a:pt x="70" y="7"/>
                        </a:cubicBezTo>
                        <a:cubicBezTo>
                          <a:pt x="71" y="8"/>
                          <a:pt x="72" y="8"/>
                          <a:pt x="74" y="7"/>
                        </a:cubicBezTo>
                        <a:cubicBezTo>
                          <a:pt x="75" y="7"/>
                          <a:pt x="76" y="8"/>
                          <a:pt x="77" y="7"/>
                        </a:cubicBezTo>
                        <a:cubicBezTo>
                          <a:pt x="75" y="10"/>
                          <a:pt x="74" y="13"/>
                          <a:pt x="72" y="15"/>
                        </a:cubicBezTo>
                        <a:cubicBezTo>
                          <a:pt x="70" y="18"/>
                          <a:pt x="68" y="19"/>
                          <a:pt x="68" y="22"/>
                        </a:cubicBezTo>
                        <a:cubicBezTo>
                          <a:pt x="68" y="30"/>
                          <a:pt x="68" y="38"/>
                          <a:pt x="68" y="46"/>
                        </a:cubicBezTo>
                        <a:cubicBezTo>
                          <a:pt x="68" y="52"/>
                          <a:pt x="67" y="58"/>
                          <a:pt x="71" y="63"/>
                        </a:cubicBezTo>
                        <a:cubicBezTo>
                          <a:pt x="73" y="65"/>
                          <a:pt x="75" y="67"/>
                          <a:pt x="73" y="69"/>
                        </a:cubicBezTo>
                        <a:cubicBezTo>
                          <a:pt x="72" y="70"/>
                          <a:pt x="70" y="73"/>
                          <a:pt x="68" y="71"/>
                        </a:cubicBezTo>
                        <a:cubicBezTo>
                          <a:pt x="68" y="72"/>
                          <a:pt x="68" y="72"/>
                          <a:pt x="68" y="72"/>
                        </a:cubicBezTo>
                        <a:cubicBezTo>
                          <a:pt x="67" y="71"/>
                          <a:pt x="67" y="71"/>
                          <a:pt x="67" y="71"/>
                        </a:cubicBezTo>
                        <a:cubicBezTo>
                          <a:pt x="68" y="72"/>
                          <a:pt x="69" y="74"/>
                          <a:pt x="68" y="75"/>
                        </a:cubicBezTo>
                        <a:cubicBezTo>
                          <a:pt x="68" y="72"/>
                          <a:pt x="67" y="75"/>
                          <a:pt x="66" y="76"/>
                        </a:cubicBezTo>
                        <a:cubicBezTo>
                          <a:pt x="66" y="77"/>
                          <a:pt x="65" y="77"/>
                          <a:pt x="64" y="77"/>
                        </a:cubicBezTo>
                        <a:cubicBezTo>
                          <a:pt x="61" y="78"/>
                          <a:pt x="60" y="80"/>
                          <a:pt x="61" y="82"/>
                        </a:cubicBezTo>
                        <a:cubicBezTo>
                          <a:pt x="61" y="83"/>
                          <a:pt x="60" y="85"/>
                          <a:pt x="59" y="86"/>
                        </a:cubicBezTo>
                        <a:cubicBezTo>
                          <a:pt x="58" y="87"/>
                          <a:pt x="57" y="94"/>
                          <a:pt x="55" y="93"/>
                        </a:cubicBezTo>
                        <a:cubicBezTo>
                          <a:pt x="56" y="96"/>
                          <a:pt x="53" y="97"/>
                          <a:pt x="53" y="100"/>
                        </a:cubicBezTo>
                        <a:cubicBezTo>
                          <a:pt x="52" y="99"/>
                          <a:pt x="52" y="100"/>
                          <a:pt x="51" y="100"/>
                        </a:cubicBezTo>
                        <a:cubicBezTo>
                          <a:pt x="50" y="100"/>
                          <a:pt x="49" y="98"/>
                          <a:pt x="48" y="97"/>
                        </a:cubicBezTo>
                        <a:cubicBezTo>
                          <a:pt x="44" y="94"/>
                          <a:pt x="40" y="91"/>
                          <a:pt x="37" y="88"/>
                        </a:cubicBezTo>
                        <a:cubicBezTo>
                          <a:pt x="37" y="87"/>
                          <a:pt x="35" y="87"/>
                          <a:pt x="37" y="86"/>
                        </a:cubicBezTo>
                        <a:cubicBezTo>
                          <a:pt x="39" y="84"/>
                          <a:pt x="35" y="82"/>
                          <a:pt x="34" y="81"/>
                        </a:cubicBezTo>
                        <a:cubicBezTo>
                          <a:pt x="3" y="61"/>
                          <a:pt x="3" y="61"/>
                          <a:pt x="3" y="61"/>
                        </a:cubicBezTo>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34" name="Kuwait">
                    <a:extLst>
                      <a:ext uri="{FF2B5EF4-FFF2-40B4-BE49-F238E27FC236}">
                        <a16:creationId xmlns:a16="http://schemas.microsoft.com/office/drawing/2014/main" id="{E674BDF0-F7AD-BC98-075E-27A5EE4E9FBD}"/>
                      </a:ext>
                    </a:extLst>
                  </p:cNvPr>
                  <p:cNvSpPr>
                    <a:spLocks/>
                  </p:cNvSpPr>
                  <p:nvPr/>
                </p:nvSpPr>
                <p:spPr bwMode="auto">
                  <a:xfrm>
                    <a:off x="4814648" y="2554250"/>
                    <a:ext cx="43941" cy="43550"/>
                  </a:xfrm>
                  <a:custGeom>
                    <a:avLst/>
                    <a:gdLst>
                      <a:gd name="connsiteX0" fmla="*/ 34242 w 43119"/>
                      <a:gd name="connsiteY0" fmla="*/ 2617 h 42735"/>
                      <a:gd name="connsiteX1" fmla="*/ 36778 w 43119"/>
                      <a:gd name="connsiteY1" fmla="*/ 11778 h 42735"/>
                      <a:gd name="connsiteX2" fmla="*/ 34242 w 43119"/>
                      <a:gd name="connsiteY2" fmla="*/ 2617 h 42735"/>
                      <a:gd name="connsiteX3" fmla="*/ 14373 w 43119"/>
                      <a:gd name="connsiteY3" fmla="*/ 0 h 42735"/>
                      <a:gd name="connsiteX4" fmla="*/ 28746 w 43119"/>
                      <a:gd name="connsiteY4" fmla="*/ 4944 h 42735"/>
                      <a:gd name="connsiteX5" fmla="*/ 33537 w 43119"/>
                      <a:gd name="connsiteY5" fmla="*/ 14831 h 42735"/>
                      <a:gd name="connsiteX6" fmla="*/ 23955 w 43119"/>
                      <a:gd name="connsiteY6" fmla="*/ 19775 h 42735"/>
                      <a:gd name="connsiteX7" fmla="*/ 35933 w 43119"/>
                      <a:gd name="connsiteY7" fmla="*/ 24719 h 42735"/>
                      <a:gd name="connsiteX8" fmla="*/ 43119 w 43119"/>
                      <a:gd name="connsiteY8" fmla="*/ 42022 h 42735"/>
                      <a:gd name="connsiteX9" fmla="*/ 26351 w 43119"/>
                      <a:gd name="connsiteY9" fmla="*/ 42022 h 42735"/>
                      <a:gd name="connsiteX10" fmla="*/ 21560 w 43119"/>
                      <a:gd name="connsiteY10" fmla="*/ 32135 h 42735"/>
                      <a:gd name="connsiteX11" fmla="*/ 0 w 43119"/>
                      <a:gd name="connsiteY11" fmla="*/ 27191 h 42735"/>
                      <a:gd name="connsiteX12" fmla="*/ 14373 w 43119"/>
                      <a:gd name="connsiteY12" fmla="*/ 0 h 42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119" h="42735">
                        <a:moveTo>
                          <a:pt x="34242" y="2617"/>
                        </a:moveTo>
                        <a:cubicBezTo>
                          <a:pt x="36778" y="4907"/>
                          <a:pt x="41851" y="11778"/>
                          <a:pt x="36778" y="11778"/>
                        </a:cubicBezTo>
                        <a:cubicBezTo>
                          <a:pt x="29169" y="11778"/>
                          <a:pt x="34242" y="4907"/>
                          <a:pt x="34242" y="2617"/>
                        </a:cubicBezTo>
                        <a:close/>
                        <a:moveTo>
                          <a:pt x="14373" y="0"/>
                        </a:moveTo>
                        <a:cubicBezTo>
                          <a:pt x="19164" y="0"/>
                          <a:pt x="23955" y="0"/>
                          <a:pt x="28746" y="4944"/>
                        </a:cubicBezTo>
                        <a:cubicBezTo>
                          <a:pt x="31142" y="4944"/>
                          <a:pt x="33537" y="12360"/>
                          <a:pt x="33537" y="14831"/>
                        </a:cubicBezTo>
                        <a:cubicBezTo>
                          <a:pt x="31142" y="9888"/>
                          <a:pt x="26351" y="17303"/>
                          <a:pt x="23955" y="19775"/>
                        </a:cubicBezTo>
                        <a:cubicBezTo>
                          <a:pt x="28746" y="17303"/>
                          <a:pt x="33537" y="19775"/>
                          <a:pt x="35933" y="24719"/>
                        </a:cubicBezTo>
                        <a:cubicBezTo>
                          <a:pt x="35933" y="32135"/>
                          <a:pt x="40724" y="37078"/>
                          <a:pt x="43119" y="42022"/>
                        </a:cubicBezTo>
                        <a:cubicBezTo>
                          <a:pt x="38328" y="39550"/>
                          <a:pt x="28746" y="44494"/>
                          <a:pt x="26351" y="42022"/>
                        </a:cubicBezTo>
                        <a:cubicBezTo>
                          <a:pt x="23955" y="39550"/>
                          <a:pt x="23955" y="34607"/>
                          <a:pt x="21560" y="32135"/>
                        </a:cubicBezTo>
                        <a:cubicBezTo>
                          <a:pt x="21560" y="27191"/>
                          <a:pt x="7187" y="29663"/>
                          <a:pt x="0" y="27191"/>
                        </a:cubicBezTo>
                        <a:cubicBezTo>
                          <a:pt x="9582" y="22247"/>
                          <a:pt x="4791" y="2472"/>
                          <a:pt x="14373" y="0"/>
                        </a:cubicBezTo>
                        <a:close/>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35" name="Jordan">
                    <a:extLst>
                      <a:ext uri="{FF2B5EF4-FFF2-40B4-BE49-F238E27FC236}">
                        <a16:creationId xmlns:a16="http://schemas.microsoft.com/office/drawing/2014/main" id="{198A78F4-1307-335B-CD7A-84AE6756B0AD}"/>
                      </a:ext>
                    </a:extLst>
                  </p:cNvPr>
                  <p:cNvSpPr>
                    <a:spLocks/>
                  </p:cNvSpPr>
                  <p:nvPr/>
                </p:nvSpPr>
                <p:spPr bwMode="auto">
                  <a:xfrm>
                    <a:off x="4553582" y="2464898"/>
                    <a:ext cx="93054" cy="114689"/>
                  </a:xfrm>
                  <a:custGeom>
                    <a:avLst/>
                    <a:gdLst/>
                    <a:ahLst/>
                    <a:cxnLst>
                      <a:cxn ang="0">
                        <a:pos x="0" y="43"/>
                      </a:cxn>
                      <a:cxn ang="0">
                        <a:pos x="1" y="34"/>
                      </a:cxn>
                      <a:cxn ang="0">
                        <a:pos x="3" y="25"/>
                      </a:cxn>
                      <a:cxn ang="0">
                        <a:pos x="3" y="21"/>
                      </a:cxn>
                      <a:cxn ang="0">
                        <a:pos x="4" y="17"/>
                      </a:cxn>
                      <a:cxn ang="0">
                        <a:pos x="3" y="8"/>
                      </a:cxn>
                      <a:cxn ang="0">
                        <a:pos x="8" y="8"/>
                      </a:cxn>
                      <a:cxn ang="0">
                        <a:pos x="14" y="11"/>
                      </a:cxn>
                      <a:cxn ang="0">
                        <a:pos x="22" y="6"/>
                      </a:cxn>
                      <a:cxn ang="0">
                        <a:pos x="32" y="0"/>
                      </a:cxn>
                      <a:cxn ang="0">
                        <a:pos x="35" y="9"/>
                      </a:cxn>
                      <a:cxn ang="0">
                        <a:pos x="35" y="11"/>
                      </a:cxn>
                      <a:cxn ang="0">
                        <a:pos x="36" y="13"/>
                      </a:cxn>
                      <a:cxn ang="0">
                        <a:pos x="18" y="20"/>
                      </a:cxn>
                      <a:cxn ang="0">
                        <a:pos x="28" y="31"/>
                      </a:cxn>
                      <a:cxn ang="0">
                        <a:pos x="24" y="32"/>
                      </a:cxn>
                      <a:cxn ang="0">
                        <a:pos x="23" y="36"/>
                      </a:cxn>
                      <a:cxn ang="0">
                        <a:pos x="17" y="38"/>
                      </a:cxn>
                      <a:cxn ang="0">
                        <a:pos x="11" y="44"/>
                      </a:cxn>
                      <a:cxn ang="0">
                        <a:pos x="0" y="43"/>
                      </a:cxn>
                    </a:cxnLst>
                    <a:rect l="0" t="0" r="r" b="b"/>
                    <a:pathLst>
                      <a:path w="38" h="45">
                        <a:moveTo>
                          <a:pt x="0" y="43"/>
                        </a:moveTo>
                        <a:cubicBezTo>
                          <a:pt x="0" y="40"/>
                          <a:pt x="1" y="37"/>
                          <a:pt x="1" y="34"/>
                        </a:cubicBezTo>
                        <a:cubicBezTo>
                          <a:pt x="1" y="31"/>
                          <a:pt x="3" y="28"/>
                          <a:pt x="3" y="25"/>
                        </a:cubicBezTo>
                        <a:cubicBezTo>
                          <a:pt x="4" y="24"/>
                          <a:pt x="3" y="22"/>
                          <a:pt x="3" y="21"/>
                        </a:cubicBezTo>
                        <a:cubicBezTo>
                          <a:pt x="3" y="19"/>
                          <a:pt x="4" y="18"/>
                          <a:pt x="4" y="17"/>
                        </a:cubicBezTo>
                        <a:cubicBezTo>
                          <a:pt x="4" y="14"/>
                          <a:pt x="4" y="11"/>
                          <a:pt x="3" y="8"/>
                        </a:cubicBezTo>
                        <a:cubicBezTo>
                          <a:pt x="3" y="6"/>
                          <a:pt x="6" y="7"/>
                          <a:pt x="8" y="8"/>
                        </a:cubicBezTo>
                        <a:cubicBezTo>
                          <a:pt x="10" y="9"/>
                          <a:pt x="12" y="11"/>
                          <a:pt x="14" y="11"/>
                        </a:cubicBezTo>
                        <a:cubicBezTo>
                          <a:pt x="17" y="10"/>
                          <a:pt x="20" y="8"/>
                          <a:pt x="22" y="6"/>
                        </a:cubicBezTo>
                        <a:cubicBezTo>
                          <a:pt x="25" y="4"/>
                          <a:pt x="29" y="2"/>
                          <a:pt x="32" y="0"/>
                        </a:cubicBezTo>
                        <a:cubicBezTo>
                          <a:pt x="33" y="3"/>
                          <a:pt x="34" y="6"/>
                          <a:pt x="35" y="9"/>
                        </a:cubicBezTo>
                        <a:cubicBezTo>
                          <a:pt x="34" y="9"/>
                          <a:pt x="35" y="11"/>
                          <a:pt x="35" y="11"/>
                        </a:cubicBezTo>
                        <a:cubicBezTo>
                          <a:pt x="37" y="11"/>
                          <a:pt x="38" y="11"/>
                          <a:pt x="36" y="13"/>
                        </a:cubicBezTo>
                        <a:cubicBezTo>
                          <a:pt x="30" y="17"/>
                          <a:pt x="25" y="18"/>
                          <a:pt x="18" y="20"/>
                        </a:cubicBezTo>
                        <a:cubicBezTo>
                          <a:pt x="28" y="31"/>
                          <a:pt x="28" y="31"/>
                          <a:pt x="28" y="31"/>
                        </a:cubicBezTo>
                        <a:cubicBezTo>
                          <a:pt x="27" y="31"/>
                          <a:pt x="25" y="31"/>
                          <a:pt x="24" y="32"/>
                        </a:cubicBezTo>
                        <a:cubicBezTo>
                          <a:pt x="23" y="33"/>
                          <a:pt x="24" y="35"/>
                          <a:pt x="23" y="36"/>
                        </a:cubicBezTo>
                        <a:cubicBezTo>
                          <a:pt x="22" y="38"/>
                          <a:pt x="19" y="36"/>
                          <a:pt x="17" y="38"/>
                        </a:cubicBezTo>
                        <a:cubicBezTo>
                          <a:pt x="15" y="40"/>
                          <a:pt x="14" y="43"/>
                          <a:pt x="11" y="44"/>
                        </a:cubicBezTo>
                        <a:cubicBezTo>
                          <a:pt x="9" y="45"/>
                          <a:pt x="3" y="44"/>
                          <a:pt x="0" y="43"/>
                        </a:cubicBezTo>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36" name="Israel">
                    <a:extLst>
                      <a:ext uri="{FF2B5EF4-FFF2-40B4-BE49-F238E27FC236}">
                        <a16:creationId xmlns:a16="http://schemas.microsoft.com/office/drawing/2014/main" id="{8AA22D45-EC59-1E89-EE29-12AFF90E0191}"/>
                      </a:ext>
                    </a:extLst>
                  </p:cNvPr>
                  <p:cNvSpPr>
                    <a:spLocks/>
                  </p:cNvSpPr>
                  <p:nvPr/>
                </p:nvSpPr>
                <p:spPr bwMode="auto">
                  <a:xfrm>
                    <a:off x="4548412" y="2484903"/>
                    <a:ext cx="14217" cy="36007"/>
                  </a:xfrm>
                  <a:custGeom>
                    <a:avLst/>
                    <a:gdLst/>
                    <a:ahLst/>
                    <a:cxnLst>
                      <a:cxn ang="0">
                        <a:pos x="0" y="5"/>
                      </a:cxn>
                      <a:cxn ang="0">
                        <a:pos x="3" y="1"/>
                      </a:cxn>
                      <a:cxn ang="0">
                        <a:pos x="5" y="3"/>
                      </a:cxn>
                      <a:cxn ang="0">
                        <a:pos x="6" y="9"/>
                      </a:cxn>
                      <a:cxn ang="0">
                        <a:pos x="5" y="12"/>
                      </a:cxn>
                      <a:cxn ang="0">
                        <a:pos x="2" y="13"/>
                      </a:cxn>
                      <a:cxn ang="0">
                        <a:pos x="1" y="12"/>
                      </a:cxn>
                      <a:cxn ang="0">
                        <a:pos x="3" y="9"/>
                      </a:cxn>
                      <a:cxn ang="0">
                        <a:pos x="1" y="8"/>
                      </a:cxn>
                      <a:cxn ang="0">
                        <a:pos x="0" y="5"/>
                      </a:cxn>
                    </a:cxnLst>
                    <a:rect l="0" t="0" r="r" b="b"/>
                    <a:pathLst>
                      <a:path w="6" h="14">
                        <a:moveTo>
                          <a:pt x="0" y="5"/>
                        </a:moveTo>
                        <a:cubicBezTo>
                          <a:pt x="1" y="3"/>
                          <a:pt x="1" y="0"/>
                          <a:pt x="3" y="1"/>
                        </a:cubicBezTo>
                        <a:cubicBezTo>
                          <a:pt x="3" y="1"/>
                          <a:pt x="5" y="2"/>
                          <a:pt x="5" y="3"/>
                        </a:cubicBezTo>
                        <a:cubicBezTo>
                          <a:pt x="6" y="4"/>
                          <a:pt x="6" y="7"/>
                          <a:pt x="6" y="9"/>
                        </a:cubicBezTo>
                        <a:cubicBezTo>
                          <a:pt x="6" y="10"/>
                          <a:pt x="6" y="12"/>
                          <a:pt x="5" y="12"/>
                        </a:cubicBezTo>
                        <a:cubicBezTo>
                          <a:pt x="2" y="13"/>
                          <a:pt x="2" y="13"/>
                          <a:pt x="2" y="13"/>
                        </a:cubicBezTo>
                        <a:cubicBezTo>
                          <a:pt x="1" y="14"/>
                          <a:pt x="0" y="14"/>
                          <a:pt x="1" y="12"/>
                        </a:cubicBezTo>
                        <a:cubicBezTo>
                          <a:pt x="1" y="11"/>
                          <a:pt x="3" y="9"/>
                          <a:pt x="3" y="9"/>
                        </a:cubicBezTo>
                        <a:cubicBezTo>
                          <a:pt x="2" y="9"/>
                          <a:pt x="1" y="9"/>
                          <a:pt x="1" y="8"/>
                        </a:cubicBezTo>
                        <a:cubicBezTo>
                          <a:pt x="0" y="6"/>
                          <a:pt x="0" y="5"/>
                          <a:pt x="0" y="5"/>
                        </a:cubicBezTo>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37" name="Guinea">
                    <a:extLst>
                      <a:ext uri="{FF2B5EF4-FFF2-40B4-BE49-F238E27FC236}">
                        <a16:creationId xmlns:a16="http://schemas.microsoft.com/office/drawing/2014/main" id="{EE21E79C-4DD7-2859-E4A0-4415DB0623D2}"/>
                      </a:ext>
                    </a:extLst>
                  </p:cNvPr>
                  <p:cNvSpPr>
                    <a:spLocks/>
                  </p:cNvSpPr>
                  <p:nvPr/>
                </p:nvSpPr>
                <p:spPr bwMode="auto">
                  <a:xfrm>
                    <a:off x="3466731" y="3030583"/>
                    <a:ext cx="160161" cy="137108"/>
                  </a:xfrm>
                  <a:custGeom>
                    <a:avLst/>
                    <a:gdLst/>
                    <a:ahLst/>
                    <a:cxnLst>
                      <a:cxn ang="0">
                        <a:pos x="3" y="13"/>
                      </a:cxn>
                      <a:cxn ang="0">
                        <a:pos x="11" y="11"/>
                      </a:cxn>
                      <a:cxn ang="0">
                        <a:pos x="10" y="5"/>
                      </a:cxn>
                      <a:cxn ang="0">
                        <a:pos x="13" y="0"/>
                      </a:cxn>
                      <a:cxn ang="0">
                        <a:pos x="19" y="1"/>
                      </a:cxn>
                      <a:cxn ang="0">
                        <a:pos x="23" y="3"/>
                      </a:cxn>
                      <a:cxn ang="0">
                        <a:pos x="29" y="3"/>
                      </a:cxn>
                      <a:cxn ang="0">
                        <a:pos x="35" y="7"/>
                      </a:cxn>
                      <a:cxn ang="0">
                        <a:pos x="43" y="7"/>
                      </a:cxn>
                      <a:cxn ang="0">
                        <a:pos x="51" y="5"/>
                      </a:cxn>
                      <a:cxn ang="0">
                        <a:pos x="55" y="2"/>
                      </a:cxn>
                      <a:cxn ang="0">
                        <a:pos x="58" y="7"/>
                      </a:cxn>
                      <a:cxn ang="0">
                        <a:pos x="63" y="15"/>
                      </a:cxn>
                      <a:cxn ang="0">
                        <a:pos x="60" y="18"/>
                      </a:cxn>
                      <a:cxn ang="0">
                        <a:pos x="63" y="21"/>
                      </a:cxn>
                      <a:cxn ang="0">
                        <a:pos x="67" y="26"/>
                      </a:cxn>
                      <a:cxn ang="0">
                        <a:pos x="64" y="31"/>
                      </a:cxn>
                      <a:cxn ang="0">
                        <a:pos x="68" y="39"/>
                      </a:cxn>
                      <a:cxn ang="0">
                        <a:pos x="69" y="46"/>
                      </a:cxn>
                      <a:cxn ang="0">
                        <a:pos x="66" y="50"/>
                      </a:cxn>
                      <a:cxn ang="0">
                        <a:pos x="65" y="53"/>
                      </a:cxn>
                      <a:cxn ang="0">
                        <a:pos x="61" y="55"/>
                      </a:cxn>
                      <a:cxn ang="0">
                        <a:pos x="58" y="56"/>
                      </a:cxn>
                      <a:cxn ang="0">
                        <a:pos x="52" y="57"/>
                      </a:cxn>
                      <a:cxn ang="0">
                        <a:pos x="52" y="50"/>
                      </a:cxn>
                      <a:cxn ang="0">
                        <a:pos x="52" y="46"/>
                      </a:cxn>
                      <a:cxn ang="0">
                        <a:pos x="46" y="45"/>
                      </a:cxn>
                      <a:cxn ang="0">
                        <a:pos x="40" y="47"/>
                      </a:cxn>
                      <a:cxn ang="0">
                        <a:pos x="40" y="38"/>
                      </a:cxn>
                      <a:cxn ang="0">
                        <a:pos x="31" y="29"/>
                      </a:cxn>
                      <a:cxn ang="0">
                        <a:pos x="23" y="31"/>
                      </a:cxn>
                      <a:cxn ang="0">
                        <a:pos x="19" y="38"/>
                      </a:cxn>
                      <a:cxn ang="0">
                        <a:pos x="17" y="38"/>
                      </a:cxn>
                      <a:cxn ang="0">
                        <a:pos x="16" y="38"/>
                      </a:cxn>
                      <a:cxn ang="0">
                        <a:pos x="15" y="36"/>
                      </a:cxn>
                      <a:cxn ang="0">
                        <a:pos x="13" y="30"/>
                      </a:cxn>
                      <a:cxn ang="0">
                        <a:pos x="12" y="29"/>
                      </a:cxn>
                      <a:cxn ang="0">
                        <a:pos x="9" y="27"/>
                      </a:cxn>
                      <a:cxn ang="0">
                        <a:pos x="4" y="23"/>
                      </a:cxn>
                      <a:cxn ang="0">
                        <a:pos x="5" y="19"/>
                      </a:cxn>
                      <a:cxn ang="0">
                        <a:pos x="2" y="21"/>
                      </a:cxn>
                      <a:cxn ang="0">
                        <a:pos x="0" y="18"/>
                      </a:cxn>
                    </a:cxnLst>
                    <a:rect l="0" t="0" r="r" b="b"/>
                    <a:pathLst>
                      <a:path w="69" h="59">
                        <a:moveTo>
                          <a:pt x="0" y="18"/>
                        </a:moveTo>
                        <a:cubicBezTo>
                          <a:pt x="1" y="17"/>
                          <a:pt x="1" y="14"/>
                          <a:pt x="3" y="13"/>
                        </a:cubicBezTo>
                        <a:cubicBezTo>
                          <a:pt x="4" y="12"/>
                          <a:pt x="6" y="12"/>
                          <a:pt x="7" y="11"/>
                        </a:cubicBezTo>
                        <a:cubicBezTo>
                          <a:pt x="8" y="10"/>
                          <a:pt x="10" y="11"/>
                          <a:pt x="11" y="11"/>
                        </a:cubicBezTo>
                        <a:cubicBezTo>
                          <a:pt x="12" y="10"/>
                          <a:pt x="13" y="9"/>
                          <a:pt x="12" y="8"/>
                        </a:cubicBezTo>
                        <a:cubicBezTo>
                          <a:pt x="12" y="7"/>
                          <a:pt x="10" y="6"/>
                          <a:pt x="10" y="5"/>
                        </a:cubicBezTo>
                        <a:cubicBezTo>
                          <a:pt x="10" y="4"/>
                          <a:pt x="13" y="4"/>
                          <a:pt x="13" y="3"/>
                        </a:cubicBezTo>
                        <a:cubicBezTo>
                          <a:pt x="13" y="2"/>
                          <a:pt x="12" y="0"/>
                          <a:pt x="13" y="0"/>
                        </a:cubicBezTo>
                        <a:cubicBezTo>
                          <a:pt x="17" y="0"/>
                          <a:pt x="17" y="0"/>
                          <a:pt x="17" y="0"/>
                        </a:cubicBezTo>
                        <a:cubicBezTo>
                          <a:pt x="18" y="0"/>
                          <a:pt x="18" y="1"/>
                          <a:pt x="19" y="1"/>
                        </a:cubicBezTo>
                        <a:cubicBezTo>
                          <a:pt x="19" y="1"/>
                          <a:pt x="18" y="3"/>
                          <a:pt x="20" y="2"/>
                        </a:cubicBezTo>
                        <a:cubicBezTo>
                          <a:pt x="21" y="1"/>
                          <a:pt x="23" y="3"/>
                          <a:pt x="23" y="3"/>
                        </a:cubicBezTo>
                        <a:cubicBezTo>
                          <a:pt x="25" y="4"/>
                          <a:pt x="25" y="4"/>
                          <a:pt x="25" y="4"/>
                        </a:cubicBezTo>
                        <a:cubicBezTo>
                          <a:pt x="27" y="4"/>
                          <a:pt x="28" y="3"/>
                          <a:pt x="29" y="3"/>
                        </a:cubicBezTo>
                        <a:cubicBezTo>
                          <a:pt x="31" y="3"/>
                          <a:pt x="33" y="2"/>
                          <a:pt x="35" y="3"/>
                        </a:cubicBezTo>
                        <a:cubicBezTo>
                          <a:pt x="34" y="4"/>
                          <a:pt x="33" y="5"/>
                          <a:pt x="35" y="7"/>
                        </a:cubicBezTo>
                        <a:cubicBezTo>
                          <a:pt x="36" y="8"/>
                          <a:pt x="37" y="4"/>
                          <a:pt x="39" y="5"/>
                        </a:cubicBezTo>
                        <a:cubicBezTo>
                          <a:pt x="42" y="6"/>
                          <a:pt x="40" y="10"/>
                          <a:pt x="43" y="7"/>
                        </a:cubicBezTo>
                        <a:cubicBezTo>
                          <a:pt x="46" y="3"/>
                          <a:pt x="48" y="7"/>
                          <a:pt x="49" y="7"/>
                        </a:cubicBezTo>
                        <a:cubicBezTo>
                          <a:pt x="50" y="7"/>
                          <a:pt x="51" y="6"/>
                          <a:pt x="51" y="5"/>
                        </a:cubicBezTo>
                        <a:cubicBezTo>
                          <a:pt x="52" y="5"/>
                          <a:pt x="53" y="5"/>
                          <a:pt x="54" y="4"/>
                        </a:cubicBezTo>
                        <a:cubicBezTo>
                          <a:pt x="54" y="3"/>
                          <a:pt x="52" y="1"/>
                          <a:pt x="55" y="2"/>
                        </a:cubicBezTo>
                        <a:cubicBezTo>
                          <a:pt x="56" y="2"/>
                          <a:pt x="57" y="3"/>
                          <a:pt x="57" y="4"/>
                        </a:cubicBezTo>
                        <a:cubicBezTo>
                          <a:pt x="57" y="5"/>
                          <a:pt x="58" y="7"/>
                          <a:pt x="58" y="7"/>
                        </a:cubicBezTo>
                        <a:cubicBezTo>
                          <a:pt x="59" y="8"/>
                          <a:pt x="58" y="12"/>
                          <a:pt x="60" y="11"/>
                        </a:cubicBezTo>
                        <a:cubicBezTo>
                          <a:pt x="60" y="13"/>
                          <a:pt x="63" y="13"/>
                          <a:pt x="63" y="15"/>
                        </a:cubicBezTo>
                        <a:cubicBezTo>
                          <a:pt x="62" y="15"/>
                          <a:pt x="62" y="15"/>
                          <a:pt x="61" y="15"/>
                        </a:cubicBezTo>
                        <a:cubicBezTo>
                          <a:pt x="60" y="16"/>
                          <a:pt x="60" y="17"/>
                          <a:pt x="60" y="18"/>
                        </a:cubicBezTo>
                        <a:cubicBezTo>
                          <a:pt x="61" y="18"/>
                          <a:pt x="61" y="18"/>
                          <a:pt x="62" y="17"/>
                        </a:cubicBezTo>
                        <a:cubicBezTo>
                          <a:pt x="64" y="17"/>
                          <a:pt x="63" y="19"/>
                          <a:pt x="63" y="21"/>
                        </a:cubicBezTo>
                        <a:cubicBezTo>
                          <a:pt x="63" y="22"/>
                          <a:pt x="63" y="23"/>
                          <a:pt x="65" y="24"/>
                        </a:cubicBezTo>
                        <a:cubicBezTo>
                          <a:pt x="65" y="24"/>
                          <a:pt x="66" y="25"/>
                          <a:pt x="67" y="26"/>
                        </a:cubicBezTo>
                        <a:cubicBezTo>
                          <a:pt x="67" y="27"/>
                          <a:pt x="66" y="27"/>
                          <a:pt x="65" y="28"/>
                        </a:cubicBezTo>
                        <a:cubicBezTo>
                          <a:pt x="64" y="29"/>
                          <a:pt x="64" y="30"/>
                          <a:pt x="64" y="31"/>
                        </a:cubicBezTo>
                        <a:cubicBezTo>
                          <a:pt x="64" y="33"/>
                          <a:pt x="65" y="36"/>
                          <a:pt x="67" y="35"/>
                        </a:cubicBezTo>
                        <a:cubicBezTo>
                          <a:pt x="67" y="37"/>
                          <a:pt x="67" y="37"/>
                          <a:pt x="68" y="39"/>
                        </a:cubicBezTo>
                        <a:cubicBezTo>
                          <a:pt x="67" y="39"/>
                          <a:pt x="67" y="40"/>
                          <a:pt x="66" y="42"/>
                        </a:cubicBezTo>
                        <a:cubicBezTo>
                          <a:pt x="69" y="42"/>
                          <a:pt x="68" y="44"/>
                          <a:pt x="69" y="46"/>
                        </a:cubicBezTo>
                        <a:cubicBezTo>
                          <a:pt x="68" y="46"/>
                          <a:pt x="64" y="44"/>
                          <a:pt x="63" y="45"/>
                        </a:cubicBezTo>
                        <a:cubicBezTo>
                          <a:pt x="63" y="47"/>
                          <a:pt x="65" y="49"/>
                          <a:pt x="66" y="50"/>
                        </a:cubicBezTo>
                        <a:cubicBezTo>
                          <a:pt x="65" y="49"/>
                          <a:pt x="65" y="51"/>
                          <a:pt x="65" y="51"/>
                        </a:cubicBezTo>
                        <a:cubicBezTo>
                          <a:pt x="65" y="52"/>
                          <a:pt x="65" y="52"/>
                          <a:pt x="65" y="53"/>
                        </a:cubicBezTo>
                        <a:cubicBezTo>
                          <a:pt x="65" y="53"/>
                          <a:pt x="64" y="55"/>
                          <a:pt x="64" y="55"/>
                        </a:cubicBezTo>
                        <a:cubicBezTo>
                          <a:pt x="63" y="55"/>
                          <a:pt x="62" y="54"/>
                          <a:pt x="61" y="55"/>
                        </a:cubicBezTo>
                        <a:cubicBezTo>
                          <a:pt x="61" y="55"/>
                          <a:pt x="61" y="54"/>
                          <a:pt x="60" y="53"/>
                        </a:cubicBezTo>
                        <a:cubicBezTo>
                          <a:pt x="59" y="53"/>
                          <a:pt x="59" y="55"/>
                          <a:pt x="58" y="56"/>
                        </a:cubicBezTo>
                        <a:cubicBezTo>
                          <a:pt x="58" y="58"/>
                          <a:pt x="57" y="58"/>
                          <a:pt x="55" y="59"/>
                        </a:cubicBezTo>
                        <a:cubicBezTo>
                          <a:pt x="55" y="57"/>
                          <a:pt x="53" y="56"/>
                          <a:pt x="52" y="57"/>
                        </a:cubicBezTo>
                        <a:cubicBezTo>
                          <a:pt x="52" y="56"/>
                          <a:pt x="52" y="54"/>
                          <a:pt x="52" y="53"/>
                        </a:cubicBezTo>
                        <a:cubicBezTo>
                          <a:pt x="52" y="52"/>
                          <a:pt x="52" y="49"/>
                          <a:pt x="52" y="50"/>
                        </a:cubicBezTo>
                        <a:cubicBezTo>
                          <a:pt x="52" y="50"/>
                          <a:pt x="52" y="50"/>
                          <a:pt x="52" y="48"/>
                        </a:cubicBezTo>
                        <a:cubicBezTo>
                          <a:pt x="52" y="48"/>
                          <a:pt x="51" y="47"/>
                          <a:pt x="52" y="46"/>
                        </a:cubicBezTo>
                        <a:cubicBezTo>
                          <a:pt x="49" y="43"/>
                          <a:pt x="49" y="45"/>
                          <a:pt x="48" y="45"/>
                        </a:cubicBezTo>
                        <a:cubicBezTo>
                          <a:pt x="47" y="45"/>
                          <a:pt x="47" y="45"/>
                          <a:pt x="46" y="45"/>
                        </a:cubicBezTo>
                        <a:cubicBezTo>
                          <a:pt x="45" y="45"/>
                          <a:pt x="44" y="45"/>
                          <a:pt x="43" y="45"/>
                        </a:cubicBezTo>
                        <a:cubicBezTo>
                          <a:pt x="42" y="46"/>
                          <a:pt x="40" y="47"/>
                          <a:pt x="40" y="47"/>
                        </a:cubicBezTo>
                        <a:cubicBezTo>
                          <a:pt x="40" y="45"/>
                          <a:pt x="42" y="43"/>
                          <a:pt x="42" y="43"/>
                        </a:cubicBezTo>
                        <a:cubicBezTo>
                          <a:pt x="40" y="40"/>
                          <a:pt x="43" y="40"/>
                          <a:pt x="40" y="38"/>
                        </a:cubicBezTo>
                        <a:cubicBezTo>
                          <a:pt x="40" y="38"/>
                          <a:pt x="41" y="37"/>
                          <a:pt x="40" y="36"/>
                        </a:cubicBezTo>
                        <a:cubicBezTo>
                          <a:pt x="38" y="31"/>
                          <a:pt x="37" y="28"/>
                          <a:pt x="31" y="29"/>
                        </a:cubicBezTo>
                        <a:cubicBezTo>
                          <a:pt x="29" y="29"/>
                          <a:pt x="29" y="29"/>
                          <a:pt x="27" y="30"/>
                        </a:cubicBezTo>
                        <a:cubicBezTo>
                          <a:pt x="25" y="30"/>
                          <a:pt x="24" y="29"/>
                          <a:pt x="23" y="31"/>
                        </a:cubicBezTo>
                        <a:cubicBezTo>
                          <a:pt x="22" y="33"/>
                          <a:pt x="22" y="35"/>
                          <a:pt x="20" y="36"/>
                        </a:cubicBezTo>
                        <a:cubicBezTo>
                          <a:pt x="19" y="37"/>
                          <a:pt x="19" y="37"/>
                          <a:pt x="19" y="38"/>
                        </a:cubicBezTo>
                        <a:cubicBezTo>
                          <a:pt x="18" y="39"/>
                          <a:pt x="17" y="38"/>
                          <a:pt x="16" y="39"/>
                        </a:cubicBezTo>
                        <a:cubicBezTo>
                          <a:pt x="16" y="38"/>
                          <a:pt x="16" y="38"/>
                          <a:pt x="17" y="38"/>
                        </a:cubicBezTo>
                        <a:cubicBezTo>
                          <a:pt x="16" y="37"/>
                          <a:pt x="16" y="37"/>
                          <a:pt x="16" y="37"/>
                        </a:cubicBezTo>
                        <a:cubicBezTo>
                          <a:pt x="16" y="38"/>
                          <a:pt x="16" y="38"/>
                          <a:pt x="16" y="38"/>
                        </a:cubicBezTo>
                        <a:cubicBezTo>
                          <a:pt x="16" y="37"/>
                          <a:pt x="16" y="36"/>
                          <a:pt x="16" y="36"/>
                        </a:cubicBezTo>
                        <a:cubicBezTo>
                          <a:pt x="15" y="36"/>
                          <a:pt x="15" y="36"/>
                          <a:pt x="15" y="36"/>
                        </a:cubicBezTo>
                        <a:cubicBezTo>
                          <a:pt x="15" y="35"/>
                          <a:pt x="13" y="35"/>
                          <a:pt x="14" y="33"/>
                        </a:cubicBezTo>
                        <a:cubicBezTo>
                          <a:pt x="12" y="35"/>
                          <a:pt x="13" y="31"/>
                          <a:pt x="13" y="30"/>
                        </a:cubicBezTo>
                        <a:cubicBezTo>
                          <a:pt x="13" y="31"/>
                          <a:pt x="12" y="31"/>
                          <a:pt x="12" y="31"/>
                        </a:cubicBezTo>
                        <a:cubicBezTo>
                          <a:pt x="12" y="31"/>
                          <a:pt x="12" y="30"/>
                          <a:pt x="12" y="29"/>
                        </a:cubicBezTo>
                        <a:cubicBezTo>
                          <a:pt x="12" y="31"/>
                          <a:pt x="11" y="30"/>
                          <a:pt x="10" y="29"/>
                        </a:cubicBezTo>
                        <a:cubicBezTo>
                          <a:pt x="9" y="29"/>
                          <a:pt x="10" y="28"/>
                          <a:pt x="9" y="27"/>
                        </a:cubicBezTo>
                        <a:cubicBezTo>
                          <a:pt x="9" y="27"/>
                          <a:pt x="8" y="28"/>
                          <a:pt x="8" y="28"/>
                        </a:cubicBezTo>
                        <a:cubicBezTo>
                          <a:pt x="8" y="26"/>
                          <a:pt x="3" y="26"/>
                          <a:pt x="4" y="23"/>
                        </a:cubicBezTo>
                        <a:cubicBezTo>
                          <a:pt x="4" y="23"/>
                          <a:pt x="4" y="23"/>
                          <a:pt x="3" y="24"/>
                        </a:cubicBezTo>
                        <a:cubicBezTo>
                          <a:pt x="4" y="22"/>
                          <a:pt x="4" y="21"/>
                          <a:pt x="5" y="19"/>
                        </a:cubicBezTo>
                        <a:cubicBezTo>
                          <a:pt x="4" y="20"/>
                          <a:pt x="4" y="20"/>
                          <a:pt x="3" y="21"/>
                        </a:cubicBezTo>
                        <a:cubicBezTo>
                          <a:pt x="3" y="20"/>
                          <a:pt x="3" y="20"/>
                          <a:pt x="2" y="21"/>
                        </a:cubicBezTo>
                        <a:cubicBezTo>
                          <a:pt x="2" y="20"/>
                          <a:pt x="2" y="18"/>
                          <a:pt x="3" y="18"/>
                        </a:cubicBezTo>
                        <a:cubicBezTo>
                          <a:pt x="2" y="18"/>
                          <a:pt x="1" y="18"/>
                          <a:pt x="0" y="18"/>
                        </a:cubicBezTo>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38" name="Guinea-Bissau">
                    <a:extLst>
                      <a:ext uri="{FF2B5EF4-FFF2-40B4-BE49-F238E27FC236}">
                        <a16:creationId xmlns:a16="http://schemas.microsoft.com/office/drawing/2014/main" id="{E63FC110-5D8C-DDD4-2195-F7143B1A2552}"/>
                      </a:ext>
                    </a:extLst>
                  </p:cNvPr>
                  <p:cNvSpPr>
                    <a:spLocks/>
                  </p:cNvSpPr>
                  <p:nvPr/>
                </p:nvSpPr>
                <p:spPr bwMode="auto">
                  <a:xfrm>
                    <a:off x="3430331" y="3029886"/>
                    <a:ext cx="67520" cy="46805"/>
                  </a:xfrm>
                  <a:custGeom>
                    <a:avLst/>
                    <a:gdLst>
                      <a:gd name="connsiteX0" fmla="*/ 35720 w 66256"/>
                      <a:gd name="connsiteY0" fmla="*/ 41166 h 45929"/>
                      <a:gd name="connsiteX1" fmla="*/ 38101 w 66256"/>
                      <a:gd name="connsiteY1" fmla="*/ 41166 h 45929"/>
                      <a:gd name="connsiteX2" fmla="*/ 35720 w 66256"/>
                      <a:gd name="connsiteY2" fmla="*/ 45929 h 45929"/>
                      <a:gd name="connsiteX3" fmla="*/ 35720 w 66256"/>
                      <a:gd name="connsiteY3" fmla="*/ 41166 h 45929"/>
                      <a:gd name="connsiteX4" fmla="*/ 15478 w 66256"/>
                      <a:gd name="connsiteY4" fmla="*/ 28068 h 45929"/>
                      <a:gd name="connsiteX5" fmla="*/ 17860 w 66256"/>
                      <a:gd name="connsiteY5" fmla="*/ 28068 h 45929"/>
                      <a:gd name="connsiteX6" fmla="*/ 13097 w 66256"/>
                      <a:gd name="connsiteY6" fmla="*/ 30449 h 45929"/>
                      <a:gd name="connsiteX7" fmla="*/ 15478 w 66256"/>
                      <a:gd name="connsiteY7" fmla="*/ 28068 h 45929"/>
                      <a:gd name="connsiteX8" fmla="*/ 8334 w 66256"/>
                      <a:gd name="connsiteY8" fmla="*/ 28068 h 45929"/>
                      <a:gd name="connsiteX9" fmla="*/ 8334 w 66256"/>
                      <a:gd name="connsiteY9" fmla="*/ 30449 h 45929"/>
                      <a:gd name="connsiteX10" fmla="*/ 5953 w 66256"/>
                      <a:gd name="connsiteY10" fmla="*/ 30449 h 45929"/>
                      <a:gd name="connsiteX11" fmla="*/ 36195 w 66256"/>
                      <a:gd name="connsiteY11" fmla="*/ 0 h 45929"/>
                      <a:gd name="connsiteX12" fmla="*/ 42982 w 66256"/>
                      <a:gd name="connsiteY12" fmla="*/ 565 h 45929"/>
                      <a:gd name="connsiteX13" fmla="*/ 65604 w 66256"/>
                      <a:gd name="connsiteY13" fmla="*/ 565 h 45929"/>
                      <a:gd name="connsiteX14" fmla="*/ 65604 w 66256"/>
                      <a:gd name="connsiteY14" fmla="*/ 9614 h 45929"/>
                      <a:gd name="connsiteX15" fmla="*/ 58817 w 66256"/>
                      <a:gd name="connsiteY15" fmla="*/ 11876 h 45929"/>
                      <a:gd name="connsiteX16" fmla="*/ 63342 w 66256"/>
                      <a:gd name="connsiteY16" fmla="*/ 23187 h 45929"/>
                      <a:gd name="connsiteX17" fmla="*/ 56555 w 66256"/>
                      <a:gd name="connsiteY17" fmla="*/ 25449 h 45929"/>
                      <a:gd name="connsiteX18" fmla="*/ 54293 w 66256"/>
                      <a:gd name="connsiteY18" fmla="*/ 25449 h 45929"/>
                      <a:gd name="connsiteX19" fmla="*/ 42982 w 66256"/>
                      <a:gd name="connsiteY19" fmla="*/ 29974 h 45929"/>
                      <a:gd name="connsiteX20" fmla="*/ 33933 w 66256"/>
                      <a:gd name="connsiteY20" fmla="*/ 43547 h 45929"/>
                      <a:gd name="connsiteX21" fmla="*/ 27146 w 66256"/>
                      <a:gd name="connsiteY21" fmla="*/ 34498 h 45929"/>
                      <a:gd name="connsiteX22" fmla="*/ 29408 w 66256"/>
                      <a:gd name="connsiteY22" fmla="*/ 32236 h 45929"/>
                      <a:gd name="connsiteX23" fmla="*/ 27146 w 66256"/>
                      <a:gd name="connsiteY23" fmla="*/ 29974 h 45929"/>
                      <a:gd name="connsiteX24" fmla="*/ 33933 w 66256"/>
                      <a:gd name="connsiteY24" fmla="*/ 27711 h 45929"/>
                      <a:gd name="connsiteX25" fmla="*/ 27146 w 66256"/>
                      <a:gd name="connsiteY25" fmla="*/ 27711 h 45929"/>
                      <a:gd name="connsiteX26" fmla="*/ 29408 w 66256"/>
                      <a:gd name="connsiteY26" fmla="*/ 20925 h 45929"/>
                      <a:gd name="connsiteX27" fmla="*/ 33933 w 66256"/>
                      <a:gd name="connsiteY27" fmla="*/ 20925 h 45929"/>
                      <a:gd name="connsiteX28" fmla="*/ 38458 w 66256"/>
                      <a:gd name="connsiteY28" fmla="*/ 23187 h 45929"/>
                      <a:gd name="connsiteX29" fmla="*/ 36195 w 66256"/>
                      <a:gd name="connsiteY29" fmla="*/ 18663 h 45929"/>
                      <a:gd name="connsiteX30" fmla="*/ 33933 w 66256"/>
                      <a:gd name="connsiteY30" fmla="*/ 18663 h 45929"/>
                      <a:gd name="connsiteX31" fmla="*/ 29408 w 66256"/>
                      <a:gd name="connsiteY31" fmla="*/ 18663 h 45929"/>
                      <a:gd name="connsiteX32" fmla="*/ 27146 w 66256"/>
                      <a:gd name="connsiteY32" fmla="*/ 18663 h 45929"/>
                      <a:gd name="connsiteX33" fmla="*/ 22622 w 66256"/>
                      <a:gd name="connsiteY33" fmla="*/ 20925 h 45929"/>
                      <a:gd name="connsiteX34" fmla="*/ 15835 w 66256"/>
                      <a:gd name="connsiteY34" fmla="*/ 23187 h 45929"/>
                      <a:gd name="connsiteX35" fmla="*/ 22622 w 66256"/>
                      <a:gd name="connsiteY35" fmla="*/ 16400 h 45929"/>
                      <a:gd name="connsiteX36" fmla="*/ 18097 w 66256"/>
                      <a:gd name="connsiteY36" fmla="*/ 18663 h 45929"/>
                      <a:gd name="connsiteX37" fmla="*/ 11311 w 66256"/>
                      <a:gd name="connsiteY37" fmla="*/ 18663 h 45929"/>
                      <a:gd name="connsiteX38" fmla="*/ 13573 w 66256"/>
                      <a:gd name="connsiteY38" fmla="*/ 9614 h 45929"/>
                      <a:gd name="connsiteX39" fmla="*/ 9049 w 66256"/>
                      <a:gd name="connsiteY39" fmla="*/ 9614 h 45929"/>
                      <a:gd name="connsiteX40" fmla="*/ 6786 w 66256"/>
                      <a:gd name="connsiteY40" fmla="*/ 11876 h 45929"/>
                      <a:gd name="connsiteX41" fmla="*/ 0 w 66256"/>
                      <a:gd name="connsiteY41" fmla="*/ 9614 h 45929"/>
                      <a:gd name="connsiteX42" fmla="*/ 6786 w 66256"/>
                      <a:gd name="connsiteY42" fmla="*/ 7352 h 45929"/>
                      <a:gd name="connsiteX43" fmla="*/ 13573 w 66256"/>
                      <a:gd name="connsiteY43" fmla="*/ 5089 h 45929"/>
                      <a:gd name="connsiteX44" fmla="*/ 18097 w 66256"/>
                      <a:gd name="connsiteY44" fmla="*/ 5089 h 45929"/>
                      <a:gd name="connsiteX45" fmla="*/ 29408 w 66256"/>
                      <a:gd name="connsiteY45" fmla="*/ 2827 h 45929"/>
                      <a:gd name="connsiteX46" fmla="*/ 36195 w 66256"/>
                      <a:gd name="connsiteY46" fmla="*/ 0 h 4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66256" h="45929">
                        <a:moveTo>
                          <a:pt x="35720" y="41166"/>
                        </a:moveTo>
                        <a:cubicBezTo>
                          <a:pt x="35720" y="41166"/>
                          <a:pt x="35720" y="41166"/>
                          <a:pt x="38101" y="41166"/>
                        </a:cubicBezTo>
                        <a:cubicBezTo>
                          <a:pt x="35720" y="43548"/>
                          <a:pt x="35720" y="45929"/>
                          <a:pt x="35720" y="45929"/>
                        </a:cubicBezTo>
                        <a:cubicBezTo>
                          <a:pt x="33338" y="45929"/>
                          <a:pt x="33338" y="43548"/>
                          <a:pt x="35720" y="41166"/>
                        </a:cubicBezTo>
                        <a:close/>
                        <a:moveTo>
                          <a:pt x="15478" y="28068"/>
                        </a:moveTo>
                        <a:cubicBezTo>
                          <a:pt x="15478" y="28068"/>
                          <a:pt x="15478" y="28068"/>
                          <a:pt x="17860" y="28068"/>
                        </a:cubicBezTo>
                        <a:cubicBezTo>
                          <a:pt x="15478" y="30449"/>
                          <a:pt x="15478" y="32831"/>
                          <a:pt x="13097" y="30449"/>
                        </a:cubicBezTo>
                        <a:cubicBezTo>
                          <a:pt x="13097" y="30449"/>
                          <a:pt x="13097" y="30449"/>
                          <a:pt x="15478" y="28068"/>
                        </a:cubicBezTo>
                        <a:close/>
                        <a:moveTo>
                          <a:pt x="8334" y="28068"/>
                        </a:moveTo>
                        <a:lnTo>
                          <a:pt x="8334" y="30449"/>
                        </a:lnTo>
                        <a:lnTo>
                          <a:pt x="5953" y="30449"/>
                        </a:lnTo>
                        <a:close/>
                        <a:moveTo>
                          <a:pt x="36195" y="0"/>
                        </a:moveTo>
                        <a:cubicBezTo>
                          <a:pt x="38458" y="0"/>
                          <a:pt x="40720" y="565"/>
                          <a:pt x="42982" y="565"/>
                        </a:cubicBezTo>
                        <a:cubicBezTo>
                          <a:pt x="49769" y="565"/>
                          <a:pt x="56555" y="565"/>
                          <a:pt x="65604" y="565"/>
                        </a:cubicBezTo>
                        <a:cubicBezTo>
                          <a:pt x="63342" y="2827"/>
                          <a:pt x="67866" y="7352"/>
                          <a:pt x="65604" y="9614"/>
                        </a:cubicBezTo>
                        <a:cubicBezTo>
                          <a:pt x="63342" y="9614"/>
                          <a:pt x="58817" y="9614"/>
                          <a:pt x="58817" y="11876"/>
                        </a:cubicBezTo>
                        <a:cubicBezTo>
                          <a:pt x="58817" y="14138"/>
                          <a:pt x="67866" y="16400"/>
                          <a:pt x="63342" y="23187"/>
                        </a:cubicBezTo>
                        <a:cubicBezTo>
                          <a:pt x="61080" y="25449"/>
                          <a:pt x="58817" y="25449"/>
                          <a:pt x="56555" y="25449"/>
                        </a:cubicBezTo>
                        <a:cubicBezTo>
                          <a:pt x="56555" y="25449"/>
                          <a:pt x="54293" y="25449"/>
                          <a:pt x="54293" y="25449"/>
                        </a:cubicBezTo>
                        <a:cubicBezTo>
                          <a:pt x="49769" y="25449"/>
                          <a:pt x="47506" y="27711"/>
                          <a:pt x="42982" y="29974"/>
                        </a:cubicBezTo>
                        <a:cubicBezTo>
                          <a:pt x="38458" y="29974"/>
                          <a:pt x="40720" y="41285"/>
                          <a:pt x="33933" y="43547"/>
                        </a:cubicBezTo>
                        <a:cubicBezTo>
                          <a:pt x="33933" y="36760"/>
                          <a:pt x="31671" y="36760"/>
                          <a:pt x="27146" y="34498"/>
                        </a:cubicBezTo>
                        <a:cubicBezTo>
                          <a:pt x="29408" y="32236"/>
                          <a:pt x="29408" y="32236"/>
                          <a:pt x="29408" y="32236"/>
                        </a:cubicBezTo>
                        <a:cubicBezTo>
                          <a:pt x="27146" y="34498"/>
                          <a:pt x="27146" y="32236"/>
                          <a:pt x="27146" y="29974"/>
                        </a:cubicBezTo>
                        <a:cubicBezTo>
                          <a:pt x="29408" y="27711"/>
                          <a:pt x="31671" y="25449"/>
                          <a:pt x="33933" y="27711"/>
                        </a:cubicBezTo>
                        <a:cubicBezTo>
                          <a:pt x="33933" y="23187"/>
                          <a:pt x="29408" y="25449"/>
                          <a:pt x="27146" y="27711"/>
                        </a:cubicBezTo>
                        <a:cubicBezTo>
                          <a:pt x="24884" y="23187"/>
                          <a:pt x="24884" y="20925"/>
                          <a:pt x="29408" y="20925"/>
                        </a:cubicBezTo>
                        <a:cubicBezTo>
                          <a:pt x="31671" y="18663"/>
                          <a:pt x="33933" y="20925"/>
                          <a:pt x="33933" y="20925"/>
                        </a:cubicBezTo>
                        <a:cubicBezTo>
                          <a:pt x="36195" y="20925"/>
                          <a:pt x="36195" y="23187"/>
                          <a:pt x="38458" y="23187"/>
                        </a:cubicBezTo>
                        <a:cubicBezTo>
                          <a:pt x="36195" y="20925"/>
                          <a:pt x="36195" y="18663"/>
                          <a:pt x="36195" y="18663"/>
                        </a:cubicBezTo>
                        <a:cubicBezTo>
                          <a:pt x="36195" y="16400"/>
                          <a:pt x="33933" y="18663"/>
                          <a:pt x="33933" y="18663"/>
                        </a:cubicBezTo>
                        <a:cubicBezTo>
                          <a:pt x="31671" y="18663"/>
                          <a:pt x="31671" y="18663"/>
                          <a:pt x="29408" y="18663"/>
                        </a:cubicBezTo>
                        <a:cubicBezTo>
                          <a:pt x="29408" y="18663"/>
                          <a:pt x="29408" y="18663"/>
                          <a:pt x="27146" y="18663"/>
                        </a:cubicBezTo>
                        <a:cubicBezTo>
                          <a:pt x="24884" y="18663"/>
                          <a:pt x="24884" y="20925"/>
                          <a:pt x="22622" y="20925"/>
                        </a:cubicBezTo>
                        <a:cubicBezTo>
                          <a:pt x="20360" y="23187"/>
                          <a:pt x="18097" y="23187"/>
                          <a:pt x="15835" y="23187"/>
                        </a:cubicBezTo>
                        <a:cubicBezTo>
                          <a:pt x="15835" y="18663"/>
                          <a:pt x="20360" y="18663"/>
                          <a:pt x="22622" y="16400"/>
                        </a:cubicBezTo>
                        <a:cubicBezTo>
                          <a:pt x="20360" y="16400"/>
                          <a:pt x="18097" y="16400"/>
                          <a:pt x="18097" y="18663"/>
                        </a:cubicBezTo>
                        <a:cubicBezTo>
                          <a:pt x="15835" y="18663"/>
                          <a:pt x="13573" y="18663"/>
                          <a:pt x="11311" y="18663"/>
                        </a:cubicBezTo>
                        <a:cubicBezTo>
                          <a:pt x="4524" y="18663"/>
                          <a:pt x="9049" y="11876"/>
                          <a:pt x="13573" y="9614"/>
                        </a:cubicBezTo>
                        <a:cubicBezTo>
                          <a:pt x="11311" y="9614"/>
                          <a:pt x="11311" y="9614"/>
                          <a:pt x="9049" y="9614"/>
                        </a:cubicBezTo>
                        <a:cubicBezTo>
                          <a:pt x="6786" y="11876"/>
                          <a:pt x="6786" y="11876"/>
                          <a:pt x="6786" y="11876"/>
                        </a:cubicBezTo>
                        <a:cubicBezTo>
                          <a:pt x="4524" y="11876"/>
                          <a:pt x="2262" y="9614"/>
                          <a:pt x="0" y="9614"/>
                        </a:cubicBezTo>
                        <a:cubicBezTo>
                          <a:pt x="2262" y="7352"/>
                          <a:pt x="4524" y="9614"/>
                          <a:pt x="6786" y="7352"/>
                        </a:cubicBezTo>
                        <a:cubicBezTo>
                          <a:pt x="9049" y="7352"/>
                          <a:pt x="11311" y="5089"/>
                          <a:pt x="13573" y="5089"/>
                        </a:cubicBezTo>
                        <a:cubicBezTo>
                          <a:pt x="15835" y="5089"/>
                          <a:pt x="15835" y="5089"/>
                          <a:pt x="18097" y="5089"/>
                        </a:cubicBezTo>
                        <a:cubicBezTo>
                          <a:pt x="22622" y="5089"/>
                          <a:pt x="24884" y="5089"/>
                          <a:pt x="29408" y="2827"/>
                        </a:cubicBezTo>
                        <a:cubicBezTo>
                          <a:pt x="31671" y="565"/>
                          <a:pt x="33933" y="0"/>
                          <a:pt x="36195" y="0"/>
                        </a:cubicBezTo>
                        <a:close/>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39" name="Ghana">
                    <a:extLst>
                      <a:ext uri="{FF2B5EF4-FFF2-40B4-BE49-F238E27FC236}">
                        <a16:creationId xmlns:a16="http://schemas.microsoft.com/office/drawing/2014/main" id="{60B77267-53EF-5A5D-970A-526BF8474C70}"/>
                      </a:ext>
                    </a:extLst>
                  </p:cNvPr>
                  <p:cNvSpPr>
                    <a:spLocks/>
                  </p:cNvSpPr>
                  <p:nvPr/>
                </p:nvSpPr>
                <p:spPr bwMode="auto">
                  <a:xfrm>
                    <a:off x="3721533" y="3066983"/>
                    <a:ext cx="99494" cy="160161"/>
                  </a:xfrm>
                  <a:custGeom>
                    <a:avLst/>
                    <a:gdLst/>
                    <a:ahLst/>
                    <a:cxnLst>
                      <a:cxn ang="0">
                        <a:pos x="1" y="53"/>
                      </a:cxn>
                      <a:cxn ang="0">
                        <a:pos x="2" y="45"/>
                      </a:cxn>
                      <a:cxn ang="0">
                        <a:pos x="3" y="39"/>
                      </a:cxn>
                      <a:cxn ang="0">
                        <a:pos x="7" y="33"/>
                      </a:cxn>
                      <a:cxn ang="0">
                        <a:pos x="7" y="25"/>
                      </a:cxn>
                      <a:cxn ang="0">
                        <a:pos x="6" y="23"/>
                      </a:cxn>
                      <a:cxn ang="0">
                        <a:pos x="6" y="20"/>
                      </a:cxn>
                      <a:cxn ang="0">
                        <a:pos x="5" y="15"/>
                      </a:cxn>
                      <a:cxn ang="0">
                        <a:pos x="5" y="8"/>
                      </a:cxn>
                      <a:cxn ang="0">
                        <a:pos x="4" y="5"/>
                      </a:cxn>
                      <a:cxn ang="0">
                        <a:pos x="5" y="2"/>
                      </a:cxn>
                      <a:cxn ang="0">
                        <a:pos x="20" y="2"/>
                      </a:cxn>
                      <a:cxn ang="0">
                        <a:pos x="25" y="2"/>
                      </a:cxn>
                      <a:cxn ang="0">
                        <a:pos x="28" y="1"/>
                      </a:cxn>
                      <a:cxn ang="0">
                        <a:pos x="32" y="2"/>
                      </a:cxn>
                      <a:cxn ang="0">
                        <a:pos x="34" y="8"/>
                      </a:cxn>
                      <a:cxn ang="0">
                        <a:pos x="35" y="11"/>
                      </a:cxn>
                      <a:cxn ang="0">
                        <a:pos x="35" y="13"/>
                      </a:cxn>
                      <a:cxn ang="0">
                        <a:pos x="35" y="17"/>
                      </a:cxn>
                      <a:cxn ang="0">
                        <a:pos x="33" y="19"/>
                      </a:cxn>
                      <a:cxn ang="0">
                        <a:pos x="36" y="18"/>
                      </a:cxn>
                      <a:cxn ang="0">
                        <a:pos x="36" y="21"/>
                      </a:cxn>
                      <a:cxn ang="0">
                        <a:pos x="35" y="26"/>
                      </a:cxn>
                      <a:cxn ang="0">
                        <a:pos x="38" y="29"/>
                      </a:cxn>
                      <a:cxn ang="0">
                        <a:pos x="37" y="32"/>
                      </a:cxn>
                      <a:cxn ang="0">
                        <a:pos x="37" y="37"/>
                      </a:cxn>
                      <a:cxn ang="0">
                        <a:pos x="37" y="41"/>
                      </a:cxn>
                      <a:cxn ang="0">
                        <a:pos x="37" y="45"/>
                      </a:cxn>
                      <a:cxn ang="0">
                        <a:pos x="37" y="49"/>
                      </a:cxn>
                      <a:cxn ang="0">
                        <a:pos x="40" y="52"/>
                      </a:cxn>
                      <a:cxn ang="0">
                        <a:pos x="42" y="54"/>
                      </a:cxn>
                      <a:cxn ang="0">
                        <a:pos x="41" y="56"/>
                      </a:cxn>
                      <a:cxn ang="0">
                        <a:pos x="38" y="58"/>
                      </a:cxn>
                      <a:cxn ang="0">
                        <a:pos x="37" y="56"/>
                      </a:cxn>
                      <a:cxn ang="0">
                        <a:pos x="33" y="55"/>
                      </a:cxn>
                      <a:cxn ang="0">
                        <a:pos x="37" y="56"/>
                      </a:cxn>
                      <a:cxn ang="0">
                        <a:pos x="35" y="58"/>
                      </a:cxn>
                      <a:cxn ang="0">
                        <a:pos x="25" y="63"/>
                      </a:cxn>
                      <a:cxn ang="0">
                        <a:pos x="19" y="65"/>
                      </a:cxn>
                      <a:cxn ang="0">
                        <a:pos x="16" y="67"/>
                      </a:cxn>
                      <a:cxn ang="0">
                        <a:pos x="13" y="69"/>
                      </a:cxn>
                      <a:cxn ang="0">
                        <a:pos x="10" y="68"/>
                      </a:cxn>
                      <a:cxn ang="0">
                        <a:pos x="7" y="67"/>
                      </a:cxn>
                      <a:cxn ang="0">
                        <a:pos x="4" y="65"/>
                      </a:cxn>
                      <a:cxn ang="0">
                        <a:pos x="5" y="65"/>
                      </a:cxn>
                      <a:cxn ang="0">
                        <a:pos x="3" y="60"/>
                      </a:cxn>
                      <a:cxn ang="0">
                        <a:pos x="1" y="53"/>
                      </a:cxn>
                    </a:cxnLst>
                    <a:rect l="0" t="0" r="r" b="b"/>
                    <a:pathLst>
                      <a:path w="43" h="69">
                        <a:moveTo>
                          <a:pt x="1" y="53"/>
                        </a:moveTo>
                        <a:cubicBezTo>
                          <a:pt x="1" y="50"/>
                          <a:pt x="0" y="47"/>
                          <a:pt x="2" y="45"/>
                        </a:cubicBezTo>
                        <a:cubicBezTo>
                          <a:pt x="3" y="42"/>
                          <a:pt x="2" y="41"/>
                          <a:pt x="3" y="39"/>
                        </a:cubicBezTo>
                        <a:cubicBezTo>
                          <a:pt x="4" y="37"/>
                          <a:pt x="6" y="34"/>
                          <a:pt x="7" y="33"/>
                        </a:cubicBezTo>
                        <a:cubicBezTo>
                          <a:pt x="8" y="31"/>
                          <a:pt x="7" y="27"/>
                          <a:pt x="7" y="25"/>
                        </a:cubicBezTo>
                        <a:cubicBezTo>
                          <a:pt x="6" y="24"/>
                          <a:pt x="6" y="24"/>
                          <a:pt x="6" y="23"/>
                        </a:cubicBezTo>
                        <a:cubicBezTo>
                          <a:pt x="5" y="22"/>
                          <a:pt x="6" y="21"/>
                          <a:pt x="6" y="20"/>
                        </a:cubicBezTo>
                        <a:cubicBezTo>
                          <a:pt x="6" y="18"/>
                          <a:pt x="5" y="17"/>
                          <a:pt x="5" y="15"/>
                        </a:cubicBezTo>
                        <a:cubicBezTo>
                          <a:pt x="6" y="12"/>
                          <a:pt x="5" y="10"/>
                          <a:pt x="5" y="8"/>
                        </a:cubicBezTo>
                        <a:cubicBezTo>
                          <a:pt x="4" y="7"/>
                          <a:pt x="3" y="6"/>
                          <a:pt x="4" y="5"/>
                        </a:cubicBezTo>
                        <a:cubicBezTo>
                          <a:pt x="4" y="4"/>
                          <a:pt x="5" y="3"/>
                          <a:pt x="5" y="2"/>
                        </a:cubicBezTo>
                        <a:cubicBezTo>
                          <a:pt x="10" y="2"/>
                          <a:pt x="15" y="2"/>
                          <a:pt x="20" y="2"/>
                        </a:cubicBezTo>
                        <a:cubicBezTo>
                          <a:pt x="21" y="2"/>
                          <a:pt x="25" y="2"/>
                          <a:pt x="25" y="2"/>
                        </a:cubicBezTo>
                        <a:cubicBezTo>
                          <a:pt x="26" y="4"/>
                          <a:pt x="27" y="2"/>
                          <a:pt x="28" y="1"/>
                        </a:cubicBezTo>
                        <a:cubicBezTo>
                          <a:pt x="30" y="0"/>
                          <a:pt x="32" y="1"/>
                          <a:pt x="32" y="2"/>
                        </a:cubicBezTo>
                        <a:cubicBezTo>
                          <a:pt x="31" y="4"/>
                          <a:pt x="31" y="6"/>
                          <a:pt x="34" y="8"/>
                        </a:cubicBezTo>
                        <a:cubicBezTo>
                          <a:pt x="36" y="10"/>
                          <a:pt x="35" y="9"/>
                          <a:pt x="35" y="11"/>
                        </a:cubicBezTo>
                        <a:cubicBezTo>
                          <a:pt x="35" y="12"/>
                          <a:pt x="35" y="12"/>
                          <a:pt x="35" y="13"/>
                        </a:cubicBezTo>
                        <a:cubicBezTo>
                          <a:pt x="35" y="14"/>
                          <a:pt x="35" y="16"/>
                          <a:pt x="35" y="17"/>
                        </a:cubicBezTo>
                        <a:cubicBezTo>
                          <a:pt x="33" y="17"/>
                          <a:pt x="34" y="18"/>
                          <a:pt x="33" y="19"/>
                        </a:cubicBezTo>
                        <a:cubicBezTo>
                          <a:pt x="34" y="19"/>
                          <a:pt x="35" y="18"/>
                          <a:pt x="36" y="18"/>
                        </a:cubicBezTo>
                        <a:cubicBezTo>
                          <a:pt x="37" y="18"/>
                          <a:pt x="37" y="20"/>
                          <a:pt x="36" y="21"/>
                        </a:cubicBezTo>
                        <a:cubicBezTo>
                          <a:pt x="36" y="22"/>
                          <a:pt x="37" y="26"/>
                          <a:pt x="35" y="26"/>
                        </a:cubicBezTo>
                        <a:cubicBezTo>
                          <a:pt x="35" y="27"/>
                          <a:pt x="37" y="28"/>
                          <a:pt x="38" y="29"/>
                        </a:cubicBezTo>
                        <a:cubicBezTo>
                          <a:pt x="39" y="31"/>
                          <a:pt x="38" y="31"/>
                          <a:pt x="37" y="32"/>
                        </a:cubicBezTo>
                        <a:cubicBezTo>
                          <a:pt x="37" y="34"/>
                          <a:pt x="38" y="36"/>
                          <a:pt x="37" y="37"/>
                        </a:cubicBezTo>
                        <a:cubicBezTo>
                          <a:pt x="36" y="39"/>
                          <a:pt x="36" y="40"/>
                          <a:pt x="37" y="41"/>
                        </a:cubicBezTo>
                        <a:cubicBezTo>
                          <a:pt x="38" y="42"/>
                          <a:pt x="37" y="44"/>
                          <a:pt x="37" y="45"/>
                        </a:cubicBezTo>
                        <a:cubicBezTo>
                          <a:pt x="36" y="46"/>
                          <a:pt x="36" y="47"/>
                          <a:pt x="37" y="49"/>
                        </a:cubicBezTo>
                        <a:cubicBezTo>
                          <a:pt x="38" y="50"/>
                          <a:pt x="39" y="52"/>
                          <a:pt x="40" y="52"/>
                        </a:cubicBezTo>
                        <a:cubicBezTo>
                          <a:pt x="42" y="54"/>
                          <a:pt x="42" y="54"/>
                          <a:pt x="42" y="54"/>
                        </a:cubicBezTo>
                        <a:cubicBezTo>
                          <a:pt x="43" y="55"/>
                          <a:pt x="41" y="55"/>
                          <a:pt x="41" y="56"/>
                        </a:cubicBezTo>
                        <a:cubicBezTo>
                          <a:pt x="40" y="57"/>
                          <a:pt x="40" y="58"/>
                          <a:pt x="38" y="58"/>
                        </a:cubicBezTo>
                        <a:cubicBezTo>
                          <a:pt x="37" y="58"/>
                          <a:pt x="37" y="56"/>
                          <a:pt x="37" y="56"/>
                        </a:cubicBezTo>
                        <a:cubicBezTo>
                          <a:pt x="36" y="55"/>
                          <a:pt x="34" y="55"/>
                          <a:pt x="33" y="55"/>
                        </a:cubicBezTo>
                        <a:cubicBezTo>
                          <a:pt x="34" y="55"/>
                          <a:pt x="36" y="55"/>
                          <a:pt x="37" y="56"/>
                        </a:cubicBezTo>
                        <a:cubicBezTo>
                          <a:pt x="39" y="57"/>
                          <a:pt x="36" y="58"/>
                          <a:pt x="35" y="58"/>
                        </a:cubicBezTo>
                        <a:cubicBezTo>
                          <a:pt x="31" y="59"/>
                          <a:pt x="28" y="61"/>
                          <a:pt x="25" y="63"/>
                        </a:cubicBezTo>
                        <a:cubicBezTo>
                          <a:pt x="23" y="64"/>
                          <a:pt x="21" y="64"/>
                          <a:pt x="19" y="65"/>
                        </a:cubicBezTo>
                        <a:cubicBezTo>
                          <a:pt x="18" y="66"/>
                          <a:pt x="17" y="66"/>
                          <a:pt x="16" y="67"/>
                        </a:cubicBezTo>
                        <a:cubicBezTo>
                          <a:pt x="15" y="67"/>
                          <a:pt x="14" y="68"/>
                          <a:pt x="13" y="69"/>
                        </a:cubicBezTo>
                        <a:cubicBezTo>
                          <a:pt x="12" y="69"/>
                          <a:pt x="11" y="69"/>
                          <a:pt x="10" y="68"/>
                        </a:cubicBezTo>
                        <a:cubicBezTo>
                          <a:pt x="9" y="67"/>
                          <a:pt x="8" y="67"/>
                          <a:pt x="7" y="67"/>
                        </a:cubicBezTo>
                        <a:cubicBezTo>
                          <a:pt x="6" y="66"/>
                          <a:pt x="4" y="67"/>
                          <a:pt x="4" y="65"/>
                        </a:cubicBezTo>
                        <a:cubicBezTo>
                          <a:pt x="5" y="65"/>
                          <a:pt x="4" y="65"/>
                          <a:pt x="5" y="65"/>
                        </a:cubicBezTo>
                        <a:cubicBezTo>
                          <a:pt x="5" y="64"/>
                          <a:pt x="6" y="59"/>
                          <a:pt x="3" y="60"/>
                        </a:cubicBezTo>
                        <a:cubicBezTo>
                          <a:pt x="4" y="58"/>
                          <a:pt x="2" y="54"/>
                          <a:pt x="1" y="53"/>
                        </a:cubicBezTo>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40" name="Gabon">
                    <a:extLst>
                      <a:ext uri="{FF2B5EF4-FFF2-40B4-BE49-F238E27FC236}">
                        <a16:creationId xmlns:a16="http://schemas.microsoft.com/office/drawing/2014/main" id="{14950B43-147A-9831-3F6B-3F6D021B9755}"/>
                      </a:ext>
                    </a:extLst>
                  </p:cNvPr>
                  <p:cNvSpPr>
                    <a:spLocks/>
                  </p:cNvSpPr>
                  <p:nvPr/>
                </p:nvSpPr>
                <p:spPr bwMode="auto">
                  <a:xfrm>
                    <a:off x="3986041" y="3285385"/>
                    <a:ext cx="129827" cy="157734"/>
                  </a:xfrm>
                  <a:custGeom>
                    <a:avLst/>
                    <a:gdLst/>
                    <a:ahLst/>
                    <a:cxnLst>
                      <a:cxn ang="0">
                        <a:pos x="0" y="33"/>
                      </a:cxn>
                      <a:cxn ang="0">
                        <a:pos x="2" y="35"/>
                      </a:cxn>
                      <a:cxn ang="0">
                        <a:pos x="6" y="23"/>
                      </a:cxn>
                      <a:cxn ang="0">
                        <a:pos x="10" y="25"/>
                      </a:cxn>
                      <a:cxn ang="0">
                        <a:pos x="7" y="21"/>
                      </a:cxn>
                      <a:cxn ang="0">
                        <a:pos x="8" y="20"/>
                      </a:cxn>
                      <a:cxn ang="0">
                        <a:pos x="10" y="15"/>
                      </a:cxn>
                      <a:cxn ang="0">
                        <a:pos x="24" y="15"/>
                      </a:cxn>
                      <a:cxn ang="0">
                        <a:pos x="28" y="1"/>
                      </a:cxn>
                      <a:cxn ang="0">
                        <a:pos x="39" y="2"/>
                      </a:cxn>
                      <a:cxn ang="0">
                        <a:pos x="42" y="13"/>
                      </a:cxn>
                      <a:cxn ang="0">
                        <a:pos x="53" y="14"/>
                      </a:cxn>
                      <a:cxn ang="0">
                        <a:pos x="49" y="26"/>
                      </a:cxn>
                      <a:cxn ang="0">
                        <a:pos x="51" y="30"/>
                      </a:cxn>
                      <a:cxn ang="0">
                        <a:pos x="54" y="37"/>
                      </a:cxn>
                      <a:cxn ang="0">
                        <a:pos x="52" y="47"/>
                      </a:cxn>
                      <a:cxn ang="0">
                        <a:pos x="49" y="53"/>
                      </a:cxn>
                      <a:cxn ang="0">
                        <a:pos x="44" y="52"/>
                      </a:cxn>
                      <a:cxn ang="0">
                        <a:pos x="35" y="48"/>
                      </a:cxn>
                      <a:cxn ang="0">
                        <a:pos x="30" y="51"/>
                      </a:cxn>
                      <a:cxn ang="0">
                        <a:pos x="26" y="56"/>
                      </a:cxn>
                      <a:cxn ang="0">
                        <a:pos x="28" y="60"/>
                      </a:cxn>
                      <a:cxn ang="0">
                        <a:pos x="30" y="64"/>
                      </a:cxn>
                      <a:cxn ang="0">
                        <a:pos x="26" y="64"/>
                      </a:cxn>
                      <a:cxn ang="0">
                        <a:pos x="17" y="61"/>
                      </a:cxn>
                      <a:cxn ang="0">
                        <a:pos x="13" y="53"/>
                      </a:cxn>
                      <a:cxn ang="0">
                        <a:pos x="5" y="46"/>
                      </a:cxn>
                      <a:cxn ang="0">
                        <a:pos x="5" y="46"/>
                      </a:cxn>
                      <a:cxn ang="0">
                        <a:pos x="2" y="40"/>
                      </a:cxn>
                      <a:cxn ang="0">
                        <a:pos x="8" y="43"/>
                      </a:cxn>
                      <a:cxn ang="0">
                        <a:pos x="5" y="43"/>
                      </a:cxn>
                      <a:cxn ang="0">
                        <a:pos x="1" y="35"/>
                      </a:cxn>
                    </a:cxnLst>
                    <a:rect l="0" t="0" r="r" b="b"/>
                    <a:pathLst>
                      <a:path w="56" h="68">
                        <a:moveTo>
                          <a:pt x="1" y="35"/>
                        </a:moveTo>
                        <a:cubicBezTo>
                          <a:pt x="0" y="35"/>
                          <a:pt x="0" y="34"/>
                          <a:pt x="0" y="33"/>
                        </a:cubicBezTo>
                        <a:cubicBezTo>
                          <a:pt x="0" y="33"/>
                          <a:pt x="0" y="34"/>
                          <a:pt x="1" y="35"/>
                        </a:cubicBezTo>
                        <a:cubicBezTo>
                          <a:pt x="1" y="33"/>
                          <a:pt x="2" y="34"/>
                          <a:pt x="2" y="35"/>
                        </a:cubicBezTo>
                        <a:cubicBezTo>
                          <a:pt x="3" y="33"/>
                          <a:pt x="5" y="32"/>
                          <a:pt x="5" y="29"/>
                        </a:cubicBezTo>
                        <a:cubicBezTo>
                          <a:pt x="6" y="27"/>
                          <a:pt x="4" y="24"/>
                          <a:pt x="6" y="23"/>
                        </a:cubicBezTo>
                        <a:cubicBezTo>
                          <a:pt x="6" y="24"/>
                          <a:pt x="7" y="24"/>
                          <a:pt x="7" y="25"/>
                        </a:cubicBezTo>
                        <a:cubicBezTo>
                          <a:pt x="7" y="24"/>
                          <a:pt x="9" y="24"/>
                          <a:pt x="10" y="25"/>
                        </a:cubicBezTo>
                        <a:cubicBezTo>
                          <a:pt x="10" y="24"/>
                          <a:pt x="11" y="24"/>
                          <a:pt x="12" y="24"/>
                        </a:cubicBezTo>
                        <a:cubicBezTo>
                          <a:pt x="10" y="24"/>
                          <a:pt x="8" y="23"/>
                          <a:pt x="7" y="21"/>
                        </a:cubicBezTo>
                        <a:cubicBezTo>
                          <a:pt x="6" y="21"/>
                          <a:pt x="4" y="20"/>
                          <a:pt x="6" y="19"/>
                        </a:cubicBezTo>
                        <a:cubicBezTo>
                          <a:pt x="7" y="19"/>
                          <a:pt x="8" y="20"/>
                          <a:pt x="8" y="20"/>
                        </a:cubicBezTo>
                        <a:cubicBezTo>
                          <a:pt x="9" y="19"/>
                          <a:pt x="8" y="17"/>
                          <a:pt x="8" y="15"/>
                        </a:cubicBezTo>
                        <a:cubicBezTo>
                          <a:pt x="8" y="15"/>
                          <a:pt x="9" y="15"/>
                          <a:pt x="10" y="15"/>
                        </a:cubicBezTo>
                        <a:cubicBezTo>
                          <a:pt x="11" y="16"/>
                          <a:pt x="12" y="15"/>
                          <a:pt x="13" y="15"/>
                        </a:cubicBezTo>
                        <a:cubicBezTo>
                          <a:pt x="24" y="15"/>
                          <a:pt x="24" y="15"/>
                          <a:pt x="24" y="15"/>
                        </a:cubicBezTo>
                        <a:cubicBezTo>
                          <a:pt x="24" y="3"/>
                          <a:pt x="24" y="3"/>
                          <a:pt x="24" y="3"/>
                        </a:cubicBezTo>
                        <a:cubicBezTo>
                          <a:pt x="25" y="0"/>
                          <a:pt x="26" y="1"/>
                          <a:pt x="28" y="1"/>
                        </a:cubicBezTo>
                        <a:cubicBezTo>
                          <a:pt x="30" y="1"/>
                          <a:pt x="32" y="1"/>
                          <a:pt x="34" y="1"/>
                        </a:cubicBezTo>
                        <a:cubicBezTo>
                          <a:pt x="36" y="1"/>
                          <a:pt x="38" y="2"/>
                          <a:pt x="39" y="2"/>
                        </a:cubicBezTo>
                        <a:cubicBezTo>
                          <a:pt x="42" y="2"/>
                          <a:pt x="44" y="0"/>
                          <a:pt x="42" y="5"/>
                        </a:cubicBezTo>
                        <a:cubicBezTo>
                          <a:pt x="41" y="8"/>
                          <a:pt x="43" y="10"/>
                          <a:pt x="42" y="13"/>
                        </a:cubicBezTo>
                        <a:cubicBezTo>
                          <a:pt x="44" y="13"/>
                          <a:pt x="46" y="11"/>
                          <a:pt x="48" y="11"/>
                        </a:cubicBezTo>
                        <a:cubicBezTo>
                          <a:pt x="52" y="10"/>
                          <a:pt x="52" y="12"/>
                          <a:pt x="53" y="14"/>
                        </a:cubicBezTo>
                        <a:cubicBezTo>
                          <a:pt x="54" y="16"/>
                          <a:pt x="55" y="19"/>
                          <a:pt x="51" y="20"/>
                        </a:cubicBezTo>
                        <a:cubicBezTo>
                          <a:pt x="49" y="20"/>
                          <a:pt x="49" y="24"/>
                          <a:pt x="49" y="26"/>
                        </a:cubicBezTo>
                        <a:cubicBezTo>
                          <a:pt x="49" y="26"/>
                          <a:pt x="48" y="28"/>
                          <a:pt x="49" y="29"/>
                        </a:cubicBezTo>
                        <a:cubicBezTo>
                          <a:pt x="50" y="29"/>
                          <a:pt x="51" y="29"/>
                          <a:pt x="51" y="30"/>
                        </a:cubicBezTo>
                        <a:cubicBezTo>
                          <a:pt x="51" y="31"/>
                          <a:pt x="53" y="31"/>
                          <a:pt x="54" y="32"/>
                        </a:cubicBezTo>
                        <a:cubicBezTo>
                          <a:pt x="56" y="33"/>
                          <a:pt x="54" y="35"/>
                          <a:pt x="54" y="37"/>
                        </a:cubicBezTo>
                        <a:cubicBezTo>
                          <a:pt x="54" y="39"/>
                          <a:pt x="55" y="42"/>
                          <a:pt x="53" y="43"/>
                        </a:cubicBezTo>
                        <a:cubicBezTo>
                          <a:pt x="55" y="44"/>
                          <a:pt x="54" y="46"/>
                          <a:pt x="52" y="47"/>
                        </a:cubicBezTo>
                        <a:cubicBezTo>
                          <a:pt x="52" y="50"/>
                          <a:pt x="52" y="50"/>
                          <a:pt x="52" y="50"/>
                        </a:cubicBezTo>
                        <a:cubicBezTo>
                          <a:pt x="53" y="51"/>
                          <a:pt x="50" y="53"/>
                          <a:pt x="49" y="53"/>
                        </a:cubicBezTo>
                        <a:cubicBezTo>
                          <a:pt x="48" y="53"/>
                          <a:pt x="48" y="49"/>
                          <a:pt x="47" y="48"/>
                        </a:cubicBezTo>
                        <a:cubicBezTo>
                          <a:pt x="47" y="50"/>
                          <a:pt x="46" y="52"/>
                          <a:pt x="44" y="52"/>
                        </a:cubicBezTo>
                        <a:cubicBezTo>
                          <a:pt x="43" y="52"/>
                          <a:pt x="42" y="51"/>
                          <a:pt x="40" y="51"/>
                        </a:cubicBezTo>
                        <a:cubicBezTo>
                          <a:pt x="41" y="48"/>
                          <a:pt x="34" y="42"/>
                          <a:pt x="35" y="48"/>
                        </a:cubicBezTo>
                        <a:cubicBezTo>
                          <a:pt x="36" y="52"/>
                          <a:pt x="35" y="52"/>
                          <a:pt x="31" y="52"/>
                        </a:cubicBezTo>
                        <a:cubicBezTo>
                          <a:pt x="30" y="52"/>
                          <a:pt x="31" y="51"/>
                          <a:pt x="30" y="51"/>
                        </a:cubicBezTo>
                        <a:cubicBezTo>
                          <a:pt x="28" y="51"/>
                          <a:pt x="28" y="51"/>
                          <a:pt x="27" y="51"/>
                        </a:cubicBezTo>
                        <a:cubicBezTo>
                          <a:pt x="27" y="53"/>
                          <a:pt x="28" y="55"/>
                          <a:pt x="26" y="56"/>
                        </a:cubicBezTo>
                        <a:cubicBezTo>
                          <a:pt x="28" y="56"/>
                          <a:pt x="29" y="56"/>
                          <a:pt x="28" y="58"/>
                        </a:cubicBezTo>
                        <a:cubicBezTo>
                          <a:pt x="28" y="59"/>
                          <a:pt x="28" y="60"/>
                          <a:pt x="28" y="60"/>
                        </a:cubicBezTo>
                        <a:cubicBezTo>
                          <a:pt x="29" y="61"/>
                          <a:pt x="30" y="61"/>
                          <a:pt x="30" y="61"/>
                        </a:cubicBezTo>
                        <a:cubicBezTo>
                          <a:pt x="31" y="63"/>
                          <a:pt x="30" y="63"/>
                          <a:pt x="30" y="64"/>
                        </a:cubicBezTo>
                        <a:cubicBezTo>
                          <a:pt x="30" y="65"/>
                          <a:pt x="30" y="66"/>
                          <a:pt x="29" y="66"/>
                        </a:cubicBezTo>
                        <a:cubicBezTo>
                          <a:pt x="27" y="66"/>
                          <a:pt x="27" y="65"/>
                          <a:pt x="26" y="64"/>
                        </a:cubicBezTo>
                        <a:cubicBezTo>
                          <a:pt x="25" y="63"/>
                          <a:pt x="23" y="67"/>
                          <a:pt x="23" y="68"/>
                        </a:cubicBezTo>
                        <a:cubicBezTo>
                          <a:pt x="20" y="67"/>
                          <a:pt x="19" y="63"/>
                          <a:pt x="17" y="61"/>
                        </a:cubicBezTo>
                        <a:cubicBezTo>
                          <a:pt x="15" y="58"/>
                          <a:pt x="12" y="55"/>
                          <a:pt x="9" y="53"/>
                        </a:cubicBezTo>
                        <a:cubicBezTo>
                          <a:pt x="11" y="52"/>
                          <a:pt x="11" y="55"/>
                          <a:pt x="13" y="53"/>
                        </a:cubicBezTo>
                        <a:cubicBezTo>
                          <a:pt x="12" y="54"/>
                          <a:pt x="10" y="52"/>
                          <a:pt x="9" y="52"/>
                        </a:cubicBezTo>
                        <a:cubicBezTo>
                          <a:pt x="7" y="52"/>
                          <a:pt x="6" y="48"/>
                          <a:pt x="5" y="46"/>
                        </a:cubicBezTo>
                        <a:cubicBezTo>
                          <a:pt x="6" y="46"/>
                          <a:pt x="7" y="47"/>
                          <a:pt x="8" y="48"/>
                        </a:cubicBezTo>
                        <a:cubicBezTo>
                          <a:pt x="7" y="46"/>
                          <a:pt x="6" y="47"/>
                          <a:pt x="5" y="46"/>
                        </a:cubicBezTo>
                        <a:cubicBezTo>
                          <a:pt x="4" y="45"/>
                          <a:pt x="5" y="44"/>
                          <a:pt x="5" y="44"/>
                        </a:cubicBezTo>
                        <a:cubicBezTo>
                          <a:pt x="4" y="42"/>
                          <a:pt x="3" y="41"/>
                          <a:pt x="2" y="40"/>
                        </a:cubicBezTo>
                        <a:cubicBezTo>
                          <a:pt x="3" y="41"/>
                          <a:pt x="5" y="42"/>
                          <a:pt x="5" y="44"/>
                        </a:cubicBezTo>
                        <a:cubicBezTo>
                          <a:pt x="6" y="43"/>
                          <a:pt x="7" y="43"/>
                          <a:pt x="8" y="43"/>
                        </a:cubicBezTo>
                        <a:cubicBezTo>
                          <a:pt x="7" y="43"/>
                          <a:pt x="7" y="42"/>
                          <a:pt x="6" y="42"/>
                        </a:cubicBezTo>
                        <a:cubicBezTo>
                          <a:pt x="6" y="43"/>
                          <a:pt x="6" y="43"/>
                          <a:pt x="5" y="43"/>
                        </a:cubicBezTo>
                        <a:cubicBezTo>
                          <a:pt x="5" y="42"/>
                          <a:pt x="6" y="41"/>
                          <a:pt x="5" y="40"/>
                        </a:cubicBezTo>
                        <a:cubicBezTo>
                          <a:pt x="4" y="44"/>
                          <a:pt x="1" y="36"/>
                          <a:pt x="1" y="35"/>
                        </a:cubicBezTo>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41" name="The Gambia">
                    <a:extLst>
                      <a:ext uri="{FF2B5EF4-FFF2-40B4-BE49-F238E27FC236}">
                        <a16:creationId xmlns:a16="http://schemas.microsoft.com/office/drawing/2014/main" id="{85A562C0-19CC-B611-5046-C5F319B77558}"/>
                      </a:ext>
                    </a:extLst>
                  </p:cNvPr>
                  <p:cNvSpPr>
                    <a:spLocks/>
                  </p:cNvSpPr>
                  <p:nvPr/>
                </p:nvSpPr>
                <p:spPr bwMode="auto">
                  <a:xfrm>
                    <a:off x="3427916" y="3002676"/>
                    <a:ext cx="66329" cy="17795"/>
                  </a:xfrm>
                  <a:custGeom>
                    <a:avLst/>
                    <a:gdLst>
                      <a:gd name="T0" fmla="*/ 1614 w 1681"/>
                      <a:gd name="T1" fmla="*/ 159 h 462"/>
                      <a:gd name="T2" fmla="*/ 1519 w 1681"/>
                      <a:gd name="T3" fmla="*/ 162 h 462"/>
                      <a:gd name="T4" fmla="*/ 1399 w 1681"/>
                      <a:gd name="T5" fmla="*/ 199 h 462"/>
                      <a:gd name="T6" fmla="*/ 1327 w 1681"/>
                      <a:gd name="T7" fmla="*/ 173 h 462"/>
                      <a:gd name="T8" fmla="*/ 1308 w 1681"/>
                      <a:gd name="T9" fmla="*/ 130 h 462"/>
                      <a:gd name="T10" fmla="*/ 1252 w 1681"/>
                      <a:gd name="T11" fmla="*/ 77 h 462"/>
                      <a:gd name="T12" fmla="*/ 1208 w 1681"/>
                      <a:gd name="T13" fmla="*/ 116 h 462"/>
                      <a:gd name="T14" fmla="*/ 1169 w 1681"/>
                      <a:gd name="T15" fmla="*/ 77 h 462"/>
                      <a:gd name="T16" fmla="*/ 1135 w 1681"/>
                      <a:gd name="T17" fmla="*/ 41 h 462"/>
                      <a:gd name="T18" fmla="*/ 1027 w 1681"/>
                      <a:gd name="T19" fmla="*/ 0 h 462"/>
                      <a:gd name="T20" fmla="*/ 968 w 1681"/>
                      <a:gd name="T21" fmla="*/ 0 h 462"/>
                      <a:gd name="T22" fmla="*/ 886 w 1681"/>
                      <a:gd name="T23" fmla="*/ 2 h 462"/>
                      <a:gd name="T24" fmla="*/ 808 w 1681"/>
                      <a:gd name="T25" fmla="*/ 2 h 462"/>
                      <a:gd name="T26" fmla="*/ 785 w 1681"/>
                      <a:gd name="T27" fmla="*/ 29 h 462"/>
                      <a:gd name="T28" fmla="*/ 703 w 1681"/>
                      <a:gd name="T29" fmla="*/ 116 h 462"/>
                      <a:gd name="T30" fmla="*/ 232 w 1681"/>
                      <a:gd name="T31" fmla="*/ 116 h 462"/>
                      <a:gd name="T32" fmla="*/ 131 w 1681"/>
                      <a:gd name="T33" fmla="*/ 139 h 462"/>
                      <a:gd name="T34" fmla="*/ 157 w 1681"/>
                      <a:gd name="T35" fmla="*/ 194 h 462"/>
                      <a:gd name="T36" fmla="*/ 214 w 1681"/>
                      <a:gd name="T37" fmla="*/ 259 h 462"/>
                      <a:gd name="T38" fmla="*/ 294 w 1681"/>
                      <a:gd name="T39" fmla="*/ 253 h 462"/>
                      <a:gd name="T40" fmla="*/ 413 w 1681"/>
                      <a:gd name="T41" fmla="*/ 201 h 462"/>
                      <a:gd name="T42" fmla="*/ 652 w 1681"/>
                      <a:gd name="T43" fmla="*/ 186 h 462"/>
                      <a:gd name="T44" fmla="*/ 589 w 1681"/>
                      <a:gd name="T45" fmla="*/ 186 h 462"/>
                      <a:gd name="T46" fmla="*/ 421 w 1681"/>
                      <a:gd name="T47" fmla="*/ 212 h 462"/>
                      <a:gd name="T48" fmla="*/ 360 w 1681"/>
                      <a:gd name="T49" fmla="*/ 261 h 462"/>
                      <a:gd name="T50" fmla="*/ 350 w 1681"/>
                      <a:gd name="T51" fmla="*/ 289 h 462"/>
                      <a:gd name="T52" fmla="*/ 263 w 1681"/>
                      <a:gd name="T53" fmla="*/ 289 h 462"/>
                      <a:gd name="T54" fmla="*/ 164 w 1681"/>
                      <a:gd name="T55" fmla="*/ 328 h 462"/>
                      <a:gd name="T56" fmla="*/ 121 w 1681"/>
                      <a:gd name="T57" fmla="*/ 243 h 462"/>
                      <a:gd name="T58" fmla="*/ 87 w 1681"/>
                      <a:gd name="T59" fmla="*/ 203 h 462"/>
                      <a:gd name="T60" fmla="*/ 54 w 1681"/>
                      <a:gd name="T61" fmla="*/ 236 h 462"/>
                      <a:gd name="T62" fmla="*/ 8 w 1681"/>
                      <a:gd name="T63" fmla="*/ 313 h 462"/>
                      <a:gd name="T64" fmla="*/ 22 w 1681"/>
                      <a:gd name="T65" fmla="*/ 430 h 462"/>
                      <a:gd name="T66" fmla="*/ 196 w 1681"/>
                      <a:gd name="T67" fmla="*/ 370 h 462"/>
                      <a:gd name="T68" fmla="*/ 373 w 1681"/>
                      <a:gd name="T69" fmla="*/ 411 h 462"/>
                      <a:gd name="T70" fmla="*/ 484 w 1681"/>
                      <a:gd name="T71" fmla="*/ 403 h 462"/>
                      <a:gd name="T72" fmla="*/ 550 w 1681"/>
                      <a:gd name="T73" fmla="*/ 388 h 462"/>
                      <a:gd name="T74" fmla="*/ 556 w 1681"/>
                      <a:gd name="T75" fmla="*/ 330 h 462"/>
                      <a:gd name="T76" fmla="*/ 646 w 1681"/>
                      <a:gd name="T77" fmla="*/ 289 h 462"/>
                      <a:gd name="T78" fmla="*/ 708 w 1681"/>
                      <a:gd name="T79" fmla="*/ 279 h 462"/>
                      <a:gd name="T80" fmla="*/ 733 w 1681"/>
                      <a:gd name="T81" fmla="*/ 232 h 462"/>
                      <a:gd name="T82" fmla="*/ 724 w 1681"/>
                      <a:gd name="T83" fmla="*/ 278 h 462"/>
                      <a:gd name="T84" fmla="*/ 711 w 1681"/>
                      <a:gd name="T85" fmla="*/ 301 h 462"/>
                      <a:gd name="T86" fmla="*/ 734 w 1681"/>
                      <a:gd name="T87" fmla="*/ 299 h 462"/>
                      <a:gd name="T88" fmla="*/ 793 w 1681"/>
                      <a:gd name="T89" fmla="*/ 282 h 462"/>
                      <a:gd name="T90" fmla="*/ 788 w 1681"/>
                      <a:gd name="T91" fmla="*/ 297 h 462"/>
                      <a:gd name="T92" fmla="*/ 882 w 1681"/>
                      <a:gd name="T93" fmla="*/ 251 h 462"/>
                      <a:gd name="T94" fmla="*/ 885 w 1681"/>
                      <a:gd name="T95" fmla="*/ 236 h 462"/>
                      <a:gd name="T96" fmla="*/ 913 w 1681"/>
                      <a:gd name="T97" fmla="*/ 202 h 462"/>
                      <a:gd name="T98" fmla="*/ 945 w 1681"/>
                      <a:gd name="T99" fmla="*/ 173 h 462"/>
                      <a:gd name="T100" fmla="*/ 977 w 1681"/>
                      <a:gd name="T101" fmla="*/ 173 h 462"/>
                      <a:gd name="T102" fmla="*/ 1055 w 1681"/>
                      <a:gd name="T103" fmla="*/ 201 h 462"/>
                      <a:gd name="T104" fmla="*/ 1143 w 1681"/>
                      <a:gd name="T105" fmla="*/ 230 h 462"/>
                      <a:gd name="T106" fmla="*/ 1155 w 1681"/>
                      <a:gd name="T107" fmla="*/ 249 h 462"/>
                      <a:gd name="T108" fmla="*/ 1118 w 1681"/>
                      <a:gd name="T109" fmla="*/ 243 h 462"/>
                      <a:gd name="T110" fmla="*/ 1161 w 1681"/>
                      <a:gd name="T111" fmla="*/ 274 h 462"/>
                      <a:gd name="T112" fmla="*/ 1212 w 1681"/>
                      <a:gd name="T113" fmla="*/ 301 h 462"/>
                      <a:gd name="T114" fmla="*/ 1208 w 1681"/>
                      <a:gd name="T115" fmla="*/ 288 h 462"/>
                      <a:gd name="T116" fmla="*/ 1217 w 1681"/>
                      <a:gd name="T117" fmla="*/ 263 h 462"/>
                      <a:gd name="T118" fmla="*/ 1550 w 1681"/>
                      <a:gd name="T119" fmla="*/ 338 h 462"/>
                      <a:gd name="T120" fmla="*/ 1672 w 1681"/>
                      <a:gd name="T121" fmla="*/ 260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81" h="462">
                        <a:moveTo>
                          <a:pt x="1681" y="223"/>
                        </a:moveTo>
                        <a:lnTo>
                          <a:pt x="1680" y="220"/>
                        </a:lnTo>
                        <a:lnTo>
                          <a:pt x="1679" y="218"/>
                        </a:lnTo>
                        <a:lnTo>
                          <a:pt x="1678" y="215"/>
                        </a:lnTo>
                        <a:lnTo>
                          <a:pt x="1677" y="213"/>
                        </a:lnTo>
                        <a:lnTo>
                          <a:pt x="1676" y="210"/>
                        </a:lnTo>
                        <a:lnTo>
                          <a:pt x="1675" y="207"/>
                        </a:lnTo>
                        <a:lnTo>
                          <a:pt x="1673" y="205"/>
                        </a:lnTo>
                        <a:lnTo>
                          <a:pt x="1672" y="202"/>
                        </a:lnTo>
                        <a:lnTo>
                          <a:pt x="1671" y="200"/>
                        </a:lnTo>
                        <a:lnTo>
                          <a:pt x="1669" y="197"/>
                        </a:lnTo>
                        <a:lnTo>
                          <a:pt x="1667" y="195"/>
                        </a:lnTo>
                        <a:lnTo>
                          <a:pt x="1662" y="189"/>
                        </a:lnTo>
                        <a:lnTo>
                          <a:pt x="1657" y="185"/>
                        </a:lnTo>
                        <a:lnTo>
                          <a:pt x="1652" y="180"/>
                        </a:lnTo>
                        <a:lnTo>
                          <a:pt x="1647" y="176"/>
                        </a:lnTo>
                        <a:lnTo>
                          <a:pt x="1641" y="172"/>
                        </a:lnTo>
                        <a:lnTo>
                          <a:pt x="1635" y="168"/>
                        </a:lnTo>
                        <a:lnTo>
                          <a:pt x="1629" y="165"/>
                        </a:lnTo>
                        <a:lnTo>
                          <a:pt x="1622" y="162"/>
                        </a:lnTo>
                        <a:lnTo>
                          <a:pt x="1614" y="159"/>
                        </a:lnTo>
                        <a:lnTo>
                          <a:pt x="1608" y="156"/>
                        </a:lnTo>
                        <a:lnTo>
                          <a:pt x="1601" y="154"/>
                        </a:lnTo>
                        <a:lnTo>
                          <a:pt x="1594" y="153"/>
                        </a:lnTo>
                        <a:lnTo>
                          <a:pt x="1586" y="151"/>
                        </a:lnTo>
                        <a:lnTo>
                          <a:pt x="1579" y="150"/>
                        </a:lnTo>
                        <a:lnTo>
                          <a:pt x="1571" y="150"/>
                        </a:lnTo>
                        <a:lnTo>
                          <a:pt x="1568" y="150"/>
                        </a:lnTo>
                        <a:lnTo>
                          <a:pt x="1564" y="150"/>
                        </a:lnTo>
                        <a:lnTo>
                          <a:pt x="1561" y="150"/>
                        </a:lnTo>
                        <a:lnTo>
                          <a:pt x="1557" y="150"/>
                        </a:lnTo>
                        <a:lnTo>
                          <a:pt x="1553" y="150"/>
                        </a:lnTo>
                        <a:lnTo>
                          <a:pt x="1550" y="151"/>
                        </a:lnTo>
                        <a:lnTo>
                          <a:pt x="1546" y="152"/>
                        </a:lnTo>
                        <a:lnTo>
                          <a:pt x="1543" y="152"/>
                        </a:lnTo>
                        <a:lnTo>
                          <a:pt x="1539" y="153"/>
                        </a:lnTo>
                        <a:lnTo>
                          <a:pt x="1535" y="155"/>
                        </a:lnTo>
                        <a:lnTo>
                          <a:pt x="1532" y="155"/>
                        </a:lnTo>
                        <a:lnTo>
                          <a:pt x="1528" y="157"/>
                        </a:lnTo>
                        <a:lnTo>
                          <a:pt x="1525" y="158"/>
                        </a:lnTo>
                        <a:lnTo>
                          <a:pt x="1522" y="160"/>
                        </a:lnTo>
                        <a:lnTo>
                          <a:pt x="1519" y="162"/>
                        </a:lnTo>
                        <a:lnTo>
                          <a:pt x="1516" y="164"/>
                        </a:lnTo>
                        <a:lnTo>
                          <a:pt x="1513" y="166"/>
                        </a:lnTo>
                        <a:lnTo>
                          <a:pt x="1510" y="168"/>
                        </a:lnTo>
                        <a:lnTo>
                          <a:pt x="1507" y="170"/>
                        </a:lnTo>
                        <a:lnTo>
                          <a:pt x="1504" y="173"/>
                        </a:lnTo>
                        <a:lnTo>
                          <a:pt x="1499" y="173"/>
                        </a:lnTo>
                        <a:lnTo>
                          <a:pt x="1493" y="174"/>
                        </a:lnTo>
                        <a:lnTo>
                          <a:pt x="1487" y="175"/>
                        </a:lnTo>
                        <a:lnTo>
                          <a:pt x="1482" y="176"/>
                        </a:lnTo>
                        <a:lnTo>
                          <a:pt x="1476" y="177"/>
                        </a:lnTo>
                        <a:lnTo>
                          <a:pt x="1471" y="178"/>
                        </a:lnTo>
                        <a:lnTo>
                          <a:pt x="1465" y="179"/>
                        </a:lnTo>
                        <a:lnTo>
                          <a:pt x="1460" y="181"/>
                        </a:lnTo>
                        <a:lnTo>
                          <a:pt x="1449" y="185"/>
                        </a:lnTo>
                        <a:lnTo>
                          <a:pt x="1438" y="188"/>
                        </a:lnTo>
                        <a:lnTo>
                          <a:pt x="1427" y="191"/>
                        </a:lnTo>
                        <a:lnTo>
                          <a:pt x="1421" y="194"/>
                        </a:lnTo>
                        <a:lnTo>
                          <a:pt x="1416" y="195"/>
                        </a:lnTo>
                        <a:lnTo>
                          <a:pt x="1410" y="197"/>
                        </a:lnTo>
                        <a:lnTo>
                          <a:pt x="1404" y="198"/>
                        </a:lnTo>
                        <a:lnTo>
                          <a:pt x="1399" y="199"/>
                        </a:lnTo>
                        <a:lnTo>
                          <a:pt x="1393" y="199"/>
                        </a:lnTo>
                        <a:lnTo>
                          <a:pt x="1388" y="200"/>
                        </a:lnTo>
                        <a:lnTo>
                          <a:pt x="1383" y="199"/>
                        </a:lnTo>
                        <a:lnTo>
                          <a:pt x="1377" y="199"/>
                        </a:lnTo>
                        <a:lnTo>
                          <a:pt x="1371" y="198"/>
                        </a:lnTo>
                        <a:lnTo>
                          <a:pt x="1365" y="197"/>
                        </a:lnTo>
                        <a:lnTo>
                          <a:pt x="1363" y="196"/>
                        </a:lnTo>
                        <a:lnTo>
                          <a:pt x="1360" y="195"/>
                        </a:lnTo>
                        <a:lnTo>
                          <a:pt x="1357" y="194"/>
                        </a:lnTo>
                        <a:lnTo>
                          <a:pt x="1354" y="193"/>
                        </a:lnTo>
                        <a:lnTo>
                          <a:pt x="1352" y="191"/>
                        </a:lnTo>
                        <a:lnTo>
                          <a:pt x="1349" y="190"/>
                        </a:lnTo>
                        <a:lnTo>
                          <a:pt x="1346" y="188"/>
                        </a:lnTo>
                        <a:lnTo>
                          <a:pt x="1344" y="186"/>
                        </a:lnTo>
                        <a:lnTo>
                          <a:pt x="1341" y="184"/>
                        </a:lnTo>
                        <a:lnTo>
                          <a:pt x="1339" y="182"/>
                        </a:lnTo>
                        <a:lnTo>
                          <a:pt x="1336" y="180"/>
                        </a:lnTo>
                        <a:lnTo>
                          <a:pt x="1333" y="178"/>
                        </a:lnTo>
                        <a:lnTo>
                          <a:pt x="1329" y="176"/>
                        </a:lnTo>
                        <a:lnTo>
                          <a:pt x="1327" y="173"/>
                        </a:lnTo>
                        <a:lnTo>
                          <a:pt x="1327" y="173"/>
                        </a:lnTo>
                        <a:lnTo>
                          <a:pt x="1327" y="172"/>
                        </a:lnTo>
                        <a:lnTo>
                          <a:pt x="1327" y="172"/>
                        </a:lnTo>
                        <a:lnTo>
                          <a:pt x="1327" y="171"/>
                        </a:lnTo>
                        <a:lnTo>
                          <a:pt x="1327" y="169"/>
                        </a:lnTo>
                        <a:lnTo>
                          <a:pt x="1326" y="168"/>
                        </a:lnTo>
                        <a:lnTo>
                          <a:pt x="1326" y="166"/>
                        </a:lnTo>
                        <a:lnTo>
                          <a:pt x="1326" y="164"/>
                        </a:lnTo>
                        <a:lnTo>
                          <a:pt x="1325" y="162"/>
                        </a:lnTo>
                        <a:lnTo>
                          <a:pt x="1325" y="160"/>
                        </a:lnTo>
                        <a:lnTo>
                          <a:pt x="1324" y="157"/>
                        </a:lnTo>
                        <a:lnTo>
                          <a:pt x="1324" y="155"/>
                        </a:lnTo>
                        <a:lnTo>
                          <a:pt x="1323" y="153"/>
                        </a:lnTo>
                        <a:lnTo>
                          <a:pt x="1322" y="150"/>
                        </a:lnTo>
                        <a:lnTo>
                          <a:pt x="1321" y="147"/>
                        </a:lnTo>
                        <a:lnTo>
                          <a:pt x="1319" y="144"/>
                        </a:lnTo>
                        <a:lnTo>
                          <a:pt x="1318" y="142"/>
                        </a:lnTo>
                        <a:lnTo>
                          <a:pt x="1316" y="139"/>
                        </a:lnTo>
                        <a:lnTo>
                          <a:pt x="1315" y="137"/>
                        </a:lnTo>
                        <a:lnTo>
                          <a:pt x="1313" y="134"/>
                        </a:lnTo>
                        <a:lnTo>
                          <a:pt x="1310" y="131"/>
                        </a:lnTo>
                        <a:lnTo>
                          <a:pt x="1308" y="130"/>
                        </a:lnTo>
                        <a:lnTo>
                          <a:pt x="1305" y="127"/>
                        </a:lnTo>
                        <a:lnTo>
                          <a:pt x="1302" y="125"/>
                        </a:lnTo>
                        <a:lnTo>
                          <a:pt x="1299" y="123"/>
                        </a:lnTo>
                        <a:lnTo>
                          <a:pt x="1296" y="121"/>
                        </a:lnTo>
                        <a:lnTo>
                          <a:pt x="1292" y="120"/>
                        </a:lnTo>
                        <a:lnTo>
                          <a:pt x="1287" y="119"/>
                        </a:lnTo>
                        <a:lnTo>
                          <a:pt x="1283" y="118"/>
                        </a:lnTo>
                        <a:lnTo>
                          <a:pt x="1278" y="117"/>
                        </a:lnTo>
                        <a:lnTo>
                          <a:pt x="1273" y="116"/>
                        </a:lnTo>
                        <a:lnTo>
                          <a:pt x="1268" y="116"/>
                        </a:lnTo>
                        <a:lnTo>
                          <a:pt x="1268" y="110"/>
                        </a:lnTo>
                        <a:lnTo>
                          <a:pt x="1267" y="105"/>
                        </a:lnTo>
                        <a:lnTo>
                          <a:pt x="1266" y="101"/>
                        </a:lnTo>
                        <a:lnTo>
                          <a:pt x="1266" y="96"/>
                        </a:lnTo>
                        <a:lnTo>
                          <a:pt x="1264" y="93"/>
                        </a:lnTo>
                        <a:lnTo>
                          <a:pt x="1263" y="89"/>
                        </a:lnTo>
                        <a:lnTo>
                          <a:pt x="1261" y="86"/>
                        </a:lnTo>
                        <a:lnTo>
                          <a:pt x="1259" y="83"/>
                        </a:lnTo>
                        <a:lnTo>
                          <a:pt x="1257" y="81"/>
                        </a:lnTo>
                        <a:lnTo>
                          <a:pt x="1254" y="78"/>
                        </a:lnTo>
                        <a:lnTo>
                          <a:pt x="1252" y="77"/>
                        </a:lnTo>
                        <a:lnTo>
                          <a:pt x="1249" y="75"/>
                        </a:lnTo>
                        <a:lnTo>
                          <a:pt x="1246" y="74"/>
                        </a:lnTo>
                        <a:lnTo>
                          <a:pt x="1243" y="73"/>
                        </a:lnTo>
                        <a:lnTo>
                          <a:pt x="1241" y="72"/>
                        </a:lnTo>
                        <a:lnTo>
                          <a:pt x="1238" y="72"/>
                        </a:lnTo>
                        <a:lnTo>
                          <a:pt x="1235" y="72"/>
                        </a:lnTo>
                        <a:lnTo>
                          <a:pt x="1233" y="73"/>
                        </a:lnTo>
                        <a:lnTo>
                          <a:pt x="1230" y="74"/>
                        </a:lnTo>
                        <a:lnTo>
                          <a:pt x="1228" y="75"/>
                        </a:lnTo>
                        <a:lnTo>
                          <a:pt x="1225" y="77"/>
                        </a:lnTo>
                        <a:lnTo>
                          <a:pt x="1223" y="78"/>
                        </a:lnTo>
                        <a:lnTo>
                          <a:pt x="1220" y="81"/>
                        </a:lnTo>
                        <a:lnTo>
                          <a:pt x="1218" y="83"/>
                        </a:lnTo>
                        <a:lnTo>
                          <a:pt x="1217" y="86"/>
                        </a:lnTo>
                        <a:lnTo>
                          <a:pt x="1215" y="89"/>
                        </a:lnTo>
                        <a:lnTo>
                          <a:pt x="1213" y="93"/>
                        </a:lnTo>
                        <a:lnTo>
                          <a:pt x="1212" y="96"/>
                        </a:lnTo>
                        <a:lnTo>
                          <a:pt x="1211" y="101"/>
                        </a:lnTo>
                        <a:lnTo>
                          <a:pt x="1210" y="105"/>
                        </a:lnTo>
                        <a:lnTo>
                          <a:pt x="1208" y="110"/>
                        </a:lnTo>
                        <a:lnTo>
                          <a:pt x="1208" y="116"/>
                        </a:lnTo>
                        <a:lnTo>
                          <a:pt x="1208" y="116"/>
                        </a:lnTo>
                        <a:lnTo>
                          <a:pt x="1207" y="114"/>
                        </a:lnTo>
                        <a:lnTo>
                          <a:pt x="1206" y="113"/>
                        </a:lnTo>
                        <a:lnTo>
                          <a:pt x="1206" y="113"/>
                        </a:lnTo>
                        <a:lnTo>
                          <a:pt x="1205" y="112"/>
                        </a:lnTo>
                        <a:lnTo>
                          <a:pt x="1204" y="111"/>
                        </a:lnTo>
                        <a:lnTo>
                          <a:pt x="1204" y="110"/>
                        </a:lnTo>
                        <a:lnTo>
                          <a:pt x="1202" y="109"/>
                        </a:lnTo>
                        <a:lnTo>
                          <a:pt x="1201" y="108"/>
                        </a:lnTo>
                        <a:lnTo>
                          <a:pt x="1200" y="106"/>
                        </a:lnTo>
                        <a:lnTo>
                          <a:pt x="1198" y="105"/>
                        </a:lnTo>
                        <a:lnTo>
                          <a:pt x="1196" y="103"/>
                        </a:lnTo>
                        <a:lnTo>
                          <a:pt x="1194" y="101"/>
                        </a:lnTo>
                        <a:lnTo>
                          <a:pt x="1192" y="99"/>
                        </a:lnTo>
                        <a:lnTo>
                          <a:pt x="1190" y="96"/>
                        </a:lnTo>
                        <a:lnTo>
                          <a:pt x="1187" y="94"/>
                        </a:lnTo>
                        <a:lnTo>
                          <a:pt x="1184" y="91"/>
                        </a:lnTo>
                        <a:lnTo>
                          <a:pt x="1181" y="88"/>
                        </a:lnTo>
                        <a:lnTo>
                          <a:pt x="1177" y="84"/>
                        </a:lnTo>
                        <a:lnTo>
                          <a:pt x="1174" y="81"/>
                        </a:lnTo>
                        <a:lnTo>
                          <a:pt x="1169" y="77"/>
                        </a:lnTo>
                        <a:lnTo>
                          <a:pt x="1164" y="73"/>
                        </a:lnTo>
                        <a:lnTo>
                          <a:pt x="1160" y="68"/>
                        </a:lnTo>
                        <a:lnTo>
                          <a:pt x="1155" y="63"/>
                        </a:lnTo>
                        <a:lnTo>
                          <a:pt x="1154" y="62"/>
                        </a:lnTo>
                        <a:lnTo>
                          <a:pt x="1154" y="59"/>
                        </a:lnTo>
                        <a:lnTo>
                          <a:pt x="1154" y="59"/>
                        </a:lnTo>
                        <a:lnTo>
                          <a:pt x="1154" y="59"/>
                        </a:lnTo>
                        <a:lnTo>
                          <a:pt x="1153" y="58"/>
                        </a:lnTo>
                        <a:lnTo>
                          <a:pt x="1152" y="58"/>
                        </a:lnTo>
                        <a:lnTo>
                          <a:pt x="1152" y="57"/>
                        </a:lnTo>
                        <a:lnTo>
                          <a:pt x="1151" y="56"/>
                        </a:lnTo>
                        <a:lnTo>
                          <a:pt x="1150" y="55"/>
                        </a:lnTo>
                        <a:lnTo>
                          <a:pt x="1149" y="54"/>
                        </a:lnTo>
                        <a:lnTo>
                          <a:pt x="1148" y="53"/>
                        </a:lnTo>
                        <a:lnTo>
                          <a:pt x="1146" y="52"/>
                        </a:lnTo>
                        <a:lnTo>
                          <a:pt x="1145" y="51"/>
                        </a:lnTo>
                        <a:lnTo>
                          <a:pt x="1143" y="49"/>
                        </a:lnTo>
                        <a:lnTo>
                          <a:pt x="1142" y="47"/>
                        </a:lnTo>
                        <a:lnTo>
                          <a:pt x="1140" y="46"/>
                        </a:lnTo>
                        <a:lnTo>
                          <a:pt x="1137" y="43"/>
                        </a:lnTo>
                        <a:lnTo>
                          <a:pt x="1135" y="41"/>
                        </a:lnTo>
                        <a:lnTo>
                          <a:pt x="1132" y="37"/>
                        </a:lnTo>
                        <a:lnTo>
                          <a:pt x="1129" y="34"/>
                        </a:lnTo>
                        <a:lnTo>
                          <a:pt x="1125" y="31"/>
                        </a:lnTo>
                        <a:lnTo>
                          <a:pt x="1121" y="28"/>
                        </a:lnTo>
                        <a:lnTo>
                          <a:pt x="1118" y="24"/>
                        </a:lnTo>
                        <a:lnTo>
                          <a:pt x="1114" y="20"/>
                        </a:lnTo>
                        <a:lnTo>
                          <a:pt x="1109" y="16"/>
                        </a:lnTo>
                        <a:lnTo>
                          <a:pt x="1105" y="11"/>
                        </a:lnTo>
                        <a:lnTo>
                          <a:pt x="1099" y="7"/>
                        </a:lnTo>
                        <a:lnTo>
                          <a:pt x="1094" y="2"/>
                        </a:lnTo>
                        <a:lnTo>
                          <a:pt x="1093" y="2"/>
                        </a:lnTo>
                        <a:lnTo>
                          <a:pt x="1092" y="1"/>
                        </a:lnTo>
                        <a:lnTo>
                          <a:pt x="1092" y="1"/>
                        </a:lnTo>
                        <a:lnTo>
                          <a:pt x="1091" y="0"/>
                        </a:lnTo>
                        <a:lnTo>
                          <a:pt x="1079" y="0"/>
                        </a:lnTo>
                        <a:lnTo>
                          <a:pt x="1069" y="0"/>
                        </a:lnTo>
                        <a:lnTo>
                          <a:pt x="1058" y="0"/>
                        </a:lnTo>
                        <a:lnTo>
                          <a:pt x="1047" y="0"/>
                        </a:lnTo>
                        <a:lnTo>
                          <a:pt x="1037" y="0"/>
                        </a:lnTo>
                        <a:lnTo>
                          <a:pt x="1032" y="0"/>
                        </a:lnTo>
                        <a:lnTo>
                          <a:pt x="1027" y="0"/>
                        </a:lnTo>
                        <a:lnTo>
                          <a:pt x="1022" y="0"/>
                        </a:lnTo>
                        <a:lnTo>
                          <a:pt x="1018" y="0"/>
                        </a:lnTo>
                        <a:lnTo>
                          <a:pt x="1014" y="0"/>
                        </a:lnTo>
                        <a:lnTo>
                          <a:pt x="1010" y="0"/>
                        </a:lnTo>
                        <a:lnTo>
                          <a:pt x="1006" y="0"/>
                        </a:lnTo>
                        <a:lnTo>
                          <a:pt x="1001" y="0"/>
                        </a:lnTo>
                        <a:lnTo>
                          <a:pt x="997" y="0"/>
                        </a:lnTo>
                        <a:lnTo>
                          <a:pt x="994" y="0"/>
                        </a:lnTo>
                        <a:lnTo>
                          <a:pt x="991" y="0"/>
                        </a:lnTo>
                        <a:lnTo>
                          <a:pt x="988" y="0"/>
                        </a:lnTo>
                        <a:lnTo>
                          <a:pt x="985" y="0"/>
                        </a:lnTo>
                        <a:lnTo>
                          <a:pt x="983" y="0"/>
                        </a:lnTo>
                        <a:lnTo>
                          <a:pt x="980" y="0"/>
                        </a:lnTo>
                        <a:lnTo>
                          <a:pt x="978" y="0"/>
                        </a:lnTo>
                        <a:lnTo>
                          <a:pt x="977" y="0"/>
                        </a:lnTo>
                        <a:lnTo>
                          <a:pt x="975" y="0"/>
                        </a:lnTo>
                        <a:lnTo>
                          <a:pt x="974" y="0"/>
                        </a:lnTo>
                        <a:lnTo>
                          <a:pt x="973" y="0"/>
                        </a:lnTo>
                        <a:lnTo>
                          <a:pt x="973" y="0"/>
                        </a:lnTo>
                        <a:lnTo>
                          <a:pt x="972" y="0"/>
                        </a:lnTo>
                        <a:lnTo>
                          <a:pt x="968" y="0"/>
                        </a:lnTo>
                        <a:lnTo>
                          <a:pt x="961" y="1"/>
                        </a:lnTo>
                        <a:lnTo>
                          <a:pt x="957" y="1"/>
                        </a:lnTo>
                        <a:lnTo>
                          <a:pt x="955" y="2"/>
                        </a:lnTo>
                        <a:lnTo>
                          <a:pt x="954" y="2"/>
                        </a:lnTo>
                        <a:lnTo>
                          <a:pt x="949" y="2"/>
                        </a:lnTo>
                        <a:lnTo>
                          <a:pt x="946" y="2"/>
                        </a:lnTo>
                        <a:lnTo>
                          <a:pt x="942" y="2"/>
                        </a:lnTo>
                        <a:lnTo>
                          <a:pt x="938" y="2"/>
                        </a:lnTo>
                        <a:lnTo>
                          <a:pt x="935" y="2"/>
                        </a:lnTo>
                        <a:lnTo>
                          <a:pt x="932" y="2"/>
                        </a:lnTo>
                        <a:lnTo>
                          <a:pt x="929" y="2"/>
                        </a:lnTo>
                        <a:lnTo>
                          <a:pt x="925" y="2"/>
                        </a:lnTo>
                        <a:lnTo>
                          <a:pt x="919" y="2"/>
                        </a:lnTo>
                        <a:lnTo>
                          <a:pt x="913" y="2"/>
                        </a:lnTo>
                        <a:lnTo>
                          <a:pt x="908" y="2"/>
                        </a:lnTo>
                        <a:lnTo>
                          <a:pt x="902" y="2"/>
                        </a:lnTo>
                        <a:lnTo>
                          <a:pt x="899" y="2"/>
                        </a:lnTo>
                        <a:lnTo>
                          <a:pt x="896" y="2"/>
                        </a:lnTo>
                        <a:lnTo>
                          <a:pt x="893" y="2"/>
                        </a:lnTo>
                        <a:lnTo>
                          <a:pt x="889" y="2"/>
                        </a:lnTo>
                        <a:lnTo>
                          <a:pt x="886" y="2"/>
                        </a:lnTo>
                        <a:lnTo>
                          <a:pt x="882" y="2"/>
                        </a:lnTo>
                        <a:lnTo>
                          <a:pt x="877" y="2"/>
                        </a:lnTo>
                        <a:lnTo>
                          <a:pt x="873" y="2"/>
                        </a:lnTo>
                        <a:lnTo>
                          <a:pt x="869" y="2"/>
                        </a:lnTo>
                        <a:lnTo>
                          <a:pt x="864" y="2"/>
                        </a:lnTo>
                        <a:lnTo>
                          <a:pt x="859" y="2"/>
                        </a:lnTo>
                        <a:lnTo>
                          <a:pt x="856" y="2"/>
                        </a:lnTo>
                        <a:lnTo>
                          <a:pt x="854" y="0"/>
                        </a:lnTo>
                        <a:lnTo>
                          <a:pt x="849" y="0"/>
                        </a:lnTo>
                        <a:lnTo>
                          <a:pt x="844" y="0"/>
                        </a:lnTo>
                        <a:lnTo>
                          <a:pt x="838" y="1"/>
                        </a:lnTo>
                        <a:lnTo>
                          <a:pt x="834" y="1"/>
                        </a:lnTo>
                        <a:lnTo>
                          <a:pt x="831" y="2"/>
                        </a:lnTo>
                        <a:lnTo>
                          <a:pt x="829" y="2"/>
                        </a:lnTo>
                        <a:lnTo>
                          <a:pt x="825" y="2"/>
                        </a:lnTo>
                        <a:lnTo>
                          <a:pt x="822" y="2"/>
                        </a:lnTo>
                        <a:lnTo>
                          <a:pt x="819" y="2"/>
                        </a:lnTo>
                        <a:lnTo>
                          <a:pt x="816" y="2"/>
                        </a:lnTo>
                        <a:lnTo>
                          <a:pt x="813" y="2"/>
                        </a:lnTo>
                        <a:lnTo>
                          <a:pt x="810" y="2"/>
                        </a:lnTo>
                        <a:lnTo>
                          <a:pt x="808" y="2"/>
                        </a:lnTo>
                        <a:lnTo>
                          <a:pt x="806" y="2"/>
                        </a:lnTo>
                        <a:lnTo>
                          <a:pt x="804" y="2"/>
                        </a:lnTo>
                        <a:lnTo>
                          <a:pt x="803" y="2"/>
                        </a:lnTo>
                        <a:lnTo>
                          <a:pt x="801" y="2"/>
                        </a:lnTo>
                        <a:lnTo>
                          <a:pt x="800" y="2"/>
                        </a:lnTo>
                        <a:lnTo>
                          <a:pt x="798" y="2"/>
                        </a:lnTo>
                        <a:lnTo>
                          <a:pt x="797" y="2"/>
                        </a:lnTo>
                        <a:lnTo>
                          <a:pt x="796" y="2"/>
                        </a:lnTo>
                        <a:lnTo>
                          <a:pt x="795" y="2"/>
                        </a:lnTo>
                        <a:lnTo>
                          <a:pt x="795" y="2"/>
                        </a:lnTo>
                        <a:lnTo>
                          <a:pt x="794" y="2"/>
                        </a:lnTo>
                        <a:lnTo>
                          <a:pt x="793" y="2"/>
                        </a:lnTo>
                        <a:lnTo>
                          <a:pt x="793" y="7"/>
                        </a:lnTo>
                        <a:lnTo>
                          <a:pt x="793" y="11"/>
                        </a:lnTo>
                        <a:lnTo>
                          <a:pt x="793" y="16"/>
                        </a:lnTo>
                        <a:lnTo>
                          <a:pt x="793" y="19"/>
                        </a:lnTo>
                        <a:lnTo>
                          <a:pt x="792" y="20"/>
                        </a:lnTo>
                        <a:lnTo>
                          <a:pt x="790" y="22"/>
                        </a:lnTo>
                        <a:lnTo>
                          <a:pt x="788" y="24"/>
                        </a:lnTo>
                        <a:lnTo>
                          <a:pt x="786" y="27"/>
                        </a:lnTo>
                        <a:lnTo>
                          <a:pt x="785" y="29"/>
                        </a:lnTo>
                        <a:lnTo>
                          <a:pt x="783" y="31"/>
                        </a:lnTo>
                        <a:lnTo>
                          <a:pt x="780" y="36"/>
                        </a:lnTo>
                        <a:lnTo>
                          <a:pt x="778" y="42"/>
                        </a:lnTo>
                        <a:lnTo>
                          <a:pt x="776" y="47"/>
                        </a:lnTo>
                        <a:lnTo>
                          <a:pt x="774" y="53"/>
                        </a:lnTo>
                        <a:lnTo>
                          <a:pt x="773" y="58"/>
                        </a:lnTo>
                        <a:lnTo>
                          <a:pt x="772" y="63"/>
                        </a:lnTo>
                        <a:lnTo>
                          <a:pt x="771" y="69"/>
                        </a:lnTo>
                        <a:lnTo>
                          <a:pt x="770" y="74"/>
                        </a:lnTo>
                        <a:lnTo>
                          <a:pt x="768" y="79"/>
                        </a:lnTo>
                        <a:lnTo>
                          <a:pt x="767" y="83"/>
                        </a:lnTo>
                        <a:lnTo>
                          <a:pt x="765" y="85"/>
                        </a:lnTo>
                        <a:lnTo>
                          <a:pt x="761" y="89"/>
                        </a:lnTo>
                        <a:lnTo>
                          <a:pt x="757" y="93"/>
                        </a:lnTo>
                        <a:lnTo>
                          <a:pt x="753" y="97"/>
                        </a:lnTo>
                        <a:lnTo>
                          <a:pt x="748" y="101"/>
                        </a:lnTo>
                        <a:lnTo>
                          <a:pt x="744" y="106"/>
                        </a:lnTo>
                        <a:lnTo>
                          <a:pt x="739" y="110"/>
                        </a:lnTo>
                        <a:lnTo>
                          <a:pt x="734" y="116"/>
                        </a:lnTo>
                        <a:lnTo>
                          <a:pt x="720" y="116"/>
                        </a:lnTo>
                        <a:lnTo>
                          <a:pt x="703" y="116"/>
                        </a:lnTo>
                        <a:lnTo>
                          <a:pt x="672" y="116"/>
                        </a:lnTo>
                        <a:lnTo>
                          <a:pt x="642" y="116"/>
                        </a:lnTo>
                        <a:lnTo>
                          <a:pt x="613" y="116"/>
                        </a:lnTo>
                        <a:lnTo>
                          <a:pt x="583" y="116"/>
                        </a:lnTo>
                        <a:lnTo>
                          <a:pt x="556" y="116"/>
                        </a:lnTo>
                        <a:lnTo>
                          <a:pt x="527" y="116"/>
                        </a:lnTo>
                        <a:lnTo>
                          <a:pt x="500" y="116"/>
                        </a:lnTo>
                        <a:lnTo>
                          <a:pt x="472" y="116"/>
                        </a:lnTo>
                        <a:lnTo>
                          <a:pt x="444" y="116"/>
                        </a:lnTo>
                        <a:lnTo>
                          <a:pt x="416" y="116"/>
                        </a:lnTo>
                        <a:lnTo>
                          <a:pt x="387" y="116"/>
                        </a:lnTo>
                        <a:lnTo>
                          <a:pt x="358" y="116"/>
                        </a:lnTo>
                        <a:lnTo>
                          <a:pt x="327" y="116"/>
                        </a:lnTo>
                        <a:lnTo>
                          <a:pt x="295" y="116"/>
                        </a:lnTo>
                        <a:lnTo>
                          <a:pt x="280" y="116"/>
                        </a:lnTo>
                        <a:lnTo>
                          <a:pt x="263" y="116"/>
                        </a:lnTo>
                        <a:lnTo>
                          <a:pt x="257" y="116"/>
                        </a:lnTo>
                        <a:lnTo>
                          <a:pt x="251" y="116"/>
                        </a:lnTo>
                        <a:lnTo>
                          <a:pt x="245" y="116"/>
                        </a:lnTo>
                        <a:lnTo>
                          <a:pt x="239" y="116"/>
                        </a:lnTo>
                        <a:lnTo>
                          <a:pt x="232" y="116"/>
                        </a:lnTo>
                        <a:lnTo>
                          <a:pt x="226" y="117"/>
                        </a:lnTo>
                        <a:lnTo>
                          <a:pt x="211" y="117"/>
                        </a:lnTo>
                        <a:lnTo>
                          <a:pt x="198" y="118"/>
                        </a:lnTo>
                        <a:lnTo>
                          <a:pt x="191" y="119"/>
                        </a:lnTo>
                        <a:lnTo>
                          <a:pt x="185" y="119"/>
                        </a:lnTo>
                        <a:lnTo>
                          <a:pt x="177" y="120"/>
                        </a:lnTo>
                        <a:lnTo>
                          <a:pt x="171" y="121"/>
                        </a:lnTo>
                        <a:lnTo>
                          <a:pt x="166" y="122"/>
                        </a:lnTo>
                        <a:lnTo>
                          <a:pt x="160" y="123"/>
                        </a:lnTo>
                        <a:lnTo>
                          <a:pt x="155" y="125"/>
                        </a:lnTo>
                        <a:lnTo>
                          <a:pt x="150" y="126"/>
                        </a:lnTo>
                        <a:lnTo>
                          <a:pt x="146" y="128"/>
                        </a:lnTo>
                        <a:lnTo>
                          <a:pt x="142" y="129"/>
                        </a:lnTo>
                        <a:lnTo>
                          <a:pt x="140" y="130"/>
                        </a:lnTo>
                        <a:lnTo>
                          <a:pt x="139" y="131"/>
                        </a:lnTo>
                        <a:lnTo>
                          <a:pt x="137" y="132"/>
                        </a:lnTo>
                        <a:lnTo>
                          <a:pt x="135" y="133"/>
                        </a:lnTo>
                        <a:lnTo>
                          <a:pt x="134" y="135"/>
                        </a:lnTo>
                        <a:lnTo>
                          <a:pt x="133" y="136"/>
                        </a:lnTo>
                        <a:lnTo>
                          <a:pt x="132" y="137"/>
                        </a:lnTo>
                        <a:lnTo>
                          <a:pt x="131" y="139"/>
                        </a:lnTo>
                        <a:lnTo>
                          <a:pt x="130" y="140"/>
                        </a:lnTo>
                        <a:lnTo>
                          <a:pt x="130" y="142"/>
                        </a:lnTo>
                        <a:lnTo>
                          <a:pt x="129" y="143"/>
                        </a:lnTo>
                        <a:lnTo>
                          <a:pt x="129" y="145"/>
                        </a:lnTo>
                        <a:lnTo>
                          <a:pt x="129" y="147"/>
                        </a:lnTo>
                        <a:lnTo>
                          <a:pt x="129" y="148"/>
                        </a:lnTo>
                        <a:lnTo>
                          <a:pt x="129" y="150"/>
                        </a:lnTo>
                        <a:lnTo>
                          <a:pt x="130" y="152"/>
                        </a:lnTo>
                        <a:lnTo>
                          <a:pt x="131" y="155"/>
                        </a:lnTo>
                        <a:lnTo>
                          <a:pt x="132" y="156"/>
                        </a:lnTo>
                        <a:lnTo>
                          <a:pt x="133" y="158"/>
                        </a:lnTo>
                        <a:lnTo>
                          <a:pt x="134" y="161"/>
                        </a:lnTo>
                        <a:lnTo>
                          <a:pt x="136" y="163"/>
                        </a:lnTo>
                        <a:lnTo>
                          <a:pt x="137" y="166"/>
                        </a:lnTo>
                        <a:lnTo>
                          <a:pt x="140" y="168"/>
                        </a:lnTo>
                        <a:lnTo>
                          <a:pt x="142" y="170"/>
                        </a:lnTo>
                        <a:lnTo>
                          <a:pt x="146" y="173"/>
                        </a:lnTo>
                        <a:lnTo>
                          <a:pt x="148" y="179"/>
                        </a:lnTo>
                        <a:lnTo>
                          <a:pt x="151" y="183"/>
                        </a:lnTo>
                        <a:lnTo>
                          <a:pt x="154" y="189"/>
                        </a:lnTo>
                        <a:lnTo>
                          <a:pt x="157" y="194"/>
                        </a:lnTo>
                        <a:lnTo>
                          <a:pt x="159" y="199"/>
                        </a:lnTo>
                        <a:lnTo>
                          <a:pt x="162" y="203"/>
                        </a:lnTo>
                        <a:lnTo>
                          <a:pt x="164" y="207"/>
                        </a:lnTo>
                        <a:lnTo>
                          <a:pt x="167" y="212"/>
                        </a:lnTo>
                        <a:lnTo>
                          <a:pt x="170" y="216"/>
                        </a:lnTo>
                        <a:lnTo>
                          <a:pt x="172" y="219"/>
                        </a:lnTo>
                        <a:lnTo>
                          <a:pt x="175" y="223"/>
                        </a:lnTo>
                        <a:lnTo>
                          <a:pt x="178" y="227"/>
                        </a:lnTo>
                        <a:lnTo>
                          <a:pt x="181" y="230"/>
                        </a:lnTo>
                        <a:lnTo>
                          <a:pt x="183" y="233"/>
                        </a:lnTo>
                        <a:lnTo>
                          <a:pt x="187" y="236"/>
                        </a:lnTo>
                        <a:lnTo>
                          <a:pt x="190" y="239"/>
                        </a:lnTo>
                        <a:lnTo>
                          <a:pt x="193" y="242"/>
                        </a:lnTo>
                        <a:lnTo>
                          <a:pt x="195" y="244"/>
                        </a:lnTo>
                        <a:lnTo>
                          <a:pt x="198" y="247"/>
                        </a:lnTo>
                        <a:lnTo>
                          <a:pt x="201" y="249"/>
                        </a:lnTo>
                        <a:lnTo>
                          <a:pt x="203" y="251"/>
                        </a:lnTo>
                        <a:lnTo>
                          <a:pt x="206" y="253"/>
                        </a:lnTo>
                        <a:lnTo>
                          <a:pt x="208" y="255"/>
                        </a:lnTo>
                        <a:lnTo>
                          <a:pt x="211" y="257"/>
                        </a:lnTo>
                        <a:lnTo>
                          <a:pt x="214" y="259"/>
                        </a:lnTo>
                        <a:lnTo>
                          <a:pt x="217" y="261"/>
                        </a:lnTo>
                        <a:lnTo>
                          <a:pt x="219" y="262"/>
                        </a:lnTo>
                        <a:lnTo>
                          <a:pt x="222" y="263"/>
                        </a:lnTo>
                        <a:lnTo>
                          <a:pt x="226" y="264"/>
                        </a:lnTo>
                        <a:lnTo>
                          <a:pt x="229" y="265"/>
                        </a:lnTo>
                        <a:lnTo>
                          <a:pt x="232" y="266"/>
                        </a:lnTo>
                        <a:lnTo>
                          <a:pt x="234" y="267"/>
                        </a:lnTo>
                        <a:lnTo>
                          <a:pt x="237" y="267"/>
                        </a:lnTo>
                        <a:lnTo>
                          <a:pt x="239" y="268"/>
                        </a:lnTo>
                        <a:lnTo>
                          <a:pt x="242" y="268"/>
                        </a:lnTo>
                        <a:lnTo>
                          <a:pt x="245" y="268"/>
                        </a:lnTo>
                        <a:lnTo>
                          <a:pt x="247" y="268"/>
                        </a:lnTo>
                        <a:lnTo>
                          <a:pt x="250" y="268"/>
                        </a:lnTo>
                        <a:lnTo>
                          <a:pt x="256" y="268"/>
                        </a:lnTo>
                        <a:lnTo>
                          <a:pt x="261" y="267"/>
                        </a:lnTo>
                        <a:lnTo>
                          <a:pt x="268" y="266"/>
                        </a:lnTo>
                        <a:lnTo>
                          <a:pt x="273" y="264"/>
                        </a:lnTo>
                        <a:lnTo>
                          <a:pt x="278" y="262"/>
                        </a:lnTo>
                        <a:lnTo>
                          <a:pt x="283" y="260"/>
                        </a:lnTo>
                        <a:lnTo>
                          <a:pt x="289" y="257"/>
                        </a:lnTo>
                        <a:lnTo>
                          <a:pt x="294" y="253"/>
                        </a:lnTo>
                        <a:lnTo>
                          <a:pt x="300" y="250"/>
                        </a:lnTo>
                        <a:lnTo>
                          <a:pt x="305" y="246"/>
                        </a:lnTo>
                        <a:lnTo>
                          <a:pt x="312" y="241"/>
                        </a:lnTo>
                        <a:lnTo>
                          <a:pt x="317" y="236"/>
                        </a:lnTo>
                        <a:lnTo>
                          <a:pt x="322" y="231"/>
                        </a:lnTo>
                        <a:lnTo>
                          <a:pt x="333" y="226"/>
                        </a:lnTo>
                        <a:lnTo>
                          <a:pt x="344" y="221"/>
                        </a:lnTo>
                        <a:lnTo>
                          <a:pt x="367" y="212"/>
                        </a:lnTo>
                        <a:lnTo>
                          <a:pt x="373" y="210"/>
                        </a:lnTo>
                        <a:lnTo>
                          <a:pt x="373" y="212"/>
                        </a:lnTo>
                        <a:lnTo>
                          <a:pt x="373" y="216"/>
                        </a:lnTo>
                        <a:lnTo>
                          <a:pt x="373" y="220"/>
                        </a:lnTo>
                        <a:lnTo>
                          <a:pt x="373" y="225"/>
                        </a:lnTo>
                        <a:lnTo>
                          <a:pt x="373" y="230"/>
                        </a:lnTo>
                        <a:lnTo>
                          <a:pt x="378" y="225"/>
                        </a:lnTo>
                        <a:lnTo>
                          <a:pt x="383" y="220"/>
                        </a:lnTo>
                        <a:lnTo>
                          <a:pt x="390" y="216"/>
                        </a:lnTo>
                        <a:lnTo>
                          <a:pt x="396" y="212"/>
                        </a:lnTo>
                        <a:lnTo>
                          <a:pt x="401" y="208"/>
                        </a:lnTo>
                        <a:lnTo>
                          <a:pt x="407" y="204"/>
                        </a:lnTo>
                        <a:lnTo>
                          <a:pt x="413" y="201"/>
                        </a:lnTo>
                        <a:lnTo>
                          <a:pt x="418" y="198"/>
                        </a:lnTo>
                        <a:lnTo>
                          <a:pt x="424" y="195"/>
                        </a:lnTo>
                        <a:lnTo>
                          <a:pt x="426" y="194"/>
                        </a:lnTo>
                        <a:lnTo>
                          <a:pt x="433" y="191"/>
                        </a:lnTo>
                        <a:lnTo>
                          <a:pt x="455" y="187"/>
                        </a:lnTo>
                        <a:lnTo>
                          <a:pt x="478" y="183"/>
                        </a:lnTo>
                        <a:lnTo>
                          <a:pt x="500" y="180"/>
                        </a:lnTo>
                        <a:lnTo>
                          <a:pt x="522" y="178"/>
                        </a:lnTo>
                        <a:lnTo>
                          <a:pt x="544" y="176"/>
                        </a:lnTo>
                        <a:lnTo>
                          <a:pt x="566" y="175"/>
                        </a:lnTo>
                        <a:lnTo>
                          <a:pt x="588" y="174"/>
                        </a:lnTo>
                        <a:lnTo>
                          <a:pt x="611" y="174"/>
                        </a:lnTo>
                        <a:lnTo>
                          <a:pt x="632" y="173"/>
                        </a:lnTo>
                        <a:lnTo>
                          <a:pt x="672" y="173"/>
                        </a:lnTo>
                        <a:lnTo>
                          <a:pt x="670" y="176"/>
                        </a:lnTo>
                        <a:lnTo>
                          <a:pt x="667" y="178"/>
                        </a:lnTo>
                        <a:lnTo>
                          <a:pt x="664" y="180"/>
                        </a:lnTo>
                        <a:lnTo>
                          <a:pt x="661" y="183"/>
                        </a:lnTo>
                        <a:lnTo>
                          <a:pt x="657" y="185"/>
                        </a:lnTo>
                        <a:lnTo>
                          <a:pt x="656" y="186"/>
                        </a:lnTo>
                        <a:lnTo>
                          <a:pt x="652" y="186"/>
                        </a:lnTo>
                        <a:lnTo>
                          <a:pt x="649" y="186"/>
                        </a:lnTo>
                        <a:lnTo>
                          <a:pt x="646" y="186"/>
                        </a:lnTo>
                        <a:lnTo>
                          <a:pt x="643" y="186"/>
                        </a:lnTo>
                        <a:lnTo>
                          <a:pt x="641" y="186"/>
                        </a:lnTo>
                        <a:lnTo>
                          <a:pt x="638" y="186"/>
                        </a:lnTo>
                        <a:lnTo>
                          <a:pt x="636" y="186"/>
                        </a:lnTo>
                        <a:lnTo>
                          <a:pt x="633" y="186"/>
                        </a:lnTo>
                        <a:lnTo>
                          <a:pt x="632" y="186"/>
                        </a:lnTo>
                        <a:lnTo>
                          <a:pt x="630" y="186"/>
                        </a:lnTo>
                        <a:lnTo>
                          <a:pt x="629" y="186"/>
                        </a:lnTo>
                        <a:lnTo>
                          <a:pt x="627" y="186"/>
                        </a:lnTo>
                        <a:lnTo>
                          <a:pt x="626" y="186"/>
                        </a:lnTo>
                        <a:lnTo>
                          <a:pt x="625" y="186"/>
                        </a:lnTo>
                        <a:lnTo>
                          <a:pt x="625" y="186"/>
                        </a:lnTo>
                        <a:lnTo>
                          <a:pt x="625" y="186"/>
                        </a:lnTo>
                        <a:lnTo>
                          <a:pt x="624" y="186"/>
                        </a:lnTo>
                        <a:lnTo>
                          <a:pt x="623" y="186"/>
                        </a:lnTo>
                        <a:lnTo>
                          <a:pt x="623" y="186"/>
                        </a:lnTo>
                        <a:lnTo>
                          <a:pt x="611" y="186"/>
                        </a:lnTo>
                        <a:lnTo>
                          <a:pt x="601" y="186"/>
                        </a:lnTo>
                        <a:lnTo>
                          <a:pt x="589" y="186"/>
                        </a:lnTo>
                        <a:lnTo>
                          <a:pt x="578" y="186"/>
                        </a:lnTo>
                        <a:lnTo>
                          <a:pt x="569" y="186"/>
                        </a:lnTo>
                        <a:lnTo>
                          <a:pt x="559" y="186"/>
                        </a:lnTo>
                        <a:lnTo>
                          <a:pt x="549" y="186"/>
                        </a:lnTo>
                        <a:lnTo>
                          <a:pt x="539" y="186"/>
                        </a:lnTo>
                        <a:lnTo>
                          <a:pt x="531" y="187"/>
                        </a:lnTo>
                        <a:lnTo>
                          <a:pt x="522" y="187"/>
                        </a:lnTo>
                        <a:lnTo>
                          <a:pt x="514" y="188"/>
                        </a:lnTo>
                        <a:lnTo>
                          <a:pt x="505" y="189"/>
                        </a:lnTo>
                        <a:lnTo>
                          <a:pt x="497" y="190"/>
                        </a:lnTo>
                        <a:lnTo>
                          <a:pt x="490" y="191"/>
                        </a:lnTo>
                        <a:lnTo>
                          <a:pt x="482" y="193"/>
                        </a:lnTo>
                        <a:lnTo>
                          <a:pt x="475" y="194"/>
                        </a:lnTo>
                        <a:lnTo>
                          <a:pt x="467" y="195"/>
                        </a:lnTo>
                        <a:lnTo>
                          <a:pt x="460" y="197"/>
                        </a:lnTo>
                        <a:lnTo>
                          <a:pt x="453" y="199"/>
                        </a:lnTo>
                        <a:lnTo>
                          <a:pt x="447" y="201"/>
                        </a:lnTo>
                        <a:lnTo>
                          <a:pt x="440" y="204"/>
                        </a:lnTo>
                        <a:lnTo>
                          <a:pt x="434" y="206"/>
                        </a:lnTo>
                        <a:lnTo>
                          <a:pt x="427" y="209"/>
                        </a:lnTo>
                        <a:lnTo>
                          <a:pt x="421" y="212"/>
                        </a:lnTo>
                        <a:lnTo>
                          <a:pt x="415" y="216"/>
                        </a:lnTo>
                        <a:lnTo>
                          <a:pt x="409" y="219"/>
                        </a:lnTo>
                        <a:lnTo>
                          <a:pt x="403" y="223"/>
                        </a:lnTo>
                        <a:lnTo>
                          <a:pt x="397" y="227"/>
                        </a:lnTo>
                        <a:lnTo>
                          <a:pt x="391" y="232"/>
                        </a:lnTo>
                        <a:lnTo>
                          <a:pt x="384" y="237"/>
                        </a:lnTo>
                        <a:lnTo>
                          <a:pt x="379" y="242"/>
                        </a:lnTo>
                        <a:lnTo>
                          <a:pt x="373" y="247"/>
                        </a:lnTo>
                        <a:lnTo>
                          <a:pt x="373" y="248"/>
                        </a:lnTo>
                        <a:lnTo>
                          <a:pt x="373" y="248"/>
                        </a:lnTo>
                        <a:lnTo>
                          <a:pt x="373" y="249"/>
                        </a:lnTo>
                        <a:lnTo>
                          <a:pt x="373" y="250"/>
                        </a:lnTo>
                        <a:lnTo>
                          <a:pt x="373" y="251"/>
                        </a:lnTo>
                        <a:lnTo>
                          <a:pt x="373" y="251"/>
                        </a:lnTo>
                        <a:lnTo>
                          <a:pt x="373" y="252"/>
                        </a:lnTo>
                        <a:lnTo>
                          <a:pt x="373" y="252"/>
                        </a:lnTo>
                        <a:lnTo>
                          <a:pt x="369" y="254"/>
                        </a:lnTo>
                        <a:lnTo>
                          <a:pt x="367" y="256"/>
                        </a:lnTo>
                        <a:lnTo>
                          <a:pt x="364" y="258"/>
                        </a:lnTo>
                        <a:lnTo>
                          <a:pt x="362" y="260"/>
                        </a:lnTo>
                        <a:lnTo>
                          <a:pt x="360" y="261"/>
                        </a:lnTo>
                        <a:lnTo>
                          <a:pt x="359" y="263"/>
                        </a:lnTo>
                        <a:lnTo>
                          <a:pt x="358" y="265"/>
                        </a:lnTo>
                        <a:lnTo>
                          <a:pt x="358" y="267"/>
                        </a:lnTo>
                        <a:lnTo>
                          <a:pt x="358" y="270"/>
                        </a:lnTo>
                        <a:lnTo>
                          <a:pt x="359" y="272"/>
                        </a:lnTo>
                        <a:lnTo>
                          <a:pt x="360" y="275"/>
                        </a:lnTo>
                        <a:lnTo>
                          <a:pt x="362" y="276"/>
                        </a:lnTo>
                        <a:lnTo>
                          <a:pt x="365" y="279"/>
                        </a:lnTo>
                        <a:lnTo>
                          <a:pt x="368" y="281"/>
                        </a:lnTo>
                        <a:lnTo>
                          <a:pt x="372" y="284"/>
                        </a:lnTo>
                        <a:lnTo>
                          <a:pt x="373" y="285"/>
                        </a:lnTo>
                        <a:lnTo>
                          <a:pt x="373" y="287"/>
                        </a:lnTo>
                        <a:lnTo>
                          <a:pt x="372" y="288"/>
                        </a:lnTo>
                        <a:lnTo>
                          <a:pt x="373" y="288"/>
                        </a:lnTo>
                        <a:lnTo>
                          <a:pt x="373" y="289"/>
                        </a:lnTo>
                        <a:lnTo>
                          <a:pt x="371" y="289"/>
                        </a:lnTo>
                        <a:lnTo>
                          <a:pt x="366" y="289"/>
                        </a:lnTo>
                        <a:lnTo>
                          <a:pt x="362" y="289"/>
                        </a:lnTo>
                        <a:lnTo>
                          <a:pt x="358" y="289"/>
                        </a:lnTo>
                        <a:lnTo>
                          <a:pt x="354" y="289"/>
                        </a:lnTo>
                        <a:lnTo>
                          <a:pt x="350" y="289"/>
                        </a:lnTo>
                        <a:lnTo>
                          <a:pt x="346" y="289"/>
                        </a:lnTo>
                        <a:lnTo>
                          <a:pt x="342" y="289"/>
                        </a:lnTo>
                        <a:lnTo>
                          <a:pt x="340" y="289"/>
                        </a:lnTo>
                        <a:lnTo>
                          <a:pt x="336" y="289"/>
                        </a:lnTo>
                        <a:lnTo>
                          <a:pt x="333" y="289"/>
                        </a:lnTo>
                        <a:lnTo>
                          <a:pt x="328" y="289"/>
                        </a:lnTo>
                        <a:lnTo>
                          <a:pt x="322" y="289"/>
                        </a:lnTo>
                        <a:lnTo>
                          <a:pt x="317" y="289"/>
                        </a:lnTo>
                        <a:lnTo>
                          <a:pt x="311" y="289"/>
                        </a:lnTo>
                        <a:lnTo>
                          <a:pt x="308" y="289"/>
                        </a:lnTo>
                        <a:lnTo>
                          <a:pt x="305" y="289"/>
                        </a:lnTo>
                        <a:lnTo>
                          <a:pt x="301" y="289"/>
                        </a:lnTo>
                        <a:lnTo>
                          <a:pt x="298" y="289"/>
                        </a:lnTo>
                        <a:lnTo>
                          <a:pt x="294" y="289"/>
                        </a:lnTo>
                        <a:lnTo>
                          <a:pt x="291" y="289"/>
                        </a:lnTo>
                        <a:lnTo>
                          <a:pt x="287" y="289"/>
                        </a:lnTo>
                        <a:lnTo>
                          <a:pt x="283" y="289"/>
                        </a:lnTo>
                        <a:lnTo>
                          <a:pt x="279" y="289"/>
                        </a:lnTo>
                        <a:lnTo>
                          <a:pt x="274" y="289"/>
                        </a:lnTo>
                        <a:lnTo>
                          <a:pt x="269" y="289"/>
                        </a:lnTo>
                        <a:lnTo>
                          <a:pt x="263" y="289"/>
                        </a:lnTo>
                        <a:lnTo>
                          <a:pt x="257" y="294"/>
                        </a:lnTo>
                        <a:lnTo>
                          <a:pt x="252" y="299"/>
                        </a:lnTo>
                        <a:lnTo>
                          <a:pt x="247" y="304"/>
                        </a:lnTo>
                        <a:lnTo>
                          <a:pt x="241" y="308"/>
                        </a:lnTo>
                        <a:lnTo>
                          <a:pt x="236" y="312"/>
                        </a:lnTo>
                        <a:lnTo>
                          <a:pt x="231" y="315"/>
                        </a:lnTo>
                        <a:lnTo>
                          <a:pt x="226" y="318"/>
                        </a:lnTo>
                        <a:lnTo>
                          <a:pt x="219" y="321"/>
                        </a:lnTo>
                        <a:lnTo>
                          <a:pt x="215" y="324"/>
                        </a:lnTo>
                        <a:lnTo>
                          <a:pt x="209" y="326"/>
                        </a:lnTo>
                        <a:lnTo>
                          <a:pt x="205" y="328"/>
                        </a:lnTo>
                        <a:lnTo>
                          <a:pt x="200" y="329"/>
                        </a:lnTo>
                        <a:lnTo>
                          <a:pt x="195" y="330"/>
                        </a:lnTo>
                        <a:lnTo>
                          <a:pt x="191" y="331"/>
                        </a:lnTo>
                        <a:lnTo>
                          <a:pt x="187" y="332"/>
                        </a:lnTo>
                        <a:lnTo>
                          <a:pt x="182" y="332"/>
                        </a:lnTo>
                        <a:lnTo>
                          <a:pt x="178" y="332"/>
                        </a:lnTo>
                        <a:lnTo>
                          <a:pt x="174" y="331"/>
                        </a:lnTo>
                        <a:lnTo>
                          <a:pt x="170" y="330"/>
                        </a:lnTo>
                        <a:lnTo>
                          <a:pt x="167" y="329"/>
                        </a:lnTo>
                        <a:lnTo>
                          <a:pt x="164" y="328"/>
                        </a:lnTo>
                        <a:lnTo>
                          <a:pt x="161" y="326"/>
                        </a:lnTo>
                        <a:lnTo>
                          <a:pt x="158" y="324"/>
                        </a:lnTo>
                        <a:lnTo>
                          <a:pt x="156" y="321"/>
                        </a:lnTo>
                        <a:lnTo>
                          <a:pt x="153" y="318"/>
                        </a:lnTo>
                        <a:lnTo>
                          <a:pt x="151" y="315"/>
                        </a:lnTo>
                        <a:lnTo>
                          <a:pt x="149" y="312"/>
                        </a:lnTo>
                        <a:lnTo>
                          <a:pt x="148" y="308"/>
                        </a:lnTo>
                        <a:lnTo>
                          <a:pt x="147" y="304"/>
                        </a:lnTo>
                        <a:lnTo>
                          <a:pt x="146" y="299"/>
                        </a:lnTo>
                        <a:lnTo>
                          <a:pt x="146" y="294"/>
                        </a:lnTo>
                        <a:lnTo>
                          <a:pt x="146" y="289"/>
                        </a:lnTo>
                        <a:lnTo>
                          <a:pt x="142" y="284"/>
                        </a:lnTo>
                        <a:lnTo>
                          <a:pt x="139" y="279"/>
                        </a:lnTo>
                        <a:lnTo>
                          <a:pt x="137" y="274"/>
                        </a:lnTo>
                        <a:lnTo>
                          <a:pt x="134" y="268"/>
                        </a:lnTo>
                        <a:lnTo>
                          <a:pt x="132" y="263"/>
                        </a:lnTo>
                        <a:lnTo>
                          <a:pt x="130" y="259"/>
                        </a:lnTo>
                        <a:lnTo>
                          <a:pt x="128" y="255"/>
                        </a:lnTo>
                        <a:lnTo>
                          <a:pt x="125" y="251"/>
                        </a:lnTo>
                        <a:lnTo>
                          <a:pt x="123" y="247"/>
                        </a:lnTo>
                        <a:lnTo>
                          <a:pt x="121" y="243"/>
                        </a:lnTo>
                        <a:lnTo>
                          <a:pt x="119" y="240"/>
                        </a:lnTo>
                        <a:lnTo>
                          <a:pt x="117" y="236"/>
                        </a:lnTo>
                        <a:lnTo>
                          <a:pt x="116" y="233"/>
                        </a:lnTo>
                        <a:lnTo>
                          <a:pt x="114" y="230"/>
                        </a:lnTo>
                        <a:lnTo>
                          <a:pt x="112" y="227"/>
                        </a:lnTo>
                        <a:lnTo>
                          <a:pt x="110" y="224"/>
                        </a:lnTo>
                        <a:lnTo>
                          <a:pt x="109" y="221"/>
                        </a:lnTo>
                        <a:lnTo>
                          <a:pt x="107" y="219"/>
                        </a:lnTo>
                        <a:lnTo>
                          <a:pt x="105" y="217"/>
                        </a:lnTo>
                        <a:lnTo>
                          <a:pt x="104" y="215"/>
                        </a:lnTo>
                        <a:lnTo>
                          <a:pt x="101" y="213"/>
                        </a:lnTo>
                        <a:lnTo>
                          <a:pt x="100" y="211"/>
                        </a:lnTo>
                        <a:lnTo>
                          <a:pt x="98" y="209"/>
                        </a:lnTo>
                        <a:lnTo>
                          <a:pt x="97" y="208"/>
                        </a:lnTo>
                        <a:lnTo>
                          <a:pt x="96" y="207"/>
                        </a:lnTo>
                        <a:lnTo>
                          <a:pt x="94" y="205"/>
                        </a:lnTo>
                        <a:lnTo>
                          <a:pt x="93" y="204"/>
                        </a:lnTo>
                        <a:lnTo>
                          <a:pt x="91" y="204"/>
                        </a:lnTo>
                        <a:lnTo>
                          <a:pt x="90" y="204"/>
                        </a:lnTo>
                        <a:lnTo>
                          <a:pt x="88" y="203"/>
                        </a:lnTo>
                        <a:lnTo>
                          <a:pt x="87" y="203"/>
                        </a:lnTo>
                        <a:lnTo>
                          <a:pt x="86" y="203"/>
                        </a:lnTo>
                        <a:lnTo>
                          <a:pt x="84" y="203"/>
                        </a:lnTo>
                        <a:lnTo>
                          <a:pt x="83" y="203"/>
                        </a:lnTo>
                        <a:lnTo>
                          <a:pt x="82" y="204"/>
                        </a:lnTo>
                        <a:lnTo>
                          <a:pt x="80" y="204"/>
                        </a:lnTo>
                        <a:lnTo>
                          <a:pt x="79" y="204"/>
                        </a:lnTo>
                        <a:lnTo>
                          <a:pt x="78" y="205"/>
                        </a:lnTo>
                        <a:lnTo>
                          <a:pt x="76" y="207"/>
                        </a:lnTo>
                        <a:lnTo>
                          <a:pt x="75" y="208"/>
                        </a:lnTo>
                        <a:lnTo>
                          <a:pt x="73" y="209"/>
                        </a:lnTo>
                        <a:lnTo>
                          <a:pt x="72" y="211"/>
                        </a:lnTo>
                        <a:lnTo>
                          <a:pt x="71" y="213"/>
                        </a:lnTo>
                        <a:lnTo>
                          <a:pt x="69" y="215"/>
                        </a:lnTo>
                        <a:lnTo>
                          <a:pt x="67" y="217"/>
                        </a:lnTo>
                        <a:lnTo>
                          <a:pt x="66" y="219"/>
                        </a:lnTo>
                        <a:lnTo>
                          <a:pt x="64" y="221"/>
                        </a:lnTo>
                        <a:lnTo>
                          <a:pt x="62" y="224"/>
                        </a:lnTo>
                        <a:lnTo>
                          <a:pt x="59" y="227"/>
                        </a:lnTo>
                        <a:lnTo>
                          <a:pt x="58" y="230"/>
                        </a:lnTo>
                        <a:lnTo>
                          <a:pt x="56" y="233"/>
                        </a:lnTo>
                        <a:lnTo>
                          <a:pt x="54" y="236"/>
                        </a:lnTo>
                        <a:lnTo>
                          <a:pt x="52" y="240"/>
                        </a:lnTo>
                        <a:lnTo>
                          <a:pt x="50" y="243"/>
                        </a:lnTo>
                        <a:lnTo>
                          <a:pt x="48" y="247"/>
                        </a:lnTo>
                        <a:lnTo>
                          <a:pt x="47" y="251"/>
                        </a:lnTo>
                        <a:lnTo>
                          <a:pt x="44" y="255"/>
                        </a:lnTo>
                        <a:lnTo>
                          <a:pt x="42" y="259"/>
                        </a:lnTo>
                        <a:lnTo>
                          <a:pt x="40" y="263"/>
                        </a:lnTo>
                        <a:lnTo>
                          <a:pt x="37" y="268"/>
                        </a:lnTo>
                        <a:lnTo>
                          <a:pt x="35" y="274"/>
                        </a:lnTo>
                        <a:lnTo>
                          <a:pt x="33" y="279"/>
                        </a:lnTo>
                        <a:lnTo>
                          <a:pt x="30" y="284"/>
                        </a:lnTo>
                        <a:lnTo>
                          <a:pt x="27" y="289"/>
                        </a:lnTo>
                        <a:lnTo>
                          <a:pt x="24" y="292"/>
                        </a:lnTo>
                        <a:lnTo>
                          <a:pt x="22" y="294"/>
                        </a:lnTo>
                        <a:lnTo>
                          <a:pt x="19" y="297"/>
                        </a:lnTo>
                        <a:lnTo>
                          <a:pt x="17" y="300"/>
                        </a:lnTo>
                        <a:lnTo>
                          <a:pt x="15" y="302"/>
                        </a:lnTo>
                        <a:lnTo>
                          <a:pt x="13" y="305"/>
                        </a:lnTo>
                        <a:lnTo>
                          <a:pt x="11" y="308"/>
                        </a:lnTo>
                        <a:lnTo>
                          <a:pt x="10" y="311"/>
                        </a:lnTo>
                        <a:lnTo>
                          <a:pt x="8" y="313"/>
                        </a:lnTo>
                        <a:lnTo>
                          <a:pt x="7" y="316"/>
                        </a:lnTo>
                        <a:lnTo>
                          <a:pt x="6" y="319"/>
                        </a:lnTo>
                        <a:lnTo>
                          <a:pt x="5" y="321"/>
                        </a:lnTo>
                        <a:lnTo>
                          <a:pt x="4" y="324"/>
                        </a:lnTo>
                        <a:lnTo>
                          <a:pt x="3" y="326"/>
                        </a:lnTo>
                        <a:lnTo>
                          <a:pt x="2" y="332"/>
                        </a:lnTo>
                        <a:lnTo>
                          <a:pt x="1" y="337"/>
                        </a:lnTo>
                        <a:lnTo>
                          <a:pt x="0" y="343"/>
                        </a:lnTo>
                        <a:lnTo>
                          <a:pt x="0" y="349"/>
                        </a:lnTo>
                        <a:lnTo>
                          <a:pt x="1" y="354"/>
                        </a:lnTo>
                        <a:lnTo>
                          <a:pt x="1" y="360"/>
                        </a:lnTo>
                        <a:lnTo>
                          <a:pt x="2" y="365"/>
                        </a:lnTo>
                        <a:lnTo>
                          <a:pt x="3" y="370"/>
                        </a:lnTo>
                        <a:lnTo>
                          <a:pt x="5" y="375"/>
                        </a:lnTo>
                        <a:lnTo>
                          <a:pt x="6" y="381"/>
                        </a:lnTo>
                        <a:lnTo>
                          <a:pt x="8" y="386"/>
                        </a:lnTo>
                        <a:lnTo>
                          <a:pt x="11" y="397"/>
                        </a:lnTo>
                        <a:lnTo>
                          <a:pt x="15" y="408"/>
                        </a:lnTo>
                        <a:lnTo>
                          <a:pt x="18" y="418"/>
                        </a:lnTo>
                        <a:lnTo>
                          <a:pt x="21" y="425"/>
                        </a:lnTo>
                        <a:lnTo>
                          <a:pt x="22" y="430"/>
                        </a:lnTo>
                        <a:lnTo>
                          <a:pt x="23" y="435"/>
                        </a:lnTo>
                        <a:lnTo>
                          <a:pt x="25" y="441"/>
                        </a:lnTo>
                        <a:lnTo>
                          <a:pt x="26" y="446"/>
                        </a:lnTo>
                        <a:lnTo>
                          <a:pt x="26" y="451"/>
                        </a:lnTo>
                        <a:lnTo>
                          <a:pt x="27" y="457"/>
                        </a:lnTo>
                        <a:lnTo>
                          <a:pt x="27" y="462"/>
                        </a:lnTo>
                        <a:lnTo>
                          <a:pt x="33" y="452"/>
                        </a:lnTo>
                        <a:lnTo>
                          <a:pt x="40" y="442"/>
                        </a:lnTo>
                        <a:lnTo>
                          <a:pt x="48" y="433"/>
                        </a:lnTo>
                        <a:lnTo>
                          <a:pt x="56" y="424"/>
                        </a:lnTo>
                        <a:lnTo>
                          <a:pt x="67" y="416"/>
                        </a:lnTo>
                        <a:lnTo>
                          <a:pt x="77" y="408"/>
                        </a:lnTo>
                        <a:lnTo>
                          <a:pt x="88" y="402"/>
                        </a:lnTo>
                        <a:lnTo>
                          <a:pt x="99" y="396"/>
                        </a:lnTo>
                        <a:lnTo>
                          <a:pt x="112" y="391"/>
                        </a:lnTo>
                        <a:lnTo>
                          <a:pt x="125" y="386"/>
                        </a:lnTo>
                        <a:lnTo>
                          <a:pt x="138" y="382"/>
                        </a:lnTo>
                        <a:lnTo>
                          <a:pt x="153" y="378"/>
                        </a:lnTo>
                        <a:lnTo>
                          <a:pt x="167" y="375"/>
                        </a:lnTo>
                        <a:lnTo>
                          <a:pt x="181" y="372"/>
                        </a:lnTo>
                        <a:lnTo>
                          <a:pt x="196" y="370"/>
                        </a:lnTo>
                        <a:lnTo>
                          <a:pt x="211" y="369"/>
                        </a:lnTo>
                        <a:lnTo>
                          <a:pt x="227" y="367"/>
                        </a:lnTo>
                        <a:lnTo>
                          <a:pt x="243" y="367"/>
                        </a:lnTo>
                        <a:lnTo>
                          <a:pt x="257" y="367"/>
                        </a:lnTo>
                        <a:lnTo>
                          <a:pt x="274" y="367"/>
                        </a:lnTo>
                        <a:lnTo>
                          <a:pt x="289" y="368"/>
                        </a:lnTo>
                        <a:lnTo>
                          <a:pt x="304" y="369"/>
                        </a:lnTo>
                        <a:lnTo>
                          <a:pt x="319" y="371"/>
                        </a:lnTo>
                        <a:lnTo>
                          <a:pt x="334" y="373"/>
                        </a:lnTo>
                        <a:lnTo>
                          <a:pt x="350" y="375"/>
                        </a:lnTo>
                        <a:lnTo>
                          <a:pt x="364" y="378"/>
                        </a:lnTo>
                        <a:lnTo>
                          <a:pt x="373" y="381"/>
                        </a:lnTo>
                        <a:lnTo>
                          <a:pt x="373" y="381"/>
                        </a:lnTo>
                        <a:lnTo>
                          <a:pt x="373" y="384"/>
                        </a:lnTo>
                        <a:lnTo>
                          <a:pt x="373" y="386"/>
                        </a:lnTo>
                        <a:lnTo>
                          <a:pt x="373" y="390"/>
                        </a:lnTo>
                        <a:lnTo>
                          <a:pt x="373" y="394"/>
                        </a:lnTo>
                        <a:lnTo>
                          <a:pt x="373" y="397"/>
                        </a:lnTo>
                        <a:lnTo>
                          <a:pt x="373" y="402"/>
                        </a:lnTo>
                        <a:lnTo>
                          <a:pt x="373" y="407"/>
                        </a:lnTo>
                        <a:lnTo>
                          <a:pt x="373" y="411"/>
                        </a:lnTo>
                        <a:lnTo>
                          <a:pt x="373" y="417"/>
                        </a:lnTo>
                        <a:lnTo>
                          <a:pt x="379" y="411"/>
                        </a:lnTo>
                        <a:lnTo>
                          <a:pt x="383" y="407"/>
                        </a:lnTo>
                        <a:lnTo>
                          <a:pt x="388" y="402"/>
                        </a:lnTo>
                        <a:lnTo>
                          <a:pt x="393" y="397"/>
                        </a:lnTo>
                        <a:lnTo>
                          <a:pt x="397" y="394"/>
                        </a:lnTo>
                        <a:lnTo>
                          <a:pt x="401" y="390"/>
                        </a:lnTo>
                        <a:lnTo>
                          <a:pt x="402" y="389"/>
                        </a:lnTo>
                        <a:lnTo>
                          <a:pt x="404" y="390"/>
                        </a:lnTo>
                        <a:lnTo>
                          <a:pt x="417" y="394"/>
                        </a:lnTo>
                        <a:lnTo>
                          <a:pt x="428" y="399"/>
                        </a:lnTo>
                        <a:lnTo>
                          <a:pt x="433" y="401"/>
                        </a:lnTo>
                        <a:lnTo>
                          <a:pt x="433" y="401"/>
                        </a:lnTo>
                        <a:lnTo>
                          <a:pt x="433" y="401"/>
                        </a:lnTo>
                        <a:lnTo>
                          <a:pt x="433" y="402"/>
                        </a:lnTo>
                        <a:lnTo>
                          <a:pt x="436" y="402"/>
                        </a:lnTo>
                        <a:lnTo>
                          <a:pt x="441" y="404"/>
                        </a:lnTo>
                        <a:lnTo>
                          <a:pt x="452" y="404"/>
                        </a:lnTo>
                        <a:lnTo>
                          <a:pt x="462" y="404"/>
                        </a:lnTo>
                        <a:lnTo>
                          <a:pt x="474" y="404"/>
                        </a:lnTo>
                        <a:lnTo>
                          <a:pt x="484" y="403"/>
                        </a:lnTo>
                        <a:lnTo>
                          <a:pt x="494" y="402"/>
                        </a:lnTo>
                        <a:lnTo>
                          <a:pt x="499" y="402"/>
                        </a:lnTo>
                        <a:lnTo>
                          <a:pt x="503" y="401"/>
                        </a:lnTo>
                        <a:lnTo>
                          <a:pt x="508" y="401"/>
                        </a:lnTo>
                        <a:lnTo>
                          <a:pt x="513" y="401"/>
                        </a:lnTo>
                        <a:lnTo>
                          <a:pt x="517" y="401"/>
                        </a:lnTo>
                        <a:lnTo>
                          <a:pt x="521" y="401"/>
                        </a:lnTo>
                        <a:lnTo>
                          <a:pt x="525" y="401"/>
                        </a:lnTo>
                        <a:lnTo>
                          <a:pt x="528" y="401"/>
                        </a:lnTo>
                        <a:lnTo>
                          <a:pt x="531" y="400"/>
                        </a:lnTo>
                        <a:lnTo>
                          <a:pt x="533" y="400"/>
                        </a:lnTo>
                        <a:lnTo>
                          <a:pt x="536" y="399"/>
                        </a:lnTo>
                        <a:lnTo>
                          <a:pt x="538" y="398"/>
                        </a:lnTo>
                        <a:lnTo>
                          <a:pt x="540" y="398"/>
                        </a:lnTo>
                        <a:lnTo>
                          <a:pt x="542" y="397"/>
                        </a:lnTo>
                        <a:lnTo>
                          <a:pt x="544" y="396"/>
                        </a:lnTo>
                        <a:lnTo>
                          <a:pt x="545" y="395"/>
                        </a:lnTo>
                        <a:lnTo>
                          <a:pt x="546" y="393"/>
                        </a:lnTo>
                        <a:lnTo>
                          <a:pt x="548" y="392"/>
                        </a:lnTo>
                        <a:lnTo>
                          <a:pt x="549" y="390"/>
                        </a:lnTo>
                        <a:lnTo>
                          <a:pt x="550" y="388"/>
                        </a:lnTo>
                        <a:lnTo>
                          <a:pt x="550" y="385"/>
                        </a:lnTo>
                        <a:lnTo>
                          <a:pt x="551" y="383"/>
                        </a:lnTo>
                        <a:lnTo>
                          <a:pt x="551" y="381"/>
                        </a:lnTo>
                        <a:lnTo>
                          <a:pt x="551" y="378"/>
                        </a:lnTo>
                        <a:lnTo>
                          <a:pt x="552" y="374"/>
                        </a:lnTo>
                        <a:lnTo>
                          <a:pt x="552" y="374"/>
                        </a:lnTo>
                        <a:lnTo>
                          <a:pt x="552" y="373"/>
                        </a:lnTo>
                        <a:lnTo>
                          <a:pt x="555" y="370"/>
                        </a:lnTo>
                        <a:lnTo>
                          <a:pt x="556" y="366"/>
                        </a:lnTo>
                        <a:lnTo>
                          <a:pt x="558" y="361"/>
                        </a:lnTo>
                        <a:lnTo>
                          <a:pt x="558" y="357"/>
                        </a:lnTo>
                        <a:lnTo>
                          <a:pt x="559" y="352"/>
                        </a:lnTo>
                        <a:lnTo>
                          <a:pt x="559" y="347"/>
                        </a:lnTo>
                        <a:lnTo>
                          <a:pt x="556" y="343"/>
                        </a:lnTo>
                        <a:lnTo>
                          <a:pt x="554" y="341"/>
                        </a:lnTo>
                        <a:lnTo>
                          <a:pt x="554" y="340"/>
                        </a:lnTo>
                        <a:lnTo>
                          <a:pt x="554" y="339"/>
                        </a:lnTo>
                        <a:lnTo>
                          <a:pt x="554" y="336"/>
                        </a:lnTo>
                        <a:lnTo>
                          <a:pt x="555" y="334"/>
                        </a:lnTo>
                        <a:lnTo>
                          <a:pt x="555" y="332"/>
                        </a:lnTo>
                        <a:lnTo>
                          <a:pt x="556" y="330"/>
                        </a:lnTo>
                        <a:lnTo>
                          <a:pt x="557" y="328"/>
                        </a:lnTo>
                        <a:lnTo>
                          <a:pt x="559" y="325"/>
                        </a:lnTo>
                        <a:lnTo>
                          <a:pt x="560" y="324"/>
                        </a:lnTo>
                        <a:lnTo>
                          <a:pt x="561" y="322"/>
                        </a:lnTo>
                        <a:lnTo>
                          <a:pt x="564" y="318"/>
                        </a:lnTo>
                        <a:lnTo>
                          <a:pt x="568" y="315"/>
                        </a:lnTo>
                        <a:lnTo>
                          <a:pt x="572" y="312"/>
                        </a:lnTo>
                        <a:lnTo>
                          <a:pt x="576" y="309"/>
                        </a:lnTo>
                        <a:lnTo>
                          <a:pt x="581" y="306"/>
                        </a:lnTo>
                        <a:lnTo>
                          <a:pt x="586" y="304"/>
                        </a:lnTo>
                        <a:lnTo>
                          <a:pt x="590" y="301"/>
                        </a:lnTo>
                        <a:lnTo>
                          <a:pt x="597" y="300"/>
                        </a:lnTo>
                        <a:lnTo>
                          <a:pt x="602" y="298"/>
                        </a:lnTo>
                        <a:lnTo>
                          <a:pt x="608" y="296"/>
                        </a:lnTo>
                        <a:lnTo>
                          <a:pt x="613" y="295"/>
                        </a:lnTo>
                        <a:lnTo>
                          <a:pt x="619" y="294"/>
                        </a:lnTo>
                        <a:lnTo>
                          <a:pt x="624" y="292"/>
                        </a:lnTo>
                        <a:lnTo>
                          <a:pt x="629" y="291"/>
                        </a:lnTo>
                        <a:lnTo>
                          <a:pt x="636" y="291"/>
                        </a:lnTo>
                        <a:lnTo>
                          <a:pt x="640" y="290"/>
                        </a:lnTo>
                        <a:lnTo>
                          <a:pt x="646" y="289"/>
                        </a:lnTo>
                        <a:lnTo>
                          <a:pt x="650" y="289"/>
                        </a:lnTo>
                        <a:lnTo>
                          <a:pt x="654" y="288"/>
                        </a:lnTo>
                        <a:lnTo>
                          <a:pt x="658" y="288"/>
                        </a:lnTo>
                        <a:lnTo>
                          <a:pt x="662" y="288"/>
                        </a:lnTo>
                        <a:lnTo>
                          <a:pt x="665" y="288"/>
                        </a:lnTo>
                        <a:lnTo>
                          <a:pt x="666" y="288"/>
                        </a:lnTo>
                        <a:lnTo>
                          <a:pt x="668" y="288"/>
                        </a:lnTo>
                        <a:lnTo>
                          <a:pt x="669" y="288"/>
                        </a:lnTo>
                        <a:lnTo>
                          <a:pt x="670" y="288"/>
                        </a:lnTo>
                        <a:lnTo>
                          <a:pt x="671" y="288"/>
                        </a:lnTo>
                        <a:lnTo>
                          <a:pt x="671" y="288"/>
                        </a:lnTo>
                        <a:lnTo>
                          <a:pt x="672" y="288"/>
                        </a:lnTo>
                        <a:lnTo>
                          <a:pt x="673" y="288"/>
                        </a:lnTo>
                        <a:lnTo>
                          <a:pt x="679" y="288"/>
                        </a:lnTo>
                        <a:lnTo>
                          <a:pt x="684" y="287"/>
                        </a:lnTo>
                        <a:lnTo>
                          <a:pt x="689" y="287"/>
                        </a:lnTo>
                        <a:lnTo>
                          <a:pt x="693" y="285"/>
                        </a:lnTo>
                        <a:lnTo>
                          <a:pt x="697" y="284"/>
                        </a:lnTo>
                        <a:lnTo>
                          <a:pt x="701" y="283"/>
                        </a:lnTo>
                        <a:lnTo>
                          <a:pt x="704" y="281"/>
                        </a:lnTo>
                        <a:lnTo>
                          <a:pt x="708" y="279"/>
                        </a:lnTo>
                        <a:lnTo>
                          <a:pt x="711" y="277"/>
                        </a:lnTo>
                        <a:lnTo>
                          <a:pt x="713" y="275"/>
                        </a:lnTo>
                        <a:lnTo>
                          <a:pt x="716" y="272"/>
                        </a:lnTo>
                        <a:lnTo>
                          <a:pt x="719" y="270"/>
                        </a:lnTo>
                        <a:lnTo>
                          <a:pt x="721" y="266"/>
                        </a:lnTo>
                        <a:lnTo>
                          <a:pt x="723" y="264"/>
                        </a:lnTo>
                        <a:lnTo>
                          <a:pt x="724" y="261"/>
                        </a:lnTo>
                        <a:lnTo>
                          <a:pt x="726" y="259"/>
                        </a:lnTo>
                        <a:lnTo>
                          <a:pt x="727" y="256"/>
                        </a:lnTo>
                        <a:lnTo>
                          <a:pt x="728" y="253"/>
                        </a:lnTo>
                        <a:lnTo>
                          <a:pt x="729" y="251"/>
                        </a:lnTo>
                        <a:lnTo>
                          <a:pt x="730" y="248"/>
                        </a:lnTo>
                        <a:lnTo>
                          <a:pt x="731" y="246"/>
                        </a:lnTo>
                        <a:lnTo>
                          <a:pt x="732" y="243"/>
                        </a:lnTo>
                        <a:lnTo>
                          <a:pt x="732" y="241"/>
                        </a:lnTo>
                        <a:lnTo>
                          <a:pt x="733" y="239"/>
                        </a:lnTo>
                        <a:lnTo>
                          <a:pt x="733" y="237"/>
                        </a:lnTo>
                        <a:lnTo>
                          <a:pt x="733" y="236"/>
                        </a:lnTo>
                        <a:lnTo>
                          <a:pt x="733" y="234"/>
                        </a:lnTo>
                        <a:lnTo>
                          <a:pt x="733" y="233"/>
                        </a:lnTo>
                        <a:lnTo>
                          <a:pt x="733" y="232"/>
                        </a:lnTo>
                        <a:lnTo>
                          <a:pt x="733" y="231"/>
                        </a:lnTo>
                        <a:lnTo>
                          <a:pt x="734" y="231"/>
                        </a:lnTo>
                        <a:lnTo>
                          <a:pt x="734" y="236"/>
                        </a:lnTo>
                        <a:lnTo>
                          <a:pt x="734" y="240"/>
                        </a:lnTo>
                        <a:lnTo>
                          <a:pt x="734" y="244"/>
                        </a:lnTo>
                        <a:lnTo>
                          <a:pt x="734" y="245"/>
                        </a:lnTo>
                        <a:lnTo>
                          <a:pt x="734" y="246"/>
                        </a:lnTo>
                        <a:lnTo>
                          <a:pt x="734" y="247"/>
                        </a:lnTo>
                        <a:lnTo>
                          <a:pt x="734" y="249"/>
                        </a:lnTo>
                        <a:lnTo>
                          <a:pt x="733" y="251"/>
                        </a:lnTo>
                        <a:lnTo>
                          <a:pt x="733" y="252"/>
                        </a:lnTo>
                        <a:lnTo>
                          <a:pt x="733" y="254"/>
                        </a:lnTo>
                        <a:lnTo>
                          <a:pt x="732" y="257"/>
                        </a:lnTo>
                        <a:lnTo>
                          <a:pt x="732" y="259"/>
                        </a:lnTo>
                        <a:lnTo>
                          <a:pt x="731" y="262"/>
                        </a:lnTo>
                        <a:lnTo>
                          <a:pt x="730" y="264"/>
                        </a:lnTo>
                        <a:lnTo>
                          <a:pt x="729" y="267"/>
                        </a:lnTo>
                        <a:lnTo>
                          <a:pt x="728" y="270"/>
                        </a:lnTo>
                        <a:lnTo>
                          <a:pt x="726" y="273"/>
                        </a:lnTo>
                        <a:lnTo>
                          <a:pt x="725" y="276"/>
                        </a:lnTo>
                        <a:lnTo>
                          <a:pt x="724" y="278"/>
                        </a:lnTo>
                        <a:lnTo>
                          <a:pt x="722" y="281"/>
                        </a:lnTo>
                        <a:lnTo>
                          <a:pt x="720" y="283"/>
                        </a:lnTo>
                        <a:lnTo>
                          <a:pt x="716" y="286"/>
                        </a:lnTo>
                        <a:lnTo>
                          <a:pt x="714" y="288"/>
                        </a:lnTo>
                        <a:lnTo>
                          <a:pt x="711" y="290"/>
                        </a:lnTo>
                        <a:lnTo>
                          <a:pt x="708" y="292"/>
                        </a:lnTo>
                        <a:lnTo>
                          <a:pt x="705" y="294"/>
                        </a:lnTo>
                        <a:lnTo>
                          <a:pt x="701" y="296"/>
                        </a:lnTo>
                        <a:lnTo>
                          <a:pt x="698" y="298"/>
                        </a:lnTo>
                        <a:lnTo>
                          <a:pt x="694" y="299"/>
                        </a:lnTo>
                        <a:lnTo>
                          <a:pt x="689" y="300"/>
                        </a:lnTo>
                        <a:lnTo>
                          <a:pt x="685" y="301"/>
                        </a:lnTo>
                        <a:lnTo>
                          <a:pt x="679" y="301"/>
                        </a:lnTo>
                        <a:lnTo>
                          <a:pt x="685" y="301"/>
                        </a:lnTo>
                        <a:lnTo>
                          <a:pt x="689" y="301"/>
                        </a:lnTo>
                        <a:lnTo>
                          <a:pt x="694" y="301"/>
                        </a:lnTo>
                        <a:lnTo>
                          <a:pt x="698" y="301"/>
                        </a:lnTo>
                        <a:lnTo>
                          <a:pt x="701" y="301"/>
                        </a:lnTo>
                        <a:lnTo>
                          <a:pt x="705" y="301"/>
                        </a:lnTo>
                        <a:lnTo>
                          <a:pt x="708" y="301"/>
                        </a:lnTo>
                        <a:lnTo>
                          <a:pt x="711" y="301"/>
                        </a:lnTo>
                        <a:lnTo>
                          <a:pt x="714" y="301"/>
                        </a:lnTo>
                        <a:lnTo>
                          <a:pt x="716" y="301"/>
                        </a:lnTo>
                        <a:lnTo>
                          <a:pt x="720" y="301"/>
                        </a:lnTo>
                        <a:lnTo>
                          <a:pt x="722" y="301"/>
                        </a:lnTo>
                        <a:lnTo>
                          <a:pt x="724" y="301"/>
                        </a:lnTo>
                        <a:lnTo>
                          <a:pt x="725" y="301"/>
                        </a:lnTo>
                        <a:lnTo>
                          <a:pt x="726" y="301"/>
                        </a:lnTo>
                        <a:lnTo>
                          <a:pt x="728" y="301"/>
                        </a:lnTo>
                        <a:lnTo>
                          <a:pt x="729" y="301"/>
                        </a:lnTo>
                        <a:lnTo>
                          <a:pt x="730" y="301"/>
                        </a:lnTo>
                        <a:lnTo>
                          <a:pt x="731" y="301"/>
                        </a:lnTo>
                        <a:lnTo>
                          <a:pt x="732" y="301"/>
                        </a:lnTo>
                        <a:lnTo>
                          <a:pt x="732" y="301"/>
                        </a:lnTo>
                        <a:lnTo>
                          <a:pt x="733" y="301"/>
                        </a:lnTo>
                        <a:lnTo>
                          <a:pt x="734" y="301"/>
                        </a:lnTo>
                        <a:lnTo>
                          <a:pt x="734" y="301"/>
                        </a:lnTo>
                        <a:lnTo>
                          <a:pt x="734" y="301"/>
                        </a:lnTo>
                        <a:lnTo>
                          <a:pt x="734" y="300"/>
                        </a:lnTo>
                        <a:lnTo>
                          <a:pt x="734" y="300"/>
                        </a:lnTo>
                        <a:lnTo>
                          <a:pt x="734" y="299"/>
                        </a:lnTo>
                        <a:lnTo>
                          <a:pt x="734" y="299"/>
                        </a:lnTo>
                        <a:lnTo>
                          <a:pt x="734" y="298"/>
                        </a:lnTo>
                        <a:lnTo>
                          <a:pt x="734" y="297"/>
                        </a:lnTo>
                        <a:lnTo>
                          <a:pt x="734" y="296"/>
                        </a:lnTo>
                        <a:lnTo>
                          <a:pt x="734" y="294"/>
                        </a:lnTo>
                        <a:lnTo>
                          <a:pt x="734" y="293"/>
                        </a:lnTo>
                        <a:lnTo>
                          <a:pt x="734" y="291"/>
                        </a:lnTo>
                        <a:lnTo>
                          <a:pt x="734" y="289"/>
                        </a:lnTo>
                        <a:lnTo>
                          <a:pt x="734" y="288"/>
                        </a:lnTo>
                        <a:lnTo>
                          <a:pt x="739" y="288"/>
                        </a:lnTo>
                        <a:lnTo>
                          <a:pt x="744" y="288"/>
                        </a:lnTo>
                        <a:lnTo>
                          <a:pt x="749" y="288"/>
                        </a:lnTo>
                        <a:lnTo>
                          <a:pt x="754" y="287"/>
                        </a:lnTo>
                        <a:lnTo>
                          <a:pt x="760" y="287"/>
                        </a:lnTo>
                        <a:lnTo>
                          <a:pt x="764" y="287"/>
                        </a:lnTo>
                        <a:lnTo>
                          <a:pt x="769" y="286"/>
                        </a:lnTo>
                        <a:lnTo>
                          <a:pt x="773" y="285"/>
                        </a:lnTo>
                        <a:lnTo>
                          <a:pt x="777" y="285"/>
                        </a:lnTo>
                        <a:lnTo>
                          <a:pt x="782" y="284"/>
                        </a:lnTo>
                        <a:lnTo>
                          <a:pt x="785" y="283"/>
                        </a:lnTo>
                        <a:lnTo>
                          <a:pt x="789" y="283"/>
                        </a:lnTo>
                        <a:lnTo>
                          <a:pt x="793" y="282"/>
                        </a:lnTo>
                        <a:lnTo>
                          <a:pt x="797" y="281"/>
                        </a:lnTo>
                        <a:lnTo>
                          <a:pt x="804" y="279"/>
                        </a:lnTo>
                        <a:lnTo>
                          <a:pt x="810" y="277"/>
                        </a:lnTo>
                        <a:lnTo>
                          <a:pt x="816" y="275"/>
                        </a:lnTo>
                        <a:lnTo>
                          <a:pt x="822" y="272"/>
                        </a:lnTo>
                        <a:lnTo>
                          <a:pt x="826" y="271"/>
                        </a:lnTo>
                        <a:lnTo>
                          <a:pt x="825" y="271"/>
                        </a:lnTo>
                        <a:lnTo>
                          <a:pt x="822" y="274"/>
                        </a:lnTo>
                        <a:lnTo>
                          <a:pt x="818" y="277"/>
                        </a:lnTo>
                        <a:lnTo>
                          <a:pt x="815" y="280"/>
                        </a:lnTo>
                        <a:lnTo>
                          <a:pt x="812" y="283"/>
                        </a:lnTo>
                        <a:lnTo>
                          <a:pt x="809" y="285"/>
                        </a:lnTo>
                        <a:lnTo>
                          <a:pt x="806" y="288"/>
                        </a:lnTo>
                        <a:lnTo>
                          <a:pt x="803" y="289"/>
                        </a:lnTo>
                        <a:lnTo>
                          <a:pt x="800" y="291"/>
                        </a:lnTo>
                        <a:lnTo>
                          <a:pt x="796" y="293"/>
                        </a:lnTo>
                        <a:lnTo>
                          <a:pt x="794" y="294"/>
                        </a:lnTo>
                        <a:lnTo>
                          <a:pt x="791" y="296"/>
                        </a:lnTo>
                        <a:lnTo>
                          <a:pt x="788" y="297"/>
                        </a:lnTo>
                        <a:lnTo>
                          <a:pt x="788" y="297"/>
                        </a:lnTo>
                        <a:lnTo>
                          <a:pt x="788" y="297"/>
                        </a:lnTo>
                        <a:lnTo>
                          <a:pt x="788" y="297"/>
                        </a:lnTo>
                        <a:lnTo>
                          <a:pt x="790" y="296"/>
                        </a:lnTo>
                        <a:lnTo>
                          <a:pt x="793" y="295"/>
                        </a:lnTo>
                        <a:lnTo>
                          <a:pt x="797" y="294"/>
                        </a:lnTo>
                        <a:lnTo>
                          <a:pt x="805" y="292"/>
                        </a:lnTo>
                        <a:lnTo>
                          <a:pt x="811" y="290"/>
                        </a:lnTo>
                        <a:lnTo>
                          <a:pt x="817" y="288"/>
                        </a:lnTo>
                        <a:lnTo>
                          <a:pt x="822" y="286"/>
                        </a:lnTo>
                        <a:lnTo>
                          <a:pt x="828" y="283"/>
                        </a:lnTo>
                        <a:lnTo>
                          <a:pt x="833" y="281"/>
                        </a:lnTo>
                        <a:lnTo>
                          <a:pt x="837" y="278"/>
                        </a:lnTo>
                        <a:lnTo>
                          <a:pt x="843" y="276"/>
                        </a:lnTo>
                        <a:lnTo>
                          <a:pt x="847" y="273"/>
                        </a:lnTo>
                        <a:lnTo>
                          <a:pt x="851" y="270"/>
                        </a:lnTo>
                        <a:lnTo>
                          <a:pt x="855" y="267"/>
                        </a:lnTo>
                        <a:lnTo>
                          <a:pt x="862" y="262"/>
                        </a:lnTo>
                        <a:lnTo>
                          <a:pt x="866" y="259"/>
                        </a:lnTo>
                        <a:lnTo>
                          <a:pt x="870" y="257"/>
                        </a:lnTo>
                        <a:lnTo>
                          <a:pt x="873" y="254"/>
                        </a:lnTo>
                        <a:lnTo>
                          <a:pt x="877" y="252"/>
                        </a:lnTo>
                        <a:lnTo>
                          <a:pt x="882" y="251"/>
                        </a:lnTo>
                        <a:lnTo>
                          <a:pt x="886" y="249"/>
                        </a:lnTo>
                        <a:lnTo>
                          <a:pt x="890" y="247"/>
                        </a:lnTo>
                        <a:lnTo>
                          <a:pt x="894" y="246"/>
                        </a:lnTo>
                        <a:lnTo>
                          <a:pt x="899" y="245"/>
                        </a:lnTo>
                        <a:lnTo>
                          <a:pt x="903" y="244"/>
                        </a:lnTo>
                        <a:lnTo>
                          <a:pt x="909" y="244"/>
                        </a:lnTo>
                        <a:lnTo>
                          <a:pt x="914" y="243"/>
                        </a:lnTo>
                        <a:lnTo>
                          <a:pt x="909" y="243"/>
                        </a:lnTo>
                        <a:lnTo>
                          <a:pt x="904" y="243"/>
                        </a:lnTo>
                        <a:lnTo>
                          <a:pt x="899" y="243"/>
                        </a:lnTo>
                        <a:lnTo>
                          <a:pt x="895" y="243"/>
                        </a:lnTo>
                        <a:lnTo>
                          <a:pt x="890" y="243"/>
                        </a:lnTo>
                        <a:lnTo>
                          <a:pt x="886" y="243"/>
                        </a:lnTo>
                        <a:lnTo>
                          <a:pt x="883" y="243"/>
                        </a:lnTo>
                        <a:lnTo>
                          <a:pt x="879" y="243"/>
                        </a:lnTo>
                        <a:lnTo>
                          <a:pt x="876" y="243"/>
                        </a:lnTo>
                        <a:lnTo>
                          <a:pt x="873" y="243"/>
                        </a:lnTo>
                        <a:lnTo>
                          <a:pt x="872" y="243"/>
                        </a:lnTo>
                        <a:lnTo>
                          <a:pt x="874" y="242"/>
                        </a:lnTo>
                        <a:lnTo>
                          <a:pt x="879" y="240"/>
                        </a:lnTo>
                        <a:lnTo>
                          <a:pt x="885" y="236"/>
                        </a:lnTo>
                        <a:lnTo>
                          <a:pt x="885" y="236"/>
                        </a:lnTo>
                        <a:lnTo>
                          <a:pt x="885" y="236"/>
                        </a:lnTo>
                        <a:lnTo>
                          <a:pt x="889" y="234"/>
                        </a:lnTo>
                        <a:lnTo>
                          <a:pt x="894" y="233"/>
                        </a:lnTo>
                        <a:lnTo>
                          <a:pt x="898" y="232"/>
                        </a:lnTo>
                        <a:lnTo>
                          <a:pt x="903" y="231"/>
                        </a:lnTo>
                        <a:lnTo>
                          <a:pt x="908" y="230"/>
                        </a:lnTo>
                        <a:lnTo>
                          <a:pt x="913" y="230"/>
                        </a:lnTo>
                        <a:lnTo>
                          <a:pt x="913" y="230"/>
                        </a:lnTo>
                        <a:lnTo>
                          <a:pt x="913" y="229"/>
                        </a:lnTo>
                        <a:lnTo>
                          <a:pt x="913" y="228"/>
                        </a:lnTo>
                        <a:lnTo>
                          <a:pt x="913" y="227"/>
                        </a:lnTo>
                        <a:lnTo>
                          <a:pt x="913" y="225"/>
                        </a:lnTo>
                        <a:lnTo>
                          <a:pt x="913" y="224"/>
                        </a:lnTo>
                        <a:lnTo>
                          <a:pt x="913" y="222"/>
                        </a:lnTo>
                        <a:lnTo>
                          <a:pt x="913" y="219"/>
                        </a:lnTo>
                        <a:lnTo>
                          <a:pt x="913" y="217"/>
                        </a:lnTo>
                        <a:lnTo>
                          <a:pt x="913" y="215"/>
                        </a:lnTo>
                        <a:lnTo>
                          <a:pt x="913" y="213"/>
                        </a:lnTo>
                        <a:lnTo>
                          <a:pt x="913" y="207"/>
                        </a:lnTo>
                        <a:lnTo>
                          <a:pt x="913" y="202"/>
                        </a:lnTo>
                        <a:lnTo>
                          <a:pt x="913" y="197"/>
                        </a:lnTo>
                        <a:lnTo>
                          <a:pt x="913" y="191"/>
                        </a:lnTo>
                        <a:lnTo>
                          <a:pt x="913" y="188"/>
                        </a:lnTo>
                        <a:lnTo>
                          <a:pt x="913" y="186"/>
                        </a:lnTo>
                        <a:lnTo>
                          <a:pt x="913" y="184"/>
                        </a:lnTo>
                        <a:lnTo>
                          <a:pt x="913" y="182"/>
                        </a:lnTo>
                        <a:lnTo>
                          <a:pt x="913" y="180"/>
                        </a:lnTo>
                        <a:lnTo>
                          <a:pt x="913" y="178"/>
                        </a:lnTo>
                        <a:lnTo>
                          <a:pt x="913" y="177"/>
                        </a:lnTo>
                        <a:lnTo>
                          <a:pt x="913" y="175"/>
                        </a:lnTo>
                        <a:lnTo>
                          <a:pt x="913" y="174"/>
                        </a:lnTo>
                        <a:lnTo>
                          <a:pt x="913" y="174"/>
                        </a:lnTo>
                        <a:lnTo>
                          <a:pt x="913" y="173"/>
                        </a:lnTo>
                        <a:lnTo>
                          <a:pt x="913" y="173"/>
                        </a:lnTo>
                        <a:lnTo>
                          <a:pt x="919" y="173"/>
                        </a:lnTo>
                        <a:lnTo>
                          <a:pt x="924" y="173"/>
                        </a:lnTo>
                        <a:lnTo>
                          <a:pt x="929" y="173"/>
                        </a:lnTo>
                        <a:lnTo>
                          <a:pt x="934" y="173"/>
                        </a:lnTo>
                        <a:lnTo>
                          <a:pt x="938" y="173"/>
                        </a:lnTo>
                        <a:lnTo>
                          <a:pt x="942" y="173"/>
                        </a:lnTo>
                        <a:lnTo>
                          <a:pt x="945" y="173"/>
                        </a:lnTo>
                        <a:lnTo>
                          <a:pt x="948" y="173"/>
                        </a:lnTo>
                        <a:lnTo>
                          <a:pt x="951" y="173"/>
                        </a:lnTo>
                        <a:lnTo>
                          <a:pt x="954" y="173"/>
                        </a:lnTo>
                        <a:lnTo>
                          <a:pt x="957" y="173"/>
                        </a:lnTo>
                        <a:lnTo>
                          <a:pt x="958" y="173"/>
                        </a:lnTo>
                        <a:lnTo>
                          <a:pt x="960" y="173"/>
                        </a:lnTo>
                        <a:lnTo>
                          <a:pt x="962" y="173"/>
                        </a:lnTo>
                        <a:lnTo>
                          <a:pt x="965" y="173"/>
                        </a:lnTo>
                        <a:lnTo>
                          <a:pt x="967" y="173"/>
                        </a:lnTo>
                        <a:lnTo>
                          <a:pt x="968" y="173"/>
                        </a:lnTo>
                        <a:lnTo>
                          <a:pt x="969" y="173"/>
                        </a:lnTo>
                        <a:lnTo>
                          <a:pt x="970" y="173"/>
                        </a:lnTo>
                        <a:lnTo>
                          <a:pt x="971" y="173"/>
                        </a:lnTo>
                        <a:lnTo>
                          <a:pt x="971" y="173"/>
                        </a:lnTo>
                        <a:lnTo>
                          <a:pt x="972" y="173"/>
                        </a:lnTo>
                        <a:lnTo>
                          <a:pt x="973" y="173"/>
                        </a:lnTo>
                        <a:lnTo>
                          <a:pt x="973" y="173"/>
                        </a:lnTo>
                        <a:lnTo>
                          <a:pt x="974" y="173"/>
                        </a:lnTo>
                        <a:lnTo>
                          <a:pt x="974" y="173"/>
                        </a:lnTo>
                        <a:lnTo>
                          <a:pt x="975" y="173"/>
                        </a:lnTo>
                        <a:lnTo>
                          <a:pt x="977" y="173"/>
                        </a:lnTo>
                        <a:lnTo>
                          <a:pt x="978" y="173"/>
                        </a:lnTo>
                        <a:lnTo>
                          <a:pt x="980" y="173"/>
                        </a:lnTo>
                        <a:lnTo>
                          <a:pt x="982" y="174"/>
                        </a:lnTo>
                        <a:lnTo>
                          <a:pt x="984" y="174"/>
                        </a:lnTo>
                        <a:lnTo>
                          <a:pt x="986" y="174"/>
                        </a:lnTo>
                        <a:lnTo>
                          <a:pt x="989" y="175"/>
                        </a:lnTo>
                        <a:lnTo>
                          <a:pt x="992" y="175"/>
                        </a:lnTo>
                        <a:lnTo>
                          <a:pt x="995" y="176"/>
                        </a:lnTo>
                        <a:lnTo>
                          <a:pt x="999" y="177"/>
                        </a:lnTo>
                        <a:lnTo>
                          <a:pt x="1003" y="178"/>
                        </a:lnTo>
                        <a:lnTo>
                          <a:pt x="1008" y="179"/>
                        </a:lnTo>
                        <a:lnTo>
                          <a:pt x="1011" y="180"/>
                        </a:lnTo>
                        <a:lnTo>
                          <a:pt x="1016" y="181"/>
                        </a:lnTo>
                        <a:lnTo>
                          <a:pt x="1020" y="183"/>
                        </a:lnTo>
                        <a:lnTo>
                          <a:pt x="1025" y="185"/>
                        </a:lnTo>
                        <a:lnTo>
                          <a:pt x="1029" y="187"/>
                        </a:lnTo>
                        <a:lnTo>
                          <a:pt x="1034" y="189"/>
                        </a:lnTo>
                        <a:lnTo>
                          <a:pt x="1039" y="191"/>
                        </a:lnTo>
                        <a:lnTo>
                          <a:pt x="1044" y="195"/>
                        </a:lnTo>
                        <a:lnTo>
                          <a:pt x="1050" y="198"/>
                        </a:lnTo>
                        <a:lnTo>
                          <a:pt x="1055" y="201"/>
                        </a:lnTo>
                        <a:lnTo>
                          <a:pt x="1060" y="204"/>
                        </a:lnTo>
                        <a:lnTo>
                          <a:pt x="1066" y="208"/>
                        </a:lnTo>
                        <a:lnTo>
                          <a:pt x="1071" y="212"/>
                        </a:lnTo>
                        <a:lnTo>
                          <a:pt x="1077" y="216"/>
                        </a:lnTo>
                        <a:lnTo>
                          <a:pt x="1082" y="220"/>
                        </a:lnTo>
                        <a:lnTo>
                          <a:pt x="1089" y="225"/>
                        </a:lnTo>
                        <a:lnTo>
                          <a:pt x="1094" y="230"/>
                        </a:lnTo>
                        <a:lnTo>
                          <a:pt x="1099" y="230"/>
                        </a:lnTo>
                        <a:lnTo>
                          <a:pt x="1105" y="230"/>
                        </a:lnTo>
                        <a:lnTo>
                          <a:pt x="1109" y="230"/>
                        </a:lnTo>
                        <a:lnTo>
                          <a:pt x="1114" y="230"/>
                        </a:lnTo>
                        <a:lnTo>
                          <a:pt x="1118" y="230"/>
                        </a:lnTo>
                        <a:lnTo>
                          <a:pt x="1121" y="230"/>
                        </a:lnTo>
                        <a:lnTo>
                          <a:pt x="1125" y="230"/>
                        </a:lnTo>
                        <a:lnTo>
                          <a:pt x="1129" y="230"/>
                        </a:lnTo>
                        <a:lnTo>
                          <a:pt x="1132" y="230"/>
                        </a:lnTo>
                        <a:lnTo>
                          <a:pt x="1135" y="230"/>
                        </a:lnTo>
                        <a:lnTo>
                          <a:pt x="1137" y="230"/>
                        </a:lnTo>
                        <a:lnTo>
                          <a:pt x="1140" y="230"/>
                        </a:lnTo>
                        <a:lnTo>
                          <a:pt x="1142" y="230"/>
                        </a:lnTo>
                        <a:lnTo>
                          <a:pt x="1143" y="230"/>
                        </a:lnTo>
                        <a:lnTo>
                          <a:pt x="1145" y="230"/>
                        </a:lnTo>
                        <a:lnTo>
                          <a:pt x="1146" y="230"/>
                        </a:lnTo>
                        <a:lnTo>
                          <a:pt x="1148" y="230"/>
                        </a:lnTo>
                        <a:lnTo>
                          <a:pt x="1148" y="230"/>
                        </a:lnTo>
                        <a:lnTo>
                          <a:pt x="1150" y="231"/>
                        </a:lnTo>
                        <a:lnTo>
                          <a:pt x="1154" y="233"/>
                        </a:lnTo>
                        <a:lnTo>
                          <a:pt x="1154" y="236"/>
                        </a:lnTo>
                        <a:lnTo>
                          <a:pt x="1155" y="240"/>
                        </a:lnTo>
                        <a:lnTo>
                          <a:pt x="1155" y="245"/>
                        </a:lnTo>
                        <a:lnTo>
                          <a:pt x="1156" y="249"/>
                        </a:lnTo>
                        <a:lnTo>
                          <a:pt x="1158" y="253"/>
                        </a:lnTo>
                        <a:lnTo>
                          <a:pt x="1159" y="256"/>
                        </a:lnTo>
                        <a:lnTo>
                          <a:pt x="1161" y="260"/>
                        </a:lnTo>
                        <a:lnTo>
                          <a:pt x="1163" y="263"/>
                        </a:lnTo>
                        <a:lnTo>
                          <a:pt x="1164" y="265"/>
                        </a:lnTo>
                        <a:lnTo>
                          <a:pt x="1163" y="264"/>
                        </a:lnTo>
                        <a:lnTo>
                          <a:pt x="1158" y="262"/>
                        </a:lnTo>
                        <a:lnTo>
                          <a:pt x="1157" y="261"/>
                        </a:lnTo>
                        <a:lnTo>
                          <a:pt x="1156" y="258"/>
                        </a:lnTo>
                        <a:lnTo>
                          <a:pt x="1155" y="253"/>
                        </a:lnTo>
                        <a:lnTo>
                          <a:pt x="1155" y="249"/>
                        </a:lnTo>
                        <a:lnTo>
                          <a:pt x="1155" y="243"/>
                        </a:lnTo>
                        <a:lnTo>
                          <a:pt x="1154" y="243"/>
                        </a:lnTo>
                        <a:lnTo>
                          <a:pt x="1154" y="243"/>
                        </a:lnTo>
                        <a:lnTo>
                          <a:pt x="1153" y="243"/>
                        </a:lnTo>
                        <a:lnTo>
                          <a:pt x="1152" y="243"/>
                        </a:lnTo>
                        <a:lnTo>
                          <a:pt x="1151" y="243"/>
                        </a:lnTo>
                        <a:lnTo>
                          <a:pt x="1150" y="243"/>
                        </a:lnTo>
                        <a:lnTo>
                          <a:pt x="1149" y="243"/>
                        </a:lnTo>
                        <a:lnTo>
                          <a:pt x="1148" y="243"/>
                        </a:lnTo>
                        <a:lnTo>
                          <a:pt x="1147" y="243"/>
                        </a:lnTo>
                        <a:lnTo>
                          <a:pt x="1145" y="243"/>
                        </a:lnTo>
                        <a:lnTo>
                          <a:pt x="1144" y="243"/>
                        </a:lnTo>
                        <a:lnTo>
                          <a:pt x="1142" y="243"/>
                        </a:lnTo>
                        <a:lnTo>
                          <a:pt x="1140" y="243"/>
                        </a:lnTo>
                        <a:lnTo>
                          <a:pt x="1138" y="243"/>
                        </a:lnTo>
                        <a:lnTo>
                          <a:pt x="1135" y="243"/>
                        </a:lnTo>
                        <a:lnTo>
                          <a:pt x="1132" y="243"/>
                        </a:lnTo>
                        <a:lnTo>
                          <a:pt x="1130" y="243"/>
                        </a:lnTo>
                        <a:lnTo>
                          <a:pt x="1125" y="243"/>
                        </a:lnTo>
                        <a:lnTo>
                          <a:pt x="1122" y="243"/>
                        </a:lnTo>
                        <a:lnTo>
                          <a:pt x="1118" y="243"/>
                        </a:lnTo>
                        <a:lnTo>
                          <a:pt x="1114" y="243"/>
                        </a:lnTo>
                        <a:lnTo>
                          <a:pt x="1110" y="243"/>
                        </a:lnTo>
                        <a:lnTo>
                          <a:pt x="1105" y="243"/>
                        </a:lnTo>
                        <a:lnTo>
                          <a:pt x="1100" y="243"/>
                        </a:lnTo>
                        <a:lnTo>
                          <a:pt x="1094" y="243"/>
                        </a:lnTo>
                        <a:lnTo>
                          <a:pt x="1100" y="244"/>
                        </a:lnTo>
                        <a:lnTo>
                          <a:pt x="1106" y="244"/>
                        </a:lnTo>
                        <a:lnTo>
                          <a:pt x="1111" y="245"/>
                        </a:lnTo>
                        <a:lnTo>
                          <a:pt x="1117" y="246"/>
                        </a:lnTo>
                        <a:lnTo>
                          <a:pt x="1122" y="247"/>
                        </a:lnTo>
                        <a:lnTo>
                          <a:pt x="1128" y="249"/>
                        </a:lnTo>
                        <a:lnTo>
                          <a:pt x="1133" y="251"/>
                        </a:lnTo>
                        <a:lnTo>
                          <a:pt x="1139" y="252"/>
                        </a:lnTo>
                        <a:lnTo>
                          <a:pt x="1144" y="254"/>
                        </a:lnTo>
                        <a:lnTo>
                          <a:pt x="1149" y="257"/>
                        </a:lnTo>
                        <a:lnTo>
                          <a:pt x="1154" y="259"/>
                        </a:lnTo>
                        <a:lnTo>
                          <a:pt x="1157" y="261"/>
                        </a:lnTo>
                        <a:lnTo>
                          <a:pt x="1157" y="262"/>
                        </a:lnTo>
                        <a:lnTo>
                          <a:pt x="1158" y="266"/>
                        </a:lnTo>
                        <a:lnTo>
                          <a:pt x="1160" y="271"/>
                        </a:lnTo>
                        <a:lnTo>
                          <a:pt x="1161" y="274"/>
                        </a:lnTo>
                        <a:lnTo>
                          <a:pt x="1164" y="277"/>
                        </a:lnTo>
                        <a:lnTo>
                          <a:pt x="1166" y="280"/>
                        </a:lnTo>
                        <a:lnTo>
                          <a:pt x="1169" y="283"/>
                        </a:lnTo>
                        <a:lnTo>
                          <a:pt x="1171" y="285"/>
                        </a:lnTo>
                        <a:lnTo>
                          <a:pt x="1174" y="288"/>
                        </a:lnTo>
                        <a:lnTo>
                          <a:pt x="1177" y="289"/>
                        </a:lnTo>
                        <a:lnTo>
                          <a:pt x="1179" y="291"/>
                        </a:lnTo>
                        <a:lnTo>
                          <a:pt x="1182" y="293"/>
                        </a:lnTo>
                        <a:lnTo>
                          <a:pt x="1185" y="294"/>
                        </a:lnTo>
                        <a:lnTo>
                          <a:pt x="1187" y="296"/>
                        </a:lnTo>
                        <a:lnTo>
                          <a:pt x="1190" y="297"/>
                        </a:lnTo>
                        <a:lnTo>
                          <a:pt x="1192" y="298"/>
                        </a:lnTo>
                        <a:lnTo>
                          <a:pt x="1195" y="299"/>
                        </a:lnTo>
                        <a:lnTo>
                          <a:pt x="1198" y="299"/>
                        </a:lnTo>
                        <a:lnTo>
                          <a:pt x="1200" y="300"/>
                        </a:lnTo>
                        <a:lnTo>
                          <a:pt x="1203" y="300"/>
                        </a:lnTo>
                        <a:lnTo>
                          <a:pt x="1204" y="300"/>
                        </a:lnTo>
                        <a:lnTo>
                          <a:pt x="1207" y="301"/>
                        </a:lnTo>
                        <a:lnTo>
                          <a:pt x="1208" y="301"/>
                        </a:lnTo>
                        <a:lnTo>
                          <a:pt x="1211" y="301"/>
                        </a:lnTo>
                        <a:lnTo>
                          <a:pt x="1212" y="301"/>
                        </a:lnTo>
                        <a:lnTo>
                          <a:pt x="1214" y="301"/>
                        </a:lnTo>
                        <a:lnTo>
                          <a:pt x="1214" y="301"/>
                        </a:lnTo>
                        <a:lnTo>
                          <a:pt x="1215" y="301"/>
                        </a:lnTo>
                        <a:lnTo>
                          <a:pt x="1214" y="301"/>
                        </a:lnTo>
                        <a:lnTo>
                          <a:pt x="1213" y="300"/>
                        </a:lnTo>
                        <a:lnTo>
                          <a:pt x="1212" y="299"/>
                        </a:lnTo>
                        <a:lnTo>
                          <a:pt x="1211" y="298"/>
                        </a:lnTo>
                        <a:lnTo>
                          <a:pt x="1208" y="296"/>
                        </a:lnTo>
                        <a:lnTo>
                          <a:pt x="1206" y="294"/>
                        </a:lnTo>
                        <a:lnTo>
                          <a:pt x="1204" y="292"/>
                        </a:lnTo>
                        <a:lnTo>
                          <a:pt x="1201" y="290"/>
                        </a:lnTo>
                        <a:lnTo>
                          <a:pt x="1198" y="288"/>
                        </a:lnTo>
                        <a:lnTo>
                          <a:pt x="1195" y="286"/>
                        </a:lnTo>
                        <a:lnTo>
                          <a:pt x="1193" y="284"/>
                        </a:lnTo>
                        <a:lnTo>
                          <a:pt x="1195" y="285"/>
                        </a:lnTo>
                        <a:lnTo>
                          <a:pt x="1197" y="286"/>
                        </a:lnTo>
                        <a:lnTo>
                          <a:pt x="1200" y="286"/>
                        </a:lnTo>
                        <a:lnTo>
                          <a:pt x="1202" y="287"/>
                        </a:lnTo>
                        <a:lnTo>
                          <a:pt x="1204" y="287"/>
                        </a:lnTo>
                        <a:lnTo>
                          <a:pt x="1206" y="287"/>
                        </a:lnTo>
                        <a:lnTo>
                          <a:pt x="1208" y="288"/>
                        </a:lnTo>
                        <a:lnTo>
                          <a:pt x="1211" y="288"/>
                        </a:lnTo>
                        <a:lnTo>
                          <a:pt x="1212" y="288"/>
                        </a:lnTo>
                        <a:lnTo>
                          <a:pt x="1213" y="288"/>
                        </a:lnTo>
                        <a:lnTo>
                          <a:pt x="1214" y="288"/>
                        </a:lnTo>
                        <a:lnTo>
                          <a:pt x="1214" y="288"/>
                        </a:lnTo>
                        <a:lnTo>
                          <a:pt x="1215" y="288"/>
                        </a:lnTo>
                        <a:lnTo>
                          <a:pt x="1215" y="288"/>
                        </a:lnTo>
                        <a:lnTo>
                          <a:pt x="1215" y="287"/>
                        </a:lnTo>
                        <a:lnTo>
                          <a:pt x="1215" y="287"/>
                        </a:lnTo>
                        <a:lnTo>
                          <a:pt x="1215" y="285"/>
                        </a:lnTo>
                        <a:lnTo>
                          <a:pt x="1215" y="284"/>
                        </a:lnTo>
                        <a:lnTo>
                          <a:pt x="1215" y="283"/>
                        </a:lnTo>
                        <a:lnTo>
                          <a:pt x="1215" y="281"/>
                        </a:lnTo>
                        <a:lnTo>
                          <a:pt x="1215" y="279"/>
                        </a:lnTo>
                        <a:lnTo>
                          <a:pt x="1215" y="277"/>
                        </a:lnTo>
                        <a:lnTo>
                          <a:pt x="1215" y="275"/>
                        </a:lnTo>
                        <a:lnTo>
                          <a:pt x="1215" y="272"/>
                        </a:lnTo>
                        <a:lnTo>
                          <a:pt x="1215" y="270"/>
                        </a:lnTo>
                        <a:lnTo>
                          <a:pt x="1215" y="264"/>
                        </a:lnTo>
                        <a:lnTo>
                          <a:pt x="1215" y="262"/>
                        </a:lnTo>
                        <a:lnTo>
                          <a:pt x="1217" y="263"/>
                        </a:lnTo>
                        <a:lnTo>
                          <a:pt x="1238" y="274"/>
                        </a:lnTo>
                        <a:lnTo>
                          <a:pt x="1261" y="284"/>
                        </a:lnTo>
                        <a:lnTo>
                          <a:pt x="1282" y="293"/>
                        </a:lnTo>
                        <a:lnTo>
                          <a:pt x="1305" y="302"/>
                        </a:lnTo>
                        <a:lnTo>
                          <a:pt x="1327" y="311"/>
                        </a:lnTo>
                        <a:lnTo>
                          <a:pt x="1349" y="318"/>
                        </a:lnTo>
                        <a:lnTo>
                          <a:pt x="1371" y="325"/>
                        </a:lnTo>
                        <a:lnTo>
                          <a:pt x="1393" y="331"/>
                        </a:lnTo>
                        <a:lnTo>
                          <a:pt x="1416" y="336"/>
                        </a:lnTo>
                        <a:lnTo>
                          <a:pt x="1438" y="340"/>
                        </a:lnTo>
                        <a:lnTo>
                          <a:pt x="1460" y="344"/>
                        </a:lnTo>
                        <a:lnTo>
                          <a:pt x="1482" y="347"/>
                        </a:lnTo>
                        <a:lnTo>
                          <a:pt x="1493" y="347"/>
                        </a:lnTo>
                        <a:lnTo>
                          <a:pt x="1504" y="347"/>
                        </a:lnTo>
                        <a:lnTo>
                          <a:pt x="1510" y="347"/>
                        </a:lnTo>
                        <a:lnTo>
                          <a:pt x="1516" y="347"/>
                        </a:lnTo>
                        <a:lnTo>
                          <a:pt x="1522" y="345"/>
                        </a:lnTo>
                        <a:lnTo>
                          <a:pt x="1528" y="344"/>
                        </a:lnTo>
                        <a:lnTo>
                          <a:pt x="1535" y="342"/>
                        </a:lnTo>
                        <a:lnTo>
                          <a:pt x="1543" y="340"/>
                        </a:lnTo>
                        <a:lnTo>
                          <a:pt x="1550" y="338"/>
                        </a:lnTo>
                        <a:lnTo>
                          <a:pt x="1557" y="336"/>
                        </a:lnTo>
                        <a:lnTo>
                          <a:pt x="1564" y="334"/>
                        </a:lnTo>
                        <a:lnTo>
                          <a:pt x="1571" y="331"/>
                        </a:lnTo>
                        <a:lnTo>
                          <a:pt x="1579" y="328"/>
                        </a:lnTo>
                        <a:lnTo>
                          <a:pt x="1586" y="325"/>
                        </a:lnTo>
                        <a:lnTo>
                          <a:pt x="1594" y="322"/>
                        </a:lnTo>
                        <a:lnTo>
                          <a:pt x="1601" y="318"/>
                        </a:lnTo>
                        <a:lnTo>
                          <a:pt x="1608" y="314"/>
                        </a:lnTo>
                        <a:lnTo>
                          <a:pt x="1614" y="311"/>
                        </a:lnTo>
                        <a:lnTo>
                          <a:pt x="1622" y="306"/>
                        </a:lnTo>
                        <a:lnTo>
                          <a:pt x="1629" y="302"/>
                        </a:lnTo>
                        <a:lnTo>
                          <a:pt x="1635" y="298"/>
                        </a:lnTo>
                        <a:lnTo>
                          <a:pt x="1641" y="293"/>
                        </a:lnTo>
                        <a:lnTo>
                          <a:pt x="1647" y="288"/>
                        </a:lnTo>
                        <a:lnTo>
                          <a:pt x="1652" y="284"/>
                        </a:lnTo>
                        <a:lnTo>
                          <a:pt x="1657" y="279"/>
                        </a:lnTo>
                        <a:lnTo>
                          <a:pt x="1662" y="274"/>
                        </a:lnTo>
                        <a:lnTo>
                          <a:pt x="1667" y="268"/>
                        </a:lnTo>
                        <a:lnTo>
                          <a:pt x="1669" y="265"/>
                        </a:lnTo>
                        <a:lnTo>
                          <a:pt x="1671" y="263"/>
                        </a:lnTo>
                        <a:lnTo>
                          <a:pt x="1672" y="260"/>
                        </a:lnTo>
                        <a:lnTo>
                          <a:pt x="1673" y="258"/>
                        </a:lnTo>
                        <a:lnTo>
                          <a:pt x="1675" y="255"/>
                        </a:lnTo>
                        <a:lnTo>
                          <a:pt x="1676" y="252"/>
                        </a:lnTo>
                        <a:lnTo>
                          <a:pt x="1677" y="250"/>
                        </a:lnTo>
                        <a:lnTo>
                          <a:pt x="1678" y="247"/>
                        </a:lnTo>
                        <a:lnTo>
                          <a:pt x="1679" y="244"/>
                        </a:lnTo>
                        <a:lnTo>
                          <a:pt x="1680" y="242"/>
                        </a:lnTo>
                        <a:lnTo>
                          <a:pt x="1681" y="239"/>
                        </a:lnTo>
                        <a:lnTo>
                          <a:pt x="1681" y="237"/>
                        </a:lnTo>
                        <a:lnTo>
                          <a:pt x="1681" y="234"/>
                        </a:lnTo>
                        <a:lnTo>
                          <a:pt x="1681" y="231"/>
                        </a:lnTo>
                        <a:lnTo>
                          <a:pt x="1681" y="228"/>
                        </a:lnTo>
                        <a:lnTo>
                          <a:pt x="1681" y="226"/>
                        </a:lnTo>
                        <a:lnTo>
                          <a:pt x="1681" y="223"/>
                        </a:lnTo>
                        <a:close/>
                      </a:path>
                    </a:pathLst>
                  </a:custGeom>
                  <a:grpFill/>
                  <a:ln w="3175">
                    <a:solidFill>
                      <a:schemeClr val="accent2">
                        <a:lumMod val="50000"/>
                      </a:schemeClr>
                    </a:solidFill>
                    <a:round/>
                    <a:headEnd/>
                    <a:tailEnd/>
                  </a:ln>
                </p:spPr>
                <p:txBody>
                  <a:bodyPr vert="horz" wrap="square" lIns="91273" tIns="45637" rIns="91273" bIns="4563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97" b="0" i="0" u="none" strike="noStrike" kern="1200" cap="none" spc="0" normalizeH="0" baseline="0" noProof="0" dirty="0">
                      <a:ln>
                        <a:noFill/>
                      </a:ln>
                      <a:solidFill>
                        <a:srgbClr val="000000"/>
                      </a:solidFill>
                      <a:effectLst/>
                      <a:uLnTx/>
                      <a:uFillTx/>
                      <a:latin typeface="Calibri"/>
                      <a:ea typeface="+mn-ea"/>
                      <a:cs typeface="+mn-cs"/>
                    </a:endParaRPr>
                  </a:p>
                </p:txBody>
              </p:sp>
              <p:sp>
                <p:nvSpPr>
                  <p:cNvPr id="142" name="Ethiopia">
                    <a:extLst>
                      <a:ext uri="{FF2B5EF4-FFF2-40B4-BE49-F238E27FC236}">
                        <a16:creationId xmlns:a16="http://schemas.microsoft.com/office/drawing/2014/main" id="{91F282DF-D05B-7EAE-48ED-31D4A36AD5DF}"/>
                      </a:ext>
                    </a:extLst>
                  </p:cNvPr>
                  <p:cNvSpPr>
                    <a:spLocks/>
                  </p:cNvSpPr>
                  <p:nvPr/>
                </p:nvSpPr>
                <p:spPr bwMode="auto">
                  <a:xfrm>
                    <a:off x="4517482" y="2974771"/>
                    <a:ext cx="328815" cy="285135"/>
                  </a:xfrm>
                  <a:custGeom>
                    <a:avLst/>
                    <a:gdLst/>
                    <a:ahLst/>
                    <a:cxnLst>
                      <a:cxn ang="0">
                        <a:pos x="2" y="72"/>
                      </a:cxn>
                      <a:cxn ang="0">
                        <a:pos x="10" y="68"/>
                      </a:cxn>
                      <a:cxn ang="0">
                        <a:pos x="11" y="55"/>
                      </a:cxn>
                      <a:cxn ang="0">
                        <a:pos x="12" y="48"/>
                      </a:cxn>
                      <a:cxn ang="0">
                        <a:pos x="16" y="45"/>
                      </a:cxn>
                      <a:cxn ang="0">
                        <a:pos x="19" y="37"/>
                      </a:cxn>
                      <a:cxn ang="0">
                        <a:pos x="24" y="26"/>
                      </a:cxn>
                      <a:cxn ang="0">
                        <a:pos x="29" y="24"/>
                      </a:cxn>
                      <a:cxn ang="0">
                        <a:pos x="31" y="14"/>
                      </a:cxn>
                      <a:cxn ang="0">
                        <a:pos x="36" y="7"/>
                      </a:cxn>
                      <a:cxn ang="0">
                        <a:pos x="42" y="9"/>
                      </a:cxn>
                      <a:cxn ang="0">
                        <a:pos x="46" y="2"/>
                      </a:cxn>
                      <a:cxn ang="0">
                        <a:pos x="52" y="5"/>
                      </a:cxn>
                      <a:cxn ang="0">
                        <a:pos x="55" y="3"/>
                      </a:cxn>
                      <a:cxn ang="0">
                        <a:pos x="64" y="5"/>
                      </a:cxn>
                      <a:cxn ang="0">
                        <a:pos x="78" y="15"/>
                      </a:cxn>
                      <a:cxn ang="0">
                        <a:pos x="84" y="23"/>
                      </a:cxn>
                      <a:cxn ang="0">
                        <a:pos x="82" y="38"/>
                      </a:cxn>
                      <a:cxn ang="0">
                        <a:pos x="90" y="41"/>
                      </a:cxn>
                      <a:cxn ang="0">
                        <a:pos x="92" y="48"/>
                      </a:cxn>
                      <a:cxn ang="0">
                        <a:pos x="99" y="59"/>
                      </a:cxn>
                      <a:cxn ang="0">
                        <a:pos x="105" y="64"/>
                      </a:cxn>
                      <a:cxn ang="0">
                        <a:pos x="132" y="74"/>
                      </a:cxn>
                      <a:cxn ang="0">
                        <a:pos x="115" y="106"/>
                      </a:cxn>
                      <a:cxn ang="0">
                        <a:pos x="96" y="111"/>
                      </a:cxn>
                      <a:cxn ang="0">
                        <a:pos x="87" y="115"/>
                      </a:cxn>
                      <a:cxn ang="0">
                        <a:pos x="77" y="117"/>
                      </a:cxn>
                      <a:cxn ang="0">
                        <a:pos x="71" y="116"/>
                      </a:cxn>
                      <a:cxn ang="0">
                        <a:pos x="63" y="123"/>
                      </a:cxn>
                      <a:cxn ang="0">
                        <a:pos x="54" y="121"/>
                      </a:cxn>
                      <a:cxn ang="0">
                        <a:pos x="38" y="113"/>
                      </a:cxn>
                      <a:cxn ang="0">
                        <a:pos x="27" y="109"/>
                      </a:cxn>
                      <a:cxn ang="0">
                        <a:pos x="23" y="103"/>
                      </a:cxn>
                      <a:cxn ang="0">
                        <a:pos x="18" y="93"/>
                      </a:cxn>
                      <a:cxn ang="0">
                        <a:pos x="15" y="87"/>
                      </a:cxn>
                      <a:cxn ang="0">
                        <a:pos x="13" y="86"/>
                      </a:cxn>
                      <a:cxn ang="0">
                        <a:pos x="8" y="79"/>
                      </a:cxn>
                      <a:cxn ang="0">
                        <a:pos x="0" y="75"/>
                      </a:cxn>
                    </a:cxnLst>
                    <a:rect l="0" t="0" r="r" b="b"/>
                    <a:pathLst>
                      <a:path w="142" h="123">
                        <a:moveTo>
                          <a:pt x="0" y="75"/>
                        </a:moveTo>
                        <a:cubicBezTo>
                          <a:pt x="0" y="74"/>
                          <a:pt x="2" y="73"/>
                          <a:pt x="2" y="72"/>
                        </a:cubicBezTo>
                        <a:cubicBezTo>
                          <a:pt x="2" y="69"/>
                          <a:pt x="3" y="69"/>
                          <a:pt x="6" y="69"/>
                        </a:cubicBezTo>
                        <a:cubicBezTo>
                          <a:pt x="7" y="70"/>
                          <a:pt x="9" y="70"/>
                          <a:pt x="10" y="68"/>
                        </a:cubicBezTo>
                        <a:cubicBezTo>
                          <a:pt x="11" y="67"/>
                          <a:pt x="11" y="64"/>
                          <a:pt x="11" y="63"/>
                        </a:cubicBezTo>
                        <a:cubicBezTo>
                          <a:pt x="10" y="60"/>
                          <a:pt x="10" y="57"/>
                          <a:pt x="11" y="55"/>
                        </a:cubicBezTo>
                        <a:cubicBezTo>
                          <a:pt x="11" y="54"/>
                          <a:pt x="12" y="53"/>
                          <a:pt x="12" y="52"/>
                        </a:cubicBezTo>
                        <a:cubicBezTo>
                          <a:pt x="13" y="50"/>
                          <a:pt x="12" y="49"/>
                          <a:pt x="12" y="48"/>
                        </a:cubicBezTo>
                        <a:cubicBezTo>
                          <a:pt x="12" y="46"/>
                          <a:pt x="13" y="45"/>
                          <a:pt x="14" y="44"/>
                        </a:cubicBezTo>
                        <a:cubicBezTo>
                          <a:pt x="15" y="42"/>
                          <a:pt x="16" y="44"/>
                          <a:pt x="16" y="45"/>
                        </a:cubicBezTo>
                        <a:cubicBezTo>
                          <a:pt x="17" y="45"/>
                          <a:pt x="20" y="41"/>
                          <a:pt x="18" y="40"/>
                        </a:cubicBezTo>
                        <a:cubicBezTo>
                          <a:pt x="18" y="39"/>
                          <a:pt x="19" y="37"/>
                          <a:pt x="19" y="37"/>
                        </a:cubicBezTo>
                        <a:cubicBezTo>
                          <a:pt x="19" y="35"/>
                          <a:pt x="18" y="34"/>
                          <a:pt x="20" y="32"/>
                        </a:cubicBezTo>
                        <a:cubicBezTo>
                          <a:pt x="22" y="31"/>
                          <a:pt x="22" y="28"/>
                          <a:pt x="24" y="26"/>
                        </a:cubicBezTo>
                        <a:cubicBezTo>
                          <a:pt x="24" y="25"/>
                          <a:pt x="24" y="24"/>
                          <a:pt x="26" y="24"/>
                        </a:cubicBezTo>
                        <a:cubicBezTo>
                          <a:pt x="26" y="24"/>
                          <a:pt x="28" y="24"/>
                          <a:pt x="29" y="24"/>
                        </a:cubicBezTo>
                        <a:cubicBezTo>
                          <a:pt x="29" y="22"/>
                          <a:pt x="29" y="19"/>
                          <a:pt x="30" y="17"/>
                        </a:cubicBezTo>
                        <a:cubicBezTo>
                          <a:pt x="30" y="16"/>
                          <a:pt x="30" y="15"/>
                          <a:pt x="31" y="14"/>
                        </a:cubicBezTo>
                        <a:cubicBezTo>
                          <a:pt x="31" y="13"/>
                          <a:pt x="31" y="11"/>
                          <a:pt x="32" y="9"/>
                        </a:cubicBezTo>
                        <a:cubicBezTo>
                          <a:pt x="32" y="5"/>
                          <a:pt x="34" y="7"/>
                          <a:pt x="36" y="7"/>
                        </a:cubicBezTo>
                        <a:cubicBezTo>
                          <a:pt x="38" y="7"/>
                          <a:pt x="38" y="5"/>
                          <a:pt x="39" y="5"/>
                        </a:cubicBezTo>
                        <a:cubicBezTo>
                          <a:pt x="40" y="6"/>
                          <a:pt x="41" y="8"/>
                          <a:pt x="42" y="9"/>
                        </a:cubicBezTo>
                        <a:cubicBezTo>
                          <a:pt x="43" y="6"/>
                          <a:pt x="44" y="3"/>
                          <a:pt x="45" y="0"/>
                        </a:cubicBezTo>
                        <a:cubicBezTo>
                          <a:pt x="45" y="1"/>
                          <a:pt x="46" y="2"/>
                          <a:pt x="46" y="2"/>
                        </a:cubicBezTo>
                        <a:cubicBezTo>
                          <a:pt x="47" y="3"/>
                          <a:pt x="48" y="2"/>
                          <a:pt x="48" y="3"/>
                        </a:cubicBezTo>
                        <a:cubicBezTo>
                          <a:pt x="49" y="5"/>
                          <a:pt x="50" y="5"/>
                          <a:pt x="52" y="5"/>
                        </a:cubicBezTo>
                        <a:cubicBezTo>
                          <a:pt x="53" y="5"/>
                          <a:pt x="54" y="5"/>
                          <a:pt x="54" y="4"/>
                        </a:cubicBezTo>
                        <a:cubicBezTo>
                          <a:pt x="55" y="3"/>
                          <a:pt x="55" y="3"/>
                          <a:pt x="55" y="3"/>
                        </a:cubicBezTo>
                        <a:cubicBezTo>
                          <a:pt x="56" y="2"/>
                          <a:pt x="57" y="5"/>
                          <a:pt x="57" y="5"/>
                        </a:cubicBezTo>
                        <a:cubicBezTo>
                          <a:pt x="59" y="3"/>
                          <a:pt x="62" y="5"/>
                          <a:pt x="64" y="5"/>
                        </a:cubicBezTo>
                        <a:cubicBezTo>
                          <a:pt x="67" y="4"/>
                          <a:pt x="69" y="7"/>
                          <a:pt x="71" y="8"/>
                        </a:cubicBezTo>
                        <a:cubicBezTo>
                          <a:pt x="74" y="9"/>
                          <a:pt x="75" y="13"/>
                          <a:pt x="78" y="15"/>
                        </a:cubicBezTo>
                        <a:cubicBezTo>
                          <a:pt x="79" y="16"/>
                          <a:pt x="81" y="17"/>
                          <a:pt x="82" y="19"/>
                        </a:cubicBezTo>
                        <a:cubicBezTo>
                          <a:pt x="83" y="20"/>
                          <a:pt x="83" y="22"/>
                          <a:pt x="84" y="23"/>
                        </a:cubicBezTo>
                        <a:cubicBezTo>
                          <a:pt x="87" y="25"/>
                          <a:pt x="88" y="26"/>
                          <a:pt x="86" y="29"/>
                        </a:cubicBezTo>
                        <a:cubicBezTo>
                          <a:pt x="84" y="32"/>
                          <a:pt x="82" y="34"/>
                          <a:pt x="82" y="38"/>
                        </a:cubicBezTo>
                        <a:cubicBezTo>
                          <a:pt x="83" y="40"/>
                          <a:pt x="82" y="43"/>
                          <a:pt x="85" y="42"/>
                        </a:cubicBezTo>
                        <a:cubicBezTo>
                          <a:pt x="87" y="42"/>
                          <a:pt x="88" y="41"/>
                          <a:pt x="90" y="41"/>
                        </a:cubicBezTo>
                        <a:cubicBezTo>
                          <a:pt x="91" y="41"/>
                          <a:pt x="92" y="42"/>
                          <a:pt x="93" y="41"/>
                        </a:cubicBezTo>
                        <a:cubicBezTo>
                          <a:pt x="93" y="44"/>
                          <a:pt x="90" y="45"/>
                          <a:pt x="92" y="48"/>
                        </a:cubicBezTo>
                        <a:cubicBezTo>
                          <a:pt x="93" y="51"/>
                          <a:pt x="94" y="52"/>
                          <a:pt x="96" y="54"/>
                        </a:cubicBezTo>
                        <a:cubicBezTo>
                          <a:pt x="97" y="55"/>
                          <a:pt x="98" y="58"/>
                          <a:pt x="99" y="59"/>
                        </a:cubicBezTo>
                        <a:cubicBezTo>
                          <a:pt x="99" y="60"/>
                          <a:pt x="100" y="59"/>
                          <a:pt x="101" y="60"/>
                        </a:cubicBezTo>
                        <a:cubicBezTo>
                          <a:pt x="102" y="61"/>
                          <a:pt x="104" y="63"/>
                          <a:pt x="105" y="64"/>
                        </a:cubicBezTo>
                        <a:cubicBezTo>
                          <a:pt x="112" y="66"/>
                          <a:pt x="117" y="68"/>
                          <a:pt x="124" y="71"/>
                        </a:cubicBezTo>
                        <a:cubicBezTo>
                          <a:pt x="127" y="72"/>
                          <a:pt x="129" y="73"/>
                          <a:pt x="132" y="74"/>
                        </a:cubicBezTo>
                        <a:cubicBezTo>
                          <a:pt x="135" y="75"/>
                          <a:pt x="139" y="74"/>
                          <a:pt x="142" y="74"/>
                        </a:cubicBezTo>
                        <a:cubicBezTo>
                          <a:pt x="115" y="106"/>
                          <a:pt x="115" y="106"/>
                          <a:pt x="115" y="106"/>
                        </a:cubicBezTo>
                        <a:cubicBezTo>
                          <a:pt x="114" y="107"/>
                          <a:pt x="112" y="108"/>
                          <a:pt x="110" y="107"/>
                        </a:cubicBezTo>
                        <a:cubicBezTo>
                          <a:pt x="106" y="107"/>
                          <a:pt x="101" y="107"/>
                          <a:pt x="96" y="111"/>
                        </a:cubicBezTo>
                        <a:cubicBezTo>
                          <a:pt x="95" y="112"/>
                          <a:pt x="94" y="114"/>
                          <a:pt x="92" y="114"/>
                        </a:cubicBezTo>
                        <a:cubicBezTo>
                          <a:pt x="91" y="115"/>
                          <a:pt x="89" y="115"/>
                          <a:pt x="87" y="115"/>
                        </a:cubicBezTo>
                        <a:cubicBezTo>
                          <a:pt x="85" y="116"/>
                          <a:pt x="85" y="118"/>
                          <a:pt x="83" y="117"/>
                        </a:cubicBezTo>
                        <a:cubicBezTo>
                          <a:pt x="81" y="117"/>
                          <a:pt x="79" y="119"/>
                          <a:pt x="77" y="117"/>
                        </a:cubicBezTo>
                        <a:cubicBezTo>
                          <a:pt x="76" y="116"/>
                          <a:pt x="76" y="115"/>
                          <a:pt x="74" y="115"/>
                        </a:cubicBezTo>
                        <a:cubicBezTo>
                          <a:pt x="73" y="114"/>
                          <a:pt x="72" y="115"/>
                          <a:pt x="71" y="116"/>
                        </a:cubicBezTo>
                        <a:cubicBezTo>
                          <a:pt x="69" y="116"/>
                          <a:pt x="66" y="118"/>
                          <a:pt x="65" y="119"/>
                        </a:cubicBezTo>
                        <a:cubicBezTo>
                          <a:pt x="64" y="121"/>
                          <a:pt x="63" y="122"/>
                          <a:pt x="63" y="123"/>
                        </a:cubicBezTo>
                        <a:cubicBezTo>
                          <a:pt x="62" y="122"/>
                          <a:pt x="59" y="122"/>
                          <a:pt x="57" y="122"/>
                        </a:cubicBezTo>
                        <a:cubicBezTo>
                          <a:pt x="56" y="122"/>
                          <a:pt x="55" y="121"/>
                          <a:pt x="54" y="121"/>
                        </a:cubicBezTo>
                        <a:cubicBezTo>
                          <a:pt x="53" y="121"/>
                          <a:pt x="52" y="121"/>
                          <a:pt x="51" y="121"/>
                        </a:cubicBezTo>
                        <a:cubicBezTo>
                          <a:pt x="46" y="121"/>
                          <a:pt x="50" y="120"/>
                          <a:pt x="38" y="113"/>
                        </a:cubicBezTo>
                        <a:cubicBezTo>
                          <a:pt x="36" y="112"/>
                          <a:pt x="33" y="113"/>
                          <a:pt x="30" y="112"/>
                        </a:cubicBezTo>
                        <a:cubicBezTo>
                          <a:pt x="29" y="112"/>
                          <a:pt x="27" y="110"/>
                          <a:pt x="27" y="109"/>
                        </a:cubicBezTo>
                        <a:cubicBezTo>
                          <a:pt x="26" y="107"/>
                          <a:pt x="27" y="105"/>
                          <a:pt x="27" y="104"/>
                        </a:cubicBezTo>
                        <a:cubicBezTo>
                          <a:pt x="27" y="102"/>
                          <a:pt x="24" y="101"/>
                          <a:pt x="23" y="103"/>
                        </a:cubicBezTo>
                        <a:cubicBezTo>
                          <a:pt x="22" y="102"/>
                          <a:pt x="21" y="100"/>
                          <a:pt x="21" y="99"/>
                        </a:cubicBezTo>
                        <a:cubicBezTo>
                          <a:pt x="19" y="98"/>
                          <a:pt x="19" y="95"/>
                          <a:pt x="18" y="93"/>
                        </a:cubicBezTo>
                        <a:cubicBezTo>
                          <a:pt x="18" y="92"/>
                          <a:pt x="17" y="90"/>
                          <a:pt x="17" y="89"/>
                        </a:cubicBezTo>
                        <a:cubicBezTo>
                          <a:pt x="16" y="88"/>
                          <a:pt x="16" y="88"/>
                          <a:pt x="15" y="87"/>
                        </a:cubicBezTo>
                        <a:cubicBezTo>
                          <a:pt x="14" y="87"/>
                          <a:pt x="14" y="86"/>
                          <a:pt x="14" y="86"/>
                        </a:cubicBezTo>
                        <a:cubicBezTo>
                          <a:pt x="14" y="86"/>
                          <a:pt x="13" y="86"/>
                          <a:pt x="13" y="86"/>
                        </a:cubicBezTo>
                        <a:cubicBezTo>
                          <a:pt x="12" y="85"/>
                          <a:pt x="12" y="84"/>
                          <a:pt x="11" y="83"/>
                        </a:cubicBezTo>
                        <a:cubicBezTo>
                          <a:pt x="10" y="82"/>
                          <a:pt x="10" y="80"/>
                          <a:pt x="8" y="79"/>
                        </a:cubicBezTo>
                        <a:cubicBezTo>
                          <a:pt x="7" y="78"/>
                          <a:pt x="5" y="77"/>
                          <a:pt x="4" y="77"/>
                        </a:cubicBezTo>
                        <a:cubicBezTo>
                          <a:pt x="3" y="77"/>
                          <a:pt x="1" y="77"/>
                          <a:pt x="0" y="75"/>
                        </a:cubicBezTo>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43" name="Egypt">
                    <a:extLst>
                      <a:ext uri="{FF2B5EF4-FFF2-40B4-BE49-F238E27FC236}">
                        <a16:creationId xmlns:a16="http://schemas.microsoft.com/office/drawing/2014/main" id="{18292B40-BF3E-9366-C97D-B1B578EE706B}"/>
                      </a:ext>
                    </a:extLst>
                  </p:cNvPr>
                  <p:cNvSpPr>
                    <a:spLocks/>
                  </p:cNvSpPr>
                  <p:nvPr/>
                </p:nvSpPr>
                <p:spPr bwMode="auto">
                  <a:xfrm>
                    <a:off x="4319708" y="2557382"/>
                    <a:ext cx="246308" cy="248735"/>
                  </a:xfrm>
                  <a:custGeom>
                    <a:avLst/>
                    <a:gdLst/>
                    <a:ahLst/>
                    <a:cxnLst>
                      <a:cxn ang="0">
                        <a:pos x="4" y="9"/>
                      </a:cxn>
                      <a:cxn ang="0">
                        <a:pos x="9" y="1"/>
                      </a:cxn>
                      <a:cxn ang="0">
                        <a:pos x="24" y="3"/>
                      </a:cxn>
                      <a:cxn ang="0">
                        <a:pos x="29" y="5"/>
                      </a:cxn>
                      <a:cxn ang="0">
                        <a:pos x="33" y="7"/>
                      </a:cxn>
                      <a:cxn ang="0">
                        <a:pos x="47" y="6"/>
                      </a:cxn>
                      <a:cxn ang="0">
                        <a:pos x="52" y="5"/>
                      </a:cxn>
                      <a:cxn ang="0">
                        <a:pos x="53" y="2"/>
                      </a:cxn>
                      <a:cxn ang="0">
                        <a:pos x="54" y="3"/>
                      </a:cxn>
                      <a:cxn ang="0">
                        <a:pos x="63" y="3"/>
                      </a:cxn>
                      <a:cxn ang="0">
                        <a:pos x="69" y="4"/>
                      </a:cxn>
                      <a:cxn ang="0">
                        <a:pos x="66" y="5"/>
                      </a:cxn>
                      <a:cxn ang="0">
                        <a:pos x="69" y="4"/>
                      </a:cxn>
                      <a:cxn ang="0">
                        <a:pos x="78" y="7"/>
                      </a:cxn>
                      <a:cxn ang="0">
                        <a:pos x="87" y="4"/>
                      </a:cxn>
                      <a:cxn ang="0">
                        <a:pos x="92" y="33"/>
                      </a:cxn>
                      <a:cxn ang="0">
                        <a:pos x="90" y="42"/>
                      </a:cxn>
                      <a:cxn ang="0">
                        <a:pos x="84" y="37"/>
                      </a:cxn>
                      <a:cxn ang="0">
                        <a:pos x="77" y="26"/>
                      </a:cxn>
                      <a:cxn ang="0">
                        <a:pos x="72" y="23"/>
                      </a:cxn>
                      <a:cxn ang="0">
                        <a:pos x="80" y="37"/>
                      </a:cxn>
                      <a:cxn ang="0">
                        <a:pos x="83" y="41"/>
                      </a:cxn>
                      <a:cxn ang="0">
                        <a:pos x="87" y="49"/>
                      </a:cxn>
                      <a:cxn ang="0">
                        <a:pos x="88" y="54"/>
                      </a:cxn>
                      <a:cxn ang="0">
                        <a:pos x="91" y="60"/>
                      </a:cxn>
                      <a:cxn ang="0">
                        <a:pos x="102" y="80"/>
                      </a:cxn>
                      <a:cxn ang="0">
                        <a:pos x="104" y="83"/>
                      </a:cxn>
                      <a:cxn ang="0">
                        <a:pos x="101" y="95"/>
                      </a:cxn>
                      <a:cxn ang="0">
                        <a:pos x="98" y="99"/>
                      </a:cxn>
                      <a:cxn ang="0">
                        <a:pos x="92" y="102"/>
                      </a:cxn>
                      <a:cxn ang="0">
                        <a:pos x="81" y="104"/>
                      </a:cxn>
                      <a:cxn ang="0">
                        <a:pos x="67" y="102"/>
                      </a:cxn>
                      <a:cxn ang="0">
                        <a:pos x="57" y="104"/>
                      </a:cxn>
                      <a:cxn ang="0">
                        <a:pos x="5" y="37"/>
                      </a:cxn>
                      <a:cxn ang="0">
                        <a:pos x="2" y="18"/>
                      </a:cxn>
                    </a:cxnLst>
                    <a:rect l="0" t="0" r="r" b="b"/>
                    <a:pathLst>
                      <a:path w="106" h="107">
                        <a:moveTo>
                          <a:pt x="2" y="18"/>
                        </a:moveTo>
                        <a:cubicBezTo>
                          <a:pt x="1" y="15"/>
                          <a:pt x="4" y="12"/>
                          <a:pt x="4" y="9"/>
                        </a:cubicBezTo>
                        <a:cubicBezTo>
                          <a:pt x="3" y="6"/>
                          <a:pt x="0" y="4"/>
                          <a:pt x="5" y="0"/>
                        </a:cubicBezTo>
                        <a:cubicBezTo>
                          <a:pt x="5" y="3"/>
                          <a:pt x="8" y="2"/>
                          <a:pt x="9" y="1"/>
                        </a:cubicBezTo>
                        <a:cubicBezTo>
                          <a:pt x="11" y="1"/>
                          <a:pt x="14" y="1"/>
                          <a:pt x="16" y="2"/>
                        </a:cubicBezTo>
                        <a:cubicBezTo>
                          <a:pt x="19" y="2"/>
                          <a:pt x="21" y="3"/>
                          <a:pt x="24" y="3"/>
                        </a:cubicBezTo>
                        <a:cubicBezTo>
                          <a:pt x="25" y="4"/>
                          <a:pt x="25" y="5"/>
                          <a:pt x="26" y="5"/>
                        </a:cubicBezTo>
                        <a:cubicBezTo>
                          <a:pt x="27" y="5"/>
                          <a:pt x="28" y="5"/>
                          <a:pt x="29" y="5"/>
                        </a:cubicBezTo>
                        <a:cubicBezTo>
                          <a:pt x="30" y="5"/>
                          <a:pt x="30" y="6"/>
                          <a:pt x="31" y="6"/>
                        </a:cubicBezTo>
                        <a:cubicBezTo>
                          <a:pt x="32" y="7"/>
                          <a:pt x="33" y="7"/>
                          <a:pt x="33" y="7"/>
                        </a:cubicBezTo>
                        <a:cubicBezTo>
                          <a:pt x="36" y="7"/>
                          <a:pt x="38" y="9"/>
                          <a:pt x="40" y="9"/>
                        </a:cubicBezTo>
                        <a:cubicBezTo>
                          <a:pt x="43" y="9"/>
                          <a:pt x="45" y="8"/>
                          <a:pt x="47" y="6"/>
                        </a:cubicBezTo>
                        <a:cubicBezTo>
                          <a:pt x="48" y="6"/>
                          <a:pt x="49" y="5"/>
                          <a:pt x="50" y="4"/>
                        </a:cubicBezTo>
                        <a:cubicBezTo>
                          <a:pt x="50" y="4"/>
                          <a:pt x="51" y="5"/>
                          <a:pt x="52" y="5"/>
                        </a:cubicBezTo>
                        <a:cubicBezTo>
                          <a:pt x="51" y="5"/>
                          <a:pt x="51" y="4"/>
                          <a:pt x="51" y="4"/>
                        </a:cubicBezTo>
                        <a:cubicBezTo>
                          <a:pt x="51" y="4"/>
                          <a:pt x="52" y="3"/>
                          <a:pt x="53" y="2"/>
                        </a:cubicBezTo>
                        <a:cubicBezTo>
                          <a:pt x="54" y="3"/>
                          <a:pt x="55" y="1"/>
                          <a:pt x="57" y="1"/>
                        </a:cubicBezTo>
                        <a:cubicBezTo>
                          <a:pt x="56" y="2"/>
                          <a:pt x="55" y="2"/>
                          <a:pt x="54" y="3"/>
                        </a:cubicBezTo>
                        <a:cubicBezTo>
                          <a:pt x="54" y="3"/>
                          <a:pt x="61" y="1"/>
                          <a:pt x="58" y="1"/>
                        </a:cubicBezTo>
                        <a:cubicBezTo>
                          <a:pt x="60" y="0"/>
                          <a:pt x="61" y="3"/>
                          <a:pt x="63" y="3"/>
                        </a:cubicBezTo>
                        <a:cubicBezTo>
                          <a:pt x="64" y="2"/>
                          <a:pt x="65" y="1"/>
                          <a:pt x="66" y="2"/>
                        </a:cubicBezTo>
                        <a:cubicBezTo>
                          <a:pt x="67" y="2"/>
                          <a:pt x="68" y="4"/>
                          <a:pt x="69" y="4"/>
                        </a:cubicBezTo>
                        <a:cubicBezTo>
                          <a:pt x="68" y="3"/>
                          <a:pt x="67" y="2"/>
                          <a:pt x="66" y="2"/>
                        </a:cubicBezTo>
                        <a:cubicBezTo>
                          <a:pt x="66" y="3"/>
                          <a:pt x="65" y="5"/>
                          <a:pt x="66" y="5"/>
                        </a:cubicBezTo>
                        <a:cubicBezTo>
                          <a:pt x="68" y="5"/>
                          <a:pt x="67" y="6"/>
                          <a:pt x="68" y="7"/>
                        </a:cubicBezTo>
                        <a:cubicBezTo>
                          <a:pt x="68" y="7"/>
                          <a:pt x="71" y="5"/>
                          <a:pt x="69" y="4"/>
                        </a:cubicBezTo>
                        <a:cubicBezTo>
                          <a:pt x="71" y="5"/>
                          <a:pt x="72" y="7"/>
                          <a:pt x="75" y="7"/>
                        </a:cubicBezTo>
                        <a:cubicBezTo>
                          <a:pt x="76" y="7"/>
                          <a:pt x="78" y="5"/>
                          <a:pt x="78" y="7"/>
                        </a:cubicBezTo>
                        <a:cubicBezTo>
                          <a:pt x="79" y="6"/>
                          <a:pt x="81" y="6"/>
                          <a:pt x="83" y="6"/>
                        </a:cubicBezTo>
                        <a:cubicBezTo>
                          <a:pt x="84" y="5"/>
                          <a:pt x="86" y="5"/>
                          <a:pt x="87" y="4"/>
                        </a:cubicBezTo>
                        <a:cubicBezTo>
                          <a:pt x="95" y="24"/>
                          <a:pt x="95" y="24"/>
                          <a:pt x="95" y="24"/>
                        </a:cubicBezTo>
                        <a:cubicBezTo>
                          <a:pt x="93" y="26"/>
                          <a:pt x="93" y="31"/>
                          <a:pt x="92" y="33"/>
                        </a:cubicBezTo>
                        <a:cubicBezTo>
                          <a:pt x="91" y="35"/>
                          <a:pt x="91" y="36"/>
                          <a:pt x="91" y="38"/>
                        </a:cubicBezTo>
                        <a:cubicBezTo>
                          <a:pt x="91" y="39"/>
                          <a:pt x="89" y="41"/>
                          <a:pt x="90" y="42"/>
                        </a:cubicBezTo>
                        <a:cubicBezTo>
                          <a:pt x="89" y="42"/>
                          <a:pt x="88" y="41"/>
                          <a:pt x="87" y="40"/>
                        </a:cubicBezTo>
                        <a:cubicBezTo>
                          <a:pt x="85" y="40"/>
                          <a:pt x="85" y="38"/>
                          <a:pt x="84" y="37"/>
                        </a:cubicBezTo>
                        <a:cubicBezTo>
                          <a:pt x="83" y="35"/>
                          <a:pt x="79" y="34"/>
                          <a:pt x="80" y="32"/>
                        </a:cubicBezTo>
                        <a:cubicBezTo>
                          <a:pt x="80" y="29"/>
                          <a:pt x="78" y="28"/>
                          <a:pt x="77" y="26"/>
                        </a:cubicBezTo>
                        <a:cubicBezTo>
                          <a:pt x="75" y="24"/>
                          <a:pt x="74" y="21"/>
                          <a:pt x="73" y="18"/>
                        </a:cubicBezTo>
                        <a:cubicBezTo>
                          <a:pt x="72" y="19"/>
                          <a:pt x="71" y="22"/>
                          <a:pt x="72" y="23"/>
                        </a:cubicBezTo>
                        <a:cubicBezTo>
                          <a:pt x="74" y="26"/>
                          <a:pt x="74" y="28"/>
                          <a:pt x="75" y="31"/>
                        </a:cubicBezTo>
                        <a:cubicBezTo>
                          <a:pt x="77" y="33"/>
                          <a:pt x="78" y="36"/>
                          <a:pt x="80" y="37"/>
                        </a:cubicBezTo>
                        <a:cubicBezTo>
                          <a:pt x="81" y="38"/>
                          <a:pt x="82" y="39"/>
                          <a:pt x="83" y="40"/>
                        </a:cubicBezTo>
                        <a:cubicBezTo>
                          <a:pt x="83" y="40"/>
                          <a:pt x="85" y="43"/>
                          <a:pt x="83" y="41"/>
                        </a:cubicBezTo>
                        <a:cubicBezTo>
                          <a:pt x="84" y="43"/>
                          <a:pt x="83" y="44"/>
                          <a:pt x="84" y="45"/>
                        </a:cubicBezTo>
                        <a:cubicBezTo>
                          <a:pt x="85" y="46"/>
                          <a:pt x="86" y="48"/>
                          <a:pt x="87" y="49"/>
                        </a:cubicBezTo>
                        <a:cubicBezTo>
                          <a:pt x="87" y="50"/>
                          <a:pt x="88" y="51"/>
                          <a:pt x="88" y="52"/>
                        </a:cubicBezTo>
                        <a:cubicBezTo>
                          <a:pt x="88" y="52"/>
                          <a:pt x="88" y="53"/>
                          <a:pt x="88" y="54"/>
                        </a:cubicBezTo>
                        <a:cubicBezTo>
                          <a:pt x="88" y="54"/>
                          <a:pt x="89" y="55"/>
                          <a:pt x="89" y="56"/>
                        </a:cubicBezTo>
                        <a:cubicBezTo>
                          <a:pt x="90" y="57"/>
                          <a:pt x="91" y="59"/>
                          <a:pt x="91" y="60"/>
                        </a:cubicBezTo>
                        <a:cubicBezTo>
                          <a:pt x="94" y="65"/>
                          <a:pt x="96" y="70"/>
                          <a:pt x="99" y="75"/>
                        </a:cubicBezTo>
                        <a:cubicBezTo>
                          <a:pt x="100" y="77"/>
                          <a:pt x="101" y="78"/>
                          <a:pt x="102" y="80"/>
                        </a:cubicBezTo>
                        <a:cubicBezTo>
                          <a:pt x="103" y="81"/>
                          <a:pt x="105" y="82"/>
                          <a:pt x="106" y="83"/>
                        </a:cubicBezTo>
                        <a:cubicBezTo>
                          <a:pt x="105" y="83"/>
                          <a:pt x="104" y="83"/>
                          <a:pt x="104" y="83"/>
                        </a:cubicBezTo>
                        <a:cubicBezTo>
                          <a:pt x="103" y="85"/>
                          <a:pt x="103" y="89"/>
                          <a:pt x="105" y="91"/>
                        </a:cubicBezTo>
                        <a:cubicBezTo>
                          <a:pt x="106" y="92"/>
                          <a:pt x="103" y="95"/>
                          <a:pt x="101" y="95"/>
                        </a:cubicBezTo>
                        <a:cubicBezTo>
                          <a:pt x="100" y="95"/>
                          <a:pt x="100" y="95"/>
                          <a:pt x="99" y="96"/>
                        </a:cubicBezTo>
                        <a:cubicBezTo>
                          <a:pt x="98" y="96"/>
                          <a:pt x="98" y="98"/>
                          <a:pt x="98" y="99"/>
                        </a:cubicBezTo>
                        <a:cubicBezTo>
                          <a:pt x="97" y="100"/>
                          <a:pt x="97" y="101"/>
                          <a:pt x="95" y="101"/>
                        </a:cubicBezTo>
                        <a:cubicBezTo>
                          <a:pt x="94" y="102"/>
                          <a:pt x="93" y="101"/>
                          <a:pt x="92" y="102"/>
                        </a:cubicBezTo>
                        <a:cubicBezTo>
                          <a:pt x="91" y="105"/>
                          <a:pt x="92" y="107"/>
                          <a:pt x="89" y="107"/>
                        </a:cubicBezTo>
                        <a:cubicBezTo>
                          <a:pt x="85" y="107"/>
                          <a:pt x="83" y="104"/>
                          <a:pt x="81" y="104"/>
                        </a:cubicBezTo>
                        <a:cubicBezTo>
                          <a:pt x="75" y="104"/>
                          <a:pt x="72" y="105"/>
                          <a:pt x="67" y="104"/>
                        </a:cubicBezTo>
                        <a:cubicBezTo>
                          <a:pt x="67" y="103"/>
                          <a:pt x="68" y="102"/>
                          <a:pt x="67" y="102"/>
                        </a:cubicBezTo>
                        <a:cubicBezTo>
                          <a:pt x="66" y="101"/>
                          <a:pt x="66" y="103"/>
                          <a:pt x="65" y="103"/>
                        </a:cubicBezTo>
                        <a:cubicBezTo>
                          <a:pt x="64" y="105"/>
                          <a:pt x="58" y="104"/>
                          <a:pt x="57" y="104"/>
                        </a:cubicBezTo>
                        <a:cubicBezTo>
                          <a:pt x="7" y="104"/>
                          <a:pt x="7" y="104"/>
                          <a:pt x="7" y="104"/>
                        </a:cubicBezTo>
                        <a:cubicBezTo>
                          <a:pt x="5" y="37"/>
                          <a:pt x="5" y="37"/>
                          <a:pt x="5" y="37"/>
                        </a:cubicBezTo>
                        <a:cubicBezTo>
                          <a:pt x="5" y="33"/>
                          <a:pt x="5" y="30"/>
                          <a:pt x="5" y="27"/>
                        </a:cubicBezTo>
                        <a:cubicBezTo>
                          <a:pt x="4" y="24"/>
                          <a:pt x="3" y="20"/>
                          <a:pt x="2" y="18"/>
                        </a:cubicBezTo>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44" name="Equatorial Guinea">
                    <a:extLst>
                      <a:ext uri="{FF2B5EF4-FFF2-40B4-BE49-F238E27FC236}">
                        <a16:creationId xmlns:a16="http://schemas.microsoft.com/office/drawing/2014/main" id="{297CE11B-6089-3411-E14E-6186A8398D58}"/>
                      </a:ext>
                    </a:extLst>
                  </p:cNvPr>
                  <p:cNvSpPr>
                    <a:spLocks/>
                  </p:cNvSpPr>
                  <p:nvPr/>
                </p:nvSpPr>
                <p:spPr bwMode="auto">
                  <a:xfrm>
                    <a:off x="3998174" y="3285385"/>
                    <a:ext cx="43680" cy="37614"/>
                  </a:xfrm>
                  <a:custGeom>
                    <a:avLst/>
                    <a:gdLst/>
                    <a:ahLst/>
                    <a:cxnLst>
                      <a:cxn ang="0">
                        <a:pos x="3" y="9"/>
                      </a:cxn>
                      <a:cxn ang="0">
                        <a:pos x="4" y="9"/>
                      </a:cxn>
                      <a:cxn ang="0">
                        <a:pos x="4" y="6"/>
                      </a:cxn>
                      <a:cxn ang="0">
                        <a:pos x="5" y="0"/>
                      </a:cxn>
                      <a:cxn ang="0">
                        <a:pos x="9" y="3"/>
                      </a:cxn>
                      <a:cxn ang="0">
                        <a:pos x="19" y="3"/>
                      </a:cxn>
                      <a:cxn ang="0">
                        <a:pos x="19" y="15"/>
                      </a:cxn>
                      <a:cxn ang="0">
                        <a:pos x="8" y="15"/>
                      </a:cxn>
                      <a:cxn ang="0">
                        <a:pos x="5" y="14"/>
                      </a:cxn>
                      <a:cxn ang="0">
                        <a:pos x="1" y="14"/>
                      </a:cxn>
                      <a:cxn ang="0">
                        <a:pos x="3" y="9"/>
                      </a:cxn>
                    </a:cxnLst>
                    <a:rect l="0" t="0" r="r" b="b"/>
                    <a:pathLst>
                      <a:path w="19" h="16">
                        <a:moveTo>
                          <a:pt x="3" y="9"/>
                        </a:moveTo>
                        <a:cubicBezTo>
                          <a:pt x="4" y="9"/>
                          <a:pt x="4" y="9"/>
                          <a:pt x="4" y="9"/>
                        </a:cubicBezTo>
                        <a:cubicBezTo>
                          <a:pt x="2" y="10"/>
                          <a:pt x="4" y="7"/>
                          <a:pt x="4" y="6"/>
                        </a:cubicBezTo>
                        <a:cubicBezTo>
                          <a:pt x="5" y="5"/>
                          <a:pt x="5" y="2"/>
                          <a:pt x="5" y="0"/>
                        </a:cubicBezTo>
                        <a:cubicBezTo>
                          <a:pt x="7" y="3"/>
                          <a:pt x="7" y="2"/>
                          <a:pt x="9" y="3"/>
                        </a:cubicBezTo>
                        <a:cubicBezTo>
                          <a:pt x="19" y="3"/>
                          <a:pt x="19" y="3"/>
                          <a:pt x="19" y="3"/>
                        </a:cubicBezTo>
                        <a:cubicBezTo>
                          <a:pt x="19" y="15"/>
                          <a:pt x="19" y="15"/>
                          <a:pt x="19" y="15"/>
                        </a:cubicBezTo>
                        <a:cubicBezTo>
                          <a:pt x="8" y="15"/>
                          <a:pt x="8" y="15"/>
                          <a:pt x="8" y="15"/>
                        </a:cubicBezTo>
                        <a:cubicBezTo>
                          <a:pt x="7" y="15"/>
                          <a:pt x="4" y="16"/>
                          <a:pt x="5" y="14"/>
                        </a:cubicBezTo>
                        <a:cubicBezTo>
                          <a:pt x="4" y="14"/>
                          <a:pt x="1" y="15"/>
                          <a:pt x="1" y="14"/>
                        </a:cubicBezTo>
                        <a:cubicBezTo>
                          <a:pt x="0" y="12"/>
                          <a:pt x="3" y="10"/>
                          <a:pt x="3" y="9"/>
                        </a:cubicBezTo>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45" name="Eritrea">
                    <a:extLst>
                      <a:ext uri="{FF2B5EF4-FFF2-40B4-BE49-F238E27FC236}">
                        <a16:creationId xmlns:a16="http://schemas.microsoft.com/office/drawing/2014/main" id="{7CE18160-EA7D-3AA5-473F-0272545CE268}"/>
                      </a:ext>
                    </a:extLst>
                  </p:cNvPr>
                  <p:cNvSpPr>
                    <a:spLocks/>
                  </p:cNvSpPr>
                  <p:nvPr/>
                </p:nvSpPr>
                <p:spPr bwMode="auto">
                  <a:xfrm>
                    <a:off x="4589069" y="2898329"/>
                    <a:ext cx="148027" cy="143174"/>
                  </a:xfrm>
                  <a:custGeom>
                    <a:avLst/>
                    <a:gdLst/>
                    <a:ahLst/>
                    <a:cxnLst>
                      <a:cxn ang="0">
                        <a:pos x="0" y="30"/>
                      </a:cxn>
                      <a:cxn ang="0">
                        <a:pos x="2" y="25"/>
                      </a:cxn>
                      <a:cxn ang="0">
                        <a:pos x="4" y="19"/>
                      </a:cxn>
                      <a:cxn ang="0">
                        <a:pos x="6" y="10"/>
                      </a:cxn>
                      <a:cxn ang="0">
                        <a:pos x="8" y="10"/>
                      </a:cxn>
                      <a:cxn ang="0">
                        <a:pos x="10" y="7"/>
                      </a:cxn>
                      <a:cxn ang="0">
                        <a:pos x="15" y="5"/>
                      </a:cxn>
                      <a:cxn ang="0">
                        <a:pos x="19" y="0"/>
                      </a:cxn>
                      <a:cxn ang="0">
                        <a:pos x="25" y="17"/>
                      </a:cxn>
                      <a:cxn ang="0">
                        <a:pos x="26" y="21"/>
                      </a:cxn>
                      <a:cxn ang="0">
                        <a:pos x="28" y="25"/>
                      </a:cxn>
                      <a:cxn ang="0">
                        <a:pos x="30" y="28"/>
                      </a:cxn>
                      <a:cxn ang="0">
                        <a:pos x="31" y="31"/>
                      </a:cxn>
                      <a:cxn ang="0">
                        <a:pos x="32" y="27"/>
                      </a:cxn>
                      <a:cxn ang="0">
                        <a:pos x="34" y="29"/>
                      </a:cxn>
                      <a:cxn ang="0">
                        <a:pos x="35" y="33"/>
                      </a:cxn>
                      <a:cxn ang="0">
                        <a:pos x="39" y="33"/>
                      </a:cxn>
                      <a:cxn ang="0">
                        <a:pos x="43" y="36"/>
                      </a:cxn>
                      <a:cxn ang="0">
                        <a:pos x="47" y="39"/>
                      </a:cxn>
                      <a:cxn ang="0">
                        <a:pos x="51" y="44"/>
                      </a:cxn>
                      <a:cxn ang="0">
                        <a:pos x="53" y="46"/>
                      </a:cxn>
                      <a:cxn ang="0">
                        <a:pos x="54" y="47"/>
                      </a:cxn>
                      <a:cxn ang="0">
                        <a:pos x="56" y="50"/>
                      </a:cxn>
                      <a:cxn ang="0">
                        <a:pos x="58" y="52"/>
                      </a:cxn>
                      <a:cxn ang="0">
                        <a:pos x="62" y="55"/>
                      </a:cxn>
                      <a:cxn ang="0">
                        <a:pos x="63" y="57"/>
                      </a:cxn>
                      <a:cxn ang="0">
                        <a:pos x="61" y="59"/>
                      </a:cxn>
                      <a:cxn ang="0">
                        <a:pos x="56" y="60"/>
                      </a:cxn>
                      <a:cxn ang="0">
                        <a:pos x="53" y="55"/>
                      </a:cxn>
                      <a:cxn ang="0">
                        <a:pos x="48" y="49"/>
                      </a:cxn>
                      <a:cxn ang="0">
                        <a:pos x="43" y="43"/>
                      </a:cxn>
                      <a:cxn ang="0">
                        <a:pos x="37" y="39"/>
                      </a:cxn>
                      <a:cxn ang="0">
                        <a:pos x="32" y="38"/>
                      </a:cxn>
                      <a:cxn ang="0">
                        <a:pos x="26" y="38"/>
                      </a:cxn>
                      <a:cxn ang="0">
                        <a:pos x="24" y="36"/>
                      </a:cxn>
                      <a:cxn ang="0">
                        <a:pos x="21" y="38"/>
                      </a:cxn>
                      <a:cxn ang="0">
                        <a:pos x="18" y="37"/>
                      </a:cxn>
                      <a:cxn ang="0">
                        <a:pos x="14" y="33"/>
                      </a:cxn>
                      <a:cxn ang="0">
                        <a:pos x="11" y="42"/>
                      </a:cxn>
                      <a:cxn ang="0">
                        <a:pos x="7" y="38"/>
                      </a:cxn>
                      <a:cxn ang="0">
                        <a:pos x="5" y="40"/>
                      </a:cxn>
                      <a:cxn ang="0">
                        <a:pos x="1" y="42"/>
                      </a:cxn>
                      <a:cxn ang="0">
                        <a:pos x="0" y="31"/>
                      </a:cxn>
                    </a:cxnLst>
                    <a:rect l="0" t="0" r="r" b="b"/>
                    <a:pathLst>
                      <a:path w="64" h="62">
                        <a:moveTo>
                          <a:pt x="0" y="30"/>
                        </a:moveTo>
                        <a:cubicBezTo>
                          <a:pt x="1" y="29"/>
                          <a:pt x="1" y="27"/>
                          <a:pt x="2" y="25"/>
                        </a:cubicBezTo>
                        <a:cubicBezTo>
                          <a:pt x="2" y="23"/>
                          <a:pt x="3" y="21"/>
                          <a:pt x="4" y="19"/>
                        </a:cubicBezTo>
                        <a:cubicBezTo>
                          <a:pt x="5" y="18"/>
                          <a:pt x="3" y="11"/>
                          <a:pt x="6" y="10"/>
                        </a:cubicBezTo>
                        <a:cubicBezTo>
                          <a:pt x="6" y="10"/>
                          <a:pt x="8" y="10"/>
                          <a:pt x="8" y="10"/>
                        </a:cubicBezTo>
                        <a:cubicBezTo>
                          <a:pt x="9" y="8"/>
                          <a:pt x="9" y="7"/>
                          <a:pt x="10" y="7"/>
                        </a:cubicBezTo>
                        <a:cubicBezTo>
                          <a:pt x="12" y="6"/>
                          <a:pt x="14" y="5"/>
                          <a:pt x="15" y="5"/>
                        </a:cubicBezTo>
                        <a:cubicBezTo>
                          <a:pt x="17" y="4"/>
                          <a:pt x="17" y="1"/>
                          <a:pt x="19" y="0"/>
                        </a:cubicBezTo>
                        <a:cubicBezTo>
                          <a:pt x="22" y="5"/>
                          <a:pt x="24" y="11"/>
                          <a:pt x="25" y="17"/>
                        </a:cubicBezTo>
                        <a:cubicBezTo>
                          <a:pt x="25" y="18"/>
                          <a:pt x="25" y="20"/>
                          <a:pt x="26" y="21"/>
                        </a:cubicBezTo>
                        <a:cubicBezTo>
                          <a:pt x="27" y="22"/>
                          <a:pt x="27" y="24"/>
                          <a:pt x="28" y="25"/>
                        </a:cubicBezTo>
                        <a:cubicBezTo>
                          <a:pt x="28" y="26"/>
                          <a:pt x="29" y="26"/>
                          <a:pt x="30" y="28"/>
                        </a:cubicBezTo>
                        <a:cubicBezTo>
                          <a:pt x="30" y="29"/>
                          <a:pt x="30" y="31"/>
                          <a:pt x="31" y="31"/>
                        </a:cubicBezTo>
                        <a:cubicBezTo>
                          <a:pt x="32" y="30"/>
                          <a:pt x="30" y="27"/>
                          <a:pt x="32" y="27"/>
                        </a:cubicBezTo>
                        <a:cubicBezTo>
                          <a:pt x="33" y="27"/>
                          <a:pt x="34" y="28"/>
                          <a:pt x="34" y="29"/>
                        </a:cubicBezTo>
                        <a:cubicBezTo>
                          <a:pt x="34" y="30"/>
                          <a:pt x="34" y="32"/>
                          <a:pt x="35" y="33"/>
                        </a:cubicBezTo>
                        <a:cubicBezTo>
                          <a:pt x="37" y="33"/>
                          <a:pt x="38" y="31"/>
                          <a:pt x="39" y="33"/>
                        </a:cubicBezTo>
                        <a:cubicBezTo>
                          <a:pt x="41" y="34"/>
                          <a:pt x="41" y="35"/>
                          <a:pt x="43" y="36"/>
                        </a:cubicBezTo>
                        <a:cubicBezTo>
                          <a:pt x="45" y="36"/>
                          <a:pt x="46" y="38"/>
                          <a:pt x="47" y="39"/>
                        </a:cubicBezTo>
                        <a:cubicBezTo>
                          <a:pt x="48" y="41"/>
                          <a:pt x="49" y="43"/>
                          <a:pt x="51" y="44"/>
                        </a:cubicBezTo>
                        <a:cubicBezTo>
                          <a:pt x="52" y="45"/>
                          <a:pt x="53" y="45"/>
                          <a:pt x="53" y="46"/>
                        </a:cubicBezTo>
                        <a:cubicBezTo>
                          <a:pt x="54" y="46"/>
                          <a:pt x="55" y="49"/>
                          <a:pt x="54" y="47"/>
                        </a:cubicBezTo>
                        <a:cubicBezTo>
                          <a:pt x="56" y="47"/>
                          <a:pt x="56" y="49"/>
                          <a:pt x="56" y="50"/>
                        </a:cubicBezTo>
                        <a:cubicBezTo>
                          <a:pt x="56" y="51"/>
                          <a:pt x="58" y="51"/>
                          <a:pt x="58" y="52"/>
                        </a:cubicBezTo>
                        <a:cubicBezTo>
                          <a:pt x="59" y="52"/>
                          <a:pt x="61" y="57"/>
                          <a:pt x="62" y="55"/>
                        </a:cubicBezTo>
                        <a:cubicBezTo>
                          <a:pt x="63" y="56"/>
                          <a:pt x="64" y="56"/>
                          <a:pt x="63" y="57"/>
                        </a:cubicBezTo>
                        <a:cubicBezTo>
                          <a:pt x="62" y="57"/>
                          <a:pt x="61" y="58"/>
                          <a:pt x="61" y="59"/>
                        </a:cubicBezTo>
                        <a:cubicBezTo>
                          <a:pt x="61" y="62"/>
                          <a:pt x="59" y="58"/>
                          <a:pt x="56" y="60"/>
                        </a:cubicBezTo>
                        <a:cubicBezTo>
                          <a:pt x="56" y="59"/>
                          <a:pt x="56" y="57"/>
                          <a:pt x="53" y="55"/>
                        </a:cubicBezTo>
                        <a:cubicBezTo>
                          <a:pt x="51" y="52"/>
                          <a:pt x="49" y="49"/>
                          <a:pt x="48" y="49"/>
                        </a:cubicBezTo>
                        <a:cubicBezTo>
                          <a:pt x="45" y="48"/>
                          <a:pt x="44" y="45"/>
                          <a:pt x="43" y="43"/>
                        </a:cubicBezTo>
                        <a:cubicBezTo>
                          <a:pt x="41" y="41"/>
                          <a:pt x="39" y="40"/>
                          <a:pt x="37" y="39"/>
                        </a:cubicBezTo>
                        <a:cubicBezTo>
                          <a:pt x="35" y="37"/>
                          <a:pt x="33" y="39"/>
                          <a:pt x="32" y="38"/>
                        </a:cubicBezTo>
                        <a:cubicBezTo>
                          <a:pt x="30" y="38"/>
                          <a:pt x="28" y="36"/>
                          <a:pt x="26" y="38"/>
                        </a:cubicBezTo>
                        <a:cubicBezTo>
                          <a:pt x="26" y="37"/>
                          <a:pt x="24" y="35"/>
                          <a:pt x="24" y="36"/>
                        </a:cubicBezTo>
                        <a:cubicBezTo>
                          <a:pt x="25" y="36"/>
                          <a:pt x="23" y="38"/>
                          <a:pt x="21" y="38"/>
                        </a:cubicBezTo>
                        <a:cubicBezTo>
                          <a:pt x="21" y="38"/>
                          <a:pt x="19" y="38"/>
                          <a:pt x="18" y="37"/>
                        </a:cubicBezTo>
                        <a:cubicBezTo>
                          <a:pt x="16" y="34"/>
                          <a:pt x="16" y="36"/>
                          <a:pt x="14" y="33"/>
                        </a:cubicBezTo>
                        <a:cubicBezTo>
                          <a:pt x="13" y="36"/>
                          <a:pt x="12" y="39"/>
                          <a:pt x="11" y="42"/>
                        </a:cubicBezTo>
                        <a:cubicBezTo>
                          <a:pt x="10" y="41"/>
                          <a:pt x="9" y="38"/>
                          <a:pt x="7" y="38"/>
                        </a:cubicBezTo>
                        <a:cubicBezTo>
                          <a:pt x="6" y="39"/>
                          <a:pt x="6" y="40"/>
                          <a:pt x="5" y="40"/>
                        </a:cubicBezTo>
                        <a:cubicBezTo>
                          <a:pt x="2" y="39"/>
                          <a:pt x="2" y="39"/>
                          <a:pt x="1" y="42"/>
                        </a:cubicBezTo>
                        <a:cubicBezTo>
                          <a:pt x="0" y="38"/>
                          <a:pt x="0" y="34"/>
                          <a:pt x="0" y="31"/>
                        </a:cubicBezTo>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46" name="Dem Rep of Congo">
                    <a:extLst>
                      <a:ext uri="{FF2B5EF4-FFF2-40B4-BE49-F238E27FC236}">
                        <a16:creationId xmlns:a16="http://schemas.microsoft.com/office/drawing/2014/main" id="{1303DB23-2D63-4CD5-32F7-83E6FE1955C7}"/>
                      </a:ext>
                    </a:extLst>
                  </p:cNvPr>
                  <p:cNvSpPr>
                    <a:spLocks/>
                  </p:cNvSpPr>
                  <p:nvPr/>
                </p:nvSpPr>
                <p:spPr bwMode="auto">
                  <a:xfrm>
                    <a:off x="4062481" y="3211370"/>
                    <a:ext cx="419815" cy="474415"/>
                  </a:xfrm>
                  <a:custGeom>
                    <a:avLst/>
                    <a:gdLst/>
                    <a:ahLst/>
                    <a:cxnLst>
                      <a:cxn ang="0">
                        <a:pos x="2" y="113"/>
                      </a:cxn>
                      <a:cxn ang="0">
                        <a:pos x="13" y="109"/>
                      </a:cxn>
                      <a:cxn ang="0">
                        <a:pos x="20" y="107"/>
                      </a:cxn>
                      <a:cxn ang="0">
                        <a:pos x="28" y="106"/>
                      </a:cxn>
                      <a:cxn ang="0">
                        <a:pos x="38" y="90"/>
                      </a:cxn>
                      <a:cxn ang="0">
                        <a:pos x="47" y="69"/>
                      </a:cxn>
                      <a:cxn ang="0">
                        <a:pos x="54" y="48"/>
                      </a:cxn>
                      <a:cxn ang="0">
                        <a:pos x="60" y="24"/>
                      </a:cxn>
                      <a:cxn ang="0">
                        <a:pos x="60" y="12"/>
                      </a:cxn>
                      <a:cxn ang="0">
                        <a:pos x="70" y="3"/>
                      </a:cxn>
                      <a:cxn ang="0">
                        <a:pos x="83" y="11"/>
                      </a:cxn>
                      <a:cxn ang="0">
                        <a:pos x="89" y="12"/>
                      </a:cxn>
                      <a:cxn ang="0">
                        <a:pos x="102" y="6"/>
                      </a:cxn>
                      <a:cxn ang="0">
                        <a:pos x="118" y="5"/>
                      </a:cxn>
                      <a:cxn ang="0">
                        <a:pos x="128" y="1"/>
                      </a:cxn>
                      <a:cxn ang="0">
                        <a:pos x="137" y="4"/>
                      </a:cxn>
                      <a:cxn ang="0">
                        <a:pos x="148" y="9"/>
                      </a:cxn>
                      <a:cxn ang="0">
                        <a:pos x="163" y="8"/>
                      </a:cxn>
                      <a:cxn ang="0">
                        <a:pos x="176" y="20"/>
                      </a:cxn>
                      <a:cxn ang="0">
                        <a:pos x="176" y="32"/>
                      </a:cxn>
                      <a:cxn ang="0">
                        <a:pos x="173" y="44"/>
                      </a:cxn>
                      <a:cxn ang="0">
                        <a:pos x="168" y="53"/>
                      </a:cxn>
                      <a:cxn ang="0">
                        <a:pos x="165" y="68"/>
                      </a:cxn>
                      <a:cxn ang="0">
                        <a:pos x="160" y="80"/>
                      </a:cxn>
                      <a:cxn ang="0">
                        <a:pos x="161" y="93"/>
                      </a:cxn>
                      <a:cxn ang="0">
                        <a:pos x="160" y="111"/>
                      </a:cxn>
                      <a:cxn ang="0">
                        <a:pos x="164" y="132"/>
                      </a:cxn>
                      <a:cxn ang="0">
                        <a:pos x="157" y="149"/>
                      </a:cxn>
                      <a:cxn ang="0">
                        <a:pos x="155" y="172"/>
                      </a:cxn>
                      <a:cxn ang="0">
                        <a:pos x="153" y="184"/>
                      </a:cxn>
                      <a:cxn ang="0">
                        <a:pos x="165" y="188"/>
                      </a:cxn>
                      <a:cxn ang="0">
                        <a:pos x="164" y="200"/>
                      </a:cxn>
                      <a:cxn ang="0">
                        <a:pos x="153" y="195"/>
                      </a:cxn>
                      <a:cxn ang="0">
                        <a:pos x="144" y="189"/>
                      </a:cxn>
                      <a:cxn ang="0">
                        <a:pos x="132" y="186"/>
                      </a:cxn>
                      <a:cxn ang="0">
                        <a:pos x="123" y="178"/>
                      </a:cxn>
                      <a:cxn ang="0">
                        <a:pos x="114" y="177"/>
                      </a:cxn>
                      <a:cxn ang="0">
                        <a:pos x="107" y="176"/>
                      </a:cxn>
                      <a:cxn ang="0">
                        <a:pos x="97" y="176"/>
                      </a:cxn>
                      <a:cxn ang="0">
                        <a:pos x="95" y="173"/>
                      </a:cxn>
                      <a:cxn ang="0">
                        <a:pos x="91" y="146"/>
                      </a:cxn>
                      <a:cxn ang="0">
                        <a:pos x="87" y="136"/>
                      </a:cxn>
                      <a:cxn ang="0">
                        <a:pos x="77" y="132"/>
                      </a:cxn>
                      <a:cxn ang="0">
                        <a:pos x="69" y="137"/>
                      </a:cxn>
                      <a:cxn ang="0">
                        <a:pos x="62" y="144"/>
                      </a:cxn>
                      <a:cxn ang="0">
                        <a:pos x="46" y="138"/>
                      </a:cxn>
                      <a:cxn ang="0">
                        <a:pos x="42" y="128"/>
                      </a:cxn>
                      <a:cxn ang="0">
                        <a:pos x="22" y="121"/>
                      </a:cxn>
                    </a:cxnLst>
                    <a:rect l="0" t="0" r="r" b="b"/>
                    <a:pathLst>
                      <a:path w="181" h="205">
                        <a:moveTo>
                          <a:pt x="0" y="120"/>
                        </a:moveTo>
                        <a:cubicBezTo>
                          <a:pt x="1" y="119"/>
                          <a:pt x="2" y="120"/>
                          <a:pt x="2" y="119"/>
                        </a:cubicBezTo>
                        <a:cubicBezTo>
                          <a:pt x="2" y="118"/>
                          <a:pt x="3" y="114"/>
                          <a:pt x="2" y="113"/>
                        </a:cubicBezTo>
                        <a:cubicBezTo>
                          <a:pt x="1" y="111"/>
                          <a:pt x="7" y="108"/>
                          <a:pt x="9" y="107"/>
                        </a:cubicBezTo>
                        <a:cubicBezTo>
                          <a:pt x="9" y="109"/>
                          <a:pt x="11" y="109"/>
                          <a:pt x="11" y="110"/>
                        </a:cubicBezTo>
                        <a:cubicBezTo>
                          <a:pt x="12" y="110"/>
                          <a:pt x="13" y="109"/>
                          <a:pt x="13" y="109"/>
                        </a:cubicBezTo>
                        <a:cubicBezTo>
                          <a:pt x="14" y="108"/>
                          <a:pt x="14" y="106"/>
                          <a:pt x="15" y="105"/>
                        </a:cubicBezTo>
                        <a:cubicBezTo>
                          <a:pt x="16" y="107"/>
                          <a:pt x="19" y="104"/>
                          <a:pt x="20" y="104"/>
                        </a:cubicBezTo>
                        <a:cubicBezTo>
                          <a:pt x="22" y="105"/>
                          <a:pt x="20" y="106"/>
                          <a:pt x="20" y="107"/>
                        </a:cubicBezTo>
                        <a:cubicBezTo>
                          <a:pt x="20" y="108"/>
                          <a:pt x="21" y="109"/>
                          <a:pt x="21" y="110"/>
                        </a:cubicBezTo>
                        <a:cubicBezTo>
                          <a:pt x="21" y="109"/>
                          <a:pt x="23" y="111"/>
                          <a:pt x="24" y="110"/>
                        </a:cubicBezTo>
                        <a:cubicBezTo>
                          <a:pt x="25" y="109"/>
                          <a:pt x="26" y="107"/>
                          <a:pt x="28" y="106"/>
                        </a:cubicBezTo>
                        <a:cubicBezTo>
                          <a:pt x="28" y="105"/>
                          <a:pt x="30" y="104"/>
                          <a:pt x="31" y="103"/>
                        </a:cubicBezTo>
                        <a:cubicBezTo>
                          <a:pt x="31" y="101"/>
                          <a:pt x="32" y="101"/>
                          <a:pt x="34" y="100"/>
                        </a:cubicBezTo>
                        <a:cubicBezTo>
                          <a:pt x="37" y="99"/>
                          <a:pt x="38" y="93"/>
                          <a:pt x="38" y="90"/>
                        </a:cubicBezTo>
                        <a:cubicBezTo>
                          <a:pt x="38" y="88"/>
                          <a:pt x="38" y="85"/>
                          <a:pt x="37" y="83"/>
                        </a:cubicBezTo>
                        <a:cubicBezTo>
                          <a:pt x="37" y="81"/>
                          <a:pt x="40" y="81"/>
                          <a:pt x="41" y="79"/>
                        </a:cubicBezTo>
                        <a:cubicBezTo>
                          <a:pt x="43" y="75"/>
                          <a:pt x="43" y="72"/>
                          <a:pt x="47" y="69"/>
                        </a:cubicBezTo>
                        <a:cubicBezTo>
                          <a:pt x="49" y="68"/>
                          <a:pt x="50" y="67"/>
                          <a:pt x="51" y="65"/>
                        </a:cubicBezTo>
                        <a:cubicBezTo>
                          <a:pt x="53" y="63"/>
                          <a:pt x="52" y="61"/>
                          <a:pt x="52" y="59"/>
                        </a:cubicBezTo>
                        <a:cubicBezTo>
                          <a:pt x="53" y="57"/>
                          <a:pt x="53" y="50"/>
                          <a:pt x="54" y="48"/>
                        </a:cubicBezTo>
                        <a:cubicBezTo>
                          <a:pt x="54" y="45"/>
                          <a:pt x="55" y="43"/>
                          <a:pt x="55" y="41"/>
                        </a:cubicBezTo>
                        <a:cubicBezTo>
                          <a:pt x="56" y="39"/>
                          <a:pt x="55" y="37"/>
                          <a:pt x="55" y="35"/>
                        </a:cubicBezTo>
                        <a:cubicBezTo>
                          <a:pt x="56" y="31"/>
                          <a:pt x="59" y="28"/>
                          <a:pt x="60" y="24"/>
                        </a:cubicBezTo>
                        <a:cubicBezTo>
                          <a:pt x="61" y="22"/>
                          <a:pt x="60" y="20"/>
                          <a:pt x="60" y="18"/>
                        </a:cubicBezTo>
                        <a:cubicBezTo>
                          <a:pt x="60" y="17"/>
                          <a:pt x="61" y="16"/>
                          <a:pt x="61" y="15"/>
                        </a:cubicBezTo>
                        <a:cubicBezTo>
                          <a:pt x="60" y="14"/>
                          <a:pt x="60" y="13"/>
                          <a:pt x="60" y="12"/>
                        </a:cubicBezTo>
                        <a:cubicBezTo>
                          <a:pt x="59" y="11"/>
                          <a:pt x="62" y="11"/>
                          <a:pt x="62" y="10"/>
                        </a:cubicBezTo>
                        <a:cubicBezTo>
                          <a:pt x="63" y="8"/>
                          <a:pt x="64" y="7"/>
                          <a:pt x="65" y="5"/>
                        </a:cubicBezTo>
                        <a:cubicBezTo>
                          <a:pt x="66" y="4"/>
                          <a:pt x="68" y="3"/>
                          <a:pt x="70" y="3"/>
                        </a:cubicBezTo>
                        <a:cubicBezTo>
                          <a:pt x="71" y="3"/>
                          <a:pt x="72" y="4"/>
                          <a:pt x="73" y="4"/>
                        </a:cubicBezTo>
                        <a:cubicBezTo>
                          <a:pt x="75" y="5"/>
                          <a:pt x="77" y="7"/>
                          <a:pt x="78" y="10"/>
                        </a:cubicBezTo>
                        <a:cubicBezTo>
                          <a:pt x="79" y="11"/>
                          <a:pt x="81" y="10"/>
                          <a:pt x="83" y="11"/>
                        </a:cubicBezTo>
                        <a:cubicBezTo>
                          <a:pt x="84" y="11"/>
                          <a:pt x="84" y="12"/>
                          <a:pt x="85" y="12"/>
                        </a:cubicBezTo>
                        <a:cubicBezTo>
                          <a:pt x="86" y="12"/>
                          <a:pt x="86" y="12"/>
                          <a:pt x="87" y="12"/>
                        </a:cubicBezTo>
                        <a:cubicBezTo>
                          <a:pt x="88" y="13"/>
                          <a:pt x="88" y="12"/>
                          <a:pt x="89" y="12"/>
                        </a:cubicBezTo>
                        <a:cubicBezTo>
                          <a:pt x="90" y="12"/>
                          <a:pt x="91" y="12"/>
                          <a:pt x="92" y="13"/>
                        </a:cubicBezTo>
                        <a:cubicBezTo>
                          <a:pt x="93" y="13"/>
                          <a:pt x="95" y="14"/>
                          <a:pt x="96" y="14"/>
                        </a:cubicBezTo>
                        <a:cubicBezTo>
                          <a:pt x="99" y="13"/>
                          <a:pt x="98" y="6"/>
                          <a:pt x="102" y="6"/>
                        </a:cubicBezTo>
                        <a:cubicBezTo>
                          <a:pt x="104" y="6"/>
                          <a:pt x="104" y="10"/>
                          <a:pt x="107" y="8"/>
                        </a:cubicBezTo>
                        <a:cubicBezTo>
                          <a:pt x="108" y="7"/>
                          <a:pt x="115" y="6"/>
                          <a:pt x="115" y="3"/>
                        </a:cubicBezTo>
                        <a:cubicBezTo>
                          <a:pt x="116" y="3"/>
                          <a:pt x="117" y="5"/>
                          <a:pt x="118" y="5"/>
                        </a:cubicBezTo>
                        <a:cubicBezTo>
                          <a:pt x="120" y="5"/>
                          <a:pt x="123" y="5"/>
                          <a:pt x="124" y="3"/>
                        </a:cubicBezTo>
                        <a:cubicBezTo>
                          <a:pt x="124" y="2"/>
                          <a:pt x="124" y="1"/>
                          <a:pt x="125" y="1"/>
                        </a:cubicBezTo>
                        <a:cubicBezTo>
                          <a:pt x="126" y="0"/>
                          <a:pt x="127" y="1"/>
                          <a:pt x="128" y="1"/>
                        </a:cubicBezTo>
                        <a:cubicBezTo>
                          <a:pt x="129" y="3"/>
                          <a:pt x="130" y="1"/>
                          <a:pt x="132" y="2"/>
                        </a:cubicBezTo>
                        <a:cubicBezTo>
                          <a:pt x="133" y="2"/>
                          <a:pt x="133" y="3"/>
                          <a:pt x="134" y="3"/>
                        </a:cubicBezTo>
                        <a:cubicBezTo>
                          <a:pt x="135" y="4"/>
                          <a:pt x="136" y="3"/>
                          <a:pt x="137" y="4"/>
                        </a:cubicBezTo>
                        <a:cubicBezTo>
                          <a:pt x="139" y="4"/>
                          <a:pt x="140" y="1"/>
                          <a:pt x="142" y="3"/>
                        </a:cubicBezTo>
                        <a:cubicBezTo>
                          <a:pt x="143" y="3"/>
                          <a:pt x="146" y="5"/>
                          <a:pt x="146" y="6"/>
                        </a:cubicBezTo>
                        <a:cubicBezTo>
                          <a:pt x="146" y="7"/>
                          <a:pt x="147" y="8"/>
                          <a:pt x="148" y="9"/>
                        </a:cubicBezTo>
                        <a:cubicBezTo>
                          <a:pt x="150" y="10"/>
                          <a:pt x="152" y="13"/>
                          <a:pt x="155" y="11"/>
                        </a:cubicBezTo>
                        <a:cubicBezTo>
                          <a:pt x="156" y="9"/>
                          <a:pt x="157" y="9"/>
                          <a:pt x="159" y="10"/>
                        </a:cubicBezTo>
                        <a:cubicBezTo>
                          <a:pt x="161" y="11"/>
                          <a:pt x="162" y="11"/>
                          <a:pt x="163" y="8"/>
                        </a:cubicBezTo>
                        <a:cubicBezTo>
                          <a:pt x="164" y="5"/>
                          <a:pt x="168" y="13"/>
                          <a:pt x="169" y="13"/>
                        </a:cubicBezTo>
                        <a:cubicBezTo>
                          <a:pt x="169" y="15"/>
                          <a:pt x="175" y="16"/>
                          <a:pt x="173" y="19"/>
                        </a:cubicBezTo>
                        <a:cubicBezTo>
                          <a:pt x="175" y="19"/>
                          <a:pt x="176" y="19"/>
                          <a:pt x="176" y="20"/>
                        </a:cubicBezTo>
                        <a:cubicBezTo>
                          <a:pt x="176" y="21"/>
                          <a:pt x="177" y="21"/>
                          <a:pt x="177" y="21"/>
                        </a:cubicBezTo>
                        <a:cubicBezTo>
                          <a:pt x="177" y="22"/>
                          <a:pt x="176" y="23"/>
                          <a:pt x="176" y="24"/>
                        </a:cubicBezTo>
                        <a:cubicBezTo>
                          <a:pt x="176" y="27"/>
                          <a:pt x="176" y="29"/>
                          <a:pt x="176" y="32"/>
                        </a:cubicBezTo>
                        <a:cubicBezTo>
                          <a:pt x="176" y="33"/>
                          <a:pt x="176" y="33"/>
                          <a:pt x="178" y="32"/>
                        </a:cubicBezTo>
                        <a:cubicBezTo>
                          <a:pt x="179" y="32"/>
                          <a:pt x="181" y="34"/>
                          <a:pt x="181" y="35"/>
                        </a:cubicBezTo>
                        <a:cubicBezTo>
                          <a:pt x="179" y="39"/>
                          <a:pt x="175" y="42"/>
                          <a:pt x="173" y="44"/>
                        </a:cubicBezTo>
                        <a:cubicBezTo>
                          <a:pt x="172" y="45"/>
                          <a:pt x="171" y="47"/>
                          <a:pt x="170" y="48"/>
                        </a:cubicBezTo>
                        <a:cubicBezTo>
                          <a:pt x="169" y="49"/>
                          <a:pt x="169" y="48"/>
                          <a:pt x="168" y="49"/>
                        </a:cubicBezTo>
                        <a:cubicBezTo>
                          <a:pt x="168" y="50"/>
                          <a:pt x="168" y="52"/>
                          <a:pt x="168" y="53"/>
                        </a:cubicBezTo>
                        <a:cubicBezTo>
                          <a:pt x="167" y="55"/>
                          <a:pt x="166" y="57"/>
                          <a:pt x="166" y="59"/>
                        </a:cubicBezTo>
                        <a:cubicBezTo>
                          <a:pt x="165" y="60"/>
                          <a:pt x="165" y="62"/>
                          <a:pt x="165" y="63"/>
                        </a:cubicBezTo>
                        <a:cubicBezTo>
                          <a:pt x="165" y="65"/>
                          <a:pt x="165" y="67"/>
                          <a:pt x="165" y="68"/>
                        </a:cubicBezTo>
                        <a:cubicBezTo>
                          <a:pt x="165" y="70"/>
                          <a:pt x="165" y="71"/>
                          <a:pt x="164" y="73"/>
                        </a:cubicBezTo>
                        <a:cubicBezTo>
                          <a:pt x="164" y="74"/>
                          <a:pt x="163" y="74"/>
                          <a:pt x="162" y="75"/>
                        </a:cubicBezTo>
                        <a:cubicBezTo>
                          <a:pt x="160" y="77"/>
                          <a:pt x="160" y="78"/>
                          <a:pt x="160" y="80"/>
                        </a:cubicBezTo>
                        <a:cubicBezTo>
                          <a:pt x="160" y="81"/>
                          <a:pt x="159" y="82"/>
                          <a:pt x="158" y="83"/>
                        </a:cubicBezTo>
                        <a:cubicBezTo>
                          <a:pt x="157" y="85"/>
                          <a:pt x="159" y="87"/>
                          <a:pt x="160" y="89"/>
                        </a:cubicBezTo>
                        <a:cubicBezTo>
                          <a:pt x="161" y="90"/>
                          <a:pt x="162" y="91"/>
                          <a:pt x="161" y="93"/>
                        </a:cubicBezTo>
                        <a:cubicBezTo>
                          <a:pt x="159" y="96"/>
                          <a:pt x="161" y="102"/>
                          <a:pt x="159" y="104"/>
                        </a:cubicBezTo>
                        <a:cubicBezTo>
                          <a:pt x="161" y="105"/>
                          <a:pt x="160" y="101"/>
                          <a:pt x="161" y="102"/>
                        </a:cubicBezTo>
                        <a:cubicBezTo>
                          <a:pt x="162" y="105"/>
                          <a:pt x="160" y="107"/>
                          <a:pt x="160" y="111"/>
                        </a:cubicBezTo>
                        <a:cubicBezTo>
                          <a:pt x="159" y="115"/>
                          <a:pt x="163" y="117"/>
                          <a:pt x="162" y="120"/>
                        </a:cubicBezTo>
                        <a:cubicBezTo>
                          <a:pt x="161" y="121"/>
                          <a:pt x="160" y="122"/>
                          <a:pt x="161" y="123"/>
                        </a:cubicBezTo>
                        <a:cubicBezTo>
                          <a:pt x="162" y="124"/>
                          <a:pt x="162" y="127"/>
                          <a:pt x="164" y="132"/>
                        </a:cubicBezTo>
                        <a:cubicBezTo>
                          <a:pt x="166" y="134"/>
                          <a:pt x="170" y="134"/>
                          <a:pt x="170" y="141"/>
                        </a:cubicBezTo>
                        <a:cubicBezTo>
                          <a:pt x="170" y="144"/>
                          <a:pt x="172" y="142"/>
                          <a:pt x="173" y="146"/>
                        </a:cubicBezTo>
                        <a:cubicBezTo>
                          <a:pt x="167" y="148"/>
                          <a:pt x="163" y="148"/>
                          <a:pt x="157" y="149"/>
                        </a:cubicBezTo>
                        <a:cubicBezTo>
                          <a:pt x="160" y="153"/>
                          <a:pt x="153" y="155"/>
                          <a:pt x="152" y="158"/>
                        </a:cubicBezTo>
                        <a:cubicBezTo>
                          <a:pt x="156" y="159"/>
                          <a:pt x="155" y="164"/>
                          <a:pt x="154" y="166"/>
                        </a:cubicBezTo>
                        <a:cubicBezTo>
                          <a:pt x="154" y="168"/>
                          <a:pt x="155" y="170"/>
                          <a:pt x="155" y="172"/>
                        </a:cubicBezTo>
                        <a:cubicBezTo>
                          <a:pt x="155" y="173"/>
                          <a:pt x="154" y="174"/>
                          <a:pt x="154" y="175"/>
                        </a:cubicBezTo>
                        <a:cubicBezTo>
                          <a:pt x="154" y="176"/>
                          <a:pt x="153" y="177"/>
                          <a:pt x="153" y="178"/>
                        </a:cubicBezTo>
                        <a:cubicBezTo>
                          <a:pt x="152" y="180"/>
                          <a:pt x="151" y="182"/>
                          <a:pt x="153" y="184"/>
                        </a:cubicBezTo>
                        <a:cubicBezTo>
                          <a:pt x="154" y="186"/>
                          <a:pt x="156" y="188"/>
                          <a:pt x="158" y="189"/>
                        </a:cubicBezTo>
                        <a:cubicBezTo>
                          <a:pt x="158" y="190"/>
                          <a:pt x="162" y="192"/>
                          <a:pt x="162" y="191"/>
                        </a:cubicBezTo>
                        <a:cubicBezTo>
                          <a:pt x="162" y="189"/>
                          <a:pt x="163" y="189"/>
                          <a:pt x="165" y="188"/>
                        </a:cubicBezTo>
                        <a:cubicBezTo>
                          <a:pt x="165" y="192"/>
                          <a:pt x="165" y="196"/>
                          <a:pt x="165" y="199"/>
                        </a:cubicBezTo>
                        <a:cubicBezTo>
                          <a:pt x="165" y="200"/>
                          <a:pt x="165" y="202"/>
                          <a:pt x="164" y="202"/>
                        </a:cubicBezTo>
                        <a:cubicBezTo>
                          <a:pt x="163" y="202"/>
                          <a:pt x="163" y="201"/>
                          <a:pt x="164" y="200"/>
                        </a:cubicBezTo>
                        <a:cubicBezTo>
                          <a:pt x="162" y="198"/>
                          <a:pt x="159" y="205"/>
                          <a:pt x="157" y="201"/>
                        </a:cubicBezTo>
                        <a:cubicBezTo>
                          <a:pt x="156" y="200"/>
                          <a:pt x="156" y="198"/>
                          <a:pt x="155" y="197"/>
                        </a:cubicBezTo>
                        <a:cubicBezTo>
                          <a:pt x="155" y="196"/>
                          <a:pt x="153" y="196"/>
                          <a:pt x="153" y="195"/>
                        </a:cubicBezTo>
                        <a:cubicBezTo>
                          <a:pt x="153" y="193"/>
                          <a:pt x="153" y="192"/>
                          <a:pt x="151" y="192"/>
                        </a:cubicBezTo>
                        <a:cubicBezTo>
                          <a:pt x="149" y="192"/>
                          <a:pt x="149" y="190"/>
                          <a:pt x="147" y="190"/>
                        </a:cubicBezTo>
                        <a:cubicBezTo>
                          <a:pt x="146" y="190"/>
                          <a:pt x="145" y="191"/>
                          <a:pt x="144" y="189"/>
                        </a:cubicBezTo>
                        <a:cubicBezTo>
                          <a:pt x="144" y="188"/>
                          <a:pt x="144" y="187"/>
                          <a:pt x="143" y="186"/>
                        </a:cubicBezTo>
                        <a:cubicBezTo>
                          <a:pt x="141" y="184"/>
                          <a:pt x="140" y="180"/>
                          <a:pt x="139" y="184"/>
                        </a:cubicBezTo>
                        <a:cubicBezTo>
                          <a:pt x="138" y="188"/>
                          <a:pt x="136" y="186"/>
                          <a:pt x="132" y="186"/>
                        </a:cubicBezTo>
                        <a:cubicBezTo>
                          <a:pt x="130" y="186"/>
                          <a:pt x="130" y="185"/>
                          <a:pt x="128" y="185"/>
                        </a:cubicBezTo>
                        <a:cubicBezTo>
                          <a:pt x="126" y="184"/>
                          <a:pt x="126" y="184"/>
                          <a:pt x="126" y="184"/>
                        </a:cubicBezTo>
                        <a:cubicBezTo>
                          <a:pt x="123" y="185"/>
                          <a:pt x="122" y="180"/>
                          <a:pt x="123" y="178"/>
                        </a:cubicBezTo>
                        <a:cubicBezTo>
                          <a:pt x="122" y="178"/>
                          <a:pt x="120" y="179"/>
                          <a:pt x="118" y="179"/>
                        </a:cubicBezTo>
                        <a:cubicBezTo>
                          <a:pt x="116" y="180"/>
                          <a:pt x="116" y="181"/>
                          <a:pt x="114" y="180"/>
                        </a:cubicBezTo>
                        <a:cubicBezTo>
                          <a:pt x="115" y="179"/>
                          <a:pt x="115" y="177"/>
                          <a:pt x="114" y="177"/>
                        </a:cubicBezTo>
                        <a:cubicBezTo>
                          <a:pt x="113" y="177"/>
                          <a:pt x="112" y="176"/>
                          <a:pt x="112" y="175"/>
                        </a:cubicBezTo>
                        <a:cubicBezTo>
                          <a:pt x="110" y="174"/>
                          <a:pt x="110" y="176"/>
                          <a:pt x="110" y="176"/>
                        </a:cubicBezTo>
                        <a:cubicBezTo>
                          <a:pt x="109" y="176"/>
                          <a:pt x="108" y="176"/>
                          <a:pt x="107" y="176"/>
                        </a:cubicBezTo>
                        <a:cubicBezTo>
                          <a:pt x="105" y="175"/>
                          <a:pt x="104" y="176"/>
                          <a:pt x="103" y="177"/>
                        </a:cubicBezTo>
                        <a:cubicBezTo>
                          <a:pt x="101" y="178"/>
                          <a:pt x="100" y="176"/>
                          <a:pt x="99" y="177"/>
                        </a:cubicBezTo>
                        <a:cubicBezTo>
                          <a:pt x="99" y="177"/>
                          <a:pt x="97" y="176"/>
                          <a:pt x="97" y="176"/>
                        </a:cubicBezTo>
                        <a:cubicBezTo>
                          <a:pt x="96" y="177"/>
                          <a:pt x="96" y="179"/>
                          <a:pt x="94" y="179"/>
                        </a:cubicBezTo>
                        <a:cubicBezTo>
                          <a:pt x="94" y="178"/>
                          <a:pt x="94" y="177"/>
                          <a:pt x="94" y="176"/>
                        </a:cubicBezTo>
                        <a:cubicBezTo>
                          <a:pt x="93" y="174"/>
                          <a:pt x="94" y="174"/>
                          <a:pt x="95" y="173"/>
                        </a:cubicBezTo>
                        <a:cubicBezTo>
                          <a:pt x="95" y="170"/>
                          <a:pt x="94" y="166"/>
                          <a:pt x="93" y="164"/>
                        </a:cubicBezTo>
                        <a:cubicBezTo>
                          <a:pt x="91" y="161"/>
                          <a:pt x="90" y="160"/>
                          <a:pt x="90" y="157"/>
                        </a:cubicBezTo>
                        <a:cubicBezTo>
                          <a:pt x="91" y="153"/>
                          <a:pt x="92" y="150"/>
                          <a:pt x="91" y="146"/>
                        </a:cubicBezTo>
                        <a:cubicBezTo>
                          <a:pt x="91" y="145"/>
                          <a:pt x="90" y="144"/>
                          <a:pt x="90" y="143"/>
                        </a:cubicBezTo>
                        <a:cubicBezTo>
                          <a:pt x="90" y="141"/>
                          <a:pt x="91" y="140"/>
                          <a:pt x="91" y="138"/>
                        </a:cubicBezTo>
                        <a:cubicBezTo>
                          <a:pt x="91" y="136"/>
                          <a:pt x="89" y="136"/>
                          <a:pt x="87" y="136"/>
                        </a:cubicBezTo>
                        <a:cubicBezTo>
                          <a:pt x="85" y="136"/>
                          <a:pt x="83" y="136"/>
                          <a:pt x="81" y="136"/>
                        </a:cubicBezTo>
                        <a:cubicBezTo>
                          <a:pt x="78" y="136"/>
                          <a:pt x="78" y="135"/>
                          <a:pt x="79" y="132"/>
                        </a:cubicBezTo>
                        <a:cubicBezTo>
                          <a:pt x="78" y="132"/>
                          <a:pt x="78" y="132"/>
                          <a:pt x="77" y="132"/>
                        </a:cubicBezTo>
                        <a:cubicBezTo>
                          <a:pt x="76" y="132"/>
                          <a:pt x="77" y="133"/>
                          <a:pt x="76" y="133"/>
                        </a:cubicBezTo>
                        <a:cubicBezTo>
                          <a:pt x="75" y="134"/>
                          <a:pt x="70" y="133"/>
                          <a:pt x="69" y="133"/>
                        </a:cubicBezTo>
                        <a:cubicBezTo>
                          <a:pt x="69" y="134"/>
                          <a:pt x="69" y="136"/>
                          <a:pt x="69" y="137"/>
                        </a:cubicBezTo>
                        <a:cubicBezTo>
                          <a:pt x="69" y="138"/>
                          <a:pt x="69" y="139"/>
                          <a:pt x="67" y="139"/>
                        </a:cubicBezTo>
                        <a:cubicBezTo>
                          <a:pt x="68" y="141"/>
                          <a:pt x="67" y="142"/>
                          <a:pt x="67" y="144"/>
                        </a:cubicBezTo>
                        <a:cubicBezTo>
                          <a:pt x="67" y="144"/>
                          <a:pt x="62" y="144"/>
                          <a:pt x="62" y="144"/>
                        </a:cubicBezTo>
                        <a:cubicBezTo>
                          <a:pt x="60" y="142"/>
                          <a:pt x="56" y="145"/>
                          <a:pt x="55" y="145"/>
                        </a:cubicBezTo>
                        <a:cubicBezTo>
                          <a:pt x="54" y="144"/>
                          <a:pt x="52" y="144"/>
                          <a:pt x="50" y="144"/>
                        </a:cubicBezTo>
                        <a:cubicBezTo>
                          <a:pt x="48" y="144"/>
                          <a:pt x="47" y="139"/>
                          <a:pt x="46" y="138"/>
                        </a:cubicBezTo>
                        <a:cubicBezTo>
                          <a:pt x="46" y="137"/>
                          <a:pt x="45" y="137"/>
                          <a:pt x="45" y="136"/>
                        </a:cubicBezTo>
                        <a:cubicBezTo>
                          <a:pt x="44" y="135"/>
                          <a:pt x="45" y="134"/>
                          <a:pt x="44" y="133"/>
                        </a:cubicBezTo>
                        <a:cubicBezTo>
                          <a:pt x="44" y="131"/>
                          <a:pt x="42" y="130"/>
                          <a:pt x="42" y="128"/>
                        </a:cubicBezTo>
                        <a:cubicBezTo>
                          <a:pt x="43" y="126"/>
                          <a:pt x="42" y="124"/>
                          <a:pt x="41" y="123"/>
                        </a:cubicBezTo>
                        <a:cubicBezTo>
                          <a:pt x="40" y="121"/>
                          <a:pt x="40" y="121"/>
                          <a:pt x="38" y="121"/>
                        </a:cubicBezTo>
                        <a:cubicBezTo>
                          <a:pt x="33" y="121"/>
                          <a:pt x="27" y="121"/>
                          <a:pt x="22" y="121"/>
                        </a:cubicBezTo>
                        <a:cubicBezTo>
                          <a:pt x="17" y="121"/>
                          <a:pt x="12" y="121"/>
                          <a:pt x="8" y="121"/>
                        </a:cubicBezTo>
                        <a:cubicBezTo>
                          <a:pt x="5" y="120"/>
                          <a:pt x="2" y="125"/>
                          <a:pt x="0" y="120"/>
                        </a:cubicBezTo>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47" name="Djibouti">
                    <a:extLst>
                      <a:ext uri="{FF2B5EF4-FFF2-40B4-BE49-F238E27FC236}">
                        <a16:creationId xmlns:a16="http://schemas.microsoft.com/office/drawing/2014/main" id="{18E61674-0439-48B9-0EBE-8C4E9A809511}"/>
                      </a:ext>
                    </a:extLst>
                  </p:cNvPr>
                  <p:cNvSpPr>
                    <a:spLocks/>
                  </p:cNvSpPr>
                  <p:nvPr/>
                </p:nvSpPr>
                <p:spPr bwMode="auto">
                  <a:xfrm>
                    <a:off x="4704337" y="3030583"/>
                    <a:ext cx="42467" cy="46107"/>
                  </a:xfrm>
                  <a:custGeom>
                    <a:avLst/>
                    <a:gdLst/>
                    <a:ahLst/>
                    <a:cxnLst>
                      <a:cxn ang="0">
                        <a:pos x="2" y="18"/>
                      </a:cxn>
                      <a:cxn ang="0">
                        <a:pos x="2" y="9"/>
                      </a:cxn>
                      <a:cxn ang="0">
                        <a:pos x="6" y="3"/>
                      </a:cxn>
                      <a:cxn ang="0">
                        <a:pos x="10" y="3"/>
                      </a:cxn>
                      <a:cxn ang="0">
                        <a:pos x="11" y="1"/>
                      </a:cxn>
                      <a:cxn ang="0">
                        <a:pos x="13" y="0"/>
                      </a:cxn>
                      <a:cxn ang="0">
                        <a:pos x="16" y="7"/>
                      </a:cxn>
                      <a:cxn ang="0">
                        <a:pos x="11" y="10"/>
                      </a:cxn>
                      <a:cxn ang="0">
                        <a:pos x="8" y="12"/>
                      </a:cxn>
                      <a:cxn ang="0">
                        <a:pos x="14" y="12"/>
                      </a:cxn>
                      <a:cxn ang="0">
                        <a:pos x="13" y="17"/>
                      </a:cxn>
                      <a:cxn ang="0">
                        <a:pos x="9" y="17"/>
                      </a:cxn>
                      <a:cxn ang="0">
                        <a:pos x="2" y="18"/>
                      </a:cxn>
                    </a:cxnLst>
                    <a:rect l="0" t="0" r="r" b="b"/>
                    <a:pathLst>
                      <a:path w="18" h="20">
                        <a:moveTo>
                          <a:pt x="2" y="18"/>
                        </a:moveTo>
                        <a:cubicBezTo>
                          <a:pt x="2" y="15"/>
                          <a:pt x="0" y="12"/>
                          <a:pt x="2" y="9"/>
                        </a:cubicBezTo>
                        <a:cubicBezTo>
                          <a:pt x="3" y="7"/>
                          <a:pt x="5" y="6"/>
                          <a:pt x="6" y="3"/>
                        </a:cubicBezTo>
                        <a:cubicBezTo>
                          <a:pt x="7" y="1"/>
                          <a:pt x="8" y="2"/>
                          <a:pt x="10" y="3"/>
                        </a:cubicBezTo>
                        <a:cubicBezTo>
                          <a:pt x="11" y="3"/>
                          <a:pt x="11" y="2"/>
                          <a:pt x="11" y="1"/>
                        </a:cubicBezTo>
                        <a:cubicBezTo>
                          <a:pt x="12" y="0"/>
                          <a:pt x="13" y="0"/>
                          <a:pt x="13" y="0"/>
                        </a:cubicBezTo>
                        <a:cubicBezTo>
                          <a:pt x="14" y="1"/>
                          <a:pt x="18" y="5"/>
                          <a:pt x="16" y="7"/>
                        </a:cubicBezTo>
                        <a:cubicBezTo>
                          <a:pt x="15" y="8"/>
                          <a:pt x="13" y="9"/>
                          <a:pt x="11" y="10"/>
                        </a:cubicBezTo>
                        <a:cubicBezTo>
                          <a:pt x="10" y="10"/>
                          <a:pt x="10" y="12"/>
                          <a:pt x="8" y="12"/>
                        </a:cubicBezTo>
                        <a:cubicBezTo>
                          <a:pt x="9" y="13"/>
                          <a:pt x="12" y="11"/>
                          <a:pt x="14" y="12"/>
                        </a:cubicBezTo>
                        <a:cubicBezTo>
                          <a:pt x="16" y="13"/>
                          <a:pt x="14" y="15"/>
                          <a:pt x="13" y="17"/>
                        </a:cubicBezTo>
                        <a:cubicBezTo>
                          <a:pt x="12" y="19"/>
                          <a:pt x="10" y="17"/>
                          <a:pt x="9" y="17"/>
                        </a:cubicBezTo>
                        <a:cubicBezTo>
                          <a:pt x="7" y="18"/>
                          <a:pt x="3" y="20"/>
                          <a:pt x="2" y="18"/>
                        </a:cubicBezTo>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48" name="Cyprus">
                    <a:extLst>
                      <a:ext uri="{FF2B5EF4-FFF2-40B4-BE49-F238E27FC236}">
                        <a16:creationId xmlns:a16="http://schemas.microsoft.com/office/drawing/2014/main" id="{AFC37965-A544-0A7F-EEE1-452C5F3C2CBA}"/>
                      </a:ext>
                    </a:extLst>
                  </p:cNvPr>
                  <p:cNvSpPr>
                    <a:spLocks/>
                  </p:cNvSpPr>
                  <p:nvPr/>
                </p:nvSpPr>
                <p:spPr bwMode="auto">
                  <a:xfrm>
                    <a:off x="4475016" y="2457888"/>
                    <a:ext cx="46107" cy="27907"/>
                  </a:xfrm>
                  <a:custGeom>
                    <a:avLst/>
                    <a:gdLst>
                      <a:gd name="connsiteX0" fmla="*/ 45244 w 45244"/>
                      <a:gd name="connsiteY0" fmla="*/ 0 h 27385"/>
                      <a:gd name="connsiteX1" fmla="*/ 39589 w 45244"/>
                      <a:gd name="connsiteY1" fmla="*/ 5420 h 27385"/>
                      <a:gd name="connsiteX2" fmla="*/ 34082 w 45244"/>
                      <a:gd name="connsiteY2" fmla="*/ 9031 h 27385"/>
                      <a:gd name="connsiteX3" fmla="*/ 34082 w 45244"/>
                      <a:gd name="connsiteY3" fmla="*/ 13395 h 27385"/>
                      <a:gd name="connsiteX4" fmla="*/ 33432 w 45244"/>
                      <a:gd name="connsiteY4" fmla="*/ 14045 h 27385"/>
                      <a:gd name="connsiteX5" fmla="*/ 36195 w 45244"/>
                      <a:gd name="connsiteY5" fmla="*/ 15975 h 27385"/>
                      <a:gd name="connsiteX6" fmla="*/ 27147 w 45244"/>
                      <a:gd name="connsiteY6" fmla="*/ 18257 h 27385"/>
                      <a:gd name="connsiteX7" fmla="*/ 24884 w 45244"/>
                      <a:gd name="connsiteY7" fmla="*/ 22821 h 27385"/>
                      <a:gd name="connsiteX8" fmla="*/ 15836 w 45244"/>
                      <a:gd name="connsiteY8" fmla="*/ 27385 h 27385"/>
                      <a:gd name="connsiteX9" fmla="*/ 0 w 45244"/>
                      <a:gd name="connsiteY9" fmla="*/ 15975 h 27385"/>
                      <a:gd name="connsiteX10" fmla="*/ 0 w 45244"/>
                      <a:gd name="connsiteY10" fmla="*/ 13693 h 27385"/>
                      <a:gd name="connsiteX11" fmla="*/ 9049 w 45244"/>
                      <a:gd name="connsiteY11" fmla="*/ 11410 h 27385"/>
                      <a:gd name="connsiteX12" fmla="*/ 9548 w 45244"/>
                      <a:gd name="connsiteY12" fmla="*/ 11243 h 27385"/>
                      <a:gd name="connsiteX13" fmla="*/ 9525 w 45244"/>
                      <a:gd name="connsiteY13" fmla="*/ 11163 h 27385"/>
                      <a:gd name="connsiteX14" fmla="*/ 16222 w 45244"/>
                      <a:gd name="connsiteY14" fmla="*/ 8930 h 27385"/>
                      <a:gd name="connsiteX15" fmla="*/ 29617 w 45244"/>
                      <a:gd name="connsiteY15" fmla="*/ 6698 h 27385"/>
                      <a:gd name="connsiteX16" fmla="*/ 45244 w 45244"/>
                      <a:gd name="connsiteY16" fmla="*/ 0 h 2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44" h="27385">
                        <a:moveTo>
                          <a:pt x="45244" y="0"/>
                        </a:moveTo>
                        <a:cubicBezTo>
                          <a:pt x="42982" y="1141"/>
                          <a:pt x="41285" y="3423"/>
                          <a:pt x="39589" y="5420"/>
                        </a:cubicBezTo>
                        <a:lnTo>
                          <a:pt x="34082" y="9031"/>
                        </a:lnTo>
                        <a:lnTo>
                          <a:pt x="34082" y="13395"/>
                        </a:lnTo>
                        <a:lnTo>
                          <a:pt x="33432" y="14045"/>
                        </a:lnTo>
                        <a:lnTo>
                          <a:pt x="36195" y="15975"/>
                        </a:lnTo>
                        <a:cubicBezTo>
                          <a:pt x="33933" y="18257"/>
                          <a:pt x="29409" y="15975"/>
                          <a:pt x="27147" y="18257"/>
                        </a:cubicBezTo>
                        <a:cubicBezTo>
                          <a:pt x="27147" y="20539"/>
                          <a:pt x="27147" y="20539"/>
                          <a:pt x="24884" y="22821"/>
                        </a:cubicBezTo>
                        <a:cubicBezTo>
                          <a:pt x="22622" y="22821"/>
                          <a:pt x="13573" y="22821"/>
                          <a:pt x="15836" y="27385"/>
                        </a:cubicBezTo>
                        <a:cubicBezTo>
                          <a:pt x="9049" y="25103"/>
                          <a:pt x="2262" y="25103"/>
                          <a:pt x="0" y="15975"/>
                        </a:cubicBezTo>
                        <a:cubicBezTo>
                          <a:pt x="0" y="13693"/>
                          <a:pt x="0" y="13693"/>
                          <a:pt x="0" y="13693"/>
                        </a:cubicBezTo>
                        <a:cubicBezTo>
                          <a:pt x="2262" y="18257"/>
                          <a:pt x="6786" y="11410"/>
                          <a:pt x="9049" y="11410"/>
                        </a:cubicBezTo>
                        <a:lnTo>
                          <a:pt x="9548" y="11243"/>
                        </a:lnTo>
                        <a:lnTo>
                          <a:pt x="9525" y="11163"/>
                        </a:lnTo>
                        <a:cubicBezTo>
                          <a:pt x="13990" y="13395"/>
                          <a:pt x="11758" y="6698"/>
                          <a:pt x="16222" y="8930"/>
                        </a:cubicBezTo>
                        <a:cubicBezTo>
                          <a:pt x="20687" y="8930"/>
                          <a:pt x="25152" y="8930"/>
                          <a:pt x="29617" y="6698"/>
                        </a:cubicBezTo>
                        <a:cubicBezTo>
                          <a:pt x="34082" y="6698"/>
                          <a:pt x="38547" y="0"/>
                          <a:pt x="45244" y="0"/>
                        </a:cubicBezTo>
                        <a:close/>
                      </a:path>
                    </a:pathLst>
                  </a:custGeom>
                  <a:solidFill>
                    <a:schemeClr val="accent2"/>
                  </a:solid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49" name="Cote d'Ivoire">
                    <a:extLst>
                      <a:ext uri="{FF2B5EF4-FFF2-40B4-BE49-F238E27FC236}">
                        <a16:creationId xmlns:a16="http://schemas.microsoft.com/office/drawing/2014/main" id="{E8A9A968-16BB-50D8-E749-17336DB8586B}"/>
                      </a:ext>
                    </a:extLst>
                  </p:cNvPr>
                  <p:cNvSpPr>
                    <a:spLocks/>
                  </p:cNvSpPr>
                  <p:nvPr/>
                </p:nvSpPr>
                <p:spPr bwMode="auto">
                  <a:xfrm>
                    <a:off x="3606265" y="3079116"/>
                    <a:ext cx="134681" cy="162587"/>
                  </a:xfrm>
                  <a:custGeom>
                    <a:avLst/>
                    <a:gdLst/>
                    <a:ahLst/>
                    <a:cxnLst>
                      <a:cxn ang="0">
                        <a:pos x="2" y="42"/>
                      </a:cxn>
                      <a:cxn ang="0">
                        <a:pos x="1" y="34"/>
                      </a:cxn>
                      <a:cxn ang="0">
                        <a:pos x="5" y="31"/>
                      </a:cxn>
                      <a:cxn ang="0">
                        <a:pos x="3" y="25"/>
                      </a:cxn>
                      <a:cxn ang="0">
                        <a:pos x="6" y="21"/>
                      </a:cxn>
                      <a:cxn ang="0">
                        <a:pos x="7" y="14"/>
                      </a:cxn>
                      <a:cxn ang="0">
                        <a:pos x="7" y="5"/>
                      </a:cxn>
                      <a:cxn ang="0">
                        <a:pos x="11" y="3"/>
                      </a:cxn>
                      <a:cxn ang="0">
                        <a:pos x="18" y="4"/>
                      </a:cxn>
                      <a:cxn ang="0">
                        <a:pos x="21" y="2"/>
                      </a:cxn>
                      <a:cxn ang="0">
                        <a:pos x="24" y="6"/>
                      </a:cxn>
                      <a:cxn ang="0">
                        <a:pos x="32" y="4"/>
                      </a:cxn>
                      <a:cxn ang="0">
                        <a:pos x="41" y="12"/>
                      </a:cxn>
                      <a:cxn ang="0">
                        <a:pos x="51" y="8"/>
                      </a:cxn>
                      <a:cxn ang="0">
                        <a:pos x="56" y="13"/>
                      </a:cxn>
                      <a:cxn ang="0">
                        <a:pos x="57" y="22"/>
                      </a:cxn>
                      <a:cxn ang="0">
                        <a:pos x="55" y="30"/>
                      </a:cxn>
                      <a:cxn ang="0">
                        <a:pos x="51" y="42"/>
                      </a:cxn>
                      <a:cxn ang="0">
                        <a:pos x="53" y="55"/>
                      </a:cxn>
                      <a:cxn ang="0">
                        <a:pos x="53" y="60"/>
                      </a:cxn>
                      <a:cxn ang="0">
                        <a:pos x="51" y="58"/>
                      </a:cxn>
                      <a:cxn ang="0">
                        <a:pos x="46" y="59"/>
                      </a:cxn>
                      <a:cxn ang="0">
                        <a:pos x="46" y="58"/>
                      </a:cxn>
                      <a:cxn ang="0">
                        <a:pos x="43" y="58"/>
                      </a:cxn>
                      <a:cxn ang="0">
                        <a:pos x="36" y="59"/>
                      </a:cxn>
                      <a:cxn ang="0">
                        <a:pos x="36" y="60"/>
                      </a:cxn>
                      <a:cxn ang="0">
                        <a:pos x="30" y="60"/>
                      </a:cxn>
                      <a:cxn ang="0">
                        <a:pos x="25" y="61"/>
                      </a:cxn>
                      <a:cxn ang="0">
                        <a:pos x="12" y="67"/>
                      </a:cxn>
                      <a:cxn ang="0">
                        <a:pos x="11" y="58"/>
                      </a:cxn>
                      <a:cxn ang="0">
                        <a:pos x="7" y="49"/>
                      </a:cxn>
                      <a:cxn ang="0">
                        <a:pos x="0" y="45"/>
                      </a:cxn>
                    </a:cxnLst>
                    <a:rect l="0" t="0" r="r" b="b"/>
                    <a:pathLst>
                      <a:path w="58" h="70">
                        <a:moveTo>
                          <a:pt x="0" y="45"/>
                        </a:moveTo>
                        <a:cubicBezTo>
                          <a:pt x="0" y="44"/>
                          <a:pt x="2" y="44"/>
                          <a:pt x="2" y="42"/>
                        </a:cubicBezTo>
                        <a:cubicBezTo>
                          <a:pt x="3" y="42"/>
                          <a:pt x="3" y="40"/>
                          <a:pt x="3" y="39"/>
                        </a:cubicBezTo>
                        <a:cubicBezTo>
                          <a:pt x="3" y="38"/>
                          <a:pt x="2" y="35"/>
                          <a:pt x="1" y="34"/>
                        </a:cubicBezTo>
                        <a:cubicBezTo>
                          <a:pt x="2" y="33"/>
                          <a:pt x="3" y="33"/>
                          <a:pt x="4" y="34"/>
                        </a:cubicBezTo>
                        <a:cubicBezTo>
                          <a:pt x="4" y="33"/>
                          <a:pt x="5" y="32"/>
                          <a:pt x="5" y="31"/>
                        </a:cubicBezTo>
                        <a:cubicBezTo>
                          <a:pt x="4" y="30"/>
                          <a:pt x="5" y="28"/>
                          <a:pt x="6" y="29"/>
                        </a:cubicBezTo>
                        <a:cubicBezTo>
                          <a:pt x="5" y="28"/>
                          <a:pt x="4" y="27"/>
                          <a:pt x="3" y="25"/>
                        </a:cubicBezTo>
                        <a:cubicBezTo>
                          <a:pt x="3" y="22"/>
                          <a:pt x="8" y="25"/>
                          <a:pt x="9" y="25"/>
                        </a:cubicBezTo>
                        <a:cubicBezTo>
                          <a:pt x="8" y="23"/>
                          <a:pt x="9" y="21"/>
                          <a:pt x="6" y="21"/>
                        </a:cubicBezTo>
                        <a:cubicBezTo>
                          <a:pt x="7" y="19"/>
                          <a:pt x="7" y="18"/>
                          <a:pt x="8" y="18"/>
                        </a:cubicBezTo>
                        <a:cubicBezTo>
                          <a:pt x="7" y="16"/>
                          <a:pt x="7" y="16"/>
                          <a:pt x="7" y="14"/>
                        </a:cubicBezTo>
                        <a:cubicBezTo>
                          <a:pt x="4" y="16"/>
                          <a:pt x="4" y="9"/>
                          <a:pt x="5" y="8"/>
                        </a:cubicBezTo>
                        <a:cubicBezTo>
                          <a:pt x="5" y="6"/>
                          <a:pt x="6" y="6"/>
                          <a:pt x="7" y="5"/>
                        </a:cubicBezTo>
                        <a:cubicBezTo>
                          <a:pt x="8" y="5"/>
                          <a:pt x="8" y="4"/>
                          <a:pt x="9" y="3"/>
                        </a:cubicBezTo>
                        <a:cubicBezTo>
                          <a:pt x="9" y="3"/>
                          <a:pt x="10" y="3"/>
                          <a:pt x="11" y="3"/>
                        </a:cubicBezTo>
                        <a:cubicBezTo>
                          <a:pt x="11" y="5"/>
                          <a:pt x="14" y="6"/>
                          <a:pt x="16" y="6"/>
                        </a:cubicBezTo>
                        <a:cubicBezTo>
                          <a:pt x="15" y="4"/>
                          <a:pt x="17" y="4"/>
                          <a:pt x="18" y="4"/>
                        </a:cubicBezTo>
                        <a:cubicBezTo>
                          <a:pt x="19" y="4"/>
                          <a:pt x="19" y="2"/>
                          <a:pt x="19" y="1"/>
                        </a:cubicBezTo>
                        <a:cubicBezTo>
                          <a:pt x="19" y="1"/>
                          <a:pt x="20" y="2"/>
                          <a:pt x="21" y="2"/>
                        </a:cubicBezTo>
                        <a:cubicBezTo>
                          <a:pt x="22" y="2"/>
                          <a:pt x="22" y="0"/>
                          <a:pt x="23" y="0"/>
                        </a:cubicBezTo>
                        <a:cubicBezTo>
                          <a:pt x="23" y="1"/>
                          <a:pt x="22" y="5"/>
                          <a:pt x="24" y="6"/>
                        </a:cubicBezTo>
                        <a:cubicBezTo>
                          <a:pt x="26" y="6"/>
                          <a:pt x="24" y="2"/>
                          <a:pt x="29" y="3"/>
                        </a:cubicBezTo>
                        <a:cubicBezTo>
                          <a:pt x="30" y="3"/>
                          <a:pt x="28" y="4"/>
                          <a:pt x="32" y="4"/>
                        </a:cubicBezTo>
                        <a:cubicBezTo>
                          <a:pt x="34" y="4"/>
                          <a:pt x="34" y="8"/>
                          <a:pt x="35" y="8"/>
                        </a:cubicBezTo>
                        <a:cubicBezTo>
                          <a:pt x="36" y="10"/>
                          <a:pt x="38" y="11"/>
                          <a:pt x="41" y="12"/>
                        </a:cubicBezTo>
                        <a:cubicBezTo>
                          <a:pt x="41" y="10"/>
                          <a:pt x="44" y="9"/>
                          <a:pt x="45" y="9"/>
                        </a:cubicBezTo>
                        <a:cubicBezTo>
                          <a:pt x="47" y="8"/>
                          <a:pt x="50" y="10"/>
                          <a:pt x="51" y="8"/>
                        </a:cubicBezTo>
                        <a:cubicBezTo>
                          <a:pt x="53" y="10"/>
                          <a:pt x="53" y="12"/>
                          <a:pt x="55" y="14"/>
                        </a:cubicBezTo>
                        <a:cubicBezTo>
                          <a:pt x="56" y="13"/>
                          <a:pt x="56" y="13"/>
                          <a:pt x="56" y="13"/>
                        </a:cubicBezTo>
                        <a:cubicBezTo>
                          <a:pt x="57" y="15"/>
                          <a:pt x="55" y="17"/>
                          <a:pt x="56" y="18"/>
                        </a:cubicBezTo>
                        <a:cubicBezTo>
                          <a:pt x="56" y="19"/>
                          <a:pt x="57" y="20"/>
                          <a:pt x="57" y="22"/>
                        </a:cubicBezTo>
                        <a:cubicBezTo>
                          <a:pt x="57" y="23"/>
                          <a:pt x="58" y="25"/>
                          <a:pt x="58" y="27"/>
                        </a:cubicBezTo>
                        <a:cubicBezTo>
                          <a:pt x="57" y="28"/>
                          <a:pt x="56" y="29"/>
                          <a:pt x="55" y="30"/>
                        </a:cubicBezTo>
                        <a:cubicBezTo>
                          <a:pt x="54" y="32"/>
                          <a:pt x="53" y="33"/>
                          <a:pt x="53" y="35"/>
                        </a:cubicBezTo>
                        <a:cubicBezTo>
                          <a:pt x="53" y="38"/>
                          <a:pt x="52" y="40"/>
                          <a:pt x="51" y="42"/>
                        </a:cubicBezTo>
                        <a:cubicBezTo>
                          <a:pt x="51" y="44"/>
                          <a:pt x="51" y="47"/>
                          <a:pt x="52" y="49"/>
                        </a:cubicBezTo>
                        <a:cubicBezTo>
                          <a:pt x="53" y="51"/>
                          <a:pt x="54" y="53"/>
                          <a:pt x="53" y="55"/>
                        </a:cubicBezTo>
                        <a:cubicBezTo>
                          <a:pt x="57" y="54"/>
                          <a:pt x="55" y="58"/>
                          <a:pt x="55" y="60"/>
                        </a:cubicBezTo>
                        <a:cubicBezTo>
                          <a:pt x="55" y="60"/>
                          <a:pt x="54" y="60"/>
                          <a:pt x="53" y="60"/>
                        </a:cubicBezTo>
                        <a:cubicBezTo>
                          <a:pt x="54" y="59"/>
                          <a:pt x="54" y="59"/>
                          <a:pt x="54" y="59"/>
                        </a:cubicBezTo>
                        <a:cubicBezTo>
                          <a:pt x="53" y="62"/>
                          <a:pt x="51" y="59"/>
                          <a:pt x="51" y="58"/>
                        </a:cubicBezTo>
                        <a:cubicBezTo>
                          <a:pt x="50" y="58"/>
                          <a:pt x="50" y="60"/>
                          <a:pt x="48" y="60"/>
                        </a:cubicBezTo>
                        <a:cubicBezTo>
                          <a:pt x="48" y="60"/>
                          <a:pt x="46" y="59"/>
                          <a:pt x="46" y="59"/>
                        </a:cubicBezTo>
                        <a:cubicBezTo>
                          <a:pt x="45" y="60"/>
                          <a:pt x="44" y="59"/>
                          <a:pt x="44" y="58"/>
                        </a:cubicBezTo>
                        <a:cubicBezTo>
                          <a:pt x="45" y="58"/>
                          <a:pt x="45" y="59"/>
                          <a:pt x="46" y="58"/>
                        </a:cubicBezTo>
                        <a:cubicBezTo>
                          <a:pt x="45" y="57"/>
                          <a:pt x="45" y="57"/>
                          <a:pt x="45" y="57"/>
                        </a:cubicBezTo>
                        <a:cubicBezTo>
                          <a:pt x="45" y="59"/>
                          <a:pt x="45" y="58"/>
                          <a:pt x="43" y="58"/>
                        </a:cubicBezTo>
                        <a:cubicBezTo>
                          <a:pt x="44" y="58"/>
                          <a:pt x="41" y="58"/>
                          <a:pt x="40" y="58"/>
                        </a:cubicBezTo>
                        <a:cubicBezTo>
                          <a:pt x="39" y="58"/>
                          <a:pt x="35" y="59"/>
                          <a:pt x="36" y="59"/>
                        </a:cubicBezTo>
                        <a:cubicBezTo>
                          <a:pt x="38" y="60"/>
                          <a:pt x="42" y="57"/>
                          <a:pt x="43" y="59"/>
                        </a:cubicBezTo>
                        <a:cubicBezTo>
                          <a:pt x="41" y="59"/>
                          <a:pt x="38" y="59"/>
                          <a:pt x="36" y="60"/>
                        </a:cubicBezTo>
                        <a:cubicBezTo>
                          <a:pt x="35" y="60"/>
                          <a:pt x="34" y="60"/>
                          <a:pt x="34" y="59"/>
                        </a:cubicBezTo>
                        <a:cubicBezTo>
                          <a:pt x="33" y="59"/>
                          <a:pt x="31" y="59"/>
                          <a:pt x="30" y="60"/>
                        </a:cubicBezTo>
                        <a:cubicBezTo>
                          <a:pt x="32" y="59"/>
                          <a:pt x="32" y="59"/>
                          <a:pt x="34" y="60"/>
                        </a:cubicBezTo>
                        <a:cubicBezTo>
                          <a:pt x="31" y="60"/>
                          <a:pt x="27" y="60"/>
                          <a:pt x="25" y="61"/>
                        </a:cubicBezTo>
                        <a:cubicBezTo>
                          <a:pt x="22" y="62"/>
                          <a:pt x="20" y="64"/>
                          <a:pt x="17" y="65"/>
                        </a:cubicBezTo>
                        <a:cubicBezTo>
                          <a:pt x="16" y="65"/>
                          <a:pt x="13" y="66"/>
                          <a:pt x="12" y="67"/>
                        </a:cubicBezTo>
                        <a:cubicBezTo>
                          <a:pt x="9" y="70"/>
                          <a:pt x="9" y="66"/>
                          <a:pt x="9" y="64"/>
                        </a:cubicBezTo>
                        <a:cubicBezTo>
                          <a:pt x="10" y="62"/>
                          <a:pt x="10" y="60"/>
                          <a:pt x="11" y="58"/>
                        </a:cubicBezTo>
                        <a:cubicBezTo>
                          <a:pt x="12" y="56"/>
                          <a:pt x="11" y="53"/>
                          <a:pt x="9" y="52"/>
                        </a:cubicBezTo>
                        <a:cubicBezTo>
                          <a:pt x="8" y="51"/>
                          <a:pt x="7" y="50"/>
                          <a:pt x="7" y="49"/>
                        </a:cubicBezTo>
                        <a:cubicBezTo>
                          <a:pt x="7" y="46"/>
                          <a:pt x="1" y="48"/>
                          <a:pt x="2" y="46"/>
                        </a:cubicBezTo>
                        <a:cubicBezTo>
                          <a:pt x="1" y="46"/>
                          <a:pt x="0" y="46"/>
                          <a:pt x="0" y="45"/>
                        </a:cubicBezTo>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50" name="Cameroon">
                    <a:extLst>
                      <a:ext uri="{FF2B5EF4-FFF2-40B4-BE49-F238E27FC236}">
                        <a16:creationId xmlns:a16="http://schemas.microsoft.com/office/drawing/2014/main" id="{400802CE-4367-42FD-D9B9-00F709D02370}"/>
                      </a:ext>
                    </a:extLst>
                  </p:cNvPr>
                  <p:cNvSpPr>
                    <a:spLocks/>
                  </p:cNvSpPr>
                  <p:nvPr/>
                </p:nvSpPr>
                <p:spPr bwMode="auto">
                  <a:xfrm>
                    <a:off x="3978761" y="3018450"/>
                    <a:ext cx="172294" cy="285135"/>
                  </a:xfrm>
                  <a:custGeom>
                    <a:avLst/>
                    <a:gdLst/>
                    <a:ahLst/>
                    <a:cxnLst>
                      <a:cxn ang="0">
                        <a:pos x="3" y="85"/>
                      </a:cxn>
                      <a:cxn ang="0">
                        <a:pos x="5" y="77"/>
                      </a:cxn>
                      <a:cxn ang="0">
                        <a:pos x="12" y="70"/>
                      </a:cxn>
                      <a:cxn ang="0">
                        <a:pos x="19" y="67"/>
                      </a:cxn>
                      <a:cxn ang="0">
                        <a:pos x="24" y="68"/>
                      </a:cxn>
                      <a:cxn ang="0">
                        <a:pos x="27" y="72"/>
                      </a:cxn>
                      <a:cxn ang="0">
                        <a:pos x="32" y="65"/>
                      </a:cxn>
                      <a:cxn ang="0">
                        <a:pos x="36" y="55"/>
                      </a:cxn>
                      <a:cxn ang="0">
                        <a:pos x="38" y="49"/>
                      </a:cxn>
                      <a:cxn ang="0">
                        <a:pos x="42" y="41"/>
                      </a:cxn>
                      <a:cxn ang="0">
                        <a:pos x="46" y="34"/>
                      </a:cxn>
                      <a:cxn ang="0">
                        <a:pos x="48" y="28"/>
                      </a:cxn>
                      <a:cxn ang="0">
                        <a:pos x="52" y="20"/>
                      </a:cxn>
                      <a:cxn ang="0">
                        <a:pos x="58" y="15"/>
                      </a:cxn>
                      <a:cxn ang="0">
                        <a:pos x="56" y="8"/>
                      </a:cxn>
                      <a:cxn ang="0">
                        <a:pos x="53" y="1"/>
                      </a:cxn>
                      <a:cxn ang="0">
                        <a:pos x="59" y="5"/>
                      </a:cxn>
                      <a:cxn ang="0">
                        <a:pos x="62" y="11"/>
                      </a:cxn>
                      <a:cxn ang="0">
                        <a:pos x="68" y="34"/>
                      </a:cxn>
                      <a:cxn ang="0">
                        <a:pos x="61" y="34"/>
                      </a:cxn>
                      <a:cxn ang="0">
                        <a:pos x="55" y="41"/>
                      </a:cxn>
                      <a:cxn ang="0">
                        <a:pos x="64" y="51"/>
                      </a:cxn>
                      <a:cxn ang="0">
                        <a:pos x="65" y="62"/>
                      </a:cxn>
                      <a:cxn ang="0">
                        <a:pos x="61" y="70"/>
                      </a:cxn>
                      <a:cxn ang="0">
                        <a:pos x="57" y="77"/>
                      </a:cxn>
                      <a:cxn ang="0">
                        <a:pos x="58" y="84"/>
                      </a:cxn>
                      <a:cxn ang="0">
                        <a:pos x="60" y="92"/>
                      </a:cxn>
                      <a:cxn ang="0">
                        <a:pos x="64" y="98"/>
                      </a:cxn>
                      <a:cxn ang="0">
                        <a:pos x="72" y="109"/>
                      </a:cxn>
                      <a:cxn ang="0">
                        <a:pos x="74" y="117"/>
                      </a:cxn>
                      <a:cxn ang="0">
                        <a:pos x="68" y="120"/>
                      </a:cxn>
                      <a:cxn ang="0">
                        <a:pos x="61" y="119"/>
                      </a:cxn>
                      <a:cxn ang="0">
                        <a:pos x="54" y="118"/>
                      </a:cxn>
                      <a:cxn ang="0">
                        <a:pos x="46" y="118"/>
                      </a:cxn>
                      <a:cxn ang="0">
                        <a:pos x="40" y="117"/>
                      </a:cxn>
                      <a:cxn ang="0">
                        <a:pos x="28" y="116"/>
                      </a:cxn>
                      <a:cxn ang="0">
                        <a:pos x="23" y="118"/>
                      </a:cxn>
                      <a:cxn ang="0">
                        <a:pos x="13" y="112"/>
                      </a:cxn>
                      <a:cxn ang="0">
                        <a:pos x="13" y="102"/>
                      </a:cxn>
                      <a:cxn ang="0">
                        <a:pos x="11" y="98"/>
                      </a:cxn>
                      <a:cxn ang="0">
                        <a:pos x="10" y="97"/>
                      </a:cxn>
                      <a:cxn ang="0">
                        <a:pos x="9" y="99"/>
                      </a:cxn>
                      <a:cxn ang="0">
                        <a:pos x="5" y="96"/>
                      </a:cxn>
                      <a:cxn ang="0">
                        <a:pos x="2" y="91"/>
                      </a:cxn>
                      <a:cxn ang="0">
                        <a:pos x="1" y="89"/>
                      </a:cxn>
                    </a:cxnLst>
                    <a:rect l="0" t="0" r="r" b="b"/>
                    <a:pathLst>
                      <a:path w="74" h="123">
                        <a:moveTo>
                          <a:pt x="1" y="89"/>
                        </a:moveTo>
                        <a:cubicBezTo>
                          <a:pt x="3" y="88"/>
                          <a:pt x="3" y="87"/>
                          <a:pt x="3" y="85"/>
                        </a:cubicBezTo>
                        <a:cubicBezTo>
                          <a:pt x="3" y="84"/>
                          <a:pt x="5" y="81"/>
                          <a:pt x="5" y="80"/>
                        </a:cubicBezTo>
                        <a:cubicBezTo>
                          <a:pt x="4" y="79"/>
                          <a:pt x="4" y="79"/>
                          <a:pt x="5" y="77"/>
                        </a:cubicBezTo>
                        <a:cubicBezTo>
                          <a:pt x="7" y="76"/>
                          <a:pt x="8" y="74"/>
                          <a:pt x="10" y="73"/>
                        </a:cubicBezTo>
                        <a:cubicBezTo>
                          <a:pt x="11" y="72"/>
                          <a:pt x="12" y="71"/>
                          <a:pt x="12" y="70"/>
                        </a:cubicBezTo>
                        <a:cubicBezTo>
                          <a:pt x="13" y="69"/>
                          <a:pt x="14" y="67"/>
                          <a:pt x="15" y="66"/>
                        </a:cubicBezTo>
                        <a:cubicBezTo>
                          <a:pt x="17" y="66"/>
                          <a:pt x="17" y="68"/>
                          <a:pt x="19" y="67"/>
                        </a:cubicBezTo>
                        <a:cubicBezTo>
                          <a:pt x="20" y="67"/>
                          <a:pt x="20" y="65"/>
                          <a:pt x="20" y="64"/>
                        </a:cubicBezTo>
                        <a:cubicBezTo>
                          <a:pt x="21" y="65"/>
                          <a:pt x="23" y="68"/>
                          <a:pt x="24" y="68"/>
                        </a:cubicBezTo>
                        <a:cubicBezTo>
                          <a:pt x="25" y="68"/>
                          <a:pt x="25" y="70"/>
                          <a:pt x="25" y="71"/>
                        </a:cubicBezTo>
                        <a:cubicBezTo>
                          <a:pt x="25" y="71"/>
                          <a:pt x="26" y="72"/>
                          <a:pt x="27" y="72"/>
                        </a:cubicBezTo>
                        <a:cubicBezTo>
                          <a:pt x="28" y="71"/>
                          <a:pt x="30" y="69"/>
                          <a:pt x="29" y="68"/>
                        </a:cubicBezTo>
                        <a:cubicBezTo>
                          <a:pt x="29" y="67"/>
                          <a:pt x="31" y="66"/>
                          <a:pt x="32" y="65"/>
                        </a:cubicBezTo>
                        <a:cubicBezTo>
                          <a:pt x="33" y="65"/>
                          <a:pt x="32" y="63"/>
                          <a:pt x="32" y="62"/>
                        </a:cubicBezTo>
                        <a:cubicBezTo>
                          <a:pt x="33" y="60"/>
                          <a:pt x="35" y="58"/>
                          <a:pt x="36" y="55"/>
                        </a:cubicBezTo>
                        <a:cubicBezTo>
                          <a:pt x="36" y="54"/>
                          <a:pt x="36" y="52"/>
                          <a:pt x="36" y="51"/>
                        </a:cubicBezTo>
                        <a:cubicBezTo>
                          <a:pt x="36" y="50"/>
                          <a:pt x="38" y="50"/>
                          <a:pt x="38" y="49"/>
                        </a:cubicBezTo>
                        <a:cubicBezTo>
                          <a:pt x="37" y="48"/>
                          <a:pt x="41" y="49"/>
                          <a:pt x="41" y="45"/>
                        </a:cubicBezTo>
                        <a:cubicBezTo>
                          <a:pt x="42" y="45"/>
                          <a:pt x="43" y="41"/>
                          <a:pt x="42" y="41"/>
                        </a:cubicBezTo>
                        <a:cubicBezTo>
                          <a:pt x="43" y="40"/>
                          <a:pt x="45" y="39"/>
                          <a:pt x="46" y="37"/>
                        </a:cubicBezTo>
                        <a:cubicBezTo>
                          <a:pt x="46" y="36"/>
                          <a:pt x="46" y="35"/>
                          <a:pt x="46" y="34"/>
                        </a:cubicBezTo>
                        <a:cubicBezTo>
                          <a:pt x="46" y="33"/>
                          <a:pt x="47" y="33"/>
                          <a:pt x="47" y="32"/>
                        </a:cubicBezTo>
                        <a:cubicBezTo>
                          <a:pt x="48" y="31"/>
                          <a:pt x="48" y="30"/>
                          <a:pt x="48" y="28"/>
                        </a:cubicBezTo>
                        <a:cubicBezTo>
                          <a:pt x="49" y="27"/>
                          <a:pt x="49" y="26"/>
                          <a:pt x="49" y="25"/>
                        </a:cubicBezTo>
                        <a:cubicBezTo>
                          <a:pt x="50" y="23"/>
                          <a:pt x="51" y="21"/>
                          <a:pt x="52" y="20"/>
                        </a:cubicBezTo>
                        <a:cubicBezTo>
                          <a:pt x="53" y="20"/>
                          <a:pt x="58" y="20"/>
                          <a:pt x="59" y="17"/>
                        </a:cubicBezTo>
                        <a:cubicBezTo>
                          <a:pt x="59" y="16"/>
                          <a:pt x="58" y="15"/>
                          <a:pt x="58" y="15"/>
                        </a:cubicBezTo>
                        <a:cubicBezTo>
                          <a:pt x="58" y="13"/>
                          <a:pt x="58" y="12"/>
                          <a:pt x="59" y="11"/>
                        </a:cubicBezTo>
                        <a:cubicBezTo>
                          <a:pt x="59" y="9"/>
                          <a:pt x="56" y="8"/>
                          <a:pt x="56" y="8"/>
                        </a:cubicBezTo>
                        <a:cubicBezTo>
                          <a:pt x="55" y="9"/>
                          <a:pt x="54" y="7"/>
                          <a:pt x="54" y="5"/>
                        </a:cubicBezTo>
                        <a:cubicBezTo>
                          <a:pt x="53" y="2"/>
                          <a:pt x="54" y="1"/>
                          <a:pt x="53" y="1"/>
                        </a:cubicBezTo>
                        <a:cubicBezTo>
                          <a:pt x="54" y="1"/>
                          <a:pt x="56" y="0"/>
                          <a:pt x="57" y="1"/>
                        </a:cubicBezTo>
                        <a:cubicBezTo>
                          <a:pt x="58" y="3"/>
                          <a:pt x="57" y="4"/>
                          <a:pt x="59" y="5"/>
                        </a:cubicBezTo>
                        <a:cubicBezTo>
                          <a:pt x="61" y="5"/>
                          <a:pt x="61" y="9"/>
                          <a:pt x="61" y="10"/>
                        </a:cubicBezTo>
                        <a:cubicBezTo>
                          <a:pt x="61" y="11"/>
                          <a:pt x="61" y="10"/>
                          <a:pt x="62" y="11"/>
                        </a:cubicBezTo>
                        <a:cubicBezTo>
                          <a:pt x="64" y="13"/>
                          <a:pt x="62" y="20"/>
                          <a:pt x="62" y="23"/>
                        </a:cubicBezTo>
                        <a:cubicBezTo>
                          <a:pt x="63" y="27"/>
                          <a:pt x="65" y="32"/>
                          <a:pt x="68" y="34"/>
                        </a:cubicBezTo>
                        <a:cubicBezTo>
                          <a:pt x="67" y="35"/>
                          <a:pt x="65" y="34"/>
                          <a:pt x="64" y="34"/>
                        </a:cubicBezTo>
                        <a:cubicBezTo>
                          <a:pt x="63" y="34"/>
                          <a:pt x="62" y="34"/>
                          <a:pt x="61" y="34"/>
                        </a:cubicBezTo>
                        <a:cubicBezTo>
                          <a:pt x="58" y="34"/>
                          <a:pt x="55" y="33"/>
                          <a:pt x="54" y="35"/>
                        </a:cubicBezTo>
                        <a:cubicBezTo>
                          <a:pt x="52" y="38"/>
                          <a:pt x="52" y="38"/>
                          <a:pt x="55" y="41"/>
                        </a:cubicBezTo>
                        <a:cubicBezTo>
                          <a:pt x="57" y="43"/>
                          <a:pt x="59" y="45"/>
                          <a:pt x="62" y="48"/>
                        </a:cubicBezTo>
                        <a:cubicBezTo>
                          <a:pt x="63" y="49"/>
                          <a:pt x="64" y="50"/>
                          <a:pt x="64" y="51"/>
                        </a:cubicBezTo>
                        <a:cubicBezTo>
                          <a:pt x="65" y="52"/>
                          <a:pt x="66" y="56"/>
                          <a:pt x="67" y="58"/>
                        </a:cubicBezTo>
                        <a:cubicBezTo>
                          <a:pt x="68" y="60"/>
                          <a:pt x="66" y="61"/>
                          <a:pt x="65" y="62"/>
                        </a:cubicBezTo>
                        <a:cubicBezTo>
                          <a:pt x="65" y="63"/>
                          <a:pt x="63" y="66"/>
                          <a:pt x="63" y="67"/>
                        </a:cubicBezTo>
                        <a:cubicBezTo>
                          <a:pt x="62" y="68"/>
                          <a:pt x="62" y="69"/>
                          <a:pt x="61" y="70"/>
                        </a:cubicBezTo>
                        <a:cubicBezTo>
                          <a:pt x="61" y="71"/>
                          <a:pt x="60" y="72"/>
                          <a:pt x="60" y="73"/>
                        </a:cubicBezTo>
                        <a:cubicBezTo>
                          <a:pt x="59" y="74"/>
                          <a:pt x="55" y="76"/>
                          <a:pt x="57" y="77"/>
                        </a:cubicBezTo>
                        <a:cubicBezTo>
                          <a:pt x="59" y="78"/>
                          <a:pt x="59" y="79"/>
                          <a:pt x="59" y="81"/>
                        </a:cubicBezTo>
                        <a:cubicBezTo>
                          <a:pt x="58" y="82"/>
                          <a:pt x="58" y="83"/>
                          <a:pt x="58" y="84"/>
                        </a:cubicBezTo>
                        <a:cubicBezTo>
                          <a:pt x="59" y="86"/>
                          <a:pt x="59" y="86"/>
                          <a:pt x="59" y="86"/>
                        </a:cubicBezTo>
                        <a:cubicBezTo>
                          <a:pt x="59" y="87"/>
                          <a:pt x="59" y="90"/>
                          <a:pt x="60" y="92"/>
                        </a:cubicBezTo>
                        <a:cubicBezTo>
                          <a:pt x="61" y="93"/>
                          <a:pt x="62" y="93"/>
                          <a:pt x="62" y="94"/>
                        </a:cubicBezTo>
                        <a:cubicBezTo>
                          <a:pt x="62" y="95"/>
                          <a:pt x="63" y="97"/>
                          <a:pt x="64" y="98"/>
                        </a:cubicBezTo>
                        <a:cubicBezTo>
                          <a:pt x="61" y="98"/>
                          <a:pt x="68" y="106"/>
                          <a:pt x="68" y="106"/>
                        </a:cubicBezTo>
                        <a:cubicBezTo>
                          <a:pt x="70" y="107"/>
                          <a:pt x="72" y="108"/>
                          <a:pt x="72" y="109"/>
                        </a:cubicBezTo>
                        <a:cubicBezTo>
                          <a:pt x="72" y="110"/>
                          <a:pt x="73" y="110"/>
                          <a:pt x="73" y="111"/>
                        </a:cubicBezTo>
                        <a:cubicBezTo>
                          <a:pt x="73" y="113"/>
                          <a:pt x="73" y="115"/>
                          <a:pt x="74" y="117"/>
                        </a:cubicBezTo>
                        <a:cubicBezTo>
                          <a:pt x="71" y="118"/>
                          <a:pt x="74" y="122"/>
                          <a:pt x="72" y="123"/>
                        </a:cubicBezTo>
                        <a:cubicBezTo>
                          <a:pt x="71" y="122"/>
                          <a:pt x="70" y="121"/>
                          <a:pt x="68" y="120"/>
                        </a:cubicBezTo>
                        <a:cubicBezTo>
                          <a:pt x="67" y="120"/>
                          <a:pt x="65" y="119"/>
                          <a:pt x="64" y="119"/>
                        </a:cubicBezTo>
                        <a:cubicBezTo>
                          <a:pt x="63" y="120"/>
                          <a:pt x="62" y="120"/>
                          <a:pt x="61" y="119"/>
                        </a:cubicBezTo>
                        <a:cubicBezTo>
                          <a:pt x="58" y="118"/>
                          <a:pt x="58" y="118"/>
                          <a:pt x="58" y="118"/>
                        </a:cubicBezTo>
                        <a:cubicBezTo>
                          <a:pt x="57" y="118"/>
                          <a:pt x="55" y="118"/>
                          <a:pt x="54" y="118"/>
                        </a:cubicBezTo>
                        <a:cubicBezTo>
                          <a:pt x="52" y="118"/>
                          <a:pt x="50" y="118"/>
                          <a:pt x="48" y="117"/>
                        </a:cubicBezTo>
                        <a:cubicBezTo>
                          <a:pt x="47" y="117"/>
                          <a:pt x="46" y="118"/>
                          <a:pt x="46" y="118"/>
                        </a:cubicBezTo>
                        <a:cubicBezTo>
                          <a:pt x="45" y="117"/>
                          <a:pt x="46" y="116"/>
                          <a:pt x="45" y="117"/>
                        </a:cubicBezTo>
                        <a:cubicBezTo>
                          <a:pt x="43" y="117"/>
                          <a:pt x="41" y="117"/>
                          <a:pt x="40" y="117"/>
                        </a:cubicBezTo>
                        <a:cubicBezTo>
                          <a:pt x="37" y="116"/>
                          <a:pt x="36" y="117"/>
                          <a:pt x="33" y="116"/>
                        </a:cubicBezTo>
                        <a:cubicBezTo>
                          <a:pt x="32" y="116"/>
                          <a:pt x="29" y="116"/>
                          <a:pt x="28" y="116"/>
                        </a:cubicBezTo>
                        <a:cubicBezTo>
                          <a:pt x="28" y="117"/>
                          <a:pt x="28" y="118"/>
                          <a:pt x="27" y="118"/>
                        </a:cubicBezTo>
                        <a:cubicBezTo>
                          <a:pt x="26" y="118"/>
                          <a:pt x="25" y="118"/>
                          <a:pt x="23" y="118"/>
                        </a:cubicBezTo>
                        <a:cubicBezTo>
                          <a:pt x="21" y="118"/>
                          <a:pt x="19" y="118"/>
                          <a:pt x="17" y="118"/>
                        </a:cubicBezTo>
                        <a:cubicBezTo>
                          <a:pt x="13" y="118"/>
                          <a:pt x="13" y="116"/>
                          <a:pt x="13" y="112"/>
                        </a:cubicBezTo>
                        <a:cubicBezTo>
                          <a:pt x="14" y="110"/>
                          <a:pt x="15" y="107"/>
                          <a:pt x="13" y="105"/>
                        </a:cubicBezTo>
                        <a:cubicBezTo>
                          <a:pt x="13" y="104"/>
                          <a:pt x="11" y="103"/>
                          <a:pt x="13" y="102"/>
                        </a:cubicBezTo>
                        <a:cubicBezTo>
                          <a:pt x="12" y="103"/>
                          <a:pt x="10" y="102"/>
                          <a:pt x="11" y="100"/>
                        </a:cubicBezTo>
                        <a:cubicBezTo>
                          <a:pt x="12" y="100"/>
                          <a:pt x="13" y="98"/>
                          <a:pt x="11" y="98"/>
                        </a:cubicBezTo>
                        <a:cubicBezTo>
                          <a:pt x="12" y="98"/>
                          <a:pt x="12" y="97"/>
                          <a:pt x="12" y="97"/>
                        </a:cubicBezTo>
                        <a:cubicBezTo>
                          <a:pt x="11" y="98"/>
                          <a:pt x="11" y="97"/>
                          <a:pt x="10" y="97"/>
                        </a:cubicBezTo>
                        <a:cubicBezTo>
                          <a:pt x="10" y="98"/>
                          <a:pt x="10" y="98"/>
                          <a:pt x="10" y="98"/>
                        </a:cubicBezTo>
                        <a:cubicBezTo>
                          <a:pt x="10" y="98"/>
                          <a:pt x="10" y="99"/>
                          <a:pt x="9" y="99"/>
                        </a:cubicBezTo>
                        <a:cubicBezTo>
                          <a:pt x="9" y="99"/>
                          <a:pt x="8" y="98"/>
                          <a:pt x="8" y="98"/>
                        </a:cubicBezTo>
                        <a:cubicBezTo>
                          <a:pt x="8" y="99"/>
                          <a:pt x="6" y="97"/>
                          <a:pt x="5" y="96"/>
                        </a:cubicBezTo>
                        <a:cubicBezTo>
                          <a:pt x="5" y="95"/>
                          <a:pt x="5" y="92"/>
                          <a:pt x="4" y="91"/>
                        </a:cubicBezTo>
                        <a:cubicBezTo>
                          <a:pt x="3" y="93"/>
                          <a:pt x="3" y="91"/>
                          <a:pt x="2" y="91"/>
                        </a:cubicBezTo>
                        <a:cubicBezTo>
                          <a:pt x="2" y="92"/>
                          <a:pt x="2" y="92"/>
                          <a:pt x="2" y="93"/>
                        </a:cubicBezTo>
                        <a:cubicBezTo>
                          <a:pt x="0" y="93"/>
                          <a:pt x="1" y="91"/>
                          <a:pt x="1" y="89"/>
                        </a:cubicBezTo>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51" name="Chad">
                    <a:extLst>
                      <a:ext uri="{FF2B5EF4-FFF2-40B4-BE49-F238E27FC236}">
                        <a16:creationId xmlns:a16="http://schemas.microsoft.com/office/drawing/2014/main" id="{B0DD2D0A-E7B1-46A5-6959-BD4A9CA7DE93}"/>
                      </a:ext>
                    </a:extLst>
                  </p:cNvPr>
                  <p:cNvSpPr>
                    <a:spLocks/>
                  </p:cNvSpPr>
                  <p:nvPr/>
                </p:nvSpPr>
                <p:spPr bwMode="auto">
                  <a:xfrm>
                    <a:off x="4087960" y="2763648"/>
                    <a:ext cx="229322" cy="394336"/>
                  </a:xfrm>
                  <a:custGeom>
                    <a:avLst/>
                    <a:gdLst/>
                    <a:ahLst/>
                    <a:cxnLst>
                      <a:cxn ang="0">
                        <a:pos x="2" y="95"/>
                      </a:cxn>
                      <a:cxn ang="0">
                        <a:pos x="4" y="90"/>
                      </a:cxn>
                      <a:cxn ang="0">
                        <a:pos x="19" y="66"/>
                      </a:cxn>
                      <a:cxn ang="0">
                        <a:pos x="22" y="35"/>
                      </a:cxn>
                      <a:cxn ang="0">
                        <a:pos x="20" y="28"/>
                      </a:cxn>
                      <a:cxn ang="0">
                        <a:pos x="16" y="20"/>
                      </a:cxn>
                      <a:cxn ang="0">
                        <a:pos x="14" y="6"/>
                      </a:cxn>
                      <a:cxn ang="0">
                        <a:pos x="24" y="0"/>
                      </a:cxn>
                      <a:cxn ang="0">
                        <a:pos x="99" y="83"/>
                      </a:cxn>
                      <a:cxn ang="0">
                        <a:pos x="89" y="84"/>
                      </a:cxn>
                      <a:cxn ang="0">
                        <a:pos x="86" y="94"/>
                      </a:cxn>
                      <a:cxn ang="0">
                        <a:pos x="83" y="107"/>
                      </a:cxn>
                      <a:cxn ang="0">
                        <a:pos x="80" y="115"/>
                      </a:cxn>
                      <a:cxn ang="0">
                        <a:pos x="85" y="116"/>
                      </a:cxn>
                      <a:cxn ang="0">
                        <a:pos x="86" y="121"/>
                      </a:cxn>
                      <a:cxn ang="0">
                        <a:pos x="87" y="127"/>
                      </a:cxn>
                      <a:cxn ang="0">
                        <a:pos x="89" y="134"/>
                      </a:cxn>
                      <a:cxn ang="0">
                        <a:pos x="83" y="134"/>
                      </a:cxn>
                      <a:cxn ang="0">
                        <a:pos x="78" y="138"/>
                      </a:cxn>
                      <a:cxn ang="0">
                        <a:pos x="74" y="145"/>
                      </a:cxn>
                      <a:cxn ang="0">
                        <a:pos x="63" y="154"/>
                      </a:cxn>
                      <a:cxn ang="0">
                        <a:pos x="52" y="156"/>
                      </a:cxn>
                      <a:cxn ang="0">
                        <a:pos x="51" y="162"/>
                      </a:cxn>
                      <a:cxn ang="0">
                        <a:pos x="43" y="165"/>
                      </a:cxn>
                      <a:cxn ang="0">
                        <a:pos x="32" y="170"/>
                      </a:cxn>
                      <a:cxn ang="0">
                        <a:pos x="28" y="168"/>
                      </a:cxn>
                      <a:cxn ang="0">
                        <a:pos x="20" y="170"/>
                      </a:cxn>
                      <a:cxn ang="0">
                        <a:pos x="16" y="159"/>
                      </a:cxn>
                      <a:cxn ang="0">
                        <a:pos x="8" y="151"/>
                      </a:cxn>
                      <a:cxn ang="0">
                        <a:pos x="9" y="144"/>
                      </a:cxn>
                      <a:cxn ang="0">
                        <a:pos x="19" y="144"/>
                      </a:cxn>
                      <a:cxn ang="0">
                        <a:pos x="15" y="131"/>
                      </a:cxn>
                      <a:cxn ang="0">
                        <a:pos x="16" y="124"/>
                      </a:cxn>
                      <a:cxn ang="0">
                        <a:pos x="14" y="120"/>
                      </a:cxn>
                      <a:cxn ang="0">
                        <a:pos x="11" y="114"/>
                      </a:cxn>
                      <a:cxn ang="0">
                        <a:pos x="6" y="110"/>
                      </a:cxn>
                      <a:cxn ang="0">
                        <a:pos x="0" y="96"/>
                      </a:cxn>
                    </a:cxnLst>
                    <a:rect l="0" t="0" r="r" b="b"/>
                    <a:pathLst>
                      <a:path w="99" h="170">
                        <a:moveTo>
                          <a:pt x="0" y="96"/>
                        </a:moveTo>
                        <a:cubicBezTo>
                          <a:pt x="1" y="95"/>
                          <a:pt x="1" y="96"/>
                          <a:pt x="2" y="95"/>
                        </a:cubicBezTo>
                        <a:cubicBezTo>
                          <a:pt x="2" y="94"/>
                          <a:pt x="2" y="94"/>
                          <a:pt x="3" y="93"/>
                        </a:cubicBezTo>
                        <a:cubicBezTo>
                          <a:pt x="4" y="92"/>
                          <a:pt x="4" y="90"/>
                          <a:pt x="4" y="90"/>
                        </a:cubicBezTo>
                        <a:cubicBezTo>
                          <a:pt x="6" y="85"/>
                          <a:pt x="10" y="81"/>
                          <a:pt x="13" y="77"/>
                        </a:cubicBezTo>
                        <a:cubicBezTo>
                          <a:pt x="16" y="74"/>
                          <a:pt x="19" y="71"/>
                          <a:pt x="19" y="66"/>
                        </a:cubicBezTo>
                        <a:cubicBezTo>
                          <a:pt x="20" y="61"/>
                          <a:pt x="20" y="55"/>
                          <a:pt x="20" y="49"/>
                        </a:cubicBezTo>
                        <a:cubicBezTo>
                          <a:pt x="20" y="45"/>
                          <a:pt x="20" y="39"/>
                          <a:pt x="22" y="35"/>
                        </a:cubicBezTo>
                        <a:cubicBezTo>
                          <a:pt x="24" y="33"/>
                          <a:pt x="23" y="32"/>
                          <a:pt x="21" y="30"/>
                        </a:cubicBezTo>
                        <a:cubicBezTo>
                          <a:pt x="21" y="29"/>
                          <a:pt x="20" y="29"/>
                          <a:pt x="20" y="28"/>
                        </a:cubicBezTo>
                        <a:cubicBezTo>
                          <a:pt x="19" y="28"/>
                          <a:pt x="20" y="27"/>
                          <a:pt x="20" y="26"/>
                        </a:cubicBezTo>
                        <a:cubicBezTo>
                          <a:pt x="19" y="24"/>
                          <a:pt x="17" y="22"/>
                          <a:pt x="16" y="20"/>
                        </a:cubicBezTo>
                        <a:cubicBezTo>
                          <a:pt x="16" y="19"/>
                          <a:pt x="16" y="17"/>
                          <a:pt x="16" y="15"/>
                        </a:cubicBezTo>
                        <a:cubicBezTo>
                          <a:pt x="16" y="12"/>
                          <a:pt x="15" y="9"/>
                          <a:pt x="14" y="6"/>
                        </a:cubicBezTo>
                        <a:cubicBezTo>
                          <a:pt x="14" y="6"/>
                          <a:pt x="14" y="5"/>
                          <a:pt x="14" y="5"/>
                        </a:cubicBezTo>
                        <a:cubicBezTo>
                          <a:pt x="24" y="0"/>
                          <a:pt x="24" y="0"/>
                          <a:pt x="24" y="0"/>
                        </a:cubicBezTo>
                        <a:cubicBezTo>
                          <a:pt x="98" y="42"/>
                          <a:pt x="98" y="42"/>
                          <a:pt x="98" y="42"/>
                        </a:cubicBezTo>
                        <a:cubicBezTo>
                          <a:pt x="99" y="83"/>
                          <a:pt x="99" y="83"/>
                          <a:pt x="99" y="83"/>
                        </a:cubicBezTo>
                        <a:cubicBezTo>
                          <a:pt x="97" y="82"/>
                          <a:pt x="96" y="82"/>
                          <a:pt x="94" y="82"/>
                        </a:cubicBezTo>
                        <a:cubicBezTo>
                          <a:pt x="92" y="83"/>
                          <a:pt x="90" y="82"/>
                          <a:pt x="89" y="84"/>
                        </a:cubicBezTo>
                        <a:cubicBezTo>
                          <a:pt x="89" y="85"/>
                          <a:pt x="90" y="87"/>
                          <a:pt x="89" y="89"/>
                        </a:cubicBezTo>
                        <a:cubicBezTo>
                          <a:pt x="88" y="90"/>
                          <a:pt x="87" y="93"/>
                          <a:pt x="86" y="94"/>
                        </a:cubicBezTo>
                        <a:cubicBezTo>
                          <a:pt x="84" y="94"/>
                          <a:pt x="84" y="98"/>
                          <a:pt x="86" y="99"/>
                        </a:cubicBezTo>
                        <a:cubicBezTo>
                          <a:pt x="83" y="102"/>
                          <a:pt x="81" y="103"/>
                          <a:pt x="83" y="107"/>
                        </a:cubicBezTo>
                        <a:cubicBezTo>
                          <a:pt x="85" y="109"/>
                          <a:pt x="81" y="110"/>
                          <a:pt x="80" y="112"/>
                        </a:cubicBezTo>
                        <a:cubicBezTo>
                          <a:pt x="79" y="113"/>
                          <a:pt x="79" y="114"/>
                          <a:pt x="80" y="115"/>
                        </a:cubicBezTo>
                        <a:cubicBezTo>
                          <a:pt x="81" y="116"/>
                          <a:pt x="82" y="115"/>
                          <a:pt x="83" y="115"/>
                        </a:cubicBezTo>
                        <a:cubicBezTo>
                          <a:pt x="85" y="115"/>
                          <a:pt x="86" y="115"/>
                          <a:pt x="85" y="116"/>
                        </a:cubicBezTo>
                        <a:cubicBezTo>
                          <a:pt x="84" y="118"/>
                          <a:pt x="86" y="119"/>
                          <a:pt x="85" y="122"/>
                        </a:cubicBezTo>
                        <a:cubicBezTo>
                          <a:pt x="86" y="121"/>
                          <a:pt x="86" y="121"/>
                          <a:pt x="86" y="121"/>
                        </a:cubicBezTo>
                        <a:cubicBezTo>
                          <a:pt x="87" y="123"/>
                          <a:pt x="86" y="124"/>
                          <a:pt x="86" y="125"/>
                        </a:cubicBezTo>
                        <a:cubicBezTo>
                          <a:pt x="86" y="126"/>
                          <a:pt x="86" y="126"/>
                          <a:pt x="87" y="127"/>
                        </a:cubicBezTo>
                        <a:cubicBezTo>
                          <a:pt x="88" y="128"/>
                          <a:pt x="90" y="128"/>
                          <a:pt x="90" y="130"/>
                        </a:cubicBezTo>
                        <a:cubicBezTo>
                          <a:pt x="90" y="131"/>
                          <a:pt x="89" y="133"/>
                          <a:pt x="89" y="134"/>
                        </a:cubicBezTo>
                        <a:cubicBezTo>
                          <a:pt x="89" y="133"/>
                          <a:pt x="86" y="133"/>
                          <a:pt x="85" y="133"/>
                        </a:cubicBezTo>
                        <a:cubicBezTo>
                          <a:pt x="84" y="133"/>
                          <a:pt x="83" y="134"/>
                          <a:pt x="83" y="134"/>
                        </a:cubicBezTo>
                        <a:cubicBezTo>
                          <a:pt x="82" y="135"/>
                          <a:pt x="82" y="135"/>
                          <a:pt x="82" y="135"/>
                        </a:cubicBezTo>
                        <a:cubicBezTo>
                          <a:pt x="81" y="136"/>
                          <a:pt x="78" y="136"/>
                          <a:pt x="78" y="138"/>
                        </a:cubicBezTo>
                        <a:cubicBezTo>
                          <a:pt x="78" y="139"/>
                          <a:pt x="78" y="139"/>
                          <a:pt x="78" y="140"/>
                        </a:cubicBezTo>
                        <a:cubicBezTo>
                          <a:pt x="78" y="142"/>
                          <a:pt x="75" y="143"/>
                          <a:pt x="74" y="145"/>
                        </a:cubicBezTo>
                        <a:cubicBezTo>
                          <a:pt x="72" y="146"/>
                          <a:pt x="71" y="148"/>
                          <a:pt x="70" y="149"/>
                        </a:cubicBezTo>
                        <a:cubicBezTo>
                          <a:pt x="68" y="152"/>
                          <a:pt x="66" y="152"/>
                          <a:pt x="63" y="154"/>
                        </a:cubicBezTo>
                        <a:cubicBezTo>
                          <a:pt x="61" y="154"/>
                          <a:pt x="57" y="155"/>
                          <a:pt x="55" y="154"/>
                        </a:cubicBezTo>
                        <a:cubicBezTo>
                          <a:pt x="55" y="154"/>
                          <a:pt x="51" y="155"/>
                          <a:pt x="52" y="156"/>
                        </a:cubicBezTo>
                        <a:cubicBezTo>
                          <a:pt x="53" y="157"/>
                          <a:pt x="54" y="157"/>
                          <a:pt x="54" y="158"/>
                        </a:cubicBezTo>
                        <a:cubicBezTo>
                          <a:pt x="53" y="159"/>
                          <a:pt x="52" y="161"/>
                          <a:pt x="51" y="162"/>
                        </a:cubicBezTo>
                        <a:cubicBezTo>
                          <a:pt x="50" y="163"/>
                          <a:pt x="50" y="165"/>
                          <a:pt x="49" y="165"/>
                        </a:cubicBezTo>
                        <a:cubicBezTo>
                          <a:pt x="47" y="165"/>
                          <a:pt x="44" y="165"/>
                          <a:pt x="43" y="165"/>
                        </a:cubicBezTo>
                        <a:cubicBezTo>
                          <a:pt x="40" y="165"/>
                          <a:pt x="38" y="166"/>
                          <a:pt x="36" y="167"/>
                        </a:cubicBezTo>
                        <a:cubicBezTo>
                          <a:pt x="35" y="168"/>
                          <a:pt x="33" y="169"/>
                          <a:pt x="32" y="170"/>
                        </a:cubicBezTo>
                        <a:cubicBezTo>
                          <a:pt x="31" y="169"/>
                          <a:pt x="30" y="168"/>
                          <a:pt x="30" y="166"/>
                        </a:cubicBezTo>
                        <a:cubicBezTo>
                          <a:pt x="29" y="167"/>
                          <a:pt x="29" y="168"/>
                          <a:pt x="28" y="168"/>
                        </a:cubicBezTo>
                        <a:cubicBezTo>
                          <a:pt x="28" y="169"/>
                          <a:pt x="26" y="169"/>
                          <a:pt x="26" y="169"/>
                        </a:cubicBezTo>
                        <a:cubicBezTo>
                          <a:pt x="23" y="170"/>
                          <a:pt x="23" y="170"/>
                          <a:pt x="20" y="170"/>
                        </a:cubicBezTo>
                        <a:cubicBezTo>
                          <a:pt x="21" y="168"/>
                          <a:pt x="20" y="168"/>
                          <a:pt x="19" y="166"/>
                        </a:cubicBezTo>
                        <a:cubicBezTo>
                          <a:pt x="18" y="164"/>
                          <a:pt x="18" y="161"/>
                          <a:pt x="16" y="159"/>
                        </a:cubicBezTo>
                        <a:cubicBezTo>
                          <a:pt x="15" y="158"/>
                          <a:pt x="13" y="156"/>
                          <a:pt x="12" y="155"/>
                        </a:cubicBezTo>
                        <a:cubicBezTo>
                          <a:pt x="10" y="154"/>
                          <a:pt x="9" y="152"/>
                          <a:pt x="8" y="151"/>
                        </a:cubicBezTo>
                        <a:cubicBezTo>
                          <a:pt x="7" y="150"/>
                          <a:pt x="5" y="148"/>
                          <a:pt x="6" y="146"/>
                        </a:cubicBezTo>
                        <a:cubicBezTo>
                          <a:pt x="7" y="145"/>
                          <a:pt x="7" y="144"/>
                          <a:pt x="9" y="144"/>
                        </a:cubicBezTo>
                        <a:cubicBezTo>
                          <a:pt x="12" y="144"/>
                          <a:pt x="14" y="145"/>
                          <a:pt x="16" y="144"/>
                        </a:cubicBezTo>
                        <a:cubicBezTo>
                          <a:pt x="17" y="144"/>
                          <a:pt x="18" y="144"/>
                          <a:pt x="19" y="144"/>
                        </a:cubicBezTo>
                        <a:cubicBezTo>
                          <a:pt x="20" y="145"/>
                          <a:pt x="21" y="144"/>
                          <a:pt x="21" y="144"/>
                        </a:cubicBezTo>
                        <a:cubicBezTo>
                          <a:pt x="17" y="141"/>
                          <a:pt x="15" y="135"/>
                          <a:pt x="15" y="131"/>
                        </a:cubicBezTo>
                        <a:cubicBezTo>
                          <a:pt x="15" y="129"/>
                          <a:pt x="16" y="129"/>
                          <a:pt x="16" y="127"/>
                        </a:cubicBezTo>
                        <a:cubicBezTo>
                          <a:pt x="16" y="126"/>
                          <a:pt x="16" y="125"/>
                          <a:pt x="16" y="124"/>
                        </a:cubicBezTo>
                        <a:cubicBezTo>
                          <a:pt x="16" y="123"/>
                          <a:pt x="16" y="122"/>
                          <a:pt x="15" y="121"/>
                        </a:cubicBezTo>
                        <a:cubicBezTo>
                          <a:pt x="15" y="121"/>
                          <a:pt x="14" y="121"/>
                          <a:pt x="14" y="120"/>
                        </a:cubicBezTo>
                        <a:cubicBezTo>
                          <a:pt x="14" y="119"/>
                          <a:pt x="14" y="117"/>
                          <a:pt x="13" y="116"/>
                        </a:cubicBezTo>
                        <a:cubicBezTo>
                          <a:pt x="13" y="115"/>
                          <a:pt x="12" y="115"/>
                          <a:pt x="11" y="114"/>
                        </a:cubicBezTo>
                        <a:cubicBezTo>
                          <a:pt x="9" y="113"/>
                          <a:pt x="12" y="111"/>
                          <a:pt x="8" y="111"/>
                        </a:cubicBezTo>
                        <a:cubicBezTo>
                          <a:pt x="7" y="111"/>
                          <a:pt x="7" y="111"/>
                          <a:pt x="6" y="110"/>
                        </a:cubicBezTo>
                        <a:cubicBezTo>
                          <a:pt x="4" y="109"/>
                          <a:pt x="3" y="105"/>
                          <a:pt x="2" y="104"/>
                        </a:cubicBezTo>
                        <a:cubicBezTo>
                          <a:pt x="1" y="102"/>
                          <a:pt x="1" y="99"/>
                          <a:pt x="0" y="96"/>
                        </a:cubicBezTo>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52" name="Congo">
                    <a:extLst>
                      <a:ext uri="{FF2B5EF4-FFF2-40B4-BE49-F238E27FC236}">
                        <a16:creationId xmlns:a16="http://schemas.microsoft.com/office/drawing/2014/main" id="{0D5B7B64-8013-CF6A-BC87-B4D76683234E}"/>
                      </a:ext>
                    </a:extLst>
                  </p:cNvPr>
                  <p:cNvSpPr>
                    <a:spLocks/>
                  </p:cNvSpPr>
                  <p:nvPr/>
                </p:nvSpPr>
                <p:spPr bwMode="auto">
                  <a:xfrm>
                    <a:off x="4039428" y="3252623"/>
                    <a:ext cx="165014" cy="220827"/>
                  </a:xfrm>
                  <a:custGeom>
                    <a:avLst/>
                    <a:gdLst/>
                    <a:ahLst/>
                    <a:cxnLst>
                      <a:cxn ang="0">
                        <a:pos x="2" y="78"/>
                      </a:cxn>
                      <a:cxn ang="0">
                        <a:pos x="7" y="77"/>
                      </a:cxn>
                      <a:cxn ang="0">
                        <a:pos x="3" y="70"/>
                      </a:cxn>
                      <a:cxn ang="0">
                        <a:pos x="7" y="65"/>
                      </a:cxn>
                      <a:cxn ang="0">
                        <a:pos x="12" y="63"/>
                      </a:cxn>
                      <a:cxn ang="0">
                        <a:pos x="17" y="65"/>
                      </a:cxn>
                      <a:cxn ang="0">
                        <a:pos x="24" y="62"/>
                      </a:cxn>
                      <a:cxn ang="0">
                        <a:pos x="29" y="65"/>
                      </a:cxn>
                      <a:cxn ang="0">
                        <a:pos x="30" y="57"/>
                      </a:cxn>
                      <a:cxn ang="0">
                        <a:pos x="31" y="46"/>
                      </a:cxn>
                      <a:cxn ang="0">
                        <a:pos x="27" y="43"/>
                      </a:cxn>
                      <a:cxn ang="0">
                        <a:pos x="27" y="34"/>
                      </a:cxn>
                      <a:cxn ang="0">
                        <a:pos x="30" y="28"/>
                      </a:cxn>
                      <a:cxn ang="0">
                        <a:pos x="19" y="27"/>
                      </a:cxn>
                      <a:cxn ang="0">
                        <a:pos x="20" y="17"/>
                      </a:cxn>
                      <a:cxn ang="0">
                        <a:pos x="34" y="17"/>
                      </a:cxn>
                      <a:cxn ang="0">
                        <a:pos x="46" y="22"/>
                      </a:cxn>
                      <a:cxn ang="0">
                        <a:pos x="48" y="15"/>
                      </a:cxn>
                      <a:cxn ang="0">
                        <a:pos x="50" y="5"/>
                      </a:cxn>
                      <a:cxn ang="0">
                        <a:pos x="56" y="2"/>
                      </a:cxn>
                      <a:cxn ang="0">
                        <a:pos x="65" y="2"/>
                      </a:cxn>
                      <a:cxn ang="0">
                        <a:pos x="67" y="13"/>
                      </a:cxn>
                      <a:cxn ang="0">
                        <a:pos x="65" y="26"/>
                      </a:cxn>
                      <a:cxn ang="0">
                        <a:pos x="63" y="35"/>
                      </a:cxn>
                      <a:cxn ang="0">
                        <a:pos x="60" y="48"/>
                      </a:cxn>
                      <a:cxn ang="0">
                        <a:pos x="51" y="60"/>
                      </a:cxn>
                      <a:cxn ang="0">
                        <a:pos x="48" y="74"/>
                      </a:cxn>
                      <a:cxn ang="0">
                        <a:pos x="41" y="85"/>
                      </a:cxn>
                      <a:cxn ang="0">
                        <a:pos x="35" y="92"/>
                      </a:cxn>
                      <a:cxn ang="0">
                        <a:pos x="30" y="88"/>
                      </a:cxn>
                      <a:cxn ang="0">
                        <a:pos x="25" y="87"/>
                      </a:cxn>
                      <a:cxn ang="0">
                        <a:pos x="21" y="92"/>
                      </a:cxn>
                      <a:cxn ang="0">
                        <a:pos x="14" y="88"/>
                      </a:cxn>
                      <a:cxn ang="0">
                        <a:pos x="9" y="93"/>
                      </a:cxn>
                      <a:cxn ang="0">
                        <a:pos x="0" y="82"/>
                      </a:cxn>
                    </a:cxnLst>
                    <a:rect l="0" t="0" r="r" b="b"/>
                    <a:pathLst>
                      <a:path w="71" h="95">
                        <a:moveTo>
                          <a:pt x="0" y="82"/>
                        </a:moveTo>
                        <a:cubicBezTo>
                          <a:pt x="0" y="80"/>
                          <a:pt x="1" y="79"/>
                          <a:pt x="2" y="78"/>
                        </a:cubicBezTo>
                        <a:cubicBezTo>
                          <a:pt x="4" y="77"/>
                          <a:pt x="5" y="81"/>
                          <a:pt x="7" y="79"/>
                        </a:cubicBezTo>
                        <a:cubicBezTo>
                          <a:pt x="7" y="79"/>
                          <a:pt x="7" y="77"/>
                          <a:pt x="7" y="77"/>
                        </a:cubicBezTo>
                        <a:cubicBezTo>
                          <a:pt x="8" y="75"/>
                          <a:pt x="6" y="75"/>
                          <a:pt x="5" y="75"/>
                        </a:cubicBezTo>
                        <a:cubicBezTo>
                          <a:pt x="5" y="74"/>
                          <a:pt x="7" y="69"/>
                          <a:pt x="3" y="70"/>
                        </a:cubicBezTo>
                        <a:cubicBezTo>
                          <a:pt x="5" y="69"/>
                          <a:pt x="4" y="67"/>
                          <a:pt x="4" y="65"/>
                        </a:cubicBezTo>
                        <a:cubicBezTo>
                          <a:pt x="5" y="65"/>
                          <a:pt x="6" y="65"/>
                          <a:pt x="7" y="65"/>
                        </a:cubicBezTo>
                        <a:cubicBezTo>
                          <a:pt x="8" y="65"/>
                          <a:pt x="8" y="66"/>
                          <a:pt x="8" y="66"/>
                        </a:cubicBezTo>
                        <a:cubicBezTo>
                          <a:pt x="10" y="65"/>
                          <a:pt x="13" y="66"/>
                          <a:pt x="12" y="63"/>
                        </a:cubicBezTo>
                        <a:cubicBezTo>
                          <a:pt x="12" y="62"/>
                          <a:pt x="12" y="58"/>
                          <a:pt x="15" y="60"/>
                        </a:cubicBezTo>
                        <a:cubicBezTo>
                          <a:pt x="16" y="61"/>
                          <a:pt x="18" y="64"/>
                          <a:pt x="17" y="65"/>
                        </a:cubicBezTo>
                        <a:cubicBezTo>
                          <a:pt x="19" y="65"/>
                          <a:pt x="20" y="66"/>
                          <a:pt x="22" y="66"/>
                        </a:cubicBezTo>
                        <a:cubicBezTo>
                          <a:pt x="23" y="66"/>
                          <a:pt x="24" y="64"/>
                          <a:pt x="24" y="62"/>
                        </a:cubicBezTo>
                        <a:cubicBezTo>
                          <a:pt x="25" y="63"/>
                          <a:pt x="26" y="67"/>
                          <a:pt x="26" y="67"/>
                        </a:cubicBezTo>
                        <a:cubicBezTo>
                          <a:pt x="27" y="67"/>
                          <a:pt x="29" y="65"/>
                          <a:pt x="29" y="65"/>
                        </a:cubicBezTo>
                        <a:cubicBezTo>
                          <a:pt x="29" y="64"/>
                          <a:pt x="29" y="61"/>
                          <a:pt x="30" y="61"/>
                        </a:cubicBezTo>
                        <a:cubicBezTo>
                          <a:pt x="31" y="60"/>
                          <a:pt x="32" y="58"/>
                          <a:pt x="30" y="57"/>
                        </a:cubicBezTo>
                        <a:cubicBezTo>
                          <a:pt x="32" y="57"/>
                          <a:pt x="31" y="53"/>
                          <a:pt x="31" y="52"/>
                        </a:cubicBezTo>
                        <a:cubicBezTo>
                          <a:pt x="30" y="50"/>
                          <a:pt x="32" y="48"/>
                          <a:pt x="31" y="46"/>
                        </a:cubicBezTo>
                        <a:cubicBezTo>
                          <a:pt x="31" y="45"/>
                          <a:pt x="29" y="45"/>
                          <a:pt x="28" y="45"/>
                        </a:cubicBezTo>
                        <a:cubicBezTo>
                          <a:pt x="28" y="44"/>
                          <a:pt x="28" y="43"/>
                          <a:pt x="27" y="43"/>
                        </a:cubicBezTo>
                        <a:cubicBezTo>
                          <a:pt x="24" y="43"/>
                          <a:pt x="26" y="41"/>
                          <a:pt x="26" y="39"/>
                        </a:cubicBezTo>
                        <a:cubicBezTo>
                          <a:pt x="26" y="38"/>
                          <a:pt x="26" y="35"/>
                          <a:pt x="27" y="34"/>
                        </a:cubicBezTo>
                        <a:cubicBezTo>
                          <a:pt x="29" y="33"/>
                          <a:pt x="30" y="34"/>
                          <a:pt x="31" y="32"/>
                        </a:cubicBezTo>
                        <a:cubicBezTo>
                          <a:pt x="31" y="31"/>
                          <a:pt x="30" y="30"/>
                          <a:pt x="30" y="28"/>
                        </a:cubicBezTo>
                        <a:cubicBezTo>
                          <a:pt x="29" y="26"/>
                          <a:pt x="29" y="24"/>
                          <a:pt x="26" y="25"/>
                        </a:cubicBezTo>
                        <a:cubicBezTo>
                          <a:pt x="23" y="25"/>
                          <a:pt x="21" y="26"/>
                          <a:pt x="19" y="27"/>
                        </a:cubicBezTo>
                        <a:cubicBezTo>
                          <a:pt x="20" y="25"/>
                          <a:pt x="19" y="23"/>
                          <a:pt x="19" y="21"/>
                        </a:cubicBezTo>
                        <a:cubicBezTo>
                          <a:pt x="19" y="19"/>
                          <a:pt x="20" y="18"/>
                          <a:pt x="20" y="17"/>
                        </a:cubicBezTo>
                        <a:cubicBezTo>
                          <a:pt x="20" y="16"/>
                          <a:pt x="29" y="17"/>
                          <a:pt x="30" y="17"/>
                        </a:cubicBezTo>
                        <a:cubicBezTo>
                          <a:pt x="32" y="17"/>
                          <a:pt x="32" y="17"/>
                          <a:pt x="34" y="17"/>
                        </a:cubicBezTo>
                        <a:cubicBezTo>
                          <a:pt x="35" y="17"/>
                          <a:pt x="35" y="19"/>
                          <a:pt x="37" y="19"/>
                        </a:cubicBezTo>
                        <a:cubicBezTo>
                          <a:pt x="40" y="18"/>
                          <a:pt x="44" y="20"/>
                          <a:pt x="46" y="22"/>
                        </a:cubicBezTo>
                        <a:cubicBezTo>
                          <a:pt x="47" y="21"/>
                          <a:pt x="46" y="20"/>
                          <a:pt x="46" y="18"/>
                        </a:cubicBezTo>
                        <a:cubicBezTo>
                          <a:pt x="46" y="17"/>
                          <a:pt x="48" y="16"/>
                          <a:pt x="48" y="15"/>
                        </a:cubicBezTo>
                        <a:cubicBezTo>
                          <a:pt x="49" y="13"/>
                          <a:pt x="50" y="11"/>
                          <a:pt x="50" y="10"/>
                        </a:cubicBezTo>
                        <a:cubicBezTo>
                          <a:pt x="51" y="8"/>
                          <a:pt x="50" y="7"/>
                          <a:pt x="50" y="5"/>
                        </a:cubicBezTo>
                        <a:cubicBezTo>
                          <a:pt x="51" y="4"/>
                          <a:pt x="51" y="3"/>
                          <a:pt x="52" y="2"/>
                        </a:cubicBezTo>
                        <a:cubicBezTo>
                          <a:pt x="53" y="2"/>
                          <a:pt x="55" y="2"/>
                          <a:pt x="56" y="2"/>
                        </a:cubicBezTo>
                        <a:cubicBezTo>
                          <a:pt x="58" y="1"/>
                          <a:pt x="59" y="0"/>
                          <a:pt x="61" y="1"/>
                        </a:cubicBezTo>
                        <a:cubicBezTo>
                          <a:pt x="62" y="2"/>
                          <a:pt x="64" y="2"/>
                          <a:pt x="65" y="2"/>
                        </a:cubicBezTo>
                        <a:cubicBezTo>
                          <a:pt x="68" y="2"/>
                          <a:pt x="71" y="1"/>
                          <a:pt x="71" y="4"/>
                        </a:cubicBezTo>
                        <a:cubicBezTo>
                          <a:pt x="70" y="7"/>
                          <a:pt x="68" y="11"/>
                          <a:pt x="67" y="13"/>
                        </a:cubicBezTo>
                        <a:cubicBezTo>
                          <a:pt x="65" y="16"/>
                          <a:pt x="65" y="18"/>
                          <a:pt x="65" y="21"/>
                        </a:cubicBezTo>
                        <a:cubicBezTo>
                          <a:pt x="65" y="23"/>
                          <a:pt x="65" y="25"/>
                          <a:pt x="65" y="26"/>
                        </a:cubicBezTo>
                        <a:cubicBezTo>
                          <a:pt x="64" y="28"/>
                          <a:pt x="63" y="29"/>
                          <a:pt x="63" y="31"/>
                        </a:cubicBezTo>
                        <a:cubicBezTo>
                          <a:pt x="63" y="33"/>
                          <a:pt x="63" y="34"/>
                          <a:pt x="63" y="35"/>
                        </a:cubicBezTo>
                        <a:cubicBezTo>
                          <a:pt x="63" y="37"/>
                          <a:pt x="63" y="39"/>
                          <a:pt x="62" y="40"/>
                        </a:cubicBezTo>
                        <a:cubicBezTo>
                          <a:pt x="62" y="43"/>
                          <a:pt x="63" y="45"/>
                          <a:pt x="60" y="48"/>
                        </a:cubicBezTo>
                        <a:cubicBezTo>
                          <a:pt x="58" y="51"/>
                          <a:pt x="55" y="52"/>
                          <a:pt x="54" y="55"/>
                        </a:cubicBezTo>
                        <a:cubicBezTo>
                          <a:pt x="53" y="56"/>
                          <a:pt x="52" y="58"/>
                          <a:pt x="51" y="60"/>
                        </a:cubicBezTo>
                        <a:cubicBezTo>
                          <a:pt x="50" y="63"/>
                          <a:pt x="47" y="63"/>
                          <a:pt x="48" y="65"/>
                        </a:cubicBezTo>
                        <a:cubicBezTo>
                          <a:pt x="48" y="68"/>
                          <a:pt x="48" y="71"/>
                          <a:pt x="48" y="74"/>
                        </a:cubicBezTo>
                        <a:cubicBezTo>
                          <a:pt x="48" y="77"/>
                          <a:pt x="46" y="82"/>
                          <a:pt x="43" y="83"/>
                        </a:cubicBezTo>
                        <a:cubicBezTo>
                          <a:pt x="42" y="83"/>
                          <a:pt x="41" y="84"/>
                          <a:pt x="41" y="85"/>
                        </a:cubicBezTo>
                        <a:cubicBezTo>
                          <a:pt x="40" y="86"/>
                          <a:pt x="38" y="87"/>
                          <a:pt x="38" y="87"/>
                        </a:cubicBezTo>
                        <a:cubicBezTo>
                          <a:pt x="37" y="89"/>
                          <a:pt x="36" y="90"/>
                          <a:pt x="35" y="92"/>
                        </a:cubicBezTo>
                        <a:cubicBezTo>
                          <a:pt x="33" y="93"/>
                          <a:pt x="32" y="91"/>
                          <a:pt x="31" y="92"/>
                        </a:cubicBezTo>
                        <a:cubicBezTo>
                          <a:pt x="31" y="91"/>
                          <a:pt x="30" y="89"/>
                          <a:pt x="30" y="88"/>
                        </a:cubicBezTo>
                        <a:cubicBezTo>
                          <a:pt x="31" y="88"/>
                          <a:pt x="31" y="87"/>
                          <a:pt x="30" y="86"/>
                        </a:cubicBezTo>
                        <a:cubicBezTo>
                          <a:pt x="28" y="86"/>
                          <a:pt x="26" y="89"/>
                          <a:pt x="25" y="87"/>
                        </a:cubicBezTo>
                        <a:cubicBezTo>
                          <a:pt x="24" y="88"/>
                          <a:pt x="24" y="89"/>
                          <a:pt x="24" y="90"/>
                        </a:cubicBezTo>
                        <a:cubicBezTo>
                          <a:pt x="23" y="91"/>
                          <a:pt x="22" y="92"/>
                          <a:pt x="21" y="92"/>
                        </a:cubicBezTo>
                        <a:cubicBezTo>
                          <a:pt x="21" y="91"/>
                          <a:pt x="19" y="91"/>
                          <a:pt x="19" y="89"/>
                        </a:cubicBezTo>
                        <a:cubicBezTo>
                          <a:pt x="17" y="91"/>
                          <a:pt x="16" y="85"/>
                          <a:pt x="14" y="88"/>
                        </a:cubicBezTo>
                        <a:cubicBezTo>
                          <a:pt x="14" y="89"/>
                          <a:pt x="13" y="89"/>
                          <a:pt x="12" y="90"/>
                        </a:cubicBezTo>
                        <a:cubicBezTo>
                          <a:pt x="11" y="90"/>
                          <a:pt x="10" y="92"/>
                          <a:pt x="9" y="93"/>
                        </a:cubicBezTo>
                        <a:cubicBezTo>
                          <a:pt x="7" y="95"/>
                          <a:pt x="6" y="91"/>
                          <a:pt x="6" y="90"/>
                        </a:cubicBezTo>
                        <a:cubicBezTo>
                          <a:pt x="5" y="87"/>
                          <a:pt x="2" y="84"/>
                          <a:pt x="0" y="82"/>
                        </a:cubicBezTo>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53" name="Canary Islands">
                    <a:extLst>
                      <a:ext uri="{FF2B5EF4-FFF2-40B4-BE49-F238E27FC236}">
                        <a16:creationId xmlns:a16="http://schemas.microsoft.com/office/drawing/2014/main" id="{6E05452C-C37E-AC09-6B29-45C26C14F8C6}"/>
                      </a:ext>
                    </a:extLst>
                  </p:cNvPr>
                  <p:cNvSpPr>
                    <a:spLocks/>
                  </p:cNvSpPr>
                  <p:nvPr/>
                </p:nvSpPr>
                <p:spPr bwMode="auto">
                  <a:xfrm>
                    <a:off x="3420893" y="2619792"/>
                    <a:ext cx="96797" cy="34656"/>
                  </a:xfrm>
                  <a:custGeom>
                    <a:avLst/>
                    <a:gdLst>
                      <a:gd name="connsiteX0" fmla="*/ 47361 w 94986"/>
                      <a:gd name="connsiteY0" fmla="*/ 25435 h 34008"/>
                      <a:gd name="connsiteX1" fmla="*/ 47361 w 94986"/>
                      <a:gd name="connsiteY1" fmla="*/ 34008 h 34008"/>
                      <a:gd name="connsiteX2" fmla="*/ 47361 w 94986"/>
                      <a:gd name="connsiteY2" fmla="*/ 25435 h 34008"/>
                      <a:gd name="connsiteX3" fmla="*/ 39026 w 94986"/>
                      <a:gd name="connsiteY3" fmla="*/ 13767 h 34008"/>
                      <a:gd name="connsiteX4" fmla="*/ 27119 w 94986"/>
                      <a:gd name="connsiteY4" fmla="*/ 30436 h 34008"/>
                      <a:gd name="connsiteX5" fmla="*/ 22357 w 94986"/>
                      <a:gd name="connsiteY5" fmla="*/ 20911 h 34008"/>
                      <a:gd name="connsiteX6" fmla="*/ 39026 w 94986"/>
                      <a:gd name="connsiteY6" fmla="*/ 13767 h 34008"/>
                      <a:gd name="connsiteX7" fmla="*/ 84271 w 94986"/>
                      <a:gd name="connsiteY7" fmla="*/ 11385 h 34008"/>
                      <a:gd name="connsiteX8" fmla="*/ 86652 w 94986"/>
                      <a:gd name="connsiteY8" fmla="*/ 20910 h 34008"/>
                      <a:gd name="connsiteX9" fmla="*/ 74745 w 94986"/>
                      <a:gd name="connsiteY9" fmla="*/ 28054 h 34008"/>
                      <a:gd name="connsiteX10" fmla="*/ 72364 w 94986"/>
                      <a:gd name="connsiteY10" fmla="*/ 25673 h 34008"/>
                      <a:gd name="connsiteX11" fmla="*/ 84271 w 94986"/>
                      <a:gd name="connsiteY11" fmla="*/ 11385 h 34008"/>
                      <a:gd name="connsiteX12" fmla="*/ 2116 w 94986"/>
                      <a:gd name="connsiteY12" fmla="*/ 9898 h 34008"/>
                      <a:gd name="connsiteX13" fmla="*/ 4498 w 94986"/>
                      <a:gd name="connsiteY13" fmla="*/ 16149 h 34008"/>
                      <a:gd name="connsiteX14" fmla="*/ 2116 w 94986"/>
                      <a:gd name="connsiteY14" fmla="*/ 16149 h 34008"/>
                      <a:gd name="connsiteX15" fmla="*/ 2116 w 94986"/>
                      <a:gd name="connsiteY15" fmla="*/ 9898 h 34008"/>
                      <a:gd name="connsiteX16" fmla="*/ 94986 w 94986"/>
                      <a:gd name="connsiteY16" fmla="*/ 432 h 34008"/>
                      <a:gd name="connsiteX17" fmla="*/ 88735 w 94986"/>
                      <a:gd name="connsiteY17" fmla="*/ 9005 h 34008"/>
                      <a:gd name="connsiteX18" fmla="*/ 86651 w 94986"/>
                      <a:gd name="connsiteY18" fmla="*/ 6862 h 34008"/>
                      <a:gd name="connsiteX19" fmla="*/ 94986 w 94986"/>
                      <a:gd name="connsiteY19" fmla="*/ 432 h 34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4986" h="34008">
                        <a:moveTo>
                          <a:pt x="47361" y="25435"/>
                        </a:moveTo>
                        <a:cubicBezTo>
                          <a:pt x="56886" y="23292"/>
                          <a:pt x="54505" y="31865"/>
                          <a:pt x="47361" y="34008"/>
                        </a:cubicBezTo>
                        <a:cubicBezTo>
                          <a:pt x="42598" y="34008"/>
                          <a:pt x="42598" y="25435"/>
                          <a:pt x="47361" y="25435"/>
                        </a:cubicBezTo>
                        <a:close/>
                        <a:moveTo>
                          <a:pt x="39026" y="13767"/>
                        </a:moveTo>
                        <a:cubicBezTo>
                          <a:pt x="36645" y="18530"/>
                          <a:pt x="31882" y="28055"/>
                          <a:pt x="27119" y="30436"/>
                        </a:cubicBezTo>
                        <a:cubicBezTo>
                          <a:pt x="24738" y="25673"/>
                          <a:pt x="22357" y="23292"/>
                          <a:pt x="22357" y="20911"/>
                        </a:cubicBezTo>
                        <a:cubicBezTo>
                          <a:pt x="27119" y="18530"/>
                          <a:pt x="31882" y="16148"/>
                          <a:pt x="39026" y="13767"/>
                        </a:cubicBezTo>
                        <a:close/>
                        <a:moveTo>
                          <a:pt x="84271" y="11385"/>
                        </a:moveTo>
                        <a:cubicBezTo>
                          <a:pt x="86652" y="9004"/>
                          <a:pt x="86652" y="18529"/>
                          <a:pt x="86652" y="20910"/>
                        </a:cubicBezTo>
                        <a:cubicBezTo>
                          <a:pt x="84271" y="25673"/>
                          <a:pt x="79508" y="25673"/>
                          <a:pt x="74745" y="28054"/>
                        </a:cubicBezTo>
                        <a:cubicBezTo>
                          <a:pt x="72364" y="25673"/>
                          <a:pt x="72364" y="25673"/>
                          <a:pt x="72364" y="25673"/>
                        </a:cubicBezTo>
                        <a:cubicBezTo>
                          <a:pt x="79508" y="25673"/>
                          <a:pt x="79508" y="16148"/>
                          <a:pt x="84271" y="11385"/>
                        </a:cubicBezTo>
                        <a:close/>
                        <a:moveTo>
                          <a:pt x="2116" y="9898"/>
                        </a:moveTo>
                        <a:cubicBezTo>
                          <a:pt x="6879" y="7814"/>
                          <a:pt x="6879" y="14065"/>
                          <a:pt x="4498" y="16149"/>
                        </a:cubicBezTo>
                        <a:cubicBezTo>
                          <a:pt x="2116" y="16149"/>
                          <a:pt x="2116" y="16149"/>
                          <a:pt x="2116" y="16149"/>
                        </a:cubicBezTo>
                        <a:cubicBezTo>
                          <a:pt x="2116" y="14065"/>
                          <a:pt x="-2646" y="9898"/>
                          <a:pt x="2116" y="9898"/>
                        </a:cubicBezTo>
                        <a:close/>
                        <a:moveTo>
                          <a:pt x="94986" y="432"/>
                        </a:moveTo>
                        <a:cubicBezTo>
                          <a:pt x="94986" y="4719"/>
                          <a:pt x="88735" y="6862"/>
                          <a:pt x="88735" y="9005"/>
                        </a:cubicBezTo>
                        <a:cubicBezTo>
                          <a:pt x="86651" y="6862"/>
                          <a:pt x="86651" y="6862"/>
                          <a:pt x="86651" y="6862"/>
                        </a:cubicBezTo>
                        <a:cubicBezTo>
                          <a:pt x="86651" y="4719"/>
                          <a:pt x="92902" y="-1711"/>
                          <a:pt x="94986" y="432"/>
                        </a:cubicBezTo>
                        <a:close/>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54" name="Cent Afr Rep">
                    <a:extLst>
                      <a:ext uri="{FF2B5EF4-FFF2-40B4-BE49-F238E27FC236}">
                        <a16:creationId xmlns:a16="http://schemas.microsoft.com/office/drawing/2014/main" id="{C216389E-9B8E-9AC1-7EBF-2BBFC318C3AE}"/>
                      </a:ext>
                    </a:extLst>
                  </p:cNvPr>
                  <p:cNvSpPr>
                    <a:spLocks/>
                  </p:cNvSpPr>
                  <p:nvPr/>
                </p:nvSpPr>
                <p:spPr bwMode="auto">
                  <a:xfrm>
                    <a:off x="4108587" y="3071836"/>
                    <a:ext cx="287562" cy="218401"/>
                  </a:xfrm>
                  <a:custGeom>
                    <a:avLst/>
                    <a:gdLst/>
                    <a:ahLst/>
                    <a:cxnLst>
                      <a:cxn ang="0">
                        <a:pos x="3" y="51"/>
                      </a:cxn>
                      <a:cxn ang="0">
                        <a:pos x="9" y="39"/>
                      </a:cxn>
                      <a:cxn ang="0">
                        <a:pos x="18" y="36"/>
                      </a:cxn>
                      <a:cxn ang="0">
                        <a:pos x="23" y="37"/>
                      </a:cxn>
                      <a:cxn ang="0">
                        <a:pos x="35" y="32"/>
                      </a:cxn>
                      <a:cxn ang="0">
                        <a:pos x="45" y="25"/>
                      </a:cxn>
                      <a:cxn ang="0">
                        <a:pos x="49" y="21"/>
                      </a:cxn>
                      <a:cxn ang="0">
                        <a:pos x="66" y="11"/>
                      </a:cxn>
                      <a:cxn ang="0">
                        <a:pos x="71" y="3"/>
                      </a:cxn>
                      <a:cxn ang="0">
                        <a:pos x="82" y="3"/>
                      </a:cxn>
                      <a:cxn ang="0">
                        <a:pos x="88" y="17"/>
                      </a:cxn>
                      <a:cxn ang="0">
                        <a:pos x="87" y="21"/>
                      </a:cxn>
                      <a:cxn ang="0">
                        <a:pos x="92" y="25"/>
                      </a:cxn>
                      <a:cxn ang="0">
                        <a:pos x="99" y="30"/>
                      </a:cxn>
                      <a:cxn ang="0">
                        <a:pos x="103" y="37"/>
                      </a:cxn>
                      <a:cxn ang="0">
                        <a:pos x="109" y="42"/>
                      </a:cxn>
                      <a:cxn ang="0">
                        <a:pos x="114" y="47"/>
                      </a:cxn>
                      <a:cxn ang="0">
                        <a:pos x="116" y="53"/>
                      </a:cxn>
                      <a:cxn ang="0">
                        <a:pos x="122" y="59"/>
                      </a:cxn>
                      <a:cxn ang="0">
                        <a:pos x="119" y="63"/>
                      </a:cxn>
                      <a:cxn ang="0">
                        <a:pos x="115" y="64"/>
                      </a:cxn>
                      <a:cxn ang="0">
                        <a:pos x="110" y="62"/>
                      </a:cxn>
                      <a:cxn ang="0">
                        <a:pos x="104" y="62"/>
                      </a:cxn>
                      <a:cxn ang="0">
                        <a:pos x="97" y="65"/>
                      </a:cxn>
                      <a:cxn ang="0">
                        <a:pos x="90" y="67"/>
                      </a:cxn>
                      <a:cxn ang="0">
                        <a:pos x="80" y="67"/>
                      </a:cxn>
                      <a:cxn ang="0">
                        <a:pos x="77" y="73"/>
                      </a:cxn>
                      <a:cxn ang="0">
                        <a:pos x="67" y="72"/>
                      </a:cxn>
                      <a:cxn ang="0">
                        <a:pos x="59" y="71"/>
                      </a:cxn>
                      <a:cxn ang="0">
                        <a:pos x="51" y="63"/>
                      </a:cxn>
                      <a:cxn ang="0">
                        <a:pos x="42" y="70"/>
                      </a:cxn>
                      <a:cxn ang="0">
                        <a:pos x="41" y="75"/>
                      </a:cxn>
                      <a:cxn ang="0">
                        <a:pos x="34" y="80"/>
                      </a:cxn>
                      <a:cxn ang="0">
                        <a:pos x="26" y="80"/>
                      </a:cxn>
                      <a:cxn ang="0">
                        <a:pos x="20" y="88"/>
                      </a:cxn>
                      <a:cxn ang="0">
                        <a:pos x="16" y="87"/>
                      </a:cxn>
                      <a:cxn ang="0">
                        <a:pos x="8" y="75"/>
                      </a:cxn>
                      <a:cxn ang="0">
                        <a:pos x="3" y="63"/>
                      </a:cxn>
                      <a:cxn ang="0">
                        <a:pos x="3" y="58"/>
                      </a:cxn>
                      <a:cxn ang="0">
                        <a:pos x="0" y="53"/>
                      </a:cxn>
                    </a:cxnLst>
                    <a:rect l="0" t="0" r="r" b="b"/>
                    <a:pathLst>
                      <a:path w="124" h="94">
                        <a:moveTo>
                          <a:pt x="0" y="53"/>
                        </a:moveTo>
                        <a:cubicBezTo>
                          <a:pt x="1" y="52"/>
                          <a:pt x="2" y="51"/>
                          <a:pt x="3" y="51"/>
                        </a:cubicBezTo>
                        <a:cubicBezTo>
                          <a:pt x="4" y="50"/>
                          <a:pt x="4" y="48"/>
                          <a:pt x="5" y="47"/>
                        </a:cubicBezTo>
                        <a:cubicBezTo>
                          <a:pt x="7" y="45"/>
                          <a:pt x="8" y="41"/>
                          <a:pt x="9" y="39"/>
                        </a:cubicBezTo>
                        <a:cubicBezTo>
                          <a:pt x="12" y="36"/>
                          <a:pt x="12" y="38"/>
                          <a:pt x="15" y="37"/>
                        </a:cubicBezTo>
                        <a:cubicBezTo>
                          <a:pt x="16" y="37"/>
                          <a:pt x="17" y="36"/>
                          <a:pt x="18" y="36"/>
                        </a:cubicBezTo>
                        <a:cubicBezTo>
                          <a:pt x="20" y="35"/>
                          <a:pt x="19" y="34"/>
                          <a:pt x="21" y="33"/>
                        </a:cubicBezTo>
                        <a:cubicBezTo>
                          <a:pt x="21" y="35"/>
                          <a:pt x="22" y="36"/>
                          <a:pt x="23" y="37"/>
                        </a:cubicBezTo>
                        <a:cubicBezTo>
                          <a:pt x="24" y="36"/>
                          <a:pt x="26" y="35"/>
                          <a:pt x="27" y="34"/>
                        </a:cubicBezTo>
                        <a:cubicBezTo>
                          <a:pt x="29" y="33"/>
                          <a:pt x="33" y="32"/>
                          <a:pt x="35" y="32"/>
                        </a:cubicBezTo>
                        <a:cubicBezTo>
                          <a:pt x="38" y="32"/>
                          <a:pt x="40" y="33"/>
                          <a:pt x="41" y="30"/>
                        </a:cubicBezTo>
                        <a:cubicBezTo>
                          <a:pt x="42" y="29"/>
                          <a:pt x="45" y="26"/>
                          <a:pt x="45" y="25"/>
                        </a:cubicBezTo>
                        <a:cubicBezTo>
                          <a:pt x="45" y="24"/>
                          <a:pt x="43" y="24"/>
                          <a:pt x="43" y="23"/>
                        </a:cubicBezTo>
                        <a:cubicBezTo>
                          <a:pt x="43" y="21"/>
                          <a:pt x="48" y="21"/>
                          <a:pt x="49" y="21"/>
                        </a:cubicBezTo>
                        <a:cubicBezTo>
                          <a:pt x="54" y="21"/>
                          <a:pt x="59" y="20"/>
                          <a:pt x="62" y="16"/>
                        </a:cubicBezTo>
                        <a:cubicBezTo>
                          <a:pt x="63" y="14"/>
                          <a:pt x="64" y="12"/>
                          <a:pt x="66" y="11"/>
                        </a:cubicBezTo>
                        <a:cubicBezTo>
                          <a:pt x="67" y="10"/>
                          <a:pt x="70" y="7"/>
                          <a:pt x="69" y="6"/>
                        </a:cubicBezTo>
                        <a:cubicBezTo>
                          <a:pt x="68" y="5"/>
                          <a:pt x="70" y="3"/>
                          <a:pt x="71" y="3"/>
                        </a:cubicBezTo>
                        <a:cubicBezTo>
                          <a:pt x="73" y="2"/>
                          <a:pt x="75" y="0"/>
                          <a:pt x="77" y="0"/>
                        </a:cubicBezTo>
                        <a:cubicBezTo>
                          <a:pt x="80" y="0"/>
                          <a:pt x="81" y="2"/>
                          <a:pt x="82" y="3"/>
                        </a:cubicBezTo>
                        <a:cubicBezTo>
                          <a:pt x="84" y="5"/>
                          <a:pt x="86" y="7"/>
                          <a:pt x="87" y="10"/>
                        </a:cubicBezTo>
                        <a:cubicBezTo>
                          <a:pt x="88" y="12"/>
                          <a:pt x="88" y="14"/>
                          <a:pt x="88" y="17"/>
                        </a:cubicBezTo>
                        <a:cubicBezTo>
                          <a:pt x="88" y="19"/>
                          <a:pt x="86" y="20"/>
                          <a:pt x="86" y="22"/>
                        </a:cubicBezTo>
                        <a:cubicBezTo>
                          <a:pt x="87" y="21"/>
                          <a:pt x="87" y="21"/>
                          <a:pt x="87" y="21"/>
                        </a:cubicBezTo>
                        <a:cubicBezTo>
                          <a:pt x="87" y="22"/>
                          <a:pt x="87" y="23"/>
                          <a:pt x="86" y="24"/>
                        </a:cubicBezTo>
                        <a:cubicBezTo>
                          <a:pt x="88" y="24"/>
                          <a:pt x="91" y="24"/>
                          <a:pt x="92" y="25"/>
                        </a:cubicBezTo>
                        <a:cubicBezTo>
                          <a:pt x="94" y="26"/>
                          <a:pt x="91" y="29"/>
                          <a:pt x="95" y="29"/>
                        </a:cubicBezTo>
                        <a:cubicBezTo>
                          <a:pt x="96" y="30"/>
                          <a:pt x="98" y="30"/>
                          <a:pt x="99" y="30"/>
                        </a:cubicBezTo>
                        <a:cubicBezTo>
                          <a:pt x="100" y="31"/>
                          <a:pt x="101" y="32"/>
                          <a:pt x="102" y="33"/>
                        </a:cubicBezTo>
                        <a:cubicBezTo>
                          <a:pt x="104" y="35"/>
                          <a:pt x="103" y="36"/>
                          <a:pt x="103" y="37"/>
                        </a:cubicBezTo>
                        <a:cubicBezTo>
                          <a:pt x="103" y="38"/>
                          <a:pt x="104" y="39"/>
                          <a:pt x="105" y="40"/>
                        </a:cubicBezTo>
                        <a:cubicBezTo>
                          <a:pt x="107" y="40"/>
                          <a:pt x="108" y="41"/>
                          <a:pt x="109" y="42"/>
                        </a:cubicBezTo>
                        <a:cubicBezTo>
                          <a:pt x="111" y="43"/>
                          <a:pt x="110" y="43"/>
                          <a:pt x="111" y="45"/>
                        </a:cubicBezTo>
                        <a:cubicBezTo>
                          <a:pt x="112" y="46"/>
                          <a:pt x="114" y="46"/>
                          <a:pt x="114" y="47"/>
                        </a:cubicBezTo>
                        <a:cubicBezTo>
                          <a:pt x="113" y="49"/>
                          <a:pt x="113" y="50"/>
                          <a:pt x="115" y="51"/>
                        </a:cubicBezTo>
                        <a:cubicBezTo>
                          <a:pt x="116" y="51"/>
                          <a:pt x="114" y="52"/>
                          <a:pt x="116" y="53"/>
                        </a:cubicBezTo>
                        <a:cubicBezTo>
                          <a:pt x="117" y="54"/>
                          <a:pt x="118" y="54"/>
                          <a:pt x="120" y="55"/>
                        </a:cubicBezTo>
                        <a:cubicBezTo>
                          <a:pt x="121" y="56"/>
                          <a:pt x="122" y="57"/>
                          <a:pt x="122" y="59"/>
                        </a:cubicBezTo>
                        <a:cubicBezTo>
                          <a:pt x="122" y="61"/>
                          <a:pt x="123" y="62"/>
                          <a:pt x="124" y="64"/>
                        </a:cubicBezTo>
                        <a:cubicBezTo>
                          <a:pt x="122" y="62"/>
                          <a:pt x="120" y="62"/>
                          <a:pt x="119" y="63"/>
                        </a:cubicBezTo>
                        <a:cubicBezTo>
                          <a:pt x="118" y="64"/>
                          <a:pt x="117" y="64"/>
                          <a:pt x="116" y="64"/>
                        </a:cubicBezTo>
                        <a:cubicBezTo>
                          <a:pt x="115" y="64"/>
                          <a:pt x="115" y="64"/>
                          <a:pt x="115" y="64"/>
                        </a:cubicBezTo>
                        <a:cubicBezTo>
                          <a:pt x="115" y="64"/>
                          <a:pt x="114" y="63"/>
                          <a:pt x="114" y="63"/>
                        </a:cubicBezTo>
                        <a:cubicBezTo>
                          <a:pt x="112" y="63"/>
                          <a:pt x="111" y="62"/>
                          <a:pt x="110" y="62"/>
                        </a:cubicBezTo>
                        <a:cubicBezTo>
                          <a:pt x="108" y="63"/>
                          <a:pt x="107" y="61"/>
                          <a:pt x="106" y="61"/>
                        </a:cubicBezTo>
                        <a:cubicBezTo>
                          <a:pt x="105" y="61"/>
                          <a:pt x="104" y="61"/>
                          <a:pt x="104" y="62"/>
                        </a:cubicBezTo>
                        <a:cubicBezTo>
                          <a:pt x="104" y="64"/>
                          <a:pt x="102" y="64"/>
                          <a:pt x="101" y="65"/>
                        </a:cubicBezTo>
                        <a:cubicBezTo>
                          <a:pt x="100" y="65"/>
                          <a:pt x="98" y="66"/>
                          <a:pt x="97" y="65"/>
                        </a:cubicBezTo>
                        <a:cubicBezTo>
                          <a:pt x="97" y="64"/>
                          <a:pt x="95" y="62"/>
                          <a:pt x="95" y="64"/>
                        </a:cubicBezTo>
                        <a:cubicBezTo>
                          <a:pt x="94" y="65"/>
                          <a:pt x="91" y="66"/>
                          <a:pt x="90" y="67"/>
                        </a:cubicBezTo>
                        <a:cubicBezTo>
                          <a:pt x="87" y="67"/>
                          <a:pt x="85" y="69"/>
                          <a:pt x="84" y="68"/>
                        </a:cubicBezTo>
                        <a:cubicBezTo>
                          <a:pt x="83" y="67"/>
                          <a:pt x="82" y="65"/>
                          <a:pt x="80" y="67"/>
                        </a:cubicBezTo>
                        <a:cubicBezTo>
                          <a:pt x="79" y="68"/>
                          <a:pt x="79" y="69"/>
                          <a:pt x="79" y="70"/>
                        </a:cubicBezTo>
                        <a:cubicBezTo>
                          <a:pt x="78" y="71"/>
                          <a:pt x="78" y="73"/>
                          <a:pt x="77" y="73"/>
                        </a:cubicBezTo>
                        <a:cubicBezTo>
                          <a:pt x="75" y="74"/>
                          <a:pt x="71" y="72"/>
                          <a:pt x="69" y="72"/>
                        </a:cubicBezTo>
                        <a:cubicBezTo>
                          <a:pt x="68" y="72"/>
                          <a:pt x="68" y="73"/>
                          <a:pt x="67" y="72"/>
                        </a:cubicBezTo>
                        <a:cubicBezTo>
                          <a:pt x="65" y="72"/>
                          <a:pt x="65" y="72"/>
                          <a:pt x="64" y="71"/>
                        </a:cubicBezTo>
                        <a:cubicBezTo>
                          <a:pt x="63" y="70"/>
                          <a:pt x="61" y="71"/>
                          <a:pt x="59" y="71"/>
                        </a:cubicBezTo>
                        <a:cubicBezTo>
                          <a:pt x="58" y="70"/>
                          <a:pt x="57" y="68"/>
                          <a:pt x="57" y="67"/>
                        </a:cubicBezTo>
                        <a:cubicBezTo>
                          <a:pt x="55" y="65"/>
                          <a:pt x="52" y="64"/>
                          <a:pt x="51" y="63"/>
                        </a:cubicBezTo>
                        <a:cubicBezTo>
                          <a:pt x="48" y="62"/>
                          <a:pt x="45" y="65"/>
                          <a:pt x="44" y="67"/>
                        </a:cubicBezTo>
                        <a:cubicBezTo>
                          <a:pt x="43" y="68"/>
                          <a:pt x="42" y="69"/>
                          <a:pt x="42" y="70"/>
                        </a:cubicBezTo>
                        <a:cubicBezTo>
                          <a:pt x="42" y="71"/>
                          <a:pt x="40" y="71"/>
                          <a:pt x="40" y="72"/>
                        </a:cubicBezTo>
                        <a:cubicBezTo>
                          <a:pt x="39" y="72"/>
                          <a:pt x="41" y="74"/>
                          <a:pt x="41" y="75"/>
                        </a:cubicBezTo>
                        <a:cubicBezTo>
                          <a:pt x="41" y="77"/>
                          <a:pt x="40" y="77"/>
                          <a:pt x="40" y="81"/>
                        </a:cubicBezTo>
                        <a:cubicBezTo>
                          <a:pt x="39" y="79"/>
                          <a:pt x="36" y="80"/>
                          <a:pt x="34" y="80"/>
                        </a:cubicBezTo>
                        <a:cubicBezTo>
                          <a:pt x="33" y="80"/>
                          <a:pt x="31" y="79"/>
                          <a:pt x="31" y="79"/>
                        </a:cubicBezTo>
                        <a:cubicBezTo>
                          <a:pt x="29" y="78"/>
                          <a:pt x="27" y="79"/>
                          <a:pt x="26" y="80"/>
                        </a:cubicBezTo>
                        <a:cubicBezTo>
                          <a:pt x="23" y="80"/>
                          <a:pt x="21" y="79"/>
                          <a:pt x="21" y="83"/>
                        </a:cubicBezTo>
                        <a:cubicBezTo>
                          <a:pt x="20" y="84"/>
                          <a:pt x="21" y="86"/>
                          <a:pt x="20" y="88"/>
                        </a:cubicBezTo>
                        <a:cubicBezTo>
                          <a:pt x="20" y="90"/>
                          <a:pt x="18" y="92"/>
                          <a:pt x="18" y="94"/>
                        </a:cubicBezTo>
                        <a:cubicBezTo>
                          <a:pt x="17" y="92"/>
                          <a:pt x="17" y="90"/>
                          <a:pt x="16" y="87"/>
                        </a:cubicBezTo>
                        <a:cubicBezTo>
                          <a:pt x="16" y="85"/>
                          <a:pt x="14" y="85"/>
                          <a:pt x="12" y="83"/>
                        </a:cubicBezTo>
                        <a:cubicBezTo>
                          <a:pt x="12" y="82"/>
                          <a:pt x="5" y="75"/>
                          <a:pt x="8" y="75"/>
                        </a:cubicBezTo>
                        <a:cubicBezTo>
                          <a:pt x="6" y="73"/>
                          <a:pt x="7" y="71"/>
                          <a:pt x="5" y="70"/>
                        </a:cubicBezTo>
                        <a:cubicBezTo>
                          <a:pt x="3" y="68"/>
                          <a:pt x="3" y="66"/>
                          <a:pt x="3" y="63"/>
                        </a:cubicBezTo>
                        <a:cubicBezTo>
                          <a:pt x="3" y="62"/>
                          <a:pt x="2" y="62"/>
                          <a:pt x="2" y="61"/>
                        </a:cubicBezTo>
                        <a:cubicBezTo>
                          <a:pt x="2" y="60"/>
                          <a:pt x="3" y="59"/>
                          <a:pt x="3" y="58"/>
                        </a:cubicBezTo>
                        <a:cubicBezTo>
                          <a:pt x="3" y="57"/>
                          <a:pt x="3" y="56"/>
                          <a:pt x="2" y="55"/>
                        </a:cubicBezTo>
                        <a:cubicBezTo>
                          <a:pt x="2" y="54"/>
                          <a:pt x="1" y="54"/>
                          <a:pt x="0" y="53"/>
                        </a:cubicBezTo>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55" name="Burundi">
                    <a:extLst>
                      <a:ext uri="{FF2B5EF4-FFF2-40B4-BE49-F238E27FC236}">
                        <a16:creationId xmlns:a16="http://schemas.microsoft.com/office/drawing/2014/main" id="{E4A06EB0-E7C7-2157-1C2C-970B2C75A612}"/>
                      </a:ext>
                    </a:extLst>
                  </p:cNvPr>
                  <p:cNvSpPr>
                    <a:spLocks/>
                  </p:cNvSpPr>
                  <p:nvPr/>
                </p:nvSpPr>
                <p:spPr bwMode="auto">
                  <a:xfrm>
                    <a:off x="4431335" y="3401864"/>
                    <a:ext cx="41253" cy="54602"/>
                  </a:xfrm>
                  <a:custGeom>
                    <a:avLst/>
                    <a:gdLst/>
                    <a:ahLst/>
                    <a:cxnLst>
                      <a:cxn ang="0">
                        <a:pos x="0" y="5"/>
                      </a:cxn>
                      <a:cxn ang="0">
                        <a:pos x="3" y="6"/>
                      </a:cxn>
                      <a:cxn ang="0">
                        <a:pos x="9" y="1"/>
                      </a:cxn>
                      <a:cxn ang="0">
                        <a:pos x="16" y="2"/>
                      </a:cxn>
                      <a:cxn ang="0">
                        <a:pos x="14" y="4"/>
                      </a:cxn>
                      <a:cxn ang="0">
                        <a:pos x="17" y="8"/>
                      </a:cxn>
                      <a:cxn ang="0">
                        <a:pos x="16" y="12"/>
                      </a:cxn>
                      <a:cxn ang="0">
                        <a:pos x="15" y="14"/>
                      </a:cxn>
                      <a:cxn ang="0">
                        <a:pos x="13" y="14"/>
                      </a:cxn>
                      <a:cxn ang="0">
                        <a:pos x="14" y="17"/>
                      </a:cxn>
                      <a:cxn ang="0">
                        <a:pos x="12" y="19"/>
                      </a:cxn>
                      <a:cxn ang="0">
                        <a:pos x="8" y="23"/>
                      </a:cxn>
                      <a:cxn ang="0">
                        <a:pos x="6" y="24"/>
                      </a:cxn>
                      <a:cxn ang="0">
                        <a:pos x="3" y="17"/>
                      </a:cxn>
                      <a:cxn ang="0">
                        <a:pos x="2" y="11"/>
                      </a:cxn>
                      <a:cxn ang="0">
                        <a:pos x="2" y="8"/>
                      </a:cxn>
                      <a:cxn ang="0">
                        <a:pos x="0" y="5"/>
                      </a:cxn>
                    </a:cxnLst>
                    <a:rect l="0" t="0" r="r" b="b"/>
                    <a:pathLst>
                      <a:path w="18" h="24">
                        <a:moveTo>
                          <a:pt x="0" y="5"/>
                        </a:moveTo>
                        <a:cubicBezTo>
                          <a:pt x="1" y="2"/>
                          <a:pt x="3" y="6"/>
                          <a:pt x="3" y="6"/>
                        </a:cubicBezTo>
                        <a:cubicBezTo>
                          <a:pt x="8" y="6"/>
                          <a:pt x="8" y="5"/>
                          <a:pt x="9" y="1"/>
                        </a:cubicBezTo>
                        <a:cubicBezTo>
                          <a:pt x="11" y="3"/>
                          <a:pt x="10" y="0"/>
                          <a:pt x="16" y="2"/>
                        </a:cubicBezTo>
                        <a:cubicBezTo>
                          <a:pt x="15" y="2"/>
                          <a:pt x="12" y="4"/>
                          <a:pt x="14" y="4"/>
                        </a:cubicBezTo>
                        <a:cubicBezTo>
                          <a:pt x="13" y="8"/>
                          <a:pt x="16" y="8"/>
                          <a:pt x="17" y="8"/>
                        </a:cubicBezTo>
                        <a:cubicBezTo>
                          <a:pt x="16" y="9"/>
                          <a:pt x="18" y="10"/>
                          <a:pt x="16" y="12"/>
                        </a:cubicBezTo>
                        <a:cubicBezTo>
                          <a:pt x="15" y="12"/>
                          <a:pt x="15" y="12"/>
                          <a:pt x="15" y="14"/>
                        </a:cubicBezTo>
                        <a:cubicBezTo>
                          <a:pt x="15" y="14"/>
                          <a:pt x="13" y="14"/>
                          <a:pt x="13" y="14"/>
                        </a:cubicBezTo>
                        <a:cubicBezTo>
                          <a:pt x="13" y="15"/>
                          <a:pt x="14" y="16"/>
                          <a:pt x="14" y="17"/>
                        </a:cubicBezTo>
                        <a:cubicBezTo>
                          <a:pt x="14" y="17"/>
                          <a:pt x="13" y="18"/>
                          <a:pt x="12" y="19"/>
                        </a:cubicBezTo>
                        <a:cubicBezTo>
                          <a:pt x="10" y="20"/>
                          <a:pt x="10" y="22"/>
                          <a:pt x="8" y="23"/>
                        </a:cubicBezTo>
                        <a:cubicBezTo>
                          <a:pt x="7" y="23"/>
                          <a:pt x="6" y="24"/>
                          <a:pt x="6" y="24"/>
                        </a:cubicBezTo>
                        <a:cubicBezTo>
                          <a:pt x="5" y="23"/>
                          <a:pt x="3" y="18"/>
                          <a:pt x="3" y="17"/>
                        </a:cubicBezTo>
                        <a:cubicBezTo>
                          <a:pt x="2" y="15"/>
                          <a:pt x="3" y="13"/>
                          <a:pt x="2" y="11"/>
                        </a:cubicBezTo>
                        <a:cubicBezTo>
                          <a:pt x="2" y="11"/>
                          <a:pt x="2" y="9"/>
                          <a:pt x="2" y="8"/>
                        </a:cubicBezTo>
                        <a:cubicBezTo>
                          <a:pt x="1" y="7"/>
                          <a:pt x="0" y="7"/>
                          <a:pt x="0" y="5"/>
                        </a:cubicBezTo>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56" name="Burkina Faso">
                    <a:extLst>
                      <a:ext uri="{FF2B5EF4-FFF2-40B4-BE49-F238E27FC236}">
                        <a16:creationId xmlns:a16="http://schemas.microsoft.com/office/drawing/2014/main" id="{04E6ACF6-AEFB-91D4-8274-7375B5FDA7B6}"/>
                      </a:ext>
                    </a:extLst>
                  </p:cNvPr>
                  <p:cNvSpPr>
                    <a:spLocks/>
                  </p:cNvSpPr>
                  <p:nvPr/>
                </p:nvSpPr>
                <p:spPr bwMode="auto">
                  <a:xfrm>
                    <a:off x="3673000" y="2965062"/>
                    <a:ext cx="175934" cy="146814"/>
                  </a:xfrm>
                  <a:custGeom>
                    <a:avLst/>
                    <a:gdLst/>
                    <a:ahLst/>
                    <a:cxnLst>
                      <a:cxn ang="0">
                        <a:pos x="0" y="52"/>
                      </a:cxn>
                      <a:cxn ang="0">
                        <a:pos x="1" y="46"/>
                      </a:cxn>
                      <a:cxn ang="0">
                        <a:pos x="3" y="44"/>
                      </a:cxn>
                      <a:cxn ang="0">
                        <a:pos x="3" y="39"/>
                      </a:cxn>
                      <a:cxn ang="0">
                        <a:pos x="2" y="37"/>
                      </a:cxn>
                      <a:cxn ang="0">
                        <a:pos x="4" y="36"/>
                      </a:cxn>
                      <a:cxn ang="0">
                        <a:pos x="9" y="35"/>
                      </a:cxn>
                      <a:cxn ang="0">
                        <a:pos x="11" y="28"/>
                      </a:cxn>
                      <a:cxn ang="0">
                        <a:pos x="12" y="27"/>
                      </a:cxn>
                      <a:cxn ang="0">
                        <a:pos x="13" y="25"/>
                      </a:cxn>
                      <a:cxn ang="0">
                        <a:pos x="13" y="23"/>
                      </a:cxn>
                      <a:cxn ang="0">
                        <a:pos x="15" y="19"/>
                      </a:cxn>
                      <a:cxn ang="0">
                        <a:pos x="20" y="23"/>
                      </a:cxn>
                      <a:cxn ang="0">
                        <a:pos x="22" y="21"/>
                      </a:cxn>
                      <a:cxn ang="0">
                        <a:pos x="22" y="17"/>
                      </a:cxn>
                      <a:cxn ang="0">
                        <a:pos x="25" y="18"/>
                      </a:cxn>
                      <a:cxn ang="0">
                        <a:pos x="30" y="11"/>
                      </a:cxn>
                      <a:cxn ang="0">
                        <a:pos x="34" y="10"/>
                      </a:cxn>
                      <a:cxn ang="0">
                        <a:pos x="37" y="8"/>
                      </a:cxn>
                      <a:cxn ang="0">
                        <a:pos x="41" y="6"/>
                      </a:cxn>
                      <a:cxn ang="0">
                        <a:pos x="49" y="3"/>
                      </a:cxn>
                      <a:cxn ang="0">
                        <a:pos x="51" y="2"/>
                      </a:cxn>
                      <a:cxn ang="0">
                        <a:pos x="54" y="4"/>
                      </a:cxn>
                      <a:cxn ang="0">
                        <a:pos x="56" y="10"/>
                      </a:cxn>
                      <a:cxn ang="0">
                        <a:pos x="57" y="14"/>
                      </a:cxn>
                      <a:cxn ang="0">
                        <a:pos x="59" y="17"/>
                      </a:cxn>
                      <a:cxn ang="0">
                        <a:pos x="65" y="21"/>
                      </a:cxn>
                      <a:cxn ang="0">
                        <a:pos x="62" y="21"/>
                      </a:cxn>
                      <a:cxn ang="0">
                        <a:pos x="68" y="28"/>
                      </a:cxn>
                      <a:cxn ang="0">
                        <a:pos x="72" y="27"/>
                      </a:cxn>
                      <a:cxn ang="0">
                        <a:pos x="74" y="30"/>
                      </a:cxn>
                      <a:cxn ang="0">
                        <a:pos x="75" y="35"/>
                      </a:cxn>
                      <a:cxn ang="0">
                        <a:pos x="71" y="41"/>
                      </a:cxn>
                      <a:cxn ang="0">
                        <a:pos x="67" y="42"/>
                      </a:cxn>
                      <a:cxn ang="0">
                        <a:pos x="65" y="42"/>
                      </a:cxn>
                      <a:cxn ang="0">
                        <a:pos x="60" y="46"/>
                      </a:cxn>
                      <a:cxn ang="0">
                        <a:pos x="54" y="45"/>
                      </a:cxn>
                      <a:cxn ang="0">
                        <a:pos x="51" y="45"/>
                      </a:cxn>
                      <a:cxn ang="0">
                        <a:pos x="47" y="47"/>
                      </a:cxn>
                      <a:cxn ang="0">
                        <a:pos x="36" y="46"/>
                      </a:cxn>
                      <a:cxn ang="0">
                        <a:pos x="26" y="46"/>
                      </a:cxn>
                      <a:cxn ang="0">
                        <a:pos x="25" y="50"/>
                      </a:cxn>
                      <a:cxn ang="0">
                        <a:pos x="26" y="55"/>
                      </a:cxn>
                      <a:cxn ang="0">
                        <a:pos x="26" y="59"/>
                      </a:cxn>
                      <a:cxn ang="0">
                        <a:pos x="26" y="63"/>
                      </a:cxn>
                      <a:cxn ang="0">
                        <a:pos x="22" y="57"/>
                      </a:cxn>
                      <a:cxn ang="0">
                        <a:pos x="16" y="58"/>
                      </a:cxn>
                      <a:cxn ang="0">
                        <a:pos x="12" y="61"/>
                      </a:cxn>
                      <a:cxn ang="0">
                        <a:pos x="7" y="59"/>
                      </a:cxn>
                      <a:cxn ang="0">
                        <a:pos x="6" y="57"/>
                      </a:cxn>
                      <a:cxn ang="0">
                        <a:pos x="4" y="54"/>
                      </a:cxn>
                      <a:cxn ang="0">
                        <a:pos x="0" y="52"/>
                      </a:cxn>
                    </a:cxnLst>
                    <a:rect l="0" t="0" r="r" b="b"/>
                    <a:pathLst>
                      <a:path w="76" h="63">
                        <a:moveTo>
                          <a:pt x="0" y="52"/>
                        </a:moveTo>
                        <a:cubicBezTo>
                          <a:pt x="1" y="50"/>
                          <a:pt x="2" y="48"/>
                          <a:pt x="1" y="46"/>
                        </a:cubicBezTo>
                        <a:cubicBezTo>
                          <a:pt x="1" y="44"/>
                          <a:pt x="2" y="46"/>
                          <a:pt x="3" y="44"/>
                        </a:cubicBezTo>
                        <a:cubicBezTo>
                          <a:pt x="3" y="43"/>
                          <a:pt x="4" y="40"/>
                          <a:pt x="3" y="39"/>
                        </a:cubicBezTo>
                        <a:cubicBezTo>
                          <a:pt x="2" y="39"/>
                          <a:pt x="4" y="38"/>
                          <a:pt x="2" y="37"/>
                        </a:cubicBezTo>
                        <a:cubicBezTo>
                          <a:pt x="3" y="37"/>
                          <a:pt x="3" y="36"/>
                          <a:pt x="4" y="36"/>
                        </a:cubicBezTo>
                        <a:cubicBezTo>
                          <a:pt x="5" y="35"/>
                          <a:pt x="7" y="36"/>
                          <a:pt x="9" y="35"/>
                        </a:cubicBezTo>
                        <a:cubicBezTo>
                          <a:pt x="10" y="34"/>
                          <a:pt x="12" y="30"/>
                          <a:pt x="11" y="28"/>
                        </a:cubicBezTo>
                        <a:cubicBezTo>
                          <a:pt x="10" y="28"/>
                          <a:pt x="11" y="27"/>
                          <a:pt x="12" y="27"/>
                        </a:cubicBezTo>
                        <a:cubicBezTo>
                          <a:pt x="13" y="27"/>
                          <a:pt x="13" y="26"/>
                          <a:pt x="13" y="25"/>
                        </a:cubicBezTo>
                        <a:cubicBezTo>
                          <a:pt x="13" y="24"/>
                          <a:pt x="11" y="23"/>
                          <a:pt x="13" y="23"/>
                        </a:cubicBezTo>
                        <a:cubicBezTo>
                          <a:pt x="14" y="22"/>
                          <a:pt x="15" y="20"/>
                          <a:pt x="15" y="19"/>
                        </a:cubicBezTo>
                        <a:cubicBezTo>
                          <a:pt x="15" y="21"/>
                          <a:pt x="19" y="23"/>
                          <a:pt x="20" y="23"/>
                        </a:cubicBezTo>
                        <a:cubicBezTo>
                          <a:pt x="20" y="21"/>
                          <a:pt x="21" y="21"/>
                          <a:pt x="22" y="21"/>
                        </a:cubicBezTo>
                        <a:cubicBezTo>
                          <a:pt x="22" y="20"/>
                          <a:pt x="23" y="18"/>
                          <a:pt x="22" y="17"/>
                        </a:cubicBezTo>
                        <a:cubicBezTo>
                          <a:pt x="23" y="17"/>
                          <a:pt x="24" y="17"/>
                          <a:pt x="25" y="18"/>
                        </a:cubicBezTo>
                        <a:cubicBezTo>
                          <a:pt x="26" y="16"/>
                          <a:pt x="26" y="11"/>
                          <a:pt x="30" y="11"/>
                        </a:cubicBezTo>
                        <a:cubicBezTo>
                          <a:pt x="31" y="11"/>
                          <a:pt x="34" y="13"/>
                          <a:pt x="34" y="10"/>
                        </a:cubicBezTo>
                        <a:cubicBezTo>
                          <a:pt x="34" y="9"/>
                          <a:pt x="36" y="9"/>
                          <a:pt x="37" y="8"/>
                        </a:cubicBezTo>
                        <a:cubicBezTo>
                          <a:pt x="39" y="8"/>
                          <a:pt x="40" y="7"/>
                          <a:pt x="41" y="6"/>
                        </a:cubicBezTo>
                        <a:cubicBezTo>
                          <a:pt x="43" y="5"/>
                          <a:pt x="46" y="0"/>
                          <a:pt x="49" y="3"/>
                        </a:cubicBezTo>
                        <a:cubicBezTo>
                          <a:pt x="49" y="3"/>
                          <a:pt x="51" y="2"/>
                          <a:pt x="51" y="2"/>
                        </a:cubicBezTo>
                        <a:cubicBezTo>
                          <a:pt x="52" y="3"/>
                          <a:pt x="53" y="3"/>
                          <a:pt x="54" y="4"/>
                        </a:cubicBezTo>
                        <a:cubicBezTo>
                          <a:pt x="56" y="4"/>
                          <a:pt x="53" y="8"/>
                          <a:pt x="56" y="10"/>
                        </a:cubicBezTo>
                        <a:cubicBezTo>
                          <a:pt x="57" y="10"/>
                          <a:pt x="56" y="13"/>
                          <a:pt x="57" y="14"/>
                        </a:cubicBezTo>
                        <a:cubicBezTo>
                          <a:pt x="58" y="15"/>
                          <a:pt x="59" y="16"/>
                          <a:pt x="59" y="17"/>
                        </a:cubicBezTo>
                        <a:cubicBezTo>
                          <a:pt x="60" y="17"/>
                          <a:pt x="63" y="19"/>
                          <a:pt x="65" y="21"/>
                        </a:cubicBezTo>
                        <a:cubicBezTo>
                          <a:pt x="64" y="21"/>
                          <a:pt x="63" y="21"/>
                          <a:pt x="62" y="21"/>
                        </a:cubicBezTo>
                        <a:cubicBezTo>
                          <a:pt x="61" y="24"/>
                          <a:pt x="65" y="27"/>
                          <a:pt x="68" y="28"/>
                        </a:cubicBezTo>
                        <a:cubicBezTo>
                          <a:pt x="70" y="29"/>
                          <a:pt x="71" y="27"/>
                          <a:pt x="72" y="27"/>
                        </a:cubicBezTo>
                        <a:cubicBezTo>
                          <a:pt x="73" y="28"/>
                          <a:pt x="74" y="30"/>
                          <a:pt x="74" y="30"/>
                        </a:cubicBezTo>
                        <a:cubicBezTo>
                          <a:pt x="71" y="32"/>
                          <a:pt x="73" y="33"/>
                          <a:pt x="75" y="35"/>
                        </a:cubicBezTo>
                        <a:cubicBezTo>
                          <a:pt x="76" y="38"/>
                          <a:pt x="73" y="41"/>
                          <a:pt x="71" y="41"/>
                        </a:cubicBezTo>
                        <a:cubicBezTo>
                          <a:pt x="70" y="41"/>
                          <a:pt x="68" y="42"/>
                          <a:pt x="67" y="42"/>
                        </a:cubicBezTo>
                        <a:cubicBezTo>
                          <a:pt x="66" y="41"/>
                          <a:pt x="66" y="41"/>
                          <a:pt x="65" y="42"/>
                        </a:cubicBezTo>
                        <a:cubicBezTo>
                          <a:pt x="63" y="44"/>
                          <a:pt x="62" y="46"/>
                          <a:pt x="60" y="46"/>
                        </a:cubicBezTo>
                        <a:cubicBezTo>
                          <a:pt x="56" y="47"/>
                          <a:pt x="56" y="45"/>
                          <a:pt x="54" y="45"/>
                        </a:cubicBezTo>
                        <a:cubicBezTo>
                          <a:pt x="53" y="45"/>
                          <a:pt x="52" y="45"/>
                          <a:pt x="51" y="45"/>
                        </a:cubicBezTo>
                        <a:cubicBezTo>
                          <a:pt x="50" y="45"/>
                          <a:pt x="47" y="47"/>
                          <a:pt x="47" y="47"/>
                        </a:cubicBezTo>
                        <a:cubicBezTo>
                          <a:pt x="45" y="46"/>
                          <a:pt x="49" y="46"/>
                          <a:pt x="36" y="46"/>
                        </a:cubicBezTo>
                        <a:cubicBezTo>
                          <a:pt x="32" y="46"/>
                          <a:pt x="29" y="46"/>
                          <a:pt x="26" y="46"/>
                        </a:cubicBezTo>
                        <a:cubicBezTo>
                          <a:pt x="26" y="48"/>
                          <a:pt x="24" y="49"/>
                          <a:pt x="25" y="50"/>
                        </a:cubicBezTo>
                        <a:cubicBezTo>
                          <a:pt x="26" y="52"/>
                          <a:pt x="26" y="53"/>
                          <a:pt x="26" y="55"/>
                        </a:cubicBezTo>
                        <a:cubicBezTo>
                          <a:pt x="26" y="56"/>
                          <a:pt x="27" y="58"/>
                          <a:pt x="26" y="59"/>
                        </a:cubicBezTo>
                        <a:cubicBezTo>
                          <a:pt x="26" y="61"/>
                          <a:pt x="27" y="62"/>
                          <a:pt x="26" y="63"/>
                        </a:cubicBezTo>
                        <a:cubicBezTo>
                          <a:pt x="25" y="62"/>
                          <a:pt x="23" y="59"/>
                          <a:pt x="22" y="57"/>
                        </a:cubicBezTo>
                        <a:cubicBezTo>
                          <a:pt x="21" y="59"/>
                          <a:pt x="18" y="57"/>
                          <a:pt x="16" y="58"/>
                        </a:cubicBezTo>
                        <a:cubicBezTo>
                          <a:pt x="15" y="58"/>
                          <a:pt x="12" y="59"/>
                          <a:pt x="12" y="61"/>
                        </a:cubicBezTo>
                        <a:cubicBezTo>
                          <a:pt x="11" y="61"/>
                          <a:pt x="7" y="59"/>
                          <a:pt x="7" y="59"/>
                        </a:cubicBezTo>
                        <a:cubicBezTo>
                          <a:pt x="6" y="58"/>
                          <a:pt x="6" y="58"/>
                          <a:pt x="6" y="57"/>
                        </a:cubicBezTo>
                        <a:cubicBezTo>
                          <a:pt x="5" y="56"/>
                          <a:pt x="4" y="54"/>
                          <a:pt x="4" y="54"/>
                        </a:cubicBezTo>
                        <a:cubicBezTo>
                          <a:pt x="2" y="53"/>
                          <a:pt x="1" y="54"/>
                          <a:pt x="0" y="52"/>
                        </a:cubicBezTo>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57" name="Botswana">
                    <a:extLst>
                      <a:ext uri="{FF2B5EF4-FFF2-40B4-BE49-F238E27FC236}">
                        <a16:creationId xmlns:a16="http://schemas.microsoft.com/office/drawing/2014/main" id="{73A5D72F-CD22-6009-2525-C5FC2E90BDCA}"/>
                      </a:ext>
                    </a:extLst>
                  </p:cNvPr>
                  <p:cNvSpPr>
                    <a:spLocks/>
                  </p:cNvSpPr>
                  <p:nvPr/>
                </p:nvSpPr>
                <p:spPr bwMode="auto">
                  <a:xfrm>
                    <a:off x="4227494" y="3786491"/>
                    <a:ext cx="201414" cy="229322"/>
                  </a:xfrm>
                  <a:custGeom>
                    <a:avLst/>
                    <a:gdLst/>
                    <a:ahLst/>
                    <a:cxnLst>
                      <a:cxn ang="0">
                        <a:pos x="0" y="76"/>
                      </a:cxn>
                      <a:cxn ang="0">
                        <a:pos x="1" y="46"/>
                      </a:cxn>
                      <a:cxn ang="0">
                        <a:pos x="10" y="46"/>
                      </a:cxn>
                      <a:cxn ang="0">
                        <a:pos x="11" y="6"/>
                      </a:cxn>
                      <a:cxn ang="0">
                        <a:pos x="26" y="4"/>
                      </a:cxn>
                      <a:cxn ang="0">
                        <a:pos x="32" y="3"/>
                      </a:cxn>
                      <a:cxn ang="0">
                        <a:pos x="35" y="8"/>
                      </a:cxn>
                      <a:cxn ang="0">
                        <a:pos x="42" y="3"/>
                      </a:cxn>
                      <a:cxn ang="0">
                        <a:pos x="44" y="3"/>
                      </a:cxn>
                      <a:cxn ang="0">
                        <a:pos x="46" y="2"/>
                      </a:cxn>
                      <a:cxn ang="0">
                        <a:pos x="50" y="1"/>
                      </a:cxn>
                      <a:cxn ang="0">
                        <a:pos x="51" y="3"/>
                      </a:cxn>
                      <a:cxn ang="0">
                        <a:pos x="53" y="8"/>
                      </a:cxn>
                      <a:cxn ang="0">
                        <a:pos x="56" y="12"/>
                      </a:cxn>
                      <a:cxn ang="0">
                        <a:pos x="57" y="16"/>
                      </a:cxn>
                      <a:cxn ang="0">
                        <a:pos x="63" y="23"/>
                      </a:cxn>
                      <a:cxn ang="0">
                        <a:pos x="69" y="30"/>
                      </a:cxn>
                      <a:cxn ang="0">
                        <a:pos x="72" y="33"/>
                      </a:cxn>
                      <a:cxn ang="0">
                        <a:pos x="73" y="37"/>
                      </a:cxn>
                      <a:cxn ang="0">
                        <a:pos x="76" y="42"/>
                      </a:cxn>
                      <a:cxn ang="0">
                        <a:pos x="84" y="43"/>
                      </a:cxn>
                      <a:cxn ang="0">
                        <a:pos x="85" y="46"/>
                      </a:cxn>
                      <a:cxn ang="0">
                        <a:pos x="87" y="48"/>
                      </a:cxn>
                      <a:cxn ang="0">
                        <a:pos x="83" y="51"/>
                      </a:cxn>
                      <a:cxn ang="0">
                        <a:pos x="76" y="53"/>
                      </a:cxn>
                      <a:cxn ang="0">
                        <a:pos x="72" y="59"/>
                      </a:cxn>
                      <a:cxn ang="0">
                        <a:pos x="70" y="61"/>
                      </a:cxn>
                      <a:cxn ang="0">
                        <a:pos x="66" y="63"/>
                      </a:cxn>
                      <a:cxn ang="0">
                        <a:pos x="64" y="67"/>
                      </a:cxn>
                      <a:cxn ang="0">
                        <a:pos x="60" y="73"/>
                      </a:cxn>
                      <a:cxn ang="0">
                        <a:pos x="55" y="75"/>
                      </a:cxn>
                      <a:cxn ang="0">
                        <a:pos x="54" y="78"/>
                      </a:cxn>
                      <a:cxn ang="0">
                        <a:pos x="52" y="83"/>
                      </a:cxn>
                      <a:cxn ang="0">
                        <a:pos x="47" y="86"/>
                      </a:cxn>
                      <a:cxn ang="0">
                        <a:pos x="42" y="87"/>
                      </a:cxn>
                      <a:cxn ang="0">
                        <a:pos x="37" y="85"/>
                      </a:cxn>
                      <a:cxn ang="0">
                        <a:pos x="34" y="83"/>
                      </a:cxn>
                      <a:cxn ang="0">
                        <a:pos x="27" y="83"/>
                      </a:cxn>
                      <a:cxn ang="0">
                        <a:pos x="24" y="89"/>
                      </a:cxn>
                      <a:cxn ang="0">
                        <a:pos x="21" y="92"/>
                      </a:cxn>
                      <a:cxn ang="0">
                        <a:pos x="19" y="95"/>
                      </a:cxn>
                      <a:cxn ang="0">
                        <a:pos x="16" y="96"/>
                      </a:cxn>
                      <a:cxn ang="0">
                        <a:pos x="16" y="97"/>
                      </a:cxn>
                      <a:cxn ang="0">
                        <a:pos x="13" y="98"/>
                      </a:cxn>
                      <a:cxn ang="0">
                        <a:pos x="10" y="98"/>
                      </a:cxn>
                      <a:cxn ang="0">
                        <a:pos x="6" y="99"/>
                      </a:cxn>
                      <a:cxn ang="0">
                        <a:pos x="7" y="87"/>
                      </a:cxn>
                      <a:cxn ang="0">
                        <a:pos x="4" y="80"/>
                      </a:cxn>
                      <a:cxn ang="0">
                        <a:pos x="0" y="76"/>
                      </a:cxn>
                    </a:cxnLst>
                    <a:rect l="0" t="0" r="r" b="b"/>
                    <a:pathLst>
                      <a:path w="87" h="99">
                        <a:moveTo>
                          <a:pt x="0" y="76"/>
                        </a:moveTo>
                        <a:cubicBezTo>
                          <a:pt x="1" y="46"/>
                          <a:pt x="1" y="46"/>
                          <a:pt x="1" y="46"/>
                        </a:cubicBezTo>
                        <a:cubicBezTo>
                          <a:pt x="10" y="46"/>
                          <a:pt x="10" y="46"/>
                          <a:pt x="10" y="46"/>
                        </a:cubicBezTo>
                        <a:cubicBezTo>
                          <a:pt x="11" y="6"/>
                          <a:pt x="11" y="6"/>
                          <a:pt x="11" y="6"/>
                        </a:cubicBezTo>
                        <a:cubicBezTo>
                          <a:pt x="14" y="6"/>
                          <a:pt x="21" y="5"/>
                          <a:pt x="26" y="4"/>
                        </a:cubicBezTo>
                        <a:cubicBezTo>
                          <a:pt x="27" y="3"/>
                          <a:pt x="30" y="3"/>
                          <a:pt x="32" y="3"/>
                        </a:cubicBezTo>
                        <a:cubicBezTo>
                          <a:pt x="34" y="4"/>
                          <a:pt x="34" y="7"/>
                          <a:pt x="35" y="8"/>
                        </a:cubicBezTo>
                        <a:cubicBezTo>
                          <a:pt x="37" y="6"/>
                          <a:pt x="39" y="3"/>
                          <a:pt x="42" y="3"/>
                        </a:cubicBezTo>
                        <a:cubicBezTo>
                          <a:pt x="43" y="3"/>
                          <a:pt x="43" y="3"/>
                          <a:pt x="44" y="3"/>
                        </a:cubicBezTo>
                        <a:cubicBezTo>
                          <a:pt x="45" y="3"/>
                          <a:pt x="45" y="2"/>
                          <a:pt x="46" y="2"/>
                        </a:cubicBezTo>
                        <a:cubicBezTo>
                          <a:pt x="48" y="0"/>
                          <a:pt x="51" y="0"/>
                          <a:pt x="50" y="1"/>
                        </a:cubicBezTo>
                        <a:cubicBezTo>
                          <a:pt x="51" y="3"/>
                          <a:pt x="51" y="3"/>
                          <a:pt x="51" y="3"/>
                        </a:cubicBezTo>
                        <a:cubicBezTo>
                          <a:pt x="51" y="5"/>
                          <a:pt x="52" y="6"/>
                          <a:pt x="53" y="8"/>
                        </a:cubicBezTo>
                        <a:cubicBezTo>
                          <a:pt x="54" y="9"/>
                          <a:pt x="55" y="10"/>
                          <a:pt x="56" y="12"/>
                        </a:cubicBezTo>
                        <a:cubicBezTo>
                          <a:pt x="56" y="14"/>
                          <a:pt x="57" y="14"/>
                          <a:pt x="57" y="16"/>
                        </a:cubicBezTo>
                        <a:cubicBezTo>
                          <a:pt x="58" y="19"/>
                          <a:pt x="60" y="22"/>
                          <a:pt x="63" y="23"/>
                        </a:cubicBezTo>
                        <a:cubicBezTo>
                          <a:pt x="67" y="25"/>
                          <a:pt x="70" y="25"/>
                          <a:pt x="69" y="30"/>
                        </a:cubicBezTo>
                        <a:cubicBezTo>
                          <a:pt x="71" y="29"/>
                          <a:pt x="74" y="29"/>
                          <a:pt x="72" y="33"/>
                        </a:cubicBezTo>
                        <a:cubicBezTo>
                          <a:pt x="72" y="35"/>
                          <a:pt x="72" y="36"/>
                          <a:pt x="73" y="37"/>
                        </a:cubicBezTo>
                        <a:cubicBezTo>
                          <a:pt x="74" y="38"/>
                          <a:pt x="74" y="41"/>
                          <a:pt x="76" y="42"/>
                        </a:cubicBezTo>
                        <a:cubicBezTo>
                          <a:pt x="78" y="42"/>
                          <a:pt x="81" y="42"/>
                          <a:pt x="84" y="43"/>
                        </a:cubicBezTo>
                        <a:cubicBezTo>
                          <a:pt x="86" y="44"/>
                          <a:pt x="84" y="45"/>
                          <a:pt x="85" y="46"/>
                        </a:cubicBezTo>
                        <a:cubicBezTo>
                          <a:pt x="85" y="47"/>
                          <a:pt x="87" y="47"/>
                          <a:pt x="87" y="48"/>
                        </a:cubicBezTo>
                        <a:cubicBezTo>
                          <a:pt x="84" y="48"/>
                          <a:pt x="84" y="49"/>
                          <a:pt x="83" y="51"/>
                        </a:cubicBezTo>
                        <a:cubicBezTo>
                          <a:pt x="82" y="53"/>
                          <a:pt x="78" y="52"/>
                          <a:pt x="76" y="53"/>
                        </a:cubicBezTo>
                        <a:cubicBezTo>
                          <a:pt x="75" y="55"/>
                          <a:pt x="74" y="58"/>
                          <a:pt x="72" y="59"/>
                        </a:cubicBezTo>
                        <a:cubicBezTo>
                          <a:pt x="71" y="59"/>
                          <a:pt x="71" y="60"/>
                          <a:pt x="70" y="61"/>
                        </a:cubicBezTo>
                        <a:cubicBezTo>
                          <a:pt x="69" y="62"/>
                          <a:pt x="67" y="62"/>
                          <a:pt x="66" y="63"/>
                        </a:cubicBezTo>
                        <a:cubicBezTo>
                          <a:pt x="65" y="65"/>
                          <a:pt x="64" y="65"/>
                          <a:pt x="64" y="67"/>
                        </a:cubicBezTo>
                        <a:cubicBezTo>
                          <a:pt x="64" y="70"/>
                          <a:pt x="62" y="71"/>
                          <a:pt x="60" y="73"/>
                        </a:cubicBezTo>
                        <a:cubicBezTo>
                          <a:pt x="59" y="75"/>
                          <a:pt x="57" y="75"/>
                          <a:pt x="55" y="75"/>
                        </a:cubicBezTo>
                        <a:cubicBezTo>
                          <a:pt x="54" y="76"/>
                          <a:pt x="55" y="76"/>
                          <a:pt x="54" y="78"/>
                        </a:cubicBezTo>
                        <a:cubicBezTo>
                          <a:pt x="54" y="79"/>
                          <a:pt x="53" y="81"/>
                          <a:pt x="52" y="83"/>
                        </a:cubicBezTo>
                        <a:cubicBezTo>
                          <a:pt x="52" y="85"/>
                          <a:pt x="50" y="86"/>
                          <a:pt x="47" y="86"/>
                        </a:cubicBezTo>
                        <a:cubicBezTo>
                          <a:pt x="45" y="86"/>
                          <a:pt x="45" y="88"/>
                          <a:pt x="42" y="87"/>
                        </a:cubicBezTo>
                        <a:cubicBezTo>
                          <a:pt x="41" y="87"/>
                          <a:pt x="38" y="85"/>
                          <a:pt x="37" y="85"/>
                        </a:cubicBezTo>
                        <a:cubicBezTo>
                          <a:pt x="35" y="85"/>
                          <a:pt x="34" y="84"/>
                          <a:pt x="34" y="83"/>
                        </a:cubicBezTo>
                        <a:cubicBezTo>
                          <a:pt x="32" y="81"/>
                          <a:pt x="29" y="80"/>
                          <a:pt x="27" y="83"/>
                        </a:cubicBezTo>
                        <a:cubicBezTo>
                          <a:pt x="25" y="85"/>
                          <a:pt x="26" y="87"/>
                          <a:pt x="24" y="89"/>
                        </a:cubicBezTo>
                        <a:cubicBezTo>
                          <a:pt x="24" y="91"/>
                          <a:pt x="22" y="91"/>
                          <a:pt x="21" y="92"/>
                        </a:cubicBezTo>
                        <a:cubicBezTo>
                          <a:pt x="20" y="93"/>
                          <a:pt x="20" y="94"/>
                          <a:pt x="19" y="95"/>
                        </a:cubicBezTo>
                        <a:cubicBezTo>
                          <a:pt x="18" y="96"/>
                          <a:pt x="17" y="96"/>
                          <a:pt x="16" y="96"/>
                        </a:cubicBezTo>
                        <a:cubicBezTo>
                          <a:pt x="16" y="96"/>
                          <a:pt x="16" y="97"/>
                          <a:pt x="16" y="97"/>
                        </a:cubicBezTo>
                        <a:cubicBezTo>
                          <a:pt x="16" y="98"/>
                          <a:pt x="14" y="98"/>
                          <a:pt x="13" y="98"/>
                        </a:cubicBezTo>
                        <a:cubicBezTo>
                          <a:pt x="12" y="98"/>
                          <a:pt x="11" y="98"/>
                          <a:pt x="10" y="98"/>
                        </a:cubicBezTo>
                        <a:cubicBezTo>
                          <a:pt x="9" y="98"/>
                          <a:pt x="7" y="97"/>
                          <a:pt x="6" y="99"/>
                        </a:cubicBezTo>
                        <a:cubicBezTo>
                          <a:pt x="4" y="94"/>
                          <a:pt x="8" y="92"/>
                          <a:pt x="7" y="87"/>
                        </a:cubicBezTo>
                        <a:cubicBezTo>
                          <a:pt x="6" y="84"/>
                          <a:pt x="5" y="82"/>
                          <a:pt x="4" y="80"/>
                        </a:cubicBezTo>
                        <a:cubicBezTo>
                          <a:pt x="3" y="78"/>
                          <a:pt x="1" y="77"/>
                          <a:pt x="0" y="76"/>
                        </a:cubicBezTo>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58" name="Benin">
                    <a:extLst>
                      <a:ext uri="{FF2B5EF4-FFF2-40B4-BE49-F238E27FC236}">
                        <a16:creationId xmlns:a16="http://schemas.microsoft.com/office/drawing/2014/main" id="{DCB717A4-8391-993A-2FFA-45A6D7565308}"/>
                      </a:ext>
                    </a:extLst>
                  </p:cNvPr>
                  <p:cNvSpPr>
                    <a:spLocks/>
                  </p:cNvSpPr>
                  <p:nvPr/>
                </p:nvSpPr>
                <p:spPr bwMode="auto">
                  <a:xfrm>
                    <a:off x="3812534" y="3035437"/>
                    <a:ext cx="66735" cy="155307"/>
                  </a:xfrm>
                  <a:custGeom>
                    <a:avLst/>
                    <a:gdLst/>
                    <a:ahLst/>
                    <a:cxnLst>
                      <a:cxn ang="0">
                        <a:pos x="0" y="19"/>
                      </a:cxn>
                      <a:cxn ang="0">
                        <a:pos x="1" y="16"/>
                      </a:cxn>
                      <a:cxn ang="0">
                        <a:pos x="3" y="15"/>
                      </a:cxn>
                      <a:cxn ang="0">
                        <a:pos x="7" y="11"/>
                      </a:cxn>
                      <a:cxn ang="0">
                        <a:pos x="14" y="9"/>
                      </a:cxn>
                      <a:cxn ang="0">
                        <a:pos x="15" y="5"/>
                      </a:cxn>
                      <a:cxn ang="0">
                        <a:pos x="16" y="2"/>
                      </a:cxn>
                      <a:cxn ang="0">
                        <a:pos x="18" y="2"/>
                      </a:cxn>
                      <a:cxn ang="0">
                        <a:pos x="22" y="3"/>
                      </a:cxn>
                      <a:cxn ang="0">
                        <a:pos x="24" y="5"/>
                      </a:cxn>
                      <a:cxn ang="0">
                        <a:pos x="26" y="8"/>
                      </a:cxn>
                      <a:cxn ang="0">
                        <a:pos x="26" y="11"/>
                      </a:cxn>
                      <a:cxn ang="0">
                        <a:pos x="27" y="14"/>
                      </a:cxn>
                      <a:cxn ang="0">
                        <a:pos x="28" y="18"/>
                      </a:cxn>
                      <a:cxn ang="0">
                        <a:pos x="29" y="22"/>
                      </a:cxn>
                      <a:cxn ang="0">
                        <a:pos x="27" y="23"/>
                      </a:cxn>
                      <a:cxn ang="0">
                        <a:pos x="27" y="27"/>
                      </a:cxn>
                      <a:cxn ang="0">
                        <a:pos x="24" y="29"/>
                      </a:cxn>
                      <a:cxn ang="0">
                        <a:pos x="23" y="32"/>
                      </a:cxn>
                      <a:cxn ang="0">
                        <a:pos x="21" y="37"/>
                      </a:cxn>
                      <a:cxn ang="0">
                        <a:pos x="19" y="38"/>
                      </a:cxn>
                      <a:cxn ang="0">
                        <a:pos x="18" y="41"/>
                      </a:cxn>
                      <a:cxn ang="0">
                        <a:pos x="18" y="49"/>
                      </a:cxn>
                      <a:cxn ang="0">
                        <a:pos x="19" y="54"/>
                      </a:cxn>
                      <a:cxn ang="0">
                        <a:pos x="18" y="58"/>
                      </a:cxn>
                      <a:cxn ang="0">
                        <a:pos x="19" y="62"/>
                      </a:cxn>
                      <a:cxn ang="0">
                        <a:pos x="18" y="66"/>
                      </a:cxn>
                      <a:cxn ang="0">
                        <a:pos x="13" y="66"/>
                      </a:cxn>
                      <a:cxn ang="0">
                        <a:pos x="8" y="67"/>
                      </a:cxn>
                      <a:cxn ang="0">
                        <a:pos x="9" y="67"/>
                      </a:cxn>
                      <a:cxn ang="0">
                        <a:pos x="8" y="64"/>
                      </a:cxn>
                      <a:cxn ang="0">
                        <a:pos x="7" y="59"/>
                      </a:cxn>
                      <a:cxn ang="0">
                        <a:pos x="8" y="56"/>
                      </a:cxn>
                      <a:cxn ang="0">
                        <a:pos x="8" y="42"/>
                      </a:cxn>
                      <a:cxn ang="0">
                        <a:pos x="6" y="35"/>
                      </a:cxn>
                      <a:cxn ang="0">
                        <a:pos x="5" y="28"/>
                      </a:cxn>
                      <a:cxn ang="0">
                        <a:pos x="1" y="23"/>
                      </a:cxn>
                      <a:cxn ang="0">
                        <a:pos x="0" y="19"/>
                      </a:cxn>
                    </a:cxnLst>
                    <a:rect l="0" t="0" r="r" b="b"/>
                    <a:pathLst>
                      <a:path w="29" h="67">
                        <a:moveTo>
                          <a:pt x="0" y="19"/>
                        </a:moveTo>
                        <a:cubicBezTo>
                          <a:pt x="0" y="18"/>
                          <a:pt x="1" y="17"/>
                          <a:pt x="1" y="16"/>
                        </a:cubicBezTo>
                        <a:cubicBezTo>
                          <a:pt x="2" y="15"/>
                          <a:pt x="2" y="15"/>
                          <a:pt x="3" y="15"/>
                        </a:cubicBezTo>
                        <a:cubicBezTo>
                          <a:pt x="4" y="13"/>
                          <a:pt x="6" y="10"/>
                          <a:pt x="7" y="11"/>
                        </a:cubicBezTo>
                        <a:cubicBezTo>
                          <a:pt x="8" y="12"/>
                          <a:pt x="13" y="11"/>
                          <a:pt x="14" y="9"/>
                        </a:cubicBezTo>
                        <a:cubicBezTo>
                          <a:pt x="15" y="8"/>
                          <a:pt x="15" y="6"/>
                          <a:pt x="15" y="5"/>
                        </a:cubicBezTo>
                        <a:cubicBezTo>
                          <a:pt x="15" y="4"/>
                          <a:pt x="14" y="2"/>
                          <a:pt x="16" y="2"/>
                        </a:cubicBezTo>
                        <a:cubicBezTo>
                          <a:pt x="17" y="2"/>
                          <a:pt x="18" y="2"/>
                          <a:pt x="18" y="2"/>
                        </a:cubicBezTo>
                        <a:cubicBezTo>
                          <a:pt x="19" y="0"/>
                          <a:pt x="21" y="2"/>
                          <a:pt x="22" y="3"/>
                        </a:cubicBezTo>
                        <a:cubicBezTo>
                          <a:pt x="23" y="4"/>
                          <a:pt x="23" y="4"/>
                          <a:pt x="24" y="5"/>
                        </a:cubicBezTo>
                        <a:cubicBezTo>
                          <a:pt x="24" y="6"/>
                          <a:pt x="26" y="7"/>
                          <a:pt x="26" y="8"/>
                        </a:cubicBezTo>
                        <a:cubicBezTo>
                          <a:pt x="27" y="9"/>
                          <a:pt x="26" y="10"/>
                          <a:pt x="26" y="11"/>
                        </a:cubicBezTo>
                        <a:cubicBezTo>
                          <a:pt x="25" y="12"/>
                          <a:pt x="27" y="13"/>
                          <a:pt x="27" y="14"/>
                        </a:cubicBezTo>
                        <a:cubicBezTo>
                          <a:pt x="28" y="16"/>
                          <a:pt x="27" y="17"/>
                          <a:pt x="28" y="18"/>
                        </a:cubicBezTo>
                        <a:cubicBezTo>
                          <a:pt x="29" y="19"/>
                          <a:pt x="29" y="20"/>
                          <a:pt x="29" y="22"/>
                        </a:cubicBezTo>
                        <a:cubicBezTo>
                          <a:pt x="28" y="23"/>
                          <a:pt x="27" y="22"/>
                          <a:pt x="27" y="23"/>
                        </a:cubicBezTo>
                        <a:cubicBezTo>
                          <a:pt x="26" y="24"/>
                          <a:pt x="28" y="25"/>
                          <a:pt x="27" y="27"/>
                        </a:cubicBezTo>
                        <a:cubicBezTo>
                          <a:pt x="26" y="28"/>
                          <a:pt x="25" y="28"/>
                          <a:pt x="24" y="29"/>
                        </a:cubicBezTo>
                        <a:cubicBezTo>
                          <a:pt x="24" y="30"/>
                          <a:pt x="24" y="31"/>
                          <a:pt x="23" y="32"/>
                        </a:cubicBezTo>
                        <a:cubicBezTo>
                          <a:pt x="21" y="34"/>
                          <a:pt x="24" y="36"/>
                          <a:pt x="21" y="37"/>
                        </a:cubicBezTo>
                        <a:cubicBezTo>
                          <a:pt x="19" y="37"/>
                          <a:pt x="19" y="37"/>
                          <a:pt x="19" y="38"/>
                        </a:cubicBezTo>
                        <a:cubicBezTo>
                          <a:pt x="19" y="39"/>
                          <a:pt x="18" y="40"/>
                          <a:pt x="18" y="41"/>
                        </a:cubicBezTo>
                        <a:cubicBezTo>
                          <a:pt x="18" y="44"/>
                          <a:pt x="18" y="46"/>
                          <a:pt x="18" y="49"/>
                        </a:cubicBezTo>
                        <a:cubicBezTo>
                          <a:pt x="18" y="50"/>
                          <a:pt x="19" y="53"/>
                          <a:pt x="19" y="54"/>
                        </a:cubicBezTo>
                        <a:cubicBezTo>
                          <a:pt x="19" y="56"/>
                          <a:pt x="19" y="57"/>
                          <a:pt x="18" y="58"/>
                        </a:cubicBezTo>
                        <a:cubicBezTo>
                          <a:pt x="18" y="60"/>
                          <a:pt x="19" y="61"/>
                          <a:pt x="19" y="62"/>
                        </a:cubicBezTo>
                        <a:cubicBezTo>
                          <a:pt x="18" y="63"/>
                          <a:pt x="18" y="65"/>
                          <a:pt x="18" y="66"/>
                        </a:cubicBezTo>
                        <a:cubicBezTo>
                          <a:pt x="17" y="66"/>
                          <a:pt x="15" y="66"/>
                          <a:pt x="13" y="66"/>
                        </a:cubicBezTo>
                        <a:cubicBezTo>
                          <a:pt x="11" y="67"/>
                          <a:pt x="10" y="67"/>
                          <a:pt x="8" y="67"/>
                        </a:cubicBezTo>
                        <a:cubicBezTo>
                          <a:pt x="8" y="67"/>
                          <a:pt x="9" y="67"/>
                          <a:pt x="9" y="67"/>
                        </a:cubicBezTo>
                        <a:cubicBezTo>
                          <a:pt x="9" y="66"/>
                          <a:pt x="8" y="65"/>
                          <a:pt x="8" y="64"/>
                        </a:cubicBezTo>
                        <a:cubicBezTo>
                          <a:pt x="7" y="63"/>
                          <a:pt x="7" y="60"/>
                          <a:pt x="7" y="59"/>
                        </a:cubicBezTo>
                        <a:cubicBezTo>
                          <a:pt x="7" y="59"/>
                          <a:pt x="8" y="59"/>
                          <a:pt x="8" y="56"/>
                        </a:cubicBezTo>
                        <a:cubicBezTo>
                          <a:pt x="8" y="51"/>
                          <a:pt x="8" y="47"/>
                          <a:pt x="8" y="42"/>
                        </a:cubicBezTo>
                        <a:cubicBezTo>
                          <a:pt x="8" y="39"/>
                          <a:pt x="8" y="37"/>
                          <a:pt x="6" y="35"/>
                        </a:cubicBezTo>
                        <a:cubicBezTo>
                          <a:pt x="5" y="33"/>
                          <a:pt x="5" y="30"/>
                          <a:pt x="5" y="28"/>
                        </a:cubicBezTo>
                        <a:cubicBezTo>
                          <a:pt x="5" y="26"/>
                          <a:pt x="2" y="25"/>
                          <a:pt x="1" y="23"/>
                        </a:cubicBezTo>
                        <a:cubicBezTo>
                          <a:pt x="0" y="22"/>
                          <a:pt x="0" y="21"/>
                          <a:pt x="0" y="19"/>
                        </a:cubicBezTo>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59" name="Bahrain">
                    <a:extLst>
                      <a:ext uri="{FF2B5EF4-FFF2-40B4-BE49-F238E27FC236}">
                        <a16:creationId xmlns:a16="http://schemas.microsoft.com/office/drawing/2014/main" id="{39238B73-0703-285F-C49C-1CB414680C0C}"/>
                      </a:ext>
                    </a:extLst>
                  </p:cNvPr>
                  <p:cNvSpPr>
                    <a:spLocks/>
                  </p:cNvSpPr>
                  <p:nvPr/>
                </p:nvSpPr>
                <p:spPr bwMode="auto">
                  <a:xfrm>
                    <a:off x="4911579" y="2655602"/>
                    <a:ext cx="3878" cy="16004"/>
                  </a:xfrm>
                  <a:custGeom>
                    <a:avLst/>
                    <a:gdLst/>
                    <a:ahLst/>
                    <a:cxnLst>
                      <a:cxn ang="0">
                        <a:pos x="0" y="2"/>
                      </a:cxn>
                      <a:cxn ang="0">
                        <a:pos x="0" y="4"/>
                      </a:cxn>
                      <a:cxn ang="0">
                        <a:pos x="1" y="6"/>
                      </a:cxn>
                      <a:cxn ang="0">
                        <a:pos x="0" y="2"/>
                      </a:cxn>
                    </a:cxnLst>
                    <a:rect l="0" t="0" r="r" b="b"/>
                    <a:pathLst>
                      <a:path w="2" h="6">
                        <a:moveTo>
                          <a:pt x="0" y="2"/>
                        </a:moveTo>
                        <a:cubicBezTo>
                          <a:pt x="0" y="3"/>
                          <a:pt x="0" y="3"/>
                          <a:pt x="0" y="4"/>
                        </a:cubicBezTo>
                        <a:cubicBezTo>
                          <a:pt x="0" y="5"/>
                          <a:pt x="1" y="5"/>
                          <a:pt x="1" y="6"/>
                        </a:cubicBezTo>
                        <a:cubicBezTo>
                          <a:pt x="2" y="5"/>
                          <a:pt x="2" y="0"/>
                          <a:pt x="0" y="2"/>
                        </a:cubicBezTo>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60" name="Angola">
                    <a:extLst>
                      <a:ext uri="{FF2B5EF4-FFF2-40B4-BE49-F238E27FC236}">
                        <a16:creationId xmlns:a16="http://schemas.microsoft.com/office/drawing/2014/main" id="{0584790E-8ABB-F16D-9881-24A4AC42FE7D}"/>
                      </a:ext>
                    </a:extLst>
                  </p:cNvPr>
                  <p:cNvSpPr>
                    <a:spLocks/>
                  </p:cNvSpPr>
                  <p:nvPr/>
                </p:nvSpPr>
                <p:spPr bwMode="auto">
                  <a:xfrm>
                    <a:off x="4051561" y="3454037"/>
                    <a:ext cx="268149" cy="338521"/>
                  </a:xfrm>
                  <a:custGeom>
                    <a:avLst/>
                    <a:gdLst>
                      <a:gd name="connsiteX0" fmla="*/ 29489 w 263129"/>
                      <a:gd name="connsiteY0" fmla="*/ 109511 h 332185"/>
                      <a:gd name="connsiteX1" fmla="*/ 28516 w 263129"/>
                      <a:gd name="connsiteY1" fmla="*/ 112757 h 332185"/>
                      <a:gd name="connsiteX2" fmla="*/ 27220 w 263129"/>
                      <a:gd name="connsiteY2" fmla="*/ 114056 h 332185"/>
                      <a:gd name="connsiteX3" fmla="*/ 29489 w 263129"/>
                      <a:gd name="connsiteY3" fmla="*/ 109511 h 332185"/>
                      <a:gd name="connsiteX4" fmla="*/ 29489 w 263129"/>
                      <a:gd name="connsiteY4" fmla="*/ 36801 h 332185"/>
                      <a:gd name="connsiteX5" fmla="*/ 81661 w 263129"/>
                      <a:gd name="connsiteY5" fmla="*/ 36801 h 332185"/>
                      <a:gd name="connsiteX6" fmla="*/ 99808 w 263129"/>
                      <a:gd name="connsiteY6" fmla="*/ 36801 h 332185"/>
                      <a:gd name="connsiteX7" fmla="*/ 106613 w 263129"/>
                      <a:gd name="connsiteY7" fmla="*/ 43618 h 332185"/>
                      <a:gd name="connsiteX8" fmla="*/ 106613 w 263129"/>
                      <a:gd name="connsiteY8" fmla="*/ 52707 h 332185"/>
                      <a:gd name="connsiteX9" fmla="*/ 111149 w 263129"/>
                      <a:gd name="connsiteY9" fmla="*/ 64068 h 332185"/>
                      <a:gd name="connsiteX10" fmla="*/ 113418 w 263129"/>
                      <a:gd name="connsiteY10" fmla="*/ 70884 h 332185"/>
                      <a:gd name="connsiteX11" fmla="*/ 117955 w 263129"/>
                      <a:gd name="connsiteY11" fmla="*/ 79973 h 332185"/>
                      <a:gd name="connsiteX12" fmla="*/ 127028 w 263129"/>
                      <a:gd name="connsiteY12" fmla="*/ 91334 h 332185"/>
                      <a:gd name="connsiteX13" fmla="*/ 136101 w 263129"/>
                      <a:gd name="connsiteY13" fmla="*/ 91334 h 332185"/>
                      <a:gd name="connsiteX14" fmla="*/ 147443 w 263129"/>
                      <a:gd name="connsiteY14" fmla="*/ 86789 h 332185"/>
                      <a:gd name="connsiteX15" fmla="*/ 163322 w 263129"/>
                      <a:gd name="connsiteY15" fmla="*/ 89062 h 332185"/>
                      <a:gd name="connsiteX16" fmla="*/ 163322 w 263129"/>
                      <a:gd name="connsiteY16" fmla="*/ 77701 h 332185"/>
                      <a:gd name="connsiteX17" fmla="*/ 167858 w 263129"/>
                      <a:gd name="connsiteY17" fmla="*/ 73156 h 332185"/>
                      <a:gd name="connsiteX18" fmla="*/ 167858 w 263129"/>
                      <a:gd name="connsiteY18" fmla="*/ 64068 h 332185"/>
                      <a:gd name="connsiteX19" fmla="*/ 183737 w 263129"/>
                      <a:gd name="connsiteY19" fmla="*/ 64068 h 332185"/>
                      <a:gd name="connsiteX20" fmla="*/ 186005 w 263129"/>
                      <a:gd name="connsiteY20" fmla="*/ 61795 h 332185"/>
                      <a:gd name="connsiteX21" fmla="*/ 190542 w 263129"/>
                      <a:gd name="connsiteY21" fmla="*/ 61795 h 332185"/>
                      <a:gd name="connsiteX22" fmla="*/ 195079 w 263129"/>
                      <a:gd name="connsiteY22" fmla="*/ 70884 h 332185"/>
                      <a:gd name="connsiteX23" fmla="*/ 213225 w 263129"/>
                      <a:gd name="connsiteY23" fmla="*/ 70884 h 332185"/>
                      <a:gd name="connsiteX24" fmla="*/ 217762 w 263129"/>
                      <a:gd name="connsiteY24" fmla="*/ 79973 h 332185"/>
                      <a:gd name="connsiteX25" fmla="*/ 215494 w 263129"/>
                      <a:gd name="connsiteY25" fmla="*/ 86789 h 332185"/>
                      <a:gd name="connsiteX26" fmla="*/ 217762 w 263129"/>
                      <a:gd name="connsiteY26" fmla="*/ 95878 h 332185"/>
                      <a:gd name="connsiteX27" fmla="*/ 215494 w 263129"/>
                      <a:gd name="connsiteY27" fmla="*/ 118600 h 332185"/>
                      <a:gd name="connsiteX28" fmla="*/ 222299 w 263129"/>
                      <a:gd name="connsiteY28" fmla="*/ 134505 h 332185"/>
                      <a:gd name="connsiteX29" fmla="*/ 226835 w 263129"/>
                      <a:gd name="connsiteY29" fmla="*/ 154955 h 332185"/>
                      <a:gd name="connsiteX30" fmla="*/ 224567 w 263129"/>
                      <a:gd name="connsiteY30" fmla="*/ 159499 h 332185"/>
                      <a:gd name="connsiteX31" fmla="*/ 224567 w 263129"/>
                      <a:gd name="connsiteY31" fmla="*/ 168588 h 332185"/>
                      <a:gd name="connsiteX32" fmla="*/ 231372 w 263129"/>
                      <a:gd name="connsiteY32" fmla="*/ 164044 h 332185"/>
                      <a:gd name="connsiteX33" fmla="*/ 240446 w 263129"/>
                      <a:gd name="connsiteY33" fmla="*/ 164044 h 332185"/>
                      <a:gd name="connsiteX34" fmla="*/ 251787 w 263129"/>
                      <a:gd name="connsiteY34" fmla="*/ 161771 h 332185"/>
                      <a:gd name="connsiteX35" fmla="*/ 263129 w 263129"/>
                      <a:gd name="connsiteY35" fmla="*/ 159499 h 332185"/>
                      <a:gd name="connsiteX36" fmla="*/ 263129 w 263129"/>
                      <a:gd name="connsiteY36" fmla="*/ 170860 h 332185"/>
                      <a:gd name="connsiteX37" fmla="*/ 260861 w 263129"/>
                      <a:gd name="connsiteY37" fmla="*/ 184493 h 332185"/>
                      <a:gd name="connsiteX38" fmla="*/ 263129 w 263129"/>
                      <a:gd name="connsiteY38" fmla="*/ 195854 h 332185"/>
                      <a:gd name="connsiteX39" fmla="*/ 260861 w 263129"/>
                      <a:gd name="connsiteY39" fmla="*/ 209487 h 332185"/>
                      <a:gd name="connsiteX40" fmla="*/ 233641 w 263129"/>
                      <a:gd name="connsiteY40" fmla="*/ 211759 h 332185"/>
                      <a:gd name="connsiteX41" fmla="*/ 220030 w 263129"/>
                      <a:gd name="connsiteY41" fmla="*/ 209487 h 332185"/>
                      <a:gd name="connsiteX42" fmla="*/ 217762 w 263129"/>
                      <a:gd name="connsiteY42" fmla="*/ 229937 h 332185"/>
                      <a:gd name="connsiteX43" fmla="*/ 217762 w 263129"/>
                      <a:gd name="connsiteY43" fmla="*/ 259475 h 332185"/>
                      <a:gd name="connsiteX44" fmla="*/ 217762 w 263129"/>
                      <a:gd name="connsiteY44" fmla="*/ 286741 h 332185"/>
                      <a:gd name="connsiteX45" fmla="*/ 229104 w 263129"/>
                      <a:gd name="connsiteY45" fmla="*/ 304919 h 332185"/>
                      <a:gd name="connsiteX46" fmla="*/ 249519 w 263129"/>
                      <a:gd name="connsiteY46" fmla="*/ 323096 h 332185"/>
                      <a:gd name="connsiteX47" fmla="*/ 210957 w 263129"/>
                      <a:gd name="connsiteY47" fmla="*/ 332185 h 332185"/>
                      <a:gd name="connsiteX48" fmla="*/ 199615 w 263129"/>
                      <a:gd name="connsiteY48" fmla="*/ 329913 h 332185"/>
                      <a:gd name="connsiteX49" fmla="*/ 195079 w 263129"/>
                      <a:gd name="connsiteY49" fmla="*/ 332185 h 332185"/>
                      <a:gd name="connsiteX50" fmla="*/ 186005 w 263129"/>
                      <a:gd name="connsiteY50" fmla="*/ 329913 h 332185"/>
                      <a:gd name="connsiteX51" fmla="*/ 151980 w 263129"/>
                      <a:gd name="connsiteY51" fmla="*/ 327641 h 332185"/>
                      <a:gd name="connsiteX52" fmla="*/ 142906 w 263129"/>
                      <a:gd name="connsiteY52" fmla="*/ 318552 h 332185"/>
                      <a:gd name="connsiteX53" fmla="*/ 131565 w 263129"/>
                      <a:gd name="connsiteY53" fmla="*/ 318552 h 332185"/>
                      <a:gd name="connsiteX54" fmla="*/ 52172 w 263129"/>
                      <a:gd name="connsiteY54" fmla="*/ 318552 h 332185"/>
                      <a:gd name="connsiteX55" fmla="*/ 43099 w 263129"/>
                      <a:gd name="connsiteY55" fmla="*/ 314008 h 332185"/>
                      <a:gd name="connsiteX56" fmla="*/ 27220 w 263129"/>
                      <a:gd name="connsiteY56" fmla="*/ 307191 h 332185"/>
                      <a:gd name="connsiteX57" fmla="*/ 13610 w 263129"/>
                      <a:gd name="connsiteY57" fmla="*/ 314008 h 332185"/>
                      <a:gd name="connsiteX58" fmla="*/ 0 w 263129"/>
                      <a:gd name="connsiteY58" fmla="*/ 314008 h 332185"/>
                      <a:gd name="connsiteX59" fmla="*/ 2268 w 263129"/>
                      <a:gd name="connsiteY59" fmla="*/ 284469 h 332185"/>
                      <a:gd name="connsiteX60" fmla="*/ 0 w 263129"/>
                      <a:gd name="connsiteY60" fmla="*/ 279925 h 332185"/>
                      <a:gd name="connsiteX61" fmla="*/ 4537 w 263129"/>
                      <a:gd name="connsiteY61" fmla="*/ 273108 h 332185"/>
                      <a:gd name="connsiteX62" fmla="*/ 6805 w 263129"/>
                      <a:gd name="connsiteY62" fmla="*/ 268564 h 332185"/>
                      <a:gd name="connsiteX63" fmla="*/ 9074 w 263129"/>
                      <a:gd name="connsiteY63" fmla="*/ 261747 h 332185"/>
                      <a:gd name="connsiteX64" fmla="*/ 11342 w 263129"/>
                      <a:gd name="connsiteY64" fmla="*/ 248114 h 332185"/>
                      <a:gd name="connsiteX65" fmla="*/ 15879 w 263129"/>
                      <a:gd name="connsiteY65" fmla="*/ 232209 h 332185"/>
                      <a:gd name="connsiteX66" fmla="*/ 18147 w 263129"/>
                      <a:gd name="connsiteY66" fmla="*/ 220848 h 332185"/>
                      <a:gd name="connsiteX67" fmla="*/ 24952 w 263129"/>
                      <a:gd name="connsiteY67" fmla="*/ 211759 h 332185"/>
                      <a:gd name="connsiteX68" fmla="*/ 31757 w 263129"/>
                      <a:gd name="connsiteY68" fmla="*/ 200399 h 332185"/>
                      <a:gd name="connsiteX69" fmla="*/ 40830 w 263129"/>
                      <a:gd name="connsiteY69" fmla="*/ 193582 h 332185"/>
                      <a:gd name="connsiteX70" fmla="*/ 45367 w 263129"/>
                      <a:gd name="connsiteY70" fmla="*/ 159499 h 332185"/>
                      <a:gd name="connsiteX71" fmla="*/ 38562 w 263129"/>
                      <a:gd name="connsiteY71" fmla="*/ 145866 h 332185"/>
                      <a:gd name="connsiteX72" fmla="*/ 34025 w 263129"/>
                      <a:gd name="connsiteY72" fmla="*/ 134505 h 332185"/>
                      <a:gd name="connsiteX73" fmla="*/ 31757 w 263129"/>
                      <a:gd name="connsiteY73" fmla="*/ 127689 h 332185"/>
                      <a:gd name="connsiteX74" fmla="*/ 29489 w 263129"/>
                      <a:gd name="connsiteY74" fmla="*/ 120872 h 332185"/>
                      <a:gd name="connsiteX75" fmla="*/ 27787 w 263129"/>
                      <a:gd name="connsiteY75" fmla="*/ 115192 h 332185"/>
                      <a:gd name="connsiteX76" fmla="*/ 28516 w 263129"/>
                      <a:gd name="connsiteY76" fmla="*/ 112757 h 332185"/>
                      <a:gd name="connsiteX77" fmla="*/ 31757 w 263129"/>
                      <a:gd name="connsiteY77" fmla="*/ 109511 h 332185"/>
                      <a:gd name="connsiteX78" fmla="*/ 36294 w 263129"/>
                      <a:gd name="connsiteY78" fmla="*/ 104967 h 332185"/>
                      <a:gd name="connsiteX79" fmla="*/ 31757 w 263129"/>
                      <a:gd name="connsiteY79" fmla="*/ 89062 h 332185"/>
                      <a:gd name="connsiteX80" fmla="*/ 24952 w 263129"/>
                      <a:gd name="connsiteY80" fmla="*/ 73156 h 332185"/>
                      <a:gd name="connsiteX81" fmla="*/ 24952 w 263129"/>
                      <a:gd name="connsiteY81" fmla="*/ 66340 h 332185"/>
                      <a:gd name="connsiteX82" fmla="*/ 18147 w 263129"/>
                      <a:gd name="connsiteY82" fmla="*/ 54979 h 332185"/>
                      <a:gd name="connsiteX83" fmla="*/ 15879 w 263129"/>
                      <a:gd name="connsiteY83" fmla="*/ 41346 h 332185"/>
                      <a:gd name="connsiteX84" fmla="*/ 22684 w 263129"/>
                      <a:gd name="connsiteY84" fmla="*/ 41346 h 332185"/>
                      <a:gd name="connsiteX85" fmla="*/ 29489 w 263129"/>
                      <a:gd name="connsiteY85" fmla="*/ 36801 h 332185"/>
                      <a:gd name="connsiteX86" fmla="*/ 21757 w 263129"/>
                      <a:gd name="connsiteY86" fmla="*/ 0 h 332185"/>
                      <a:gd name="connsiteX87" fmla="*/ 28576 w 263129"/>
                      <a:gd name="connsiteY87" fmla="*/ 6921 h 332185"/>
                      <a:gd name="connsiteX88" fmla="*/ 17211 w 263129"/>
                      <a:gd name="connsiteY88" fmla="*/ 16148 h 332185"/>
                      <a:gd name="connsiteX89" fmla="*/ 17211 w 263129"/>
                      <a:gd name="connsiteY89" fmla="*/ 18455 h 332185"/>
                      <a:gd name="connsiteX90" fmla="*/ 17211 w 263129"/>
                      <a:gd name="connsiteY90" fmla="*/ 29990 h 332185"/>
                      <a:gd name="connsiteX91" fmla="*/ 8118 w 263129"/>
                      <a:gd name="connsiteY91" fmla="*/ 29990 h 332185"/>
                      <a:gd name="connsiteX92" fmla="*/ 8118 w 263129"/>
                      <a:gd name="connsiteY92" fmla="*/ 23069 h 332185"/>
                      <a:gd name="connsiteX93" fmla="*/ 8118 w 263129"/>
                      <a:gd name="connsiteY93" fmla="*/ 16148 h 332185"/>
                      <a:gd name="connsiteX94" fmla="*/ 5845 w 263129"/>
                      <a:gd name="connsiteY94" fmla="*/ 16148 h 332185"/>
                      <a:gd name="connsiteX95" fmla="*/ 17211 w 263129"/>
                      <a:gd name="connsiteY95" fmla="*/ 4614 h 332185"/>
                      <a:gd name="connsiteX96" fmla="*/ 21757 w 263129"/>
                      <a:gd name="connsiteY96" fmla="*/ 0 h 332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263129" h="332185">
                        <a:moveTo>
                          <a:pt x="29489" y="109511"/>
                        </a:moveTo>
                        <a:lnTo>
                          <a:pt x="28516" y="112757"/>
                        </a:lnTo>
                        <a:lnTo>
                          <a:pt x="27220" y="114056"/>
                        </a:lnTo>
                        <a:cubicBezTo>
                          <a:pt x="27220" y="111783"/>
                          <a:pt x="29489" y="111783"/>
                          <a:pt x="29489" y="109511"/>
                        </a:cubicBezTo>
                        <a:close/>
                        <a:moveTo>
                          <a:pt x="29489" y="36801"/>
                        </a:moveTo>
                        <a:cubicBezTo>
                          <a:pt x="47636" y="34529"/>
                          <a:pt x="63514" y="36801"/>
                          <a:pt x="81661" y="36801"/>
                        </a:cubicBezTo>
                        <a:cubicBezTo>
                          <a:pt x="86198" y="36801"/>
                          <a:pt x="93003" y="36801"/>
                          <a:pt x="99808" y="36801"/>
                        </a:cubicBezTo>
                        <a:cubicBezTo>
                          <a:pt x="106613" y="36801"/>
                          <a:pt x="104344" y="41346"/>
                          <a:pt x="106613" y="43618"/>
                        </a:cubicBezTo>
                        <a:cubicBezTo>
                          <a:pt x="108881" y="45890"/>
                          <a:pt x="106613" y="50434"/>
                          <a:pt x="106613" y="52707"/>
                        </a:cubicBezTo>
                        <a:cubicBezTo>
                          <a:pt x="108881" y="57251"/>
                          <a:pt x="111149" y="59523"/>
                          <a:pt x="111149" y="64068"/>
                        </a:cubicBezTo>
                        <a:cubicBezTo>
                          <a:pt x="113418" y="66340"/>
                          <a:pt x="111149" y="68612"/>
                          <a:pt x="113418" y="70884"/>
                        </a:cubicBezTo>
                        <a:cubicBezTo>
                          <a:pt x="115686" y="75428"/>
                          <a:pt x="117955" y="75428"/>
                          <a:pt x="117955" y="79973"/>
                        </a:cubicBezTo>
                        <a:cubicBezTo>
                          <a:pt x="120223" y="82245"/>
                          <a:pt x="124760" y="91334"/>
                          <a:pt x="127028" y="91334"/>
                        </a:cubicBezTo>
                        <a:cubicBezTo>
                          <a:pt x="129296" y="89062"/>
                          <a:pt x="136101" y="91334"/>
                          <a:pt x="136101" y="91334"/>
                        </a:cubicBezTo>
                        <a:cubicBezTo>
                          <a:pt x="136101" y="89062"/>
                          <a:pt x="147443" y="86789"/>
                          <a:pt x="147443" y="86789"/>
                        </a:cubicBezTo>
                        <a:cubicBezTo>
                          <a:pt x="154248" y="89062"/>
                          <a:pt x="158785" y="89062"/>
                          <a:pt x="163322" y="89062"/>
                        </a:cubicBezTo>
                        <a:cubicBezTo>
                          <a:pt x="163322" y="84517"/>
                          <a:pt x="165590" y="82245"/>
                          <a:pt x="163322" y="77701"/>
                        </a:cubicBezTo>
                        <a:cubicBezTo>
                          <a:pt x="167858" y="77701"/>
                          <a:pt x="167858" y="75428"/>
                          <a:pt x="167858" y="73156"/>
                        </a:cubicBezTo>
                        <a:cubicBezTo>
                          <a:pt x="165590" y="70884"/>
                          <a:pt x="167858" y="66340"/>
                          <a:pt x="167858" y="64068"/>
                        </a:cubicBezTo>
                        <a:cubicBezTo>
                          <a:pt x="172395" y="64068"/>
                          <a:pt x="179200" y="64068"/>
                          <a:pt x="183737" y="64068"/>
                        </a:cubicBezTo>
                        <a:cubicBezTo>
                          <a:pt x="186005" y="64068"/>
                          <a:pt x="183737" y="61795"/>
                          <a:pt x="186005" y="61795"/>
                        </a:cubicBezTo>
                        <a:cubicBezTo>
                          <a:pt x="188273" y="61795"/>
                          <a:pt x="188273" y="61795"/>
                          <a:pt x="190542" y="61795"/>
                        </a:cubicBezTo>
                        <a:cubicBezTo>
                          <a:pt x="190542" y="68612"/>
                          <a:pt x="186005" y="70884"/>
                          <a:pt x="195079" y="70884"/>
                        </a:cubicBezTo>
                        <a:cubicBezTo>
                          <a:pt x="199615" y="70884"/>
                          <a:pt x="206420" y="70884"/>
                          <a:pt x="213225" y="70884"/>
                        </a:cubicBezTo>
                        <a:cubicBezTo>
                          <a:pt x="220030" y="70884"/>
                          <a:pt x="217762" y="75428"/>
                          <a:pt x="217762" y="79973"/>
                        </a:cubicBezTo>
                        <a:cubicBezTo>
                          <a:pt x="215494" y="82245"/>
                          <a:pt x="215494" y="84517"/>
                          <a:pt x="215494" y="86789"/>
                        </a:cubicBezTo>
                        <a:cubicBezTo>
                          <a:pt x="215494" y="89062"/>
                          <a:pt x="217762" y="93606"/>
                          <a:pt x="217762" y="95878"/>
                        </a:cubicBezTo>
                        <a:cubicBezTo>
                          <a:pt x="220030" y="104967"/>
                          <a:pt x="217762" y="111783"/>
                          <a:pt x="215494" y="118600"/>
                        </a:cubicBezTo>
                        <a:cubicBezTo>
                          <a:pt x="215494" y="125416"/>
                          <a:pt x="217762" y="129961"/>
                          <a:pt x="222299" y="134505"/>
                        </a:cubicBezTo>
                        <a:cubicBezTo>
                          <a:pt x="224567" y="139050"/>
                          <a:pt x="226835" y="150410"/>
                          <a:pt x="226835" y="154955"/>
                        </a:cubicBezTo>
                        <a:cubicBezTo>
                          <a:pt x="226835" y="154955"/>
                          <a:pt x="224567" y="157227"/>
                          <a:pt x="224567" y="159499"/>
                        </a:cubicBezTo>
                        <a:cubicBezTo>
                          <a:pt x="222299" y="161771"/>
                          <a:pt x="224567" y="164044"/>
                          <a:pt x="224567" y="168588"/>
                        </a:cubicBezTo>
                        <a:cubicBezTo>
                          <a:pt x="226835" y="168588"/>
                          <a:pt x="229104" y="164044"/>
                          <a:pt x="231372" y="164044"/>
                        </a:cubicBezTo>
                        <a:cubicBezTo>
                          <a:pt x="233641" y="161771"/>
                          <a:pt x="238177" y="164044"/>
                          <a:pt x="240446" y="164044"/>
                        </a:cubicBezTo>
                        <a:cubicBezTo>
                          <a:pt x="244982" y="164044"/>
                          <a:pt x="249519" y="161771"/>
                          <a:pt x="251787" y="161771"/>
                        </a:cubicBezTo>
                        <a:cubicBezTo>
                          <a:pt x="256324" y="161771"/>
                          <a:pt x="260861" y="164044"/>
                          <a:pt x="263129" y="159499"/>
                        </a:cubicBezTo>
                        <a:cubicBezTo>
                          <a:pt x="263129" y="161771"/>
                          <a:pt x="263129" y="168588"/>
                          <a:pt x="263129" y="170860"/>
                        </a:cubicBezTo>
                        <a:cubicBezTo>
                          <a:pt x="263129" y="175404"/>
                          <a:pt x="263129" y="179949"/>
                          <a:pt x="260861" y="184493"/>
                        </a:cubicBezTo>
                        <a:cubicBezTo>
                          <a:pt x="260861" y="189038"/>
                          <a:pt x="263129" y="191310"/>
                          <a:pt x="263129" y="195854"/>
                        </a:cubicBezTo>
                        <a:cubicBezTo>
                          <a:pt x="260861" y="200399"/>
                          <a:pt x="258592" y="204943"/>
                          <a:pt x="260861" y="209487"/>
                        </a:cubicBezTo>
                        <a:cubicBezTo>
                          <a:pt x="254056" y="211759"/>
                          <a:pt x="242714" y="211759"/>
                          <a:pt x="233641" y="211759"/>
                        </a:cubicBezTo>
                        <a:cubicBezTo>
                          <a:pt x="229104" y="211759"/>
                          <a:pt x="224567" y="209487"/>
                          <a:pt x="220030" y="209487"/>
                        </a:cubicBezTo>
                        <a:cubicBezTo>
                          <a:pt x="217762" y="211759"/>
                          <a:pt x="220030" y="225393"/>
                          <a:pt x="217762" y="229937"/>
                        </a:cubicBezTo>
                        <a:cubicBezTo>
                          <a:pt x="217762" y="241298"/>
                          <a:pt x="220030" y="250387"/>
                          <a:pt x="217762" y="259475"/>
                        </a:cubicBezTo>
                        <a:cubicBezTo>
                          <a:pt x="217762" y="268564"/>
                          <a:pt x="217762" y="277653"/>
                          <a:pt x="217762" y="286741"/>
                        </a:cubicBezTo>
                        <a:cubicBezTo>
                          <a:pt x="217762" y="295830"/>
                          <a:pt x="224567" y="298102"/>
                          <a:pt x="229104" y="304919"/>
                        </a:cubicBezTo>
                        <a:cubicBezTo>
                          <a:pt x="235909" y="311735"/>
                          <a:pt x="240446" y="318552"/>
                          <a:pt x="249519" y="323096"/>
                        </a:cubicBezTo>
                        <a:cubicBezTo>
                          <a:pt x="235909" y="325369"/>
                          <a:pt x="224567" y="327641"/>
                          <a:pt x="210957" y="332185"/>
                        </a:cubicBezTo>
                        <a:cubicBezTo>
                          <a:pt x="206420" y="332185"/>
                          <a:pt x="204152" y="332185"/>
                          <a:pt x="199615" y="329913"/>
                        </a:cubicBezTo>
                        <a:cubicBezTo>
                          <a:pt x="197347" y="329913"/>
                          <a:pt x="195079" y="332185"/>
                          <a:pt x="195079" y="332185"/>
                        </a:cubicBezTo>
                        <a:cubicBezTo>
                          <a:pt x="190542" y="332185"/>
                          <a:pt x="188273" y="332185"/>
                          <a:pt x="186005" y="329913"/>
                        </a:cubicBezTo>
                        <a:cubicBezTo>
                          <a:pt x="174663" y="327641"/>
                          <a:pt x="163322" y="329913"/>
                          <a:pt x="151980" y="327641"/>
                        </a:cubicBezTo>
                        <a:cubicBezTo>
                          <a:pt x="147443" y="327641"/>
                          <a:pt x="145175" y="323096"/>
                          <a:pt x="142906" y="318552"/>
                        </a:cubicBezTo>
                        <a:cubicBezTo>
                          <a:pt x="140638" y="316280"/>
                          <a:pt x="136101" y="316280"/>
                          <a:pt x="131565" y="318552"/>
                        </a:cubicBezTo>
                        <a:cubicBezTo>
                          <a:pt x="106613" y="318552"/>
                          <a:pt x="79392" y="318552"/>
                          <a:pt x="52172" y="318552"/>
                        </a:cubicBezTo>
                        <a:cubicBezTo>
                          <a:pt x="47636" y="318552"/>
                          <a:pt x="47636" y="316280"/>
                          <a:pt x="43099" y="314008"/>
                        </a:cubicBezTo>
                        <a:cubicBezTo>
                          <a:pt x="38562" y="309463"/>
                          <a:pt x="34025" y="304919"/>
                          <a:pt x="27220" y="307191"/>
                        </a:cubicBezTo>
                        <a:cubicBezTo>
                          <a:pt x="22684" y="309463"/>
                          <a:pt x="18147" y="316280"/>
                          <a:pt x="13610" y="314008"/>
                        </a:cubicBezTo>
                        <a:cubicBezTo>
                          <a:pt x="6805" y="309463"/>
                          <a:pt x="4537" y="314008"/>
                          <a:pt x="0" y="314008"/>
                        </a:cubicBezTo>
                        <a:cubicBezTo>
                          <a:pt x="0" y="304919"/>
                          <a:pt x="2268" y="293558"/>
                          <a:pt x="2268" y="284469"/>
                        </a:cubicBezTo>
                        <a:cubicBezTo>
                          <a:pt x="2268" y="282197"/>
                          <a:pt x="0" y="282197"/>
                          <a:pt x="0" y="279925"/>
                        </a:cubicBezTo>
                        <a:cubicBezTo>
                          <a:pt x="2268" y="277653"/>
                          <a:pt x="4537" y="275381"/>
                          <a:pt x="4537" y="273108"/>
                        </a:cubicBezTo>
                        <a:cubicBezTo>
                          <a:pt x="6805" y="273108"/>
                          <a:pt x="6805" y="270836"/>
                          <a:pt x="6805" y="268564"/>
                        </a:cubicBezTo>
                        <a:cubicBezTo>
                          <a:pt x="6805" y="266292"/>
                          <a:pt x="9074" y="264020"/>
                          <a:pt x="9074" y="261747"/>
                        </a:cubicBezTo>
                        <a:cubicBezTo>
                          <a:pt x="6805" y="259475"/>
                          <a:pt x="11342" y="250387"/>
                          <a:pt x="11342" y="248114"/>
                        </a:cubicBezTo>
                        <a:cubicBezTo>
                          <a:pt x="13610" y="241298"/>
                          <a:pt x="11342" y="236753"/>
                          <a:pt x="15879" y="232209"/>
                        </a:cubicBezTo>
                        <a:cubicBezTo>
                          <a:pt x="15879" y="227665"/>
                          <a:pt x="15879" y="223120"/>
                          <a:pt x="18147" y="220848"/>
                        </a:cubicBezTo>
                        <a:cubicBezTo>
                          <a:pt x="20415" y="218576"/>
                          <a:pt x="24952" y="214032"/>
                          <a:pt x="24952" y="211759"/>
                        </a:cubicBezTo>
                        <a:cubicBezTo>
                          <a:pt x="27220" y="207215"/>
                          <a:pt x="27220" y="200399"/>
                          <a:pt x="31757" y="200399"/>
                        </a:cubicBezTo>
                        <a:cubicBezTo>
                          <a:pt x="36294" y="200399"/>
                          <a:pt x="38562" y="195854"/>
                          <a:pt x="40830" y="193582"/>
                        </a:cubicBezTo>
                        <a:cubicBezTo>
                          <a:pt x="45367" y="182221"/>
                          <a:pt x="47636" y="168588"/>
                          <a:pt x="45367" y="159499"/>
                        </a:cubicBezTo>
                        <a:cubicBezTo>
                          <a:pt x="43099" y="152683"/>
                          <a:pt x="40830" y="150410"/>
                          <a:pt x="38562" y="145866"/>
                        </a:cubicBezTo>
                        <a:cubicBezTo>
                          <a:pt x="36294" y="141322"/>
                          <a:pt x="36294" y="139050"/>
                          <a:pt x="34025" y="134505"/>
                        </a:cubicBezTo>
                        <a:cubicBezTo>
                          <a:pt x="34025" y="132233"/>
                          <a:pt x="31757" y="129961"/>
                          <a:pt x="31757" y="127689"/>
                        </a:cubicBezTo>
                        <a:cubicBezTo>
                          <a:pt x="31757" y="125416"/>
                          <a:pt x="31757" y="123144"/>
                          <a:pt x="29489" y="120872"/>
                        </a:cubicBezTo>
                        <a:cubicBezTo>
                          <a:pt x="29489" y="119736"/>
                          <a:pt x="28355" y="117464"/>
                          <a:pt x="27787" y="115192"/>
                        </a:cubicBezTo>
                        <a:lnTo>
                          <a:pt x="28516" y="112757"/>
                        </a:lnTo>
                        <a:lnTo>
                          <a:pt x="31757" y="109511"/>
                        </a:lnTo>
                        <a:cubicBezTo>
                          <a:pt x="34025" y="107239"/>
                          <a:pt x="36294" y="107239"/>
                          <a:pt x="36294" y="104967"/>
                        </a:cubicBezTo>
                        <a:cubicBezTo>
                          <a:pt x="36294" y="100422"/>
                          <a:pt x="36294" y="93606"/>
                          <a:pt x="31757" y="89062"/>
                        </a:cubicBezTo>
                        <a:cubicBezTo>
                          <a:pt x="29489" y="84517"/>
                          <a:pt x="27220" y="79973"/>
                          <a:pt x="24952" y="73156"/>
                        </a:cubicBezTo>
                        <a:cubicBezTo>
                          <a:pt x="24952" y="70884"/>
                          <a:pt x="24952" y="68612"/>
                          <a:pt x="24952" y="66340"/>
                        </a:cubicBezTo>
                        <a:cubicBezTo>
                          <a:pt x="22684" y="61795"/>
                          <a:pt x="20415" y="59523"/>
                          <a:pt x="18147" y="54979"/>
                        </a:cubicBezTo>
                        <a:cubicBezTo>
                          <a:pt x="15879" y="52707"/>
                          <a:pt x="11342" y="43618"/>
                          <a:pt x="15879" y="41346"/>
                        </a:cubicBezTo>
                        <a:cubicBezTo>
                          <a:pt x="18147" y="41346"/>
                          <a:pt x="20415" y="41346"/>
                          <a:pt x="22684" y="41346"/>
                        </a:cubicBezTo>
                        <a:cubicBezTo>
                          <a:pt x="24952" y="39073"/>
                          <a:pt x="27220" y="36801"/>
                          <a:pt x="29489" y="36801"/>
                        </a:cubicBezTo>
                        <a:close/>
                        <a:moveTo>
                          <a:pt x="21757" y="0"/>
                        </a:moveTo>
                        <a:cubicBezTo>
                          <a:pt x="24030" y="0"/>
                          <a:pt x="26303" y="4614"/>
                          <a:pt x="28576" y="6921"/>
                        </a:cubicBezTo>
                        <a:cubicBezTo>
                          <a:pt x="24030" y="9228"/>
                          <a:pt x="19484" y="11535"/>
                          <a:pt x="17211" y="16148"/>
                        </a:cubicBezTo>
                        <a:cubicBezTo>
                          <a:pt x="14938" y="16148"/>
                          <a:pt x="14938" y="16148"/>
                          <a:pt x="17211" y="18455"/>
                        </a:cubicBezTo>
                        <a:cubicBezTo>
                          <a:pt x="17211" y="23069"/>
                          <a:pt x="17211" y="25376"/>
                          <a:pt x="17211" y="29990"/>
                        </a:cubicBezTo>
                        <a:cubicBezTo>
                          <a:pt x="17211" y="32296"/>
                          <a:pt x="8118" y="36910"/>
                          <a:pt x="8118" y="29990"/>
                        </a:cubicBezTo>
                        <a:cubicBezTo>
                          <a:pt x="8118" y="27683"/>
                          <a:pt x="10391" y="27683"/>
                          <a:pt x="8118" y="23069"/>
                        </a:cubicBezTo>
                        <a:cubicBezTo>
                          <a:pt x="8118" y="20762"/>
                          <a:pt x="3572" y="18455"/>
                          <a:pt x="8118" y="16148"/>
                        </a:cubicBezTo>
                        <a:cubicBezTo>
                          <a:pt x="5845" y="16148"/>
                          <a:pt x="5845" y="16148"/>
                          <a:pt x="5845" y="16148"/>
                        </a:cubicBezTo>
                        <a:cubicBezTo>
                          <a:pt x="10391" y="13841"/>
                          <a:pt x="12664" y="4614"/>
                          <a:pt x="17211" y="4614"/>
                        </a:cubicBezTo>
                        <a:cubicBezTo>
                          <a:pt x="19484" y="4614"/>
                          <a:pt x="19484" y="0"/>
                          <a:pt x="21757" y="0"/>
                        </a:cubicBezTo>
                        <a:close/>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61" name="Algeria">
                    <a:extLst>
                      <a:ext uri="{FF2B5EF4-FFF2-40B4-BE49-F238E27FC236}">
                        <a16:creationId xmlns:a16="http://schemas.microsoft.com/office/drawing/2014/main" id="{B3A23D5A-D02C-CA52-A719-3E0E0C7F7647}"/>
                      </a:ext>
                    </a:extLst>
                  </p:cNvPr>
                  <p:cNvSpPr>
                    <a:spLocks/>
                  </p:cNvSpPr>
                  <p:nvPr/>
                </p:nvSpPr>
                <p:spPr bwMode="auto">
                  <a:xfrm>
                    <a:off x="3617187" y="2421488"/>
                    <a:ext cx="440442" cy="456215"/>
                  </a:xfrm>
                  <a:custGeom>
                    <a:avLst/>
                    <a:gdLst/>
                    <a:ahLst/>
                    <a:cxnLst>
                      <a:cxn ang="0">
                        <a:pos x="0" y="93"/>
                      </a:cxn>
                      <a:cxn ang="0">
                        <a:pos x="11" y="83"/>
                      </a:cxn>
                      <a:cxn ang="0">
                        <a:pos x="21" y="80"/>
                      </a:cxn>
                      <a:cxn ang="0">
                        <a:pos x="29" y="78"/>
                      </a:cxn>
                      <a:cxn ang="0">
                        <a:pos x="40" y="70"/>
                      </a:cxn>
                      <a:cxn ang="0">
                        <a:pos x="47" y="65"/>
                      </a:cxn>
                      <a:cxn ang="0">
                        <a:pos x="48" y="59"/>
                      </a:cxn>
                      <a:cxn ang="0">
                        <a:pos x="70" y="55"/>
                      </a:cxn>
                      <a:cxn ang="0">
                        <a:pos x="68" y="47"/>
                      </a:cxn>
                      <a:cxn ang="0">
                        <a:pos x="66" y="39"/>
                      </a:cxn>
                      <a:cxn ang="0">
                        <a:pos x="66" y="33"/>
                      </a:cxn>
                      <a:cxn ang="0">
                        <a:pos x="65" y="26"/>
                      </a:cxn>
                      <a:cxn ang="0">
                        <a:pos x="68" y="20"/>
                      </a:cxn>
                      <a:cxn ang="0">
                        <a:pos x="73" y="16"/>
                      </a:cxn>
                      <a:cxn ang="0">
                        <a:pos x="78" y="14"/>
                      </a:cxn>
                      <a:cxn ang="0">
                        <a:pos x="95" y="7"/>
                      </a:cxn>
                      <a:cxn ang="0">
                        <a:pos x="110" y="5"/>
                      </a:cxn>
                      <a:cxn ang="0">
                        <a:pos x="114" y="4"/>
                      </a:cxn>
                      <a:cxn ang="0">
                        <a:pos x="128" y="5"/>
                      </a:cxn>
                      <a:cxn ang="0">
                        <a:pos x="138" y="2"/>
                      </a:cxn>
                      <a:cxn ang="0">
                        <a:pos x="146" y="2"/>
                      </a:cxn>
                      <a:cxn ang="0">
                        <a:pos x="151" y="2"/>
                      </a:cxn>
                      <a:cxn ang="0">
                        <a:pos x="159" y="3"/>
                      </a:cxn>
                      <a:cxn ang="0">
                        <a:pos x="155" y="15"/>
                      </a:cxn>
                      <a:cxn ang="0">
                        <a:pos x="149" y="33"/>
                      </a:cxn>
                      <a:cxn ang="0">
                        <a:pos x="152" y="43"/>
                      </a:cxn>
                      <a:cxn ang="0">
                        <a:pos x="162" y="54"/>
                      </a:cxn>
                      <a:cxn ang="0">
                        <a:pos x="167" y="74"/>
                      </a:cxn>
                      <a:cxn ang="0">
                        <a:pos x="169" y="84"/>
                      </a:cxn>
                      <a:cxn ang="0">
                        <a:pos x="169" y="103"/>
                      </a:cxn>
                      <a:cxn ang="0">
                        <a:pos x="166" y="116"/>
                      </a:cxn>
                      <a:cxn ang="0">
                        <a:pos x="174" y="136"/>
                      </a:cxn>
                      <a:cxn ang="0">
                        <a:pos x="182" y="137"/>
                      </a:cxn>
                      <a:cxn ang="0">
                        <a:pos x="188" y="148"/>
                      </a:cxn>
                      <a:cxn ang="0">
                        <a:pos x="132" y="190"/>
                      </a:cxn>
                      <a:cxn ang="0">
                        <a:pos x="118" y="193"/>
                      </a:cxn>
                      <a:cxn ang="0">
                        <a:pos x="108" y="190"/>
                      </a:cxn>
                      <a:cxn ang="0">
                        <a:pos x="101" y="184"/>
                      </a:cxn>
                      <a:cxn ang="0">
                        <a:pos x="92" y="178"/>
                      </a:cxn>
                      <a:cxn ang="0">
                        <a:pos x="88" y="173"/>
                      </a:cxn>
                      <a:cxn ang="0">
                        <a:pos x="79" y="166"/>
                      </a:cxn>
                      <a:cxn ang="0">
                        <a:pos x="13" y="115"/>
                      </a:cxn>
                    </a:cxnLst>
                    <a:rect l="0" t="0" r="r" b="b"/>
                    <a:pathLst>
                      <a:path w="190" h="197">
                        <a:moveTo>
                          <a:pt x="0" y="106"/>
                        </a:moveTo>
                        <a:cubicBezTo>
                          <a:pt x="0" y="93"/>
                          <a:pt x="0" y="93"/>
                          <a:pt x="0" y="93"/>
                        </a:cubicBezTo>
                        <a:cubicBezTo>
                          <a:pt x="0" y="89"/>
                          <a:pt x="5" y="88"/>
                          <a:pt x="7" y="86"/>
                        </a:cubicBezTo>
                        <a:cubicBezTo>
                          <a:pt x="8" y="85"/>
                          <a:pt x="10" y="83"/>
                          <a:pt x="11" y="83"/>
                        </a:cubicBezTo>
                        <a:cubicBezTo>
                          <a:pt x="13" y="83"/>
                          <a:pt x="13" y="81"/>
                          <a:pt x="15" y="81"/>
                        </a:cubicBezTo>
                        <a:cubicBezTo>
                          <a:pt x="18" y="81"/>
                          <a:pt x="19" y="83"/>
                          <a:pt x="21" y="80"/>
                        </a:cubicBezTo>
                        <a:cubicBezTo>
                          <a:pt x="21" y="78"/>
                          <a:pt x="23" y="79"/>
                          <a:pt x="24" y="79"/>
                        </a:cubicBezTo>
                        <a:cubicBezTo>
                          <a:pt x="26" y="78"/>
                          <a:pt x="28" y="78"/>
                          <a:pt x="29" y="78"/>
                        </a:cubicBezTo>
                        <a:cubicBezTo>
                          <a:pt x="33" y="76"/>
                          <a:pt x="33" y="73"/>
                          <a:pt x="36" y="71"/>
                        </a:cubicBezTo>
                        <a:cubicBezTo>
                          <a:pt x="37" y="70"/>
                          <a:pt x="39" y="70"/>
                          <a:pt x="40" y="70"/>
                        </a:cubicBezTo>
                        <a:cubicBezTo>
                          <a:pt x="42" y="69"/>
                          <a:pt x="43" y="67"/>
                          <a:pt x="44" y="67"/>
                        </a:cubicBezTo>
                        <a:cubicBezTo>
                          <a:pt x="45" y="67"/>
                          <a:pt x="48" y="67"/>
                          <a:pt x="47" y="65"/>
                        </a:cubicBezTo>
                        <a:cubicBezTo>
                          <a:pt x="46" y="64"/>
                          <a:pt x="45" y="64"/>
                          <a:pt x="46" y="62"/>
                        </a:cubicBezTo>
                        <a:cubicBezTo>
                          <a:pt x="44" y="61"/>
                          <a:pt x="46" y="59"/>
                          <a:pt x="48" y="59"/>
                        </a:cubicBezTo>
                        <a:cubicBezTo>
                          <a:pt x="50" y="59"/>
                          <a:pt x="53" y="58"/>
                          <a:pt x="54" y="56"/>
                        </a:cubicBezTo>
                        <a:cubicBezTo>
                          <a:pt x="55" y="51"/>
                          <a:pt x="66" y="55"/>
                          <a:pt x="70" y="55"/>
                        </a:cubicBezTo>
                        <a:cubicBezTo>
                          <a:pt x="66" y="53"/>
                          <a:pt x="72" y="51"/>
                          <a:pt x="70" y="49"/>
                        </a:cubicBezTo>
                        <a:cubicBezTo>
                          <a:pt x="69" y="49"/>
                          <a:pt x="68" y="48"/>
                          <a:pt x="68" y="47"/>
                        </a:cubicBezTo>
                        <a:cubicBezTo>
                          <a:pt x="67" y="46"/>
                          <a:pt x="67" y="44"/>
                          <a:pt x="66" y="43"/>
                        </a:cubicBezTo>
                        <a:cubicBezTo>
                          <a:pt x="65" y="42"/>
                          <a:pt x="66" y="41"/>
                          <a:pt x="66" y="39"/>
                        </a:cubicBezTo>
                        <a:cubicBezTo>
                          <a:pt x="66" y="38"/>
                          <a:pt x="65" y="38"/>
                          <a:pt x="66" y="37"/>
                        </a:cubicBezTo>
                        <a:cubicBezTo>
                          <a:pt x="66" y="35"/>
                          <a:pt x="66" y="34"/>
                          <a:pt x="66" y="33"/>
                        </a:cubicBezTo>
                        <a:cubicBezTo>
                          <a:pt x="66" y="31"/>
                          <a:pt x="65" y="30"/>
                          <a:pt x="66" y="29"/>
                        </a:cubicBezTo>
                        <a:cubicBezTo>
                          <a:pt x="65" y="28"/>
                          <a:pt x="65" y="27"/>
                          <a:pt x="65" y="26"/>
                        </a:cubicBezTo>
                        <a:cubicBezTo>
                          <a:pt x="65" y="25"/>
                          <a:pt x="62" y="24"/>
                          <a:pt x="61" y="22"/>
                        </a:cubicBezTo>
                        <a:cubicBezTo>
                          <a:pt x="64" y="22"/>
                          <a:pt x="66" y="22"/>
                          <a:pt x="68" y="20"/>
                        </a:cubicBezTo>
                        <a:cubicBezTo>
                          <a:pt x="69" y="20"/>
                          <a:pt x="70" y="20"/>
                          <a:pt x="71" y="19"/>
                        </a:cubicBezTo>
                        <a:cubicBezTo>
                          <a:pt x="71" y="18"/>
                          <a:pt x="72" y="17"/>
                          <a:pt x="73" y="16"/>
                        </a:cubicBezTo>
                        <a:cubicBezTo>
                          <a:pt x="73" y="16"/>
                          <a:pt x="74" y="15"/>
                          <a:pt x="75" y="15"/>
                        </a:cubicBezTo>
                        <a:cubicBezTo>
                          <a:pt x="76" y="16"/>
                          <a:pt x="77" y="15"/>
                          <a:pt x="78" y="14"/>
                        </a:cubicBezTo>
                        <a:cubicBezTo>
                          <a:pt x="79" y="13"/>
                          <a:pt x="81" y="16"/>
                          <a:pt x="82" y="13"/>
                        </a:cubicBezTo>
                        <a:cubicBezTo>
                          <a:pt x="84" y="9"/>
                          <a:pt x="91" y="7"/>
                          <a:pt x="95" y="7"/>
                        </a:cubicBezTo>
                        <a:cubicBezTo>
                          <a:pt x="98" y="7"/>
                          <a:pt x="101" y="6"/>
                          <a:pt x="104" y="6"/>
                        </a:cubicBezTo>
                        <a:cubicBezTo>
                          <a:pt x="106" y="6"/>
                          <a:pt x="108" y="3"/>
                          <a:pt x="110" y="5"/>
                        </a:cubicBezTo>
                        <a:cubicBezTo>
                          <a:pt x="110" y="5"/>
                          <a:pt x="110" y="5"/>
                          <a:pt x="110" y="4"/>
                        </a:cubicBezTo>
                        <a:cubicBezTo>
                          <a:pt x="111" y="4"/>
                          <a:pt x="114" y="4"/>
                          <a:pt x="114" y="4"/>
                        </a:cubicBezTo>
                        <a:cubicBezTo>
                          <a:pt x="117" y="3"/>
                          <a:pt x="120" y="3"/>
                          <a:pt x="123" y="3"/>
                        </a:cubicBezTo>
                        <a:cubicBezTo>
                          <a:pt x="125" y="3"/>
                          <a:pt x="126" y="4"/>
                          <a:pt x="128" y="5"/>
                        </a:cubicBezTo>
                        <a:cubicBezTo>
                          <a:pt x="130" y="7"/>
                          <a:pt x="131" y="4"/>
                          <a:pt x="133" y="4"/>
                        </a:cubicBezTo>
                        <a:cubicBezTo>
                          <a:pt x="134" y="4"/>
                          <a:pt x="138" y="4"/>
                          <a:pt x="138" y="2"/>
                        </a:cubicBezTo>
                        <a:cubicBezTo>
                          <a:pt x="137" y="0"/>
                          <a:pt x="140" y="2"/>
                          <a:pt x="141" y="2"/>
                        </a:cubicBezTo>
                        <a:cubicBezTo>
                          <a:pt x="142" y="3"/>
                          <a:pt x="145" y="4"/>
                          <a:pt x="146" y="2"/>
                        </a:cubicBezTo>
                        <a:cubicBezTo>
                          <a:pt x="147" y="2"/>
                          <a:pt x="146" y="1"/>
                          <a:pt x="148" y="1"/>
                        </a:cubicBezTo>
                        <a:cubicBezTo>
                          <a:pt x="149" y="2"/>
                          <a:pt x="150" y="2"/>
                          <a:pt x="151" y="2"/>
                        </a:cubicBezTo>
                        <a:cubicBezTo>
                          <a:pt x="150" y="4"/>
                          <a:pt x="153" y="3"/>
                          <a:pt x="154" y="3"/>
                        </a:cubicBezTo>
                        <a:cubicBezTo>
                          <a:pt x="155" y="3"/>
                          <a:pt x="157" y="3"/>
                          <a:pt x="159" y="3"/>
                        </a:cubicBezTo>
                        <a:cubicBezTo>
                          <a:pt x="159" y="5"/>
                          <a:pt x="156" y="6"/>
                          <a:pt x="155" y="7"/>
                        </a:cubicBezTo>
                        <a:cubicBezTo>
                          <a:pt x="158" y="8"/>
                          <a:pt x="155" y="13"/>
                          <a:pt x="155" y="15"/>
                        </a:cubicBezTo>
                        <a:cubicBezTo>
                          <a:pt x="157" y="19"/>
                          <a:pt x="156" y="22"/>
                          <a:pt x="155" y="25"/>
                        </a:cubicBezTo>
                        <a:cubicBezTo>
                          <a:pt x="155" y="28"/>
                          <a:pt x="151" y="31"/>
                          <a:pt x="149" y="33"/>
                        </a:cubicBezTo>
                        <a:cubicBezTo>
                          <a:pt x="148" y="34"/>
                          <a:pt x="148" y="37"/>
                          <a:pt x="149" y="38"/>
                        </a:cubicBezTo>
                        <a:cubicBezTo>
                          <a:pt x="150" y="40"/>
                          <a:pt x="150" y="42"/>
                          <a:pt x="152" y="43"/>
                        </a:cubicBezTo>
                        <a:cubicBezTo>
                          <a:pt x="156" y="45"/>
                          <a:pt x="155" y="49"/>
                          <a:pt x="158" y="51"/>
                        </a:cubicBezTo>
                        <a:cubicBezTo>
                          <a:pt x="159" y="52"/>
                          <a:pt x="161" y="53"/>
                          <a:pt x="162" y="54"/>
                        </a:cubicBezTo>
                        <a:cubicBezTo>
                          <a:pt x="163" y="56"/>
                          <a:pt x="163" y="59"/>
                          <a:pt x="164" y="61"/>
                        </a:cubicBezTo>
                        <a:cubicBezTo>
                          <a:pt x="164" y="65"/>
                          <a:pt x="167" y="70"/>
                          <a:pt x="167" y="74"/>
                        </a:cubicBezTo>
                        <a:cubicBezTo>
                          <a:pt x="167" y="76"/>
                          <a:pt x="164" y="75"/>
                          <a:pt x="166" y="77"/>
                        </a:cubicBezTo>
                        <a:cubicBezTo>
                          <a:pt x="167" y="79"/>
                          <a:pt x="168" y="82"/>
                          <a:pt x="169" y="84"/>
                        </a:cubicBezTo>
                        <a:cubicBezTo>
                          <a:pt x="171" y="93"/>
                          <a:pt x="168" y="93"/>
                          <a:pt x="169" y="98"/>
                        </a:cubicBezTo>
                        <a:cubicBezTo>
                          <a:pt x="170" y="100"/>
                          <a:pt x="170" y="101"/>
                          <a:pt x="169" y="103"/>
                        </a:cubicBezTo>
                        <a:cubicBezTo>
                          <a:pt x="168" y="106"/>
                          <a:pt x="169" y="108"/>
                          <a:pt x="170" y="110"/>
                        </a:cubicBezTo>
                        <a:cubicBezTo>
                          <a:pt x="171" y="114"/>
                          <a:pt x="169" y="114"/>
                          <a:pt x="166" y="116"/>
                        </a:cubicBezTo>
                        <a:cubicBezTo>
                          <a:pt x="163" y="118"/>
                          <a:pt x="168" y="122"/>
                          <a:pt x="170" y="124"/>
                        </a:cubicBezTo>
                        <a:cubicBezTo>
                          <a:pt x="172" y="128"/>
                          <a:pt x="170" y="132"/>
                          <a:pt x="174" y="136"/>
                        </a:cubicBezTo>
                        <a:cubicBezTo>
                          <a:pt x="175" y="137"/>
                          <a:pt x="176" y="135"/>
                          <a:pt x="177" y="135"/>
                        </a:cubicBezTo>
                        <a:cubicBezTo>
                          <a:pt x="179" y="136"/>
                          <a:pt x="181" y="137"/>
                          <a:pt x="182" y="137"/>
                        </a:cubicBezTo>
                        <a:cubicBezTo>
                          <a:pt x="186" y="139"/>
                          <a:pt x="187" y="142"/>
                          <a:pt x="188" y="145"/>
                        </a:cubicBezTo>
                        <a:cubicBezTo>
                          <a:pt x="189" y="146"/>
                          <a:pt x="190" y="147"/>
                          <a:pt x="188" y="148"/>
                        </a:cubicBezTo>
                        <a:cubicBezTo>
                          <a:pt x="170" y="159"/>
                          <a:pt x="152" y="170"/>
                          <a:pt x="137" y="185"/>
                        </a:cubicBezTo>
                        <a:cubicBezTo>
                          <a:pt x="137" y="186"/>
                          <a:pt x="134" y="189"/>
                          <a:pt x="132" y="190"/>
                        </a:cubicBezTo>
                        <a:cubicBezTo>
                          <a:pt x="130" y="191"/>
                          <a:pt x="128" y="191"/>
                          <a:pt x="126" y="192"/>
                        </a:cubicBezTo>
                        <a:cubicBezTo>
                          <a:pt x="123" y="192"/>
                          <a:pt x="121" y="193"/>
                          <a:pt x="118" y="193"/>
                        </a:cubicBezTo>
                        <a:cubicBezTo>
                          <a:pt x="117" y="193"/>
                          <a:pt x="106" y="197"/>
                          <a:pt x="107" y="193"/>
                        </a:cubicBezTo>
                        <a:cubicBezTo>
                          <a:pt x="107" y="192"/>
                          <a:pt x="108" y="191"/>
                          <a:pt x="108" y="190"/>
                        </a:cubicBezTo>
                        <a:cubicBezTo>
                          <a:pt x="108" y="189"/>
                          <a:pt x="108" y="186"/>
                          <a:pt x="107" y="186"/>
                        </a:cubicBezTo>
                        <a:cubicBezTo>
                          <a:pt x="105" y="185"/>
                          <a:pt x="103" y="185"/>
                          <a:pt x="101" y="184"/>
                        </a:cubicBezTo>
                        <a:cubicBezTo>
                          <a:pt x="100" y="184"/>
                          <a:pt x="99" y="182"/>
                          <a:pt x="98" y="182"/>
                        </a:cubicBezTo>
                        <a:cubicBezTo>
                          <a:pt x="94" y="183"/>
                          <a:pt x="93" y="178"/>
                          <a:pt x="92" y="178"/>
                        </a:cubicBezTo>
                        <a:cubicBezTo>
                          <a:pt x="91" y="177"/>
                          <a:pt x="90" y="177"/>
                          <a:pt x="89" y="176"/>
                        </a:cubicBezTo>
                        <a:cubicBezTo>
                          <a:pt x="88" y="176"/>
                          <a:pt x="89" y="174"/>
                          <a:pt x="88" y="173"/>
                        </a:cubicBezTo>
                        <a:cubicBezTo>
                          <a:pt x="88" y="172"/>
                          <a:pt x="86" y="171"/>
                          <a:pt x="85" y="170"/>
                        </a:cubicBezTo>
                        <a:cubicBezTo>
                          <a:pt x="83" y="169"/>
                          <a:pt x="81" y="167"/>
                          <a:pt x="79" y="166"/>
                        </a:cubicBezTo>
                        <a:cubicBezTo>
                          <a:pt x="75" y="162"/>
                          <a:pt x="70" y="159"/>
                          <a:pt x="66" y="155"/>
                        </a:cubicBezTo>
                        <a:cubicBezTo>
                          <a:pt x="48" y="141"/>
                          <a:pt x="31" y="128"/>
                          <a:pt x="13" y="115"/>
                        </a:cubicBezTo>
                        <a:cubicBezTo>
                          <a:pt x="8" y="112"/>
                          <a:pt x="4" y="109"/>
                          <a:pt x="0" y="106"/>
                        </a:cubicBezTo>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grpSp>
          </p:grpSp>
        </p:grpSp>
        <p:grpSp>
          <p:nvGrpSpPr>
            <p:cNvPr id="162" name="Group 212">
              <a:extLst>
                <a:ext uri="{FF2B5EF4-FFF2-40B4-BE49-F238E27FC236}">
                  <a16:creationId xmlns:a16="http://schemas.microsoft.com/office/drawing/2014/main" id="{B1C6C6CA-9577-E5C0-6560-A3C51DF84709}"/>
                </a:ext>
              </a:extLst>
            </p:cNvPr>
            <p:cNvGrpSpPr/>
            <p:nvPr/>
          </p:nvGrpSpPr>
          <p:grpSpPr>
            <a:xfrm>
              <a:off x="3352519" y="1493602"/>
              <a:ext cx="241018" cy="256338"/>
              <a:chOff x="5108025" y="2324871"/>
              <a:chExt cx="378678" cy="402749"/>
            </a:xfrm>
            <a:solidFill>
              <a:schemeClr val="accent2">
                <a:lumMod val="50000"/>
              </a:schemeClr>
            </a:solidFill>
          </p:grpSpPr>
          <p:sp>
            <p:nvSpPr>
              <p:cNvPr id="163" name="Pakistan">
                <a:extLst>
                  <a:ext uri="{FF2B5EF4-FFF2-40B4-BE49-F238E27FC236}">
                    <a16:creationId xmlns:a16="http://schemas.microsoft.com/office/drawing/2014/main" id="{347289A0-C0BE-AA75-0B55-32E9779A473C}"/>
                  </a:ext>
                </a:extLst>
              </p:cNvPr>
              <p:cNvSpPr>
                <a:spLocks/>
              </p:cNvSpPr>
              <p:nvPr/>
            </p:nvSpPr>
            <p:spPr bwMode="auto">
              <a:xfrm>
                <a:off x="5135168" y="2360881"/>
                <a:ext cx="351535" cy="366739"/>
              </a:xfrm>
              <a:custGeom>
                <a:avLst/>
                <a:gdLst/>
                <a:ahLst/>
                <a:cxnLst>
                  <a:cxn ang="0">
                    <a:pos x="24" y="82"/>
                  </a:cxn>
                  <a:cxn ang="0">
                    <a:pos x="38" y="82"/>
                  </a:cxn>
                  <a:cxn ang="0">
                    <a:pos x="49" y="76"/>
                  </a:cxn>
                  <a:cxn ang="0">
                    <a:pos x="52" y="63"/>
                  </a:cxn>
                  <a:cxn ang="0">
                    <a:pos x="58" y="61"/>
                  </a:cxn>
                  <a:cxn ang="0">
                    <a:pos x="69" y="59"/>
                  </a:cxn>
                  <a:cxn ang="0">
                    <a:pos x="73" y="49"/>
                  </a:cxn>
                  <a:cxn ang="0">
                    <a:pos x="78" y="43"/>
                  </a:cxn>
                  <a:cxn ang="0">
                    <a:pos x="77" y="34"/>
                  </a:cxn>
                  <a:cxn ang="0">
                    <a:pos x="83" y="28"/>
                  </a:cxn>
                  <a:cxn ang="0">
                    <a:pos x="86" y="23"/>
                  </a:cxn>
                  <a:cxn ang="0">
                    <a:pos x="86" y="20"/>
                  </a:cxn>
                  <a:cxn ang="0">
                    <a:pos x="82" y="13"/>
                  </a:cxn>
                  <a:cxn ang="0">
                    <a:pos x="90" y="4"/>
                  </a:cxn>
                  <a:cxn ang="0">
                    <a:pos x="105" y="3"/>
                  </a:cxn>
                  <a:cxn ang="0">
                    <a:pos x="121" y="6"/>
                  </a:cxn>
                  <a:cxn ang="0">
                    <a:pos x="126" y="14"/>
                  </a:cxn>
                  <a:cxn ang="0">
                    <a:pos x="136" y="23"/>
                  </a:cxn>
                  <a:cxn ang="0">
                    <a:pos x="127" y="28"/>
                  </a:cxn>
                  <a:cxn ang="0">
                    <a:pos x="110" y="31"/>
                  </a:cxn>
                  <a:cxn ang="0">
                    <a:pos x="113" y="39"/>
                  </a:cxn>
                  <a:cxn ang="0">
                    <a:pos x="117" y="46"/>
                  </a:cxn>
                  <a:cxn ang="0">
                    <a:pos x="127" y="52"/>
                  </a:cxn>
                  <a:cxn ang="0">
                    <a:pos x="123" y="65"/>
                  </a:cxn>
                  <a:cxn ang="0">
                    <a:pos x="115" y="77"/>
                  </a:cxn>
                  <a:cxn ang="0">
                    <a:pos x="107" y="90"/>
                  </a:cxn>
                  <a:cxn ang="0">
                    <a:pos x="97" y="100"/>
                  </a:cxn>
                  <a:cxn ang="0">
                    <a:pos x="87" y="101"/>
                  </a:cxn>
                  <a:cxn ang="0">
                    <a:pos x="90" y="117"/>
                  </a:cxn>
                  <a:cxn ang="0">
                    <a:pos x="96" y="127"/>
                  </a:cxn>
                  <a:cxn ang="0">
                    <a:pos x="101" y="137"/>
                  </a:cxn>
                  <a:cxn ang="0">
                    <a:pos x="92" y="138"/>
                  </a:cxn>
                  <a:cxn ang="0">
                    <a:pos x="79" y="138"/>
                  </a:cxn>
                  <a:cxn ang="0">
                    <a:pos x="74" y="144"/>
                  </a:cxn>
                  <a:cxn ang="0">
                    <a:pos x="71" y="142"/>
                  </a:cxn>
                  <a:cxn ang="0">
                    <a:pos x="68" y="141"/>
                  </a:cxn>
                  <a:cxn ang="0">
                    <a:pos x="60" y="131"/>
                  </a:cxn>
                  <a:cxn ang="0">
                    <a:pos x="57" y="126"/>
                  </a:cxn>
                  <a:cxn ang="0">
                    <a:pos x="41" y="129"/>
                  </a:cxn>
                  <a:cxn ang="0">
                    <a:pos x="35" y="127"/>
                  </a:cxn>
                  <a:cxn ang="0">
                    <a:pos x="18" y="128"/>
                  </a:cxn>
                  <a:cxn ang="0">
                    <a:pos x="17" y="116"/>
                  </a:cxn>
                  <a:cxn ang="0">
                    <a:pos x="22" y="107"/>
                  </a:cxn>
                  <a:cxn ang="0">
                    <a:pos x="17" y="95"/>
                  </a:cxn>
                  <a:cxn ang="0">
                    <a:pos x="0" y="79"/>
                  </a:cxn>
                </a:cxnLst>
                <a:rect l="0" t="0" r="r" b="b"/>
                <a:pathLst>
                  <a:path w="142" h="144">
                    <a:moveTo>
                      <a:pt x="0" y="79"/>
                    </a:moveTo>
                    <a:cubicBezTo>
                      <a:pt x="4" y="79"/>
                      <a:pt x="7" y="81"/>
                      <a:pt x="11" y="83"/>
                    </a:cubicBezTo>
                    <a:cubicBezTo>
                      <a:pt x="16" y="84"/>
                      <a:pt x="19" y="82"/>
                      <a:pt x="24" y="82"/>
                    </a:cubicBezTo>
                    <a:cubicBezTo>
                      <a:pt x="26" y="82"/>
                      <a:pt x="27" y="83"/>
                      <a:pt x="29" y="83"/>
                    </a:cubicBezTo>
                    <a:cubicBezTo>
                      <a:pt x="30" y="83"/>
                      <a:pt x="31" y="82"/>
                      <a:pt x="33" y="82"/>
                    </a:cubicBezTo>
                    <a:cubicBezTo>
                      <a:pt x="35" y="81"/>
                      <a:pt x="36" y="82"/>
                      <a:pt x="38" y="82"/>
                    </a:cubicBezTo>
                    <a:cubicBezTo>
                      <a:pt x="40" y="82"/>
                      <a:pt x="41" y="81"/>
                      <a:pt x="43" y="81"/>
                    </a:cubicBezTo>
                    <a:cubicBezTo>
                      <a:pt x="45" y="80"/>
                      <a:pt x="48" y="80"/>
                      <a:pt x="49" y="78"/>
                    </a:cubicBezTo>
                    <a:cubicBezTo>
                      <a:pt x="50" y="77"/>
                      <a:pt x="48" y="77"/>
                      <a:pt x="49" y="76"/>
                    </a:cubicBezTo>
                    <a:cubicBezTo>
                      <a:pt x="49" y="73"/>
                      <a:pt x="48" y="71"/>
                      <a:pt x="48" y="69"/>
                    </a:cubicBezTo>
                    <a:cubicBezTo>
                      <a:pt x="48" y="67"/>
                      <a:pt x="49" y="67"/>
                      <a:pt x="50" y="66"/>
                    </a:cubicBezTo>
                    <a:cubicBezTo>
                      <a:pt x="51" y="65"/>
                      <a:pt x="51" y="64"/>
                      <a:pt x="52" y="63"/>
                    </a:cubicBezTo>
                    <a:cubicBezTo>
                      <a:pt x="53" y="63"/>
                      <a:pt x="54" y="64"/>
                      <a:pt x="55" y="64"/>
                    </a:cubicBezTo>
                    <a:cubicBezTo>
                      <a:pt x="57" y="64"/>
                      <a:pt x="59" y="64"/>
                      <a:pt x="60" y="63"/>
                    </a:cubicBezTo>
                    <a:cubicBezTo>
                      <a:pt x="60" y="62"/>
                      <a:pt x="58" y="62"/>
                      <a:pt x="58" y="61"/>
                    </a:cubicBezTo>
                    <a:cubicBezTo>
                      <a:pt x="60" y="61"/>
                      <a:pt x="61" y="60"/>
                      <a:pt x="62" y="58"/>
                    </a:cubicBezTo>
                    <a:cubicBezTo>
                      <a:pt x="63" y="57"/>
                      <a:pt x="66" y="59"/>
                      <a:pt x="66" y="57"/>
                    </a:cubicBezTo>
                    <a:cubicBezTo>
                      <a:pt x="67" y="58"/>
                      <a:pt x="68" y="58"/>
                      <a:pt x="69" y="59"/>
                    </a:cubicBezTo>
                    <a:cubicBezTo>
                      <a:pt x="69" y="60"/>
                      <a:pt x="70" y="60"/>
                      <a:pt x="71" y="59"/>
                    </a:cubicBezTo>
                    <a:cubicBezTo>
                      <a:pt x="73" y="57"/>
                      <a:pt x="73" y="54"/>
                      <a:pt x="72" y="52"/>
                    </a:cubicBezTo>
                    <a:cubicBezTo>
                      <a:pt x="71" y="50"/>
                      <a:pt x="72" y="50"/>
                      <a:pt x="73" y="49"/>
                    </a:cubicBezTo>
                    <a:cubicBezTo>
                      <a:pt x="73" y="48"/>
                      <a:pt x="73" y="46"/>
                      <a:pt x="73" y="45"/>
                    </a:cubicBezTo>
                    <a:cubicBezTo>
                      <a:pt x="72" y="44"/>
                      <a:pt x="73" y="44"/>
                      <a:pt x="74" y="44"/>
                    </a:cubicBezTo>
                    <a:cubicBezTo>
                      <a:pt x="76" y="43"/>
                      <a:pt x="76" y="44"/>
                      <a:pt x="78" y="43"/>
                    </a:cubicBezTo>
                    <a:cubicBezTo>
                      <a:pt x="79" y="42"/>
                      <a:pt x="79" y="42"/>
                      <a:pt x="78" y="40"/>
                    </a:cubicBezTo>
                    <a:cubicBezTo>
                      <a:pt x="78" y="39"/>
                      <a:pt x="77" y="38"/>
                      <a:pt x="76" y="37"/>
                    </a:cubicBezTo>
                    <a:cubicBezTo>
                      <a:pt x="74" y="35"/>
                      <a:pt x="73" y="33"/>
                      <a:pt x="77" y="34"/>
                    </a:cubicBezTo>
                    <a:cubicBezTo>
                      <a:pt x="79" y="35"/>
                      <a:pt x="84" y="35"/>
                      <a:pt x="85" y="32"/>
                    </a:cubicBezTo>
                    <a:cubicBezTo>
                      <a:pt x="85" y="31"/>
                      <a:pt x="85" y="31"/>
                      <a:pt x="84" y="30"/>
                    </a:cubicBezTo>
                    <a:cubicBezTo>
                      <a:pt x="84" y="30"/>
                      <a:pt x="82" y="29"/>
                      <a:pt x="83" y="28"/>
                    </a:cubicBezTo>
                    <a:cubicBezTo>
                      <a:pt x="84" y="28"/>
                      <a:pt x="84" y="28"/>
                      <a:pt x="84" y="28"/>
                    </a:cubicBezTo>
                    <a:cubicBezTo>
                      <a:pt x="83" y="27"/>
                      <a:pt x="84" y="26"/>
                      <a:pt x="84" y="26"/>
                    </a:cubicBezTo>
                    <a:cubicBezTo>
                      <a:pt x="85" y="25"/>
                      <a:pt x="86" y="24"/>
                      <a:pt x="86" y="23"/>
                    </a:cubicBezTo>
                    <a:cubicBezTo>
                      <a:pt x="86" y="23"/>
                      <a:pt x="87" y="22"/>
                      <a:pt x="87" y="21"/>
                    </a:cubicBezTo>
                    <a:cubicBezTo>
                      <a:pt x="87" y="21"/>
                      <a:pt x="86" y="21"/>
                      <a:pt x="86" y="20"/>
                    </a:cubicBezTo>
                    <a:cubicBezTo>
                      <a:pt x="86" y="20"/>
                      <a:pt x="86" y="20"/>
                      <a:pt x="86" y="20"/>
                    </a:cubicBezTo>
                    <a:cubicBezTo>
                      <a:pt x="87" y="19"/>
                      <a:pt x="86" y="18"/>
                      <a:pt x="86" y="17"/>
                    </a:cubicBezTo>
                    <a:cubicBezTo>
                      <a:pt x="86" y="17"/>
                      <a:pt x="85" y="15"/>
                      <a:pt x="84" y="15"/>
                    </a:cubicBezTo>
                    <a:cubicBezTo>
                      <a:pt x="84" y="14"/>
                      <a:pt x="82" y="13"/>
                      <a:pt x="82" y="13"/>
                    </a:cubicBezTo>
                    <a:cubicBezTo>
                      <a:pt x="81" y="12"/>
                      <a:pt x="84" y="8"/>
                      <a:pt x="85" y="8"/>
                    </a:cubicBezTo>
                    <a:cubicBezTo>
                      <a:pt x="86" y="9"/>
                      <a:pt x="86" y="7"/>
                      <a:pt x="87" y="6"/>
                    </a:cubicBezTo>
                    <a:cubicBezTo>
                      <a:pt x="88" y="5"/>
                      <a:pt x="89" y="5"/>
                      <a:pt x="90" y="4"/>
                    </a:cubicBezTo>
                    <a:cubicBezTo>
                      <a:pt x="93" y="3"/>
                      <a:pt x="96" y="3"/>
                      <a:pt x="98" y="3"/>
                    </a:cubicBezTo>
                    <a:cubicBezTo>
                      <a:pt x="100" y="3"/>
                      <a:pt x="102" y="3"/>
                      <a:pt x="103" y="3"/>
                    </a:cubicBezTo>
                    <a:cubicBezTo>
                      <a:pt x="104" y="4"/>
                      <a:pt x="104" y="4"/>
                      <a:pt x="105" y="3"/>
                    </a:cubicBezTo>
                    <a:cubicBezTo>
                      <a:pt x="107" y="2"/>
                      <a:pt x="111" y="0"/>
                      <a:pt x="112" y="3"/>
                    </a:cubicBezTo>
                    <a:cubicBezTo>
                      <a:pt x="113" y="1"/>
                      <a:pt x="116" y="3"/>
                      <a:pt x="117" y="4"/>
                    </a:cubicBezTo>
                    <a:cubicBezTo>
                      <a:pt x="118" y="5"/>
                      <a:pt x="120" y="4"/>
                      <a:pt x="121" y="6"/>
                    </a:cubicBezTo>
                    <a:cubicBezTo>
                      <a:pt x="122" y="7"/>
                      <a:pt x="123" y="8"/>
                      <a:pt x="123" y="9"/>
                    </a:cubicBezTo>
                    <a:cubicBezTo>
                      <a:pt x="123" y="10"/>
                      <a:pt x="123" y="11"/>
                      <a:pt x="123" y="12"/>
                    </a:cubicBezTo>
                    <a:cubicBezTo>
                      <a:pt x="124" y="13"/>
                      <a:pt x="126" y="14"/>
                      <a:pt x="126" y="14"/>
                    </a:cubicBezTo>
                    <a:cubicBezTo>
                      <a:pt x="127" y="15"/>
                      <a:pt x="129" y="14"/>
                      <a:pt x="129" y="14"/>
                    </a:cubicBezTo>
                    <a:cubicBezTo>
                      <a:pt x="130" y="18"/>
                      <a:pt x="138" y="19"/>
                      <a:pt x="142" y="18"/>
                    </a:cubicBezTo>
                    <a:cubicBezTo>
                      <a:pt x="141" y="19"/>
                      <a:pt x="135" y="22"/>
                      <a:pt x="136" y="23"/>
                    </a:cubicBezTo>
                    <a:cubicBezTo>
                      <a:pt x="136" y="23"/>
                      <a:pt x="134" y="25"/>
                      <a:pt x="135" y="24"/>
                    </a:cubicBezTo>
                    <a:cubicBezTo>
                      <a:pt x="135" y="24"/>
                      <a:pt x="134" y="25"/>
                      <a:pt x="134" y="26"/>
                    </a:cubicBezTo>
                    <a:cubicBezTo>
                      <a:pt x="133" y="26"/>
                      <a:pt x="128" y="27"/>
                      <a:pt x="127" y="28"/>
                    </a:cubicBezTo>
                    <a:cubicBezTo>
                      <a:pt x="124" y="30"/>
                      <a:pt x="122" y="28"/>
                      <a:pt x="119" y="27"/>
                    </a:cubicBezTo>
                    <a:cubicBezTo>
                      <a:pt x="116" y="27"/>
                      <a:pt x="113" y="25"/>
                      <a:pt x="110" y="27"/>
                    </a:cubicBezTo>
                    <a:cubicBezTo>
                      <a:pt x="109" y="28"/>
                      <a:pt x="107" y="30"/>
                      <a:pt x="110" y="31"/>
                    </a:cubicBezTo>
                    <a:cubicBezTo>
                      <a:pt x="112" y="32"/>
                      <a:pt x="109" y="33"/>
                      <a:pt x="111" y="34"/>
                    </a:cubicBezTo>
                    <a:cubicBezTo>
                      <a:pt x="111" y="34"/>
                      <a:pt x="115" y="34"/>
                      <a:pt x="113" y="35"/>
                    </a:cubicBezTo>
                    <a:cubicBezTo>
                      <a:pt x="112" y="36"/>
                      <a:pt x="110" y="37"/>
                      <a:pt x="113" y="39"/>
                    </a:cubicBezTo>
                    <a:cubicBezTo>
                      <a:pt x="115" y="40"/>
                      <a:pt x="112" y="42"/>
                      <a:pt x="113" y="43"/>
                    </a:cubicBezTo>
                    <a:cubicBezTo>
                      <a:pt x="114" y="44"/>
                      <a:pt x="115" y="44"/>
                      <a:pt x="116" y="45"/>
                    </a:cubicBezTo>
                    <a:cubicBezTo>
                      <a:pt x="116" y="45"/>
                      <a:pt x="117" y="46"/>
                      <a:pt x="117" y="46"/>
                    </a:cubicBezTo>
                    <a:cubicBezTo>
                      <a:pt x="117" y="47"/>
                      <a:pt x="117" y="47"/>
                      <a:pt x="118" y="47"/>
                    </a:cubicBezTo>
                    <a:cubicBezTo>
                      <a:pt x="121" y="48"/>
                      <a:pt x="120" y="50"/>
                      <a:pt x="122" y="51"/>
                    </a:cubicBezTo>
                    <a:cubicBezTo>
                      <a:pt x="123" y="51"/>
                      <a:pt x="126" y="51"/>
                      <a:pt x="127" y="52"/>
                    </a:cubicBezTo>
                    <a:cubicBezTo>
                      <a:pt x="128" y="54"/>
                      <a:pt x="124" y="55"/>
                      <a:pt x="123" y="55"/>
                    </a:cubicBezTo>
                    <a:cubicBezTo>
                      <a:pt x="122" y="56"/>
                      <a:pt x="119" y="58"/>
                      <a:pt x="121" y="60"/>
                    </a:cubicBezTo>
                    <a:cubicBezTo>
                      <a:pt x="123" y="61"/>
                      <a:pt x="121" y="65"/>
                      <a:pt x="123" y="65"/>
                    </a:cubicBezTo>
                    <a:cubicBezTo>
                      <a:pt x="123" y="66"/>
                      <a:pt x="121" y="67"/>
                      <a:pt x="120" y="68"/>
                    </a:cubicBezTo>
                    <a:cubicBezTo>
                      <a:pt x="119" y="70"/>
                      <a:pt x="116" y="73"/>
                      <a:pt x="118" y="74"/>
                    </a:cubicBezTo>
                    <a:cubicBezTo>
                      <a:pt x="120" y="76"/>
                      <a:pt x="116" y="77"/>
                      <a:pt x="115" y="77"/>
                    </a:cubicBezTo>
                    <a:cubicBezTo>
                      <a:pt x="114" y="78"/>
                      <a:pt x="114" y="80"/>
                      <a:pt x="113" y="81"/>
                    </a:cubicBezTo>
                    <a:cubicBezTo>
                      <a:pt x="113" y="82"/>
                      <a:pt x="113" y="84"/>
                      <a:pt x="112" y="86"/>
                    </a:cubicBezTo>
                    <a:cubicBezTo>
                      <a:pt x="111" y="88"/>
                      <a:pt x="109" y="88"/>
                      <a:pt x="107" y="90"/>
                    </a:cubicBezTo>
                    <a:cubicBezTo>
                      <a:pt x="106" y="91"/>
                      <a:pt x="106" y="92"/>
                      <a:pt x="106" y="93"/>
                    </a:cubicBezTo>
                    <a:cubicBezTo>
                      <a:pt x="106" y="95"/>
                      <a:pt x="104" y="96"/>
                      <a:pt x="103" y="97"/>
                    </a:cubicBezTo>
                    <a:cubicBezTo>
                      <a:pt x="102" y="101"/>
                      <a:pt x="100" y="100"/>
                      <a:pt x="97" y="100"/>
                    </a:cubicBezTo>
                    <a:cubicBezTo>
                      <a:pt x="96" y="101"/>
                      <a:pt x="95" y="102"/>
                      <a:pt x="94" y="102"/>
                    </a:cubicBezTo>
                    <a:cubicBezTo>
                      <a:pt x="93" y="101"/>
                      <a:pt x="92" y="100"/>
                      <a:pt x="91" y="99"/>
                    </a:cubicBezTo>
                    <a:cubicBezTo>
                      <a:pt x="90" y="97"/>
                      <a:pt x="88" y="100"/>
                      <a:pt x="87" y="101"/>
                    </a:cubicBezTo>
                    <a:cubicBezTo>
                      <a:pt x="86" y="104"/>
                      <a:pt x="84" y="106"/>
                      <a:pt x="83" y="108"/>
                    </a:cubicBezTo>
                    <a:cubicBezTo>
                      <a:pt x="82" y="111"/>
                      <a:pt x="84" y="113"/>
                      <a:pt x="86" y="113"/>
                    </a:cubicBezTo>
                    <a:cubicBezTo>
                      <a:pt x="89" y="114"/>
                      <a:pt x="90" y="114"/>
                      <a:pt x="90" y="117"/>
                    </a:cubicBezTo>
                    <a:cubicBezTo>
                      <a:pt x="90" y="119"/>
                      <a:pt x="90" y="123"/>
                      <a:pt x="93" y="123"/>
                    </a:cubicBezTo>
                    <a:cubicBezTo>
                      <a:pt x="94" y="123"/>
                      <a:pt x="95" y="123"/>
                      <a:pt x="95" y="123"/>
                    </a:cubicBezTo>
                    <a:cubicBezTo>
                      <a:pt x="96" y="124"/>
                      <a:pt x="96" y="126"/>
                      <a:pt x="96" y="127"/>
                    </a:cubicBezTo>
                    <a:cubicBezTo>
                      <a:pt x="98" y="129"/>
                      <a:pt x="99" y="131"/>
                      <a:pt x="100" y="133"/>
                    </a:cubicBezTo>
                    <a:cubicBezTo>
                      <a:pt x="100" y="134"/>
                      <a:pt x="101" y="134"/>
                      <a:pt x="100" y="135"/>
                    </a:cubicBezTo>
                    <a:cubicBezTo>
                      <a:pt x="99" y="135"/>
                      <a:pt x="100" y="137"/>
                      <a:pt x="101" y="137"/>
                    </a:cubicBezTo>
                    <a:cubicBezTo>
                      <a:pt x="99" y="138"/>
                      <a:pt x="98" y="140"/>
                      <a:pt x="96" y="138"/>
                    </a:cubicBezTo>
                    <a:cubicBezTo>
                      <a:pt x="95" y="136"/>
                      <a:pt x="94" y="137"/>
                      <a:pt x="94" y="138"/>
                    </a:cubicBezTo>
                    <a:cubicBezTo>
                      <a:pt x="93" y="138"/>
                      <a:pt x="93" y="138"/>
                      <a:pt x="92" y="138"/>
                    </a:cubicBezTo>
                    <a:cubicBezTo>
                      <a:pt x="92" y="138"/>
                      <a:pt x="92" y="139"/>
                      <a:pt x="91" y="139"/>
                    </a:cubicBezTo>
                    <a:cubicBezTo>
                      <a:pt x="89" y="141"/>
                      <a:pt x="86" y="138"/>
                      <a:pt x="84" y="138"/>
                    </a:cubicBezTo>
                    <a:cubicBezTo>
                      <a:pt x="82" y="138"/>
                      <a:pt x="81" y="139"/>
                      <a:pt x="79" y="138"/>
                    </a:cubicBezTo>
                    <a:cubicBezTo>
                      <a:pt x="79" y="139"/>
                      <a:pt x="80" y="142"/>
                      <a:pt x="79" y="142"/>
                    </a:cubicBezTo>
                    <a:cubicBezTo>
                      <a:pt x="77" y="142"/>
                      <a:pt x="75" y="142"/>
                      <a:pt x="75" y="144"/>
                    </a:cubicBezTo>
                    <a:cubicBezTo>
                      <a:pt x="75" y="143"/>
                      <a:pt x="75" y="143"/>
                      <a:pt x="74" y="144"/>
                    </a:cubicBezTo>
                    <a:cubicBezTo>
                      <a:pt x="74" y="143"/>
                      <a:pt x="73" y="143"/>
                      <a:pt x="73" y="142"/>
                    </a:cubicBezTo>
                    <a:cubicBezTo>
                      <a:pt x="73" y="143"/>
                      <a:pt x="73" y="143"/>
                      <a:pt x="73" y="144"/>
                    </a:cubicBezTo>
                    <a:cubicBezTo>
                      <a:pt x="73" y="144"/>
                      <a:pt x="72" y="143"/>
                      <a:pt x="71" y="142"/>
                    </a:cubicBezTo>
                    <a:cubicBezTo>
                      <a:pt x="72" y="144"/>
                      <a:pt x="71" y="143"/>
                      <a:pt x="70" y="144"/>
                    </a:cubicBezTo>
                    <a:cubicBezTo>
                      <a:pt x="70" y="143"/>
                      <a:pt x="70" y="143"/>
                      <a:pt x="70" y="142"/>
                    </a:cubicBezTo>
                    <a:cubicBezTo>
                      <a:pt x="69" y="143"/>
                      <a:pt x="67" y="142"/>
                      <a:pt x="68" y="141"/>
                    </a:cubicBezTo>
                    <a:cubicBezTo>
                      <a:pt x="67" y="141"/>
                      <a:pt x="65" y="139"/>
                      <a:pt x="66" y="138"/>
                    </a:cubicBezTo>
                    <a:cubicBezTo>
                      <a:pt x="65" y="137"/>
                      <a:pt x="66" y="134"/>
                      <a:pt x="64" y="133"/>
                    </a:cubicBezTo>
                    <a:cubicBezTo>
                      <a:pt x="63" y="133"/>
                      <a:pt x="59" y="133"/>
                      <a:pt x="60" y="131"/>
                    </a:cubicBezTo>
                    <a:cubicBezTo>
                      <a:pt x="60" y="129"/>
                      <a:pt x="59" y="128"/>
                      <a:pt x="58" y="126"/>
                    </a:cubicBezTo>
                    <a:cubicBezTo>
                      <a:pt x="57" y="125"/>
                      <a:pt x="54" y="123"/>
                      <a:pt x="54" y="126"/>
                    </a:cubicBezTo>
                    <a:cubicBezTo>
                      <a:pt x="55" y="126"/>
                      <a:pt x="56" y="124"/>
                      <a:pt x="57" y="126"/>
                    </a:cubicBezTo>
                    <a:cubicBezTo>
                      <a:pt x="55" y="125"/>
                      <a:pt x="54" y="126"/>
                      <a:pt x="52" y="126"/>
                    </a:cubicBezTo>
                    <a:cubicBezTo>
                      <a:pt x="50" y="127"/>
                      <a:pt x="48" y="126"/>
                      <a:pt x="47" y="127"/>
                    </a:cubicBezTo>
                    <a:cubicBezTo>
                      <a:pt x="46" y="127"/>
                      <a:pt x="40" y="127"/>
                      <a:pt x="41" y="129"/>
                    </a:cubicBezTo>
                    <a:cubicBezTo>
                      <a:pt x="40" y="129"/>
                      <a:pt x="40" y="129"/>
                      <a:pt x="40" y="128"/>
                    </a:cubicBezTo>
                    <a:cubicBezTo>
                      <a:pt x="37" y="129"/>
                      <a:pt x="35" y="126"/>
                      <a:pt x="34" y="126"/>
                    </a:cubicBezTo>
                    <a:cubicBezTo>
                      <a:pt x="35" y="127"/>
                      <a:pt x="35" y="127"/>
                      <a:pt x="35" y="127"/>
                    </a:cubicBezTo>
                    <a:cubicBezTo>
                      <a:pt x="34" y="127"/>
                      <a:pt x="29" y="126"/>
                      <a:pt x="30" y="129"/>
                    </a:cubicBezTo>
                    <a:cubicBezTo>
                      <a:pt x="29" y="128"/>
                      <a:pt x="19" y="127"/>
                      <a:pt x="20" y="130"/>
                    </a:cubicBezTo>
                    <a:cubicBezTo>
                      <a:pt x="19" y="130"/>
                      <a:pt x="19" y="129"/>
                      <a:pt x="18" y="128"/>
                    </a:cubicBezTo>
                    <a:cubicBezTo>
                      <a:pt x="17" y="128"/>
                      <a:pt x="17" y="129"/>
                      <a:pt x="17" y="129"/>
                    </a:cubicBezTo>
                    <a:cubicBezTo>
                      <a:pt x="14" y="131"/>
                      <a:pt x="13" y="129"/>
                      <a:pt x="13" y="127"/>
                    </a:cubicBezTo>
                    <a:cubicBezTo>
                      <a:pt x="13" y="125"/>
                      <a:pt x="12" y="115"/>
                      <a:pt x="17" y="116"/>
                    </a:cubicBezTo>
                    <a:cubicBezTo>
                      <a:pt x="16" y="112"/>
                      <a:pt x="25" y="114"/>
                      <a:pt x="25" y="112"/>
                    </a:cubicBezTo>
                    <a:cubicBezTo>
                      <a:pt x="26" y="111"/>
                      <a:pt x="26" y="108"/>
                      <a:pt x="26" y="107"/>
                    </a:cubicBezTo>
                    <a:cubicBezTo>
                      <a:pt x="25" y="106"/>
                      <a:pt x="23" y="107"/>
                      <a:pt x="22" y="107"/>
                    </a:cubicBezTo>
                    <a:cubicBezTo>
                      <a:pt x="21" y="107"/>
                      <a:pt x="21" y="104"/>
                      <a:pt x="21" y="103"/>
                    </a:cubicBezTo>
                    <a:cubicBezTo>
                      <a:pt x="21" y="101"/>
                      <a:pt x="20" y="98"/>
                      <a:pt x="19" y="96"/>
                    </a:cubicBezTo>
                    <a:cubicBezTo>
                      <a:pt x="19" y="96"/>
                      <a:pt x="18" y="95"/>
                      <a:pt x="17" y="95"/>
                    </a:cubicBezTo>
                    <a:cubicBezTo>
                      <a:pt x="15" y="94"/>
                      <a:pt x="14" y="94"/>
                      <a:pt x="13" y="93"/>
                    </a:cubicBezTo>
                    <a:cubicBezTo>
                      <a:pt x="10" y="92"/>
                      <a:pt x="8" y="89"/>
                      <a:pt x="7" y="87"/>
                    </a:cubicBezTo>
                    <a:cubicBezTo>
                      <a:pt x="5" y="83"/>
                      <a:pt x="2" y="81"/>
                      <a:pt x="0" y="79"/>
                    </a:cubicBezTo>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164" name="Afghanistan">
                <a:extLst>
                  <a:ext uri="{FF2B5EF4-FFF2-40B4-BE49-F238E27FC236}">
                    <a16:creationId xmlns:a16="http://schemas.microsoft.com/office/drawing/2014/main" id="{900E14DA-A414-ABB0-644E-DC13081003C3}"/>
                  </a:ext>
                </a:extLst>
              </p:cNvPr>
              <p:cNvSpPr>
                <a:spLocks/>
              </p:cNvSpPr>
              <p:nvPr/>
            </p:nvSpPr>
            <p:spPr bwMode="auto">
              <a:xfrm>
                <a:off x="5108025" y="2324871"/>
                <a:ext cx="301131" cy="249383"/>
              </a:xfrm>
              <a:custGeom>
                <a:avLst/>
                <a:gdLst/>
                <a:ahLst/>
                <a:cxnLst>
                  <a:cxn ang="0">
                    <a:pos x="2" y="45"/>
                  </a:cxn>
                  <a:cxn ang="0">
                    <a:pos x="4" y="37"/>
                  </a:cxn>
                  <a:cxn ang="0">
                    <a:pos x="5" y="32"/>
                  </a:cxn>
                  <a:cxn ang="0">
                    <a:pos x="12" y="33"/>
                  </a:cxn>
                  <a:cxn ang="0">
                    <a:pos x="19" y="34"/>
                  </a:cxn>
                  <a:cxn ang="0">
                    <a:pos x="22" y="30"/>
                  </a:cxn>
                  <a:cxn ang="0">
                    <a:pos x="32" y="24"/>
                  </a:cxn>
                  <a:cxn ang="0">
                    <a:pos x="39" y="13"/>
                  </a:cxn>
                  <a:cxn ang="0">
                    <a:pos x="44" y="12"/>
                  </a:cxn>
                  <a:cxn ang="0">
                    <a:pos x="54" y="13"/>
                  </a:cxn>
                  <a:cxn ang="0">
                    <a:pos x="61" y="16"/>
                  </a:cxn>
                  <a:cxn ang="0">
                    <a:pos x="67" y="13"/>
                  </a:cxn>
                  <a:cxn ang="0">
                    <a:pos x="69" y="12"/>
                  </a:cxn>
                  <a:cxn ang="0">
                    <a:pos x="73" y="11"/>
                  </a:cxn>
                  <a:cxn ang="0">
                    <a:pos x="79" y="7"/>
                  </a:cxn>
                  <a:cxn ang="0">
                    <a:pos x="88" y="3"/>
                  </a:cxn>
                  <a:cxn ang="0">
                    <a:pos x="91" y="7"/>
                  </a:cxn>
                  <a:cxn ang="0">
                    <a:pos x="92" y="17"/>
                  </a:cxn>
                  <a:cxn ang="0">
                    <a:pos x="103" y="15"/>
                  </a:cxn>
                  <a:cxn ang="0">
                    <a:pos x="111" y="13"/>
                  </a:cxn>
                  <a:cxn ang="0">
                    <a:pos x="122" y="13"/>
                  </a:cxn>
                  <a:cxn ang="0">
                    <a:pos x="120" y="16"/>
                  </a:cxn>
                  <a:cxn ang="0">
                    <a:pos x="113" y="17"/>
                  </a:cxn>
                  <a:cxn ang="0">
                    <a:pos x="100" y="19"/>
                  </a:cxn>
                  <a:cxn ang="0">
                    <a:pos x="94" y="23"/>
                  </a:cxn>
                  <a:cxn ang="0">
                    <a:pos x="94" y="28"/>
                  </a:cxn>
                  <a:cxn ang="0">
                    <a:pos x="98" y="36"/>
                  </a:cxn>
                  <a:cxn ang="0">
                    <a:pos x="95" y="41"/>
                  </a:cxn>
                  <a:cxn ang="0">
                    <a:pos x="94" y="43"/>
                  </a:cxn>
                  <a:cxn ang="0">
                    <a:pos x="93" y="49"/>
                  </a:cxn>
                  <a:cxn ang="0">
                    <a:pos x="86" y="48"/>
                  </a:cxn>
                  <a:cxn ang="0">
                    <a:pos x="90" y="56"/>
                  </a:cxn>
                  <a:cxn ang="0">
                    <a:pos x="84" y="60"/>
                  </a:cxn>
                  <a:cxn ang="0">
                    <a:pos x="83" y="68"/>
                  </a:cxn>
                  <a:cxn ang="0">
                    <a:pos x="79" y="72"/>
                  </a:cxn>
                  <a:cxn ang="0">
                    <a:pos x="77" y="72"/>
                  </a:cxn>
                  <a:cxn ang="0">
                    <a:pos x="71" y="77"/>
                  </a:cxn>
                  <a:cxn ang="0">
                    <a:pos x="64" y="77"/>
                  </a:cxn>
                  <a:cxn ang="0">
                    <a:pos x="59" y="83"/>
                  </a:cxn>
                  <a:cxn ang="0">
                    <a:pos x="60" y="90"/>
                  </a:cxn>
                  <a:cxn ang="0">
                    <a:pos x="53" y="95"/>
                  </a:cxn>
                  <a:cxn ang="0">
                    <a:pos x="43" y="96"/>
                  </a:cxn>
                  <a:cxn ang="0">
                    <a:pos x="34" y="96"/>
                  </a:cxn>
                  <a:cxn ang="0">
                    <a:pos x="11" y="93"/>
                  </a:cxn>
                  <a:cxn ang="0">
                    <a:pos x="18" y="79"/>
                  </a:cxn>
                  <a:cxn ang="0">
                    <a:pos x="5" y="63"/>
                  </a:cxn>
                  <a:cxn ang="0">
                    <a:pos x="3" y="53"/>
                  </a:cxn>
                </a:cxnLst>
                <a:rect l="0" t="0" r="r" b="b"/>
                <a:pathLst>
                  <a:path w="122" h="98">
                    <a:moveTo>
                      <a:pt x="1" y="47"/>
                    </a:moveTo>
                    <a:cubicBezTo>
                      <a:pt x="0" y="46"/>
                      <a:pt x="1" y="45"/>
                      <a:pt x="2" y="45"/>
                    </a:cubicBezTo>
                    <a:cubicBezTo>
                      <a:pt x="4" y="44"/>
                      <a:pt x="3" y="43"/>
                      <a:pt x="2" y="42"/>
                    </a:cubicBezTo>
                    <a:cubicBezTo>
                      <a:pt x="4" y="42"/>
                      <a:pt x="4" y="39"/>
                      <a:pt x="4" y="37"/>
                    </a:cubicBezTo>
                    <a:cubicBezTo>
                      <a:pt x="5" y="36"/>
                      <a:pt x="4" y="35"/>
                      <a:pt x="4" y="34"/>
                    </a:cubicBezTo>
                    <a:cubicBezTo>
                      <a:pt x="5" y="34"/>
                      <a:pt x="5" y="32"/>
                      <a:pt x="5" y="32"/>
                    </a:cubicBezTo>
                    <a:cubicBezTo>
                      <a:pt x="5" y="30"/>
                      <a:pt x="8" y="32"/>
                      <a:pt x="8" y="33"/>
                    </a:cubicBezTo>
                    <a:cubicBezTo>
                      <a:pt x="10" y="33"/>
                      <a:pt x="11" y="32"/>
                      <a:pt x="12" y="33"/>
                    </a:cubicBezTo>
                    <a:cubicBezTo>
                      <a:pt x="13" y="33"/>
                      <a:pt x="14" y="35"/>
                      <a:pt x="15" y="36"/>
                    </a:cubicBezTo>
                    <a:cubicBezTo>
                      <a:pt x="16" y="34"/>
                      <a:pt x="18" y="35"/>
                      <a:pt x="19" y="34"/>
                    </a:cubicBezTo>
                    <a:cubicBezTo>
                      <a:pt x="20" y="33"/>
                      <a:pt x="21" y="33"/>
                      <a:pt x="21" y="32"/>
                    </a:cubicBezTo>
                    <a:cubicBezTo>
                      <a:pt x="22" y="31"/>
                      <a:pt x="21" y="31"/>
                      <a:pt x="22" y="30"/>
                    </a:cubicBezTo>
                    <a:cubicBezTo>
                      <a:pt x="21" y="30"/>
                      <a:pt x="21" y="29"/>
                      <a:pt x="21" y="28"/>
                    </a:cubicBezTo>
                    <a:cubicBezTo>
                      <a:pt x="25" y="29"/>
                      <a:pt x="29" y="26"/>
                      <a:pt x="32" y="24"/>
                    </a:cubicBezTo>
                    <a:cubicBezTo>
                      <a:pt x="35" y="22"/>
                      <a:pt x="31" y="15"/>
                      <a:pt x="34" y="14"/>
                    </a:cubicBezTo>
                    <a:cubicBezTo>
                      <a:pt x="36" y="13"/>
                      <a:pt x="38" y="14"/>
                      <a:pt x="39" y="13"/>
                    </a:cubicBezTo>
                    <a:cubicBezTo>
                      <a:pt x="40" y="13"/>
                      <a:pt x="39" y="10"/>
                      <a:pt x="41" y="10"/>
                    </a:cubicBezTo>
                    <a:cubicBezTo>
                      <a:pt x="42" y="10"/>
                      <a:pt x="43" y="11"/>
                      <a:pt x="44" y="12"/>
                    </a:cubicBezTo>
                    <a:cubicBezTo>
                      <a:pt x="46" y="13"/>
                      <a:pt x="47" y="12"/>
                      <a:pt x="49" y="12"/>
                    </a:cubicBezTo>
                    <a:cubicBezTo>
                      <a:pt x="51" y="12"/>
                      <a:pt x="52" y="12"/>
                      <a:pt x="54" y="13"/>
                    </a:cubicBezTo>
                    <a:cubicBezTo>
                      <a:pt x="55" y="15"/>
                      <a:pt x="57" y="13"/>
                      <a:pt x="58" y="14"/>
                    </a:cubicBezTo>
                    <a:cubicBezTo>
                      <a:pt x="59" y="14"/>
                      <a:pt x="60" y="15"/>
                      <a:pt x="61" y="16"/>
                    </a:cubicBezTo>
                    <a:cubicBezTo>
                      <a:pt x="62" y="17"/>
                      <a:pt x="62" y="16"/>
                      <a:pt x="64" y="16"/>
                    </a:cubicBezTo>
                    <a:cubicBezTo>
                      <a:pt x="64" y="14"/>
                      <a:pt x="66" y="14"/>
                      <a:pt x="67" y="13"/>
                    </a:cubicBezTo>
                    <a:cubicBezTo>
                      <a:pt x="68" y="13"/>
                      <a:pt x="68" y="14"/>
                      <a:pt x="68" y="13"/>
                    </a:cubicBezTo>
                    <a:cubicBezTo>
                      <a:pt x="69" y="13"/>
                      <a:pt x="69" y="12"/>
                      <a:pt x="69" y="12"/>
                    </a:cubicBezTo>
                    <a:cubicBezTo>
                      <a:pt x="71" y="13"/>
                      <a:pt x="71" y="15"/>
                      <a:pt x="73" y="15"/>
                    </a:cubicBezTo>
                    <a:cubicBezTo>
                      <a:pt x="75" y="14"/>
                      <a:pt x="72" y="12"/>
                      <a:pt x="73" y="11"/>
                    </a:cubicBezTo>
                    <a:cubicBezTo>
                      <a:pt x="75" y="8"/>
                      <a:pt x="79" y="11"/>
                      <a:pt x="80" y="10"/>
                    </a:cubicBezTo>
                    <a:cubicBezTo>
                      <a:pt x="81" y="8"/>
                      <a:pt x="79" y="8"/>
                      <a:pt x="79" y="7"/>
                    </a:cubicBezTo>
                    <a:cubicBezTo>
                      <a:pt x="79" y="6"/>
                      <a:pt x="80" y="4"/>
                      <a:pt x="81" y="3"/>
                    </a:cubicBezTo>
                    <a:cubicBezTo>
                      <a:pt x="82" y="0"/>
                      <a:pt x="86" y="0"/>
                      <a:pt x="88" y="3"/>
                    </a:cubicBezTo>
                    <a:cubicBezTo>
                      <a:pt x="88" y="4"/>
                      <a:pt x="88" y="6"/>
                      <a:pt x="89" y="6"/>
                    </a:cubicBezTo>
                    <a:cubicBezTo>
                      <a:pt x="89" y="7"/>
                      <a:pt x="91" y="5"/>
                      <a:pt x="91" y="7"/>
                    </a:cubicBezTo>
                    <a:cubicBezTo>
                      <a:pt x="92" y="8"/>
                      <a:pt x="91" y="11"/>
                      <a:pt x="92" y="12"/>
                    </a:cubicBezTo>
                    <a:cubicBezTo>
                      <a:pt x="92" y="14"/>
                      <a:pt x="92" y="15"/>
                      <a:pt x="92" y="17"/>
                    </a:cubicBezTo>
                    <a:cubicBezTo>
                      <a:pt x="94" y="21"/>
                      <a:pt x="97" y="19"/>
                      <a:pt x="99" y="17"/>
                    </a:cubicBezTo>
                    <a:cubicBezTo>
                      <a:pt x="100" y="16"/>
                      <a:pt x="103" y="17"/>
                      <a:pt x="103" y="15"/>
                    </a:cubicBezTo>
                    <a:cubicBezTo>
                      <a:pt x="104" y="13"/>
                      <a:pt x="105" y="12"/>
                      <a:pt x="107" y="11"/>
                    </a:cubicBezTo>
                    <a:cubicBezTo>
                      <a:pt x="108" y="11"/>
                      <a:pt x="113" y="11"/>
                      <a:pt x="111" y="13"/>
                    </a:cubicBezTo>
                    <a:cubicBezTo>
                      <a:pt x="113" y="14"/>
                      <a:pt x="115" y="12"/>
                      <a:pt x="117" y="12"/>
                    </a:cubicBezTo>
                    <a:cubicBezTo>
                      <a:pt x="118" y="11"/>
                      <a:pt x="122" y="12"/>
                      <a:pt x="122" y="13"/>
                    </a:cubicBezTo>
                    <a:cubicBezTo>
                      <a:pt x="121" y="14"/>
                      <a:pt x="120" y="13"/>
                      <a:pt x="119" y="14"/>
                    </a:cubicBezTo>
                    <a:cubicBezTo>
                      <a:pt x="118" y="14"/>
                      <a:pt x="119" y="15"/>
                      <a:pt x="120" y="16"/>
                    </a:cubicBezTo>
                    <a:cubicBezTo>
                      <a:pt x="119" y="16"/>
                      <a:pt x="117" y="17"/>
                      <a:pt x="117" y="17"/>
                    </a:cubicBezTo>
                    <a:cubicBezTo>
                      <a:pt x="115" y="19"/>
                      <a:pt x="114" y="17"/>
                      <a:pt x="113" y="17"/>
                    </a:cubicBezTo>
                    <a:cubicBezTo>
                      <a:pt x="110" y="18"/>
                      <a:pt x="106" y="17"/>
                      <a:pt x="104" y="18"/>
                    </a:cubicBezTo>
                    <a:cubicBezTo>
                      <a:pt x="102" y="18"/>
                      <a:pt x="101" y="19"/>
                      <a:pt x="100" y="19"/>
                    </a:cubicBezTo>
                    <a:cubicBezTo>
                      <a:pt x="98" y="20"/>
                      <a:pt x="98" y="21"/>
                      <a:pt x="97" y="22"/>
                    </a:cubicBezTo>
                    <a:cubicBezTo>
                      <a:pt x="96" y="23"/>
                      <a:pt x="96" y="21"/>
                      <a:pt x="94" y="23"/>
                    </a:cubicBezTo>
                    <a:cubicBezTo>
                      <a:pt x="94" y="24"/>
                      <a:pt x="93" y="25"/>
                      <a:pt x="93" y="26"/>
                    </a:cubicBezTo>
                    <a:cubicBezTo>
                      <a:pt x="92" y="27"/>
                      <a:pt x="94" y="27"/>
                      <a:pt x="94" y="28"/>
                    </a:cubicBezTo>
                    <a:cubicBezTo>
                      <a:pt x="96" y="29"/>
                      <a:pt x="97" y="31"/>
                      <a:pt x="98" y="33"/>
                    </a:cubicBezTo>
                    <a:cubicBezTo>
                      <a:pt x="96" y="35"/>
                      <a:pt x="98" y="35"/>
                      <a:pt x="98" y="36"/>
                    </a:cubicBezTo>
                    <a:cubicBezTo>
                      <a:pt x="98" y="36"/>
                      <a:pt x="98" y="37"/>
                      <a:pt x="97" y="38"/>
                    </a:cubicBezTo>
                    <a:cubicBezTo>
                      <a:pt x="97" y="39"/>
                      <a:pt x="95" y="40"/>
                      <a:pt x="95" y="41"/>
                    </a:cubicBezTo>
                    <a:cubicBezTo>
                      <a:pt x="95" y="41"/>
                      <a:pt x="94" y="42"/>
                      <a:pt x="95" y="42"/>
                    </a:cubicBezTo>
                    <a:cubicBezTo>
                      <a:pt x="94" y="42"/>
                      <a:pt x="94" y="42"/>
                      <a:pt x="94" y="43"/>
                    </a:cubicBezTo>
                    <a:cubicBezTo>
                      <a:pt x="94" y="43"/>
                      <a:pt x="95" y="44"/>
                      <a:pt x="96" y="44"/>
                    </a:cubicBezTo>
                    <a:cubicBezTo>
                      <a:pt x="97" y="46"/>
                      <a:pt x="94" y="48"/>
                      <a:pt x="93" y="49"/>
                    </a:cubicBezTo>
                    <a:cubicBezTo>
                      <a:pt x="92" y="49"/>
                      <a:pt x="90" y="49"/>
                      <a:pt x="89" y="48"/>
                    </a:cubicBezTo>
                    <a:cubicBezTo>
                      <a:pt x="88" y="48"/>
                      <a:pt x="86" y="48"/>
                      <a:pt x="86" y="48"/>
                    </a:cubicBezTo>
                    <a:cubicBezTo>
                      <a:pt x="84" y="50"/>
                      <a:pt x="88" y="51"/>
                      <a:pt x="89" y="53"/>
                    </a:cubicBezTo>
                    <a:cubicBezTo>
                      <a:pt x="89" y="53"/>
                      <a:pt x="90" y="55"/>
                      <a:pt x="90" y="56"/>
                    </a:cubicBezTo>
                    <a:cubicBezTo>
                      <a:pt x="90" y="57"/>
                      <a:pt x="88" y="58"/>
                      <a:pt x="86" y="58"/>
                    </a:cubicBezTo>
                    <a:cubicBezTo>
                      <a:pt x="83" y="58"/>
                      <a:pt x="84" y="59"/>
                      <a:pt x="84" y="60"/>
                    </a:cubicBezTo>
                    <a:cubicBezTo>
                      <a:pt x="84" y="62"/>
                      <a:pt x="84" y="63"/>
                      <a:pt x="83" y="64"/>
                    </a:cubicBezTo>
                    <a:cubicBezTo>
                      <a:pt x="82" y="65"/>
                      <a:pt x="83" y="66"/>
                      <a:pt x="83" y="68"/>
                    </a:cubicBezTo>
                    <a:cubicBezTo>
                      <a:pt x="84" y="70"/>
                      <a:pt x="84" y="72"/>
                      <a:pt x="81" y="73"/>
                    </a:cubicBezTo>
                    <a:cubicBezTo>
                      <a:pt x="80" y="74"/>
                      <a:pt x="80" y="73"/>
                      <a:pt x="79" y="72"/>
                    </a:cubicBezTo>
                    <a:cubicBezTo>
                      <a:pt x="79" y="72"/>
                      <a:pt x="78" y="72"/>
                      <a:pt x="77" y="72"/>
                    </a:cubicBezTo>
                    <a:cubicBezTo>
                      <a:pt x="77" y="71"/>
                      <a:pt x="77" y="72"/>
                      <a:pt x="77" y="72"/>
                    </a:cubicBezTo>
                    <a:cubicBezTo>
                      <a:pt x="72" y="71"/>
                      <a:pt x="75" y="74"/>
                      <a:pt x="69" y="75"/>
                    </a:cubicBezTo>
                    <a:cubicBezTo>
                      <a:pt x="69" y="76"/>
                      <a:pt x="71" y="76"/>
                      <a:pt x="71" y="77"/>
                    </a:cubicBezTo>
                    <a:cubicBezTo>
                      <a:pt x="70" y="77"/>
                      <a:pt x="68" y="78"/>
                      <a:pt x="67" y="78"/>
                    </a:cubicBezTo>
                    <a:cubicBezTo>
                      <a:pt x="65" y="78"/>
                      <a:pt x="65" y="77"/>
                      <a:pt x="64" y="77"/>
                    </a:cubicBezTo>
                    <a:cubicBezTo>
                      <a:pt x="63" y="77"/>
                      <a:pt x="62" y="80"/>
                      <a:pt x="61" y="80"/>
                    </a:cubicBezTo>
                    <a:cubicBezTo>
                      <a:pt x="59" y="81"/>
                      <a:pt x="59" y="81"/>
                      <a:pt x="59" y="83"/>
                    </a:cubicBezTo>
                    <a:cubicBezTo>
                      <a:pt x="59" y="85"/>
                      <a:pt x="60" y="86"/>
                      <a:pt x="60" y="88"/>
                    </a:cubicBezTo>
                    <a:cubicBezTo>
                      <a:pt x="60" y="89"/>
                      <a:pt x="60" y="89"/>
                      <a:pt x="60" y="90"/>
                    </a:cubicBezTo>
                    <a:cubicBezTo>
                      <a:pt x="60" y="91"/>
                      <a:pt x="60" y="91"/>
                      <a:pt x="60" y="91"/>
                    </a:cubicBezTo>
                    <a:cubicBezTo>
                      <a:pt x="61" y="93"/>
                      <a:pt x="54" y="95"/>
                      <a:pt x="53" y="95"/>
                    </a:cubicBezTo>
                    <a:cubicBezTo>
                      <a:pt x="51" y="95"/>
                      <a:pt x="50" y="96"/>
                      <a:pt x="49" y="96"/>
                    </a:cubicBezTo>
                    <a:cubicBezTo>
                      <a:pt x="47" y="96"/>
                      <a:pt x="45" y="95"/>
                      <a:pt x="43" y="96"/>
                    </a:cubicBezTo>
                    <a:cubicBezTo>
                      <a:pt x="42" y="97"/>
                      <a:pt x="41" y="98"/>
                      <a:pt x="39" y="97"/>
                    </a:cubicBezTo>
                    <a:cubicBezTo>
                      <a:pt x="38" y="97"/>
                      <a:pt x="36" y="96"/>
                      <a:pt x="34" y="96"/>
                    </a:cubicBezTo>
                    <a:cubicBezTo>
                      <a:pt x="30" y="97"/>
                      <a:pt x="26" y="98"/>
                      <a:pt x="22" y="97"/>
                    </a:cubicBezTo>
                    <a:cubicBezTo>
                      <a:pt x="18" y="95"/>
                      <a:pt x="15" y="94"/>
                      <a:pt x="11" y="93"/>
                    </a:cubicBezTo>
                    <a:cubicBezTo>
                      <a:pt x="13" y="90"/>
                      <a:pt x="14" y="88"/>
                      <a:pt x="16" y="85"/>
                    </a:cubicBezTo>
                    <a:cubicBezTo>
                      <a:pt x="17" y="83"/>
                      <a:pt x="18" y="81"/>
                      <a:pt x="18" y="79"/>
                    </a:cubicBezTo>
                    <a:cubicBezTo>
                      <a:pt x="16" y="74"/>
                      <a:pt x="9" y="78"/>
                      <a:pt x="8" y="72"/>
                    </a:cubicBezTo>
                    <a:cubicBezTo>
                      <a:pt x="7" y="69"/>
                      <a:pt x="7" y="66"/>
                      <a:pt x="5" y="63"/>
                    </a:cubicBezTo>
                    <a:cubicBezTo>
                      <a:pt x="4" y="61"/>
                      <a:pt x="2" y="58"/>
                      <a:pt x="4" y="55"/>
                    </a:cubicBezTo>
                    <a:cubicBezTo>
                      <a:pt x="6" y="53"/>
                      <a:pt x="5" y="53"/>
                      <a:pt x="3" y="53"/>
                    </a:cubicBezTo>
                    <a:cubicBezTo>
                      <a:pt x="1" y="52"/>
                      <a:pt x="1" y="49"/>
                      <a:pt x="1" y="47"/>
                    </a:cubicBezTo>
                  </a:path>
                </a:pathLst>
              </a:custGeom>
              <a:grpFill/>
              <a:ln w="3175">
                <a:solidFill>
                  <a:schemeClr val="accent2">
                    <a:lumMod val="50000"/>
                  </a:schemeClr>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165" name="Group 192">
              <a:extLst>
                <a:ext uri="{FF2B5EF4-FFF2-40B4-BE49-F238E27FC236}">
                  <a16:creationId xmlns:a16="http://schemas.microsoft.com/office/drawing/2014/main" id="{1208BFE7-75A2-752C-460C-EB1866F56FDE}"/>
                </a:ext>
              </a:extLst>
            </p:cNvPr>
            <p:cNvGrpSpPr/>
            <p:nvPr/>
          </p:nvGrpSpPr>
          <p:grpSpPr>
            <a:xfrm>
              <a:off x="526921" y="913353"/>
              <a:ext cx="1535091" cy="2107480"/>
              <a:chOff x="668553" y="1413204"/>
              <a:chExt cx="2411875" cy="3311196"/>
            </a:xfrm>
            <a:solidFill>
              <a:schemeClr val="accent2">
                <a:lumMod val="75000"/>
              </a:schemeClr>
            </a:solidFill>
          </p:grpSpPr>
          <p:sp>
            <p:nvSpPr>
              <p:cNvPr id="166" name="West Indies">
                <a:extLst>
                  <a:ext uri="{FF2B5EF4-FFF2-40B4-BE49-F238E27FC236}">
                    <a16:creationId xmlns:a16="http://schemas.microsoft.com/office/drawing/2014/main" id="{46D8CF6E-3F16-E1B0-65C5-E54A278277F6}"/>
                  </a:ext>
                </a:extLst>
              </p:cNvPr>
              <p:cNvSpPr>
                <a:spLocks/>
              </p:cNvSpPr>
              <p:nvPr/>
            </p:nvSpPr>
            <p:spPr bwMode="auto">
              <a:xfrm>
                <a:off x="2391715" y="2895903"/>
                <a:ext cx="108850" cy="124974"/>
              </a:xfrm>
              <a:custGeom>
                <a:avLst/>
                <a:gdLst>
                  <a:gd name="connsiteX0" fmla="*/ 102394 w 106812"/>
                  <a:gd name="connsiteY0" fmla="*/ 116682 h 122635"/>
                  <a:gd name="connsiteX1" fmla="*/ 104775 w 106812"/>
                  <a:gd name="connsiteY1" fmla="*/ 122635 h 122635"/>
                  <a:gd name="connsiteX2" fmla="*/ 102394 w 106812"/>
                  <a:gd name="connsiteY2" fmla="*/ 116682 h 122635"/>
                  <a:gd name="connsiteX3" fmla="*/ 75011 w 106812"/>
                  <a:gd name="connsiteY3" fmla="*/ 97632 h 122635"/>
                  <a:gd name="connsiteX4" fmla="*/ 75011 w 106812"/>
                  <a:gd name="connsiteY4" fmla="*/ 107157 h 122635"/>
                  <a:gd name="connsiteX5" fmla="*/ 75011 w 106812"/>
                  <a:gd name="connsiteY5" fmla="*/ 97632 h 122635"/>
                  <a:gd name="connsiteX6" fmla="*/ 67866 w 106812"/>
                  <a:gd name="connsiteY6" fmla="*/ 59532 h 122635"/>
                  <a:gd name="connsiteX7" fmla="*/ 67866 w 106812"/>
                  <a:gd name="connsiteY7" fmla="*/ 70248 h 122635"/>
                  <a:gd name="connsiteX8" fmla="*/ 67866 w 106812"/>
                  <a:gd name="connsiteY8" fmla="*/ 59532 h 122635"/>
                  <a:gd name="connsiteX9" fmla="*/ 52388 w 106812"/>
                  <a:gd name="connsiteY9" fmla="*/ 34528 h 122635"/>
                  <a:gd name="connsiteX10" fmla="*/ 54769 w 106812"/>
                  <a:gd name="connsiteY10" fmla="*/ 34528 h 122635"/>
                  <a:gd name="connsiteX11" fmla="*/ 54769 w 106812"/>
                  <a:gd name="connsiteY11" fmla="*/ 36909 h 122635"/>
                  <a:gd name="connsiteX12" fmla="*/ 7144 w 106812"/>
                  <a:gd name="connsiteY12" fmla="*/ 7144 h 122635"/>
                  <a:gd name="connsiteX13" fmla="*/ 0 w 106812"/>
                  <a:gd name="connsiteY13" fmla="*/ 9525 h 122635"/>
                  <a:gd name="connsiteX14" fmla="*/ 7144 w 106812"/>
                  <a:gd name="connsiteY14" fmla="*/ 7144 h 122635"/>
                  <a:gd name="connsiteX15" fmla="*/ 38100 w 106812"/>
                  <a:gd name="connsiteY15" fmla="*/ 0 h 122635"/>
                  <a:gd name="connsiteX16" fmla="*/ 40481 w 106812"/>
                  <a:gd name="connsiteY16" fmla="*/ 0 h 122635"/>
                  <a:gd name="connsiteX17" fmla="*/ 38100 w 106812"/>
                  <a:gd name="connsiteY17" fmla="*/ 2381 h 122635"/>
                  <a:gd name="connsiteX18" fmla="*/ 38100 w 106812"/>
                  <a:gd name="connsiteY18" fmla="*/ 0 h 122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6812" h="122635">
                    <a:moveTo>
                      <a:pt x="102394" y="116682"/>
                    </a:moveTo>
                    <a:cubicBezTo>
                      <a:pt x="104775" y="118666"/>
                      <a:pt x="109538" y="120651"/>
                      <a:pt x="104775" y="122635"/>
                    </a:cubicBezTo>
                    <a:cubicBezTo>
                      <a:pt x="102394" y="120651"/>
                      <a:pt x="102394" y="118666"/>
                      <a:pt x="102394" y="116682"/>
                    </a:cubicBezTo>
                    <a:close/>
                    <a:moveTo>
                      <a:pt x="75011" y="97632"/>
                    </a:moveTo>
                    <a:cubicBezTo>
                      <a:pt x="77392" y="100013"/>
                      <a:pt x="77392" y="104776"/>
                      <a:pt x="75011" y="107157"/>
                    </a:cubicBezTo>
                    <a:cubicBezTo>
                      <a:pt x="70248" y="104776"/>
                      <a:pt x="72629" y="100013"/>
                      <a:pt x="75011" y="97632"/>
                    </a:cubicBezTo>
                    <a:close/>
                    <a:moveTo>
                      <a:pt x="67866" y="59532"/>
                    </a:moveTo>
                    <a:cubicBezTo>
                      <a:pt x="72629" y="61675"/>
                      <a:pt x="75010" y="68105"/>
                      <a:pt x="67866" y="70248"/>
                    </a:cubicBezTo>
                    <a:cubicBezTo>
                      <a:pt x="67866" y="65962"/>
                      <a:pt x="65485" y="63819"/>
                      <a:pt x="67866" y="59532"/>
                    </a:cubicBezTo>
                    <a:close/>
                    <a:moveTo>
                      <a:pt x="52388" y="34528"/>
                    </a:moveTo>
                    <a:lnTo>
                      <a:pt x="54769" y="34528"/>
                    </a:lnTo>
                    <a:lnTo>
                      <a:pt x="54769" y="36909"/>
                    </a:lnTo>
                    <a:close/>
                    <a:moveTo>
                      <a:pt x="7144" y="7144"/>
                    </a:moveTo>
                    <a:cubicBezTo>
                      <a:pt x="4763" y="9525"/>
                      <a:pt x="2381" y="9525"/>
                      <a:pt x="0" y="9525"/>
                    </a:cubicBezTo>
                    <a:cubicBezTo>
                      <a:pt x="0" y="4763"/>
                      <a:pt x="4763" y="9525"/>
                      <a:pt x="7144" y="7144"/>
                    </a:cubicBezTo>
                    <a:close/>
                    <a:moveTo>
                      <a:pt x="38100" y="0"/>
                    </a:moveTo>
                    <a:lnTo>
                      <a:pt x="40481" y="0"/>
                    </a:lnTo>
                    <a:cubicBezTo>
                      <a:pt x="38100" y="2381"/>
                      <a:pt x="38100" y="0"/>
                      <a:pt x="38100" y="2381"/>
                    </a:cubicBezTo>
                    <a:cubicBezTo>
                      <a:pt x="38100" y="0"/>
                      <a:pt x="38100" y="0"/>
                      <a:pt x="38100" y="0"/>
                    </a:cubicBezTo>
                    <a:close/>
                  </a:path>
                </a:pathLst>
              </a:custGeom>
              <a:grpFill/>
              <a:ln w="3175">
                <a:solidFill>
                  <a:schemeClr val="accent2">
                    <a:lumMod val="75000"/>
                  </a:schemeClr>
                </a:solidFill>
              </a:ln>
            </p:spPr>
            <p:txBody>
              <a:bodyPr vert="horz" wrap="square" lIns="91273" tIns="45637" rIns="91273" bIns="4563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97" b="0" i="0" u="none" strike="noStrike" kern="1200" cap="none" spc="0" normalizeH="0" baseline="0" noProof="0" dirty="0">
                  <a:ln>
                    <a:noFill/>
                  </a:ln>
                  <a:solidFill>
                    <a:srgbClr val="000000"/>
                  </a:solidFill>
                  <a:effectLst/>
                  <a:uLnTx/>
                  <a:uFillTx/>
                  <a:latin typeface="Calibri"/>
                  <a:ea typeface="+mn-ea"/>
                  <a:cs typeface="+mn-cs"/>
                </a:endParaRPr>
              </a:p>
            </p:txBody>
          </p:sp>
          <p:sp>
            <p:nvSpPr>
              <p:cNvPr id="167" name="Venezuela">
                <a:extLst>
                  <a:ext uri="{FF2B5EF4-FFF2-40B4-BE49-F238E27FC236}">
                    <a16:creationId xmlns:a16="http://schemas.microsoft.com/office/drawing/2014/main" id="{45BBEB8B-7079-E18F-F66A-34D71C73A3A2}"/>
                  </a:ext>
                </a:extLst>
              </p:cNvPr>
              <p:cNvSpPr>
                <a:spLocks/>
              </p:cNvSpPr>
              <p:nvPr/>
            </p:nvSpPr>
            <p:spPr bwMode="auto">
              <a:xfrm>
                <a:off x="2190302" y="3042342"/>
                <a:ext cx="294106" cy="286722"/>
              </a:xfrm>
              <a:custGeom>
                <a:avLst/>
                <a:gdLst>
                  <a:gd name="connsiteX0" fmla="*/ 259557 w 288601"/>
                  <a:gd name="connsiteY0" fmla="*/ 88474 h 281355"/>
                  <a:gd name="connsiteX1" fmla="*/ 263129 w 288601"/>
                  <a:gd name="connsiteY1" fmla="*/ 88474 h 281355"/>
                  <a:gd name="connsiteX2" fmla="*/ 261343 w 288601"/>
                  <a:gd name="connsiteY2" fmla="*/ 90855 h 281355"/>
                  <a:gd name="connsiteX3" fmla="*/ 259557 w 288601"/>
                  <a:gd name="connsiteY3" fmla="*/ 88474 h 281355"/>
                  <a:gd name="connsiteX4" fmla="*/ 267891 w 288601"/>
                  <a:gd name="connsiteY4" fmla="*/ 78949 h 281355"/>
                  <a:gd name="connsiteX5" fmla="*/ 265510 w 288601"/>
                  <a:gd name="connsiteY5" fmla="*/ 81330 h 281355"/>
                  <a:gd name="connsiteX6" fmla="*/ 263128 w 288601"/>
                  <a:gd name="connsiteY6" fmla="*/ 81330 h 281355"/>
                  <a:gd name="connsiteX7" fmla="*/ 267891 w 288601"/>
                  <a:gd name="connsiteY7" fmla="*/ 78949 h 281355"/>
                  <a:gd name="connsiteX8" fmla="*/ 175022 w 288601"/>
                  <a:gd name="connsiteY8" fmla="*/ 28942 h 281355"/>
                  <a:gd name="connsiteX9" fmla="*/ 175022 w 288601"/>
                  <a:gd name="connsiteY9" fmla="*/ 31323 h 281355"/>
                  <a:gd name="connsiteX10" fmla="*/ 172641 w 288601"/>
                  <a:gd name="connsiteY10" fmla="*/ 31323 h 281355"/>
                  <a:gd name="connsiteX11" fmla="*/ 175022 w 288601"/>
                  <a:gd name="connsiteY11" fmla="*/ 28942 h 281355"/>
                  <a:gd name="connsiteX12" fmla="*/ 204788 w 288601"/>
                  <a:gd name="connsiteY12" fmla="*/ 24180 h 281355"/>
                  <a:gd name="connsiteX13" fmla="*/ 202406 w 288601"/>
                  <a:gd name="connsiteY13" fmla="*/ 31324 h 281355"/>
                  <a:gd name="connsiteX14" fmla="*/ 195263 w 288601"/>
                  <a:gd name="connsiteY14" fmla="*/ 26561 h 281355"/>
                  <a:gd name="connsiteX15" fmla="*/ 200025 w 288601"/>
                  <a:gd name="connsiteY15" fmla="*/ 28943 h 281355"/>
                  <a:gd name="connsiteX16" fmla="*/ 204788 w 288601"/>
                  <a:gd name="connsiteY16" fmla="*/ 24180 h 281355"/>
                  <a:gd name="connsiteX17" fmla="*/ 47662 w 288601"/>
                  <a:gd name="connsiteY17" fmla="*/ 7054 h 281355"/>
                  <a:gd name="connsiteX18" fmla="*/ 34044 w 288601"/>
                  <a:gd name="connsiteY18" fmla="*/ 16121 h 281355"/>
                  <a:gd name="connsiteX19" fmla="*/ 38584 w 288601"/>
                  <a:gd name="connsiteY19" fmla="*/ 29723 h 281355"/>
                  <a:gd name="connsiteX20" fmla="*/ 38584 w 288601"/>
                  <a:gd name="connsiteY20" fmla="*/ 38791 h 281355"/>
                  <a:gd name="connsiteX21" fmla="*/ 31775 w 288601"/>
                  <a:gd name="connsiteY21" fmla="*/ 50126 h 281355"/>
                  <a:gd name="connsiteX22" fmla="*/ 29505 w 288601"/>
                  <a:gd name="connsiteY22" fmla="*/ 61461 h 281355"/>
                  <a:gd name="connsiteX23" fmla="*/ 31775 w 288601"/>
                  <a:gd name="connsiteY23" fmla="*/ 68262 h 281355"/>
                  <a:gd name="connsiteX24" fmla="*/ 34044 w 288601"/>
                  <a:gd name="connsiteY24" fmla="*/ 70529 h 281355"/>
                  <a:gd name="connsiteX25" fmla="*/ 43123 w 288601"/>
                  <a:gd name="connsiteY25" fmla="*/ 75062 h 281355"/>
                  <a:gd name="connsiteX26" fmla="*/ 49932 w 288601"/>
                  <a:gd name="connsiteY26" fmla="*/ 63728 h 281355"/>
                  <a:gd name="connsiteX27" fmla="*/ 43123 w 288601"/>
                  <a:gd name="connsiteY27" fmla="*/ 47859 h 281355"/>
                  <a:gd name="connsiteX28" fmla="*/ 40853 w 288601"/>
                  <a:gd name="connsiteY28" fmla="*/ 41058 h 281355"/>
                  <a:gd name="connsiteX29" fmla="*/ 40853 w 288601"/>
                  <a:gd name="connsiteY29" fmla="*/ 34257 h 281355"/>
                  <a:gd name="connsiteX30" fmla="*/ 47662 w 288601"/>
                  <a:gd name="connsiteY30" fmla="*/ 29723 h 281355"/>
                  <a:gd name="connsiteX31" fmla="*/ 56741 w 288601"/>
                  <a:gd name="connsiteY31" fmla="*/ 25189 h 281355"/>
                  <a:gd name="connsiteX32" fmla="*/ 68089 w 288601"/>
                  <a:gd name="connsiteY32" fmla="*/ 20655 h 281355"/>
                  <a:gd name="connsiteX33" fmla="*/ 72628 w 288601"/>
                  <a:gd name="connsiteY33" fmla="*/ 18388 h 281355"/>
                  <a:gd name="connsiteX34" fmla="*/ 72628 w 288601"/>
                  <a:gd name="connsiteY34" fmla="*/ 16121 h 281355"/>
                  <a:gd name="connsiteX35" fmla="*/ 79437 w 288601"/>
                  <a:gd name="connsiteY35" fmla="*/ 18388 h 281355"/>
                  <a:gd name="connsiteX36" fmla="*/ 79437 w 288601"/>
                  <a:gd name="connsiteY36" fmla="*/ 13855 h 281355"/>
                  <a:gd name="connsiteX37" fmla="*/ 95325 w 288601"/>
                  <a:gd name="connsiteY37" fmla="*/ 18388 h 281355"/>
                  <a:gd name="connsiteX38" fmla="*/ 108942 w 288601"/>
                  <a:gd name="connsiteY38" fmla="*/ 27456 h 281355"/>
                  <a:gd name="connsiteX39" fmla="*/ 113482 w 288601"/>
                  <a:gd name="connsiteY39" fmla="*/ 43325 h 281355"/>
                  <a:gd name="connsiteX40" fmla="*/ 140717 w 288601"/>
                  <a:gd name="connsiteY40" fmla="*/ 38791 h 281355"/>
                  <a:gd name="connsiteX41" fmla="*/ 158874 w 288601"/>
                  <a:gd name="connsiteY41" fmla="*/ 43325 h 281355"/>
                  <a:gd name="connsiteX42" fmla="*/ 165683 w 288601"/>
                  <a:gd name="connsiteY42" fmla="*/ 47859 h 281355"/>
                  <a:gd name="connsiteX43" fmla="*/ 172492 w 288601"/>
                  <a:gd name="connsiteY43" fmla="*/ 50126 h 281355"/>
                  <a:gd name="connsiteX44" fmla="*/ 177031 w 288601"/>
                  <a:gd name="connsiteY44" fmla="*/ 52393 h 281355"/>
                  <a:gd name="connsiteX45" fmla="*/ 190649 w 288601"/>
                  <a:gd name="connsiteY45" fmla="*/ 47859 h 281355"/>
                  <a:gd name="connsiteX46" fmla="*/ 197458 w 288601"/>
                  <a:gd name="connsiteY46" fmla="*/ 43325 h 281355"/>
                  <a:gd name="connsiteX47" fmla="*/ 208806 w 288601"/>
                  <a:gd name="connsiteY47" fmla="*/ 43325 h 281355"/>
                  <a:gd name="connsiteX48" fmla="*/ 195188 w 288601"/>
                  <a:gd name="connsiteY48" fmla="*/ 38791 h 281355"/>
                  <a:gd name="connsiteX49" fmla="*/ 199728 w 288601"/>
                  <a:gd name="connsiteY49" fmla="*/ 38791 h 281355"/>
                  <a:gd name="connsiteX50" fmla="*/ 206537 w 288601"/>
                  <a:gd name="connsiteY50" fmla="*/ 36524 h 281355"/>
                  <a:gd name="connsiteX51" fmla="*/ 208806 w 288601"/>
                  <a:gd name="connsiteY51" fmla="*/ 38791 h 281355"/>
                  <a:gd name="connsiteX52" fmla="*/ 215615 w 288601"/>
                  <a:gd name="connsiteY52" fmla="*/ 38791 h 281355"/>
                  <a:gd name="connsiteX53" fmla="*/ 247390 w 288601"/>
                  <a:gd name="connsiteY53" fmla="*/ 36524 h 281355"/>
                  <a:gd name="connsiteX54" fmla="*/ 238312 w 288601"/>
                  <a:gd name="connsiteY54" fmla="*/ 41058 h 281355"/>
                  <a:gd name="connsiteX55" fmla="*/ 230368 w 288601"/>
                  <a:gd name="connsiteY55" fmla="*/ 41342 h 281355"/>
                  <a:gd name="connsiteX56" fmla="*/ 228394 w 288601"/>
                  <a:gd name="connsiteY56" fmla="*/ 41834 h 281355"/>
                  <a:gd name="connsiteX57" fmla="*/ 222424 w 288601"/>
                  <a:gd name="connsiteY57" fmla="*/ 43325 h 281355"/>
                  <a:gd name="connsiteX58" fmla="*/ 226963 w 288601"/>
                  <a:gd name="connsiteY58" fmla="*/ 43325 h 281355"/>
                  <a:gd name="connsiteX59" fmla="*/ 222424 w 288601"/>
                  <a:gd name="connsiteY59" fmla="*/ 45592 h 281355"/>
                  <a:gd name="connsiteX60" fmla="*/ 229233 w 288601"/>
                  <a:gd name="connsiteY60" fmla="*/ 50126 h 281355"/>
                  <a:gd name="connsiteX61" fmla="*/ 222424 w 288601"/>
                  <a:gd name="connsiteY61" fmla="*/ 52393 h 281355"/>
                  <a:gd name="connsiteX62" fmla="*/ 231503 w 288601"/>
                  <a:gd name="connsiteY62" fmla="*/ 47859 h 281355"/>
                  <a:gd name="connsiteX63" fmla="*/ 233772 w 288601"/>
                  <a:gd name="connsiteY63" fmla="*/ 52393 h 281355"/>
                  <a:gd name="connsiteX64" fmla="*/ 236042 w 288601"/>
                  <a:gd name="connsiteY64" fmla="*/ 61461 h 281355"/>
                  <a:gd name="connsiteX65" fmla="*/ 238312 w 288601"/>
                  <a:gd name="connsiteY65" fmla="*/ 54660 h 281355"/>
                  <a:gd name="connsiteX66" fmla="*/ 238312 w 288601"/>
                  <a:gd name="connsiteY66" fmla="*/ 63728 h 281355"/>
                  <a:gd name="connsiteX67" fmla="*/ 240581 w 288601"/>
                  <a:gd name="connsiteY67" fmla="*/ 56927 h 281355"/>
                  <a:gd name="connsiteX68" fmla="*/ 242851 w 288601"/>
                  <a:gd name="connsiteY68" fmla="*/ 56927 h 281355"/>
                  <a:gd name="connsiteX69" fmla="*/ 240581 w 288601"/>
                  <a:gd name="connsiteY69" fmla="*/ 54660 h 281355"/>
                  <a:gd name="connsiteX70" fmla="*/ 247390 w 288601"/>
                  <a:gd name="connsiteY70" fmla="*/ 61461 h 281355"/>
                  <a:gd name="connsiteX71" fmla="*/ 247390 w 288601"/>
                  <a:gd name="connsiteY71" fmla="*/ 59194 h 281355"/>
                  <a:gd name="connsiteX72" fmla="*/ 251929 w 288601"/>
                  <a:gd name="connsiteY72" fmla="*/ 59194 h 281355"/>
                  <a:gd name="connsiteX73" fmla="*/ 256469 w 288601"/>
                  <a:gd name="connsiteY73" fmla="*/ 61461 h 281355"/>
                  <a:gd name="connsiteX74" fmla="*/ 265547 w 288601"/>
                  <a:gd name="connsiteY74" fmla="*/ 65995 h 281355"/>
                  <a:gd name="connsiteX75" fmla="*/ 261008 w 288601"/>
                  <a:gd name="connsiteY75" fmla="*/ 77329 h 281355"/>
                  <a:gd name="connsiteX76" fmla="*/ 263277 w 288601"/>
                  <a:gd name="connsiteY76" fmla="*/ 75062 h 281355"/>
                  <a:gd name="connsiteX77" fmla="*/ 263095 w 288601"/>
                  <a:gd name="connsiteY77" fmla="*/ 78166 h 281355"/>
                  <a:gd name="connsiteX78" fmla="*/ 262994 w 288601"/>
                  <a:gd name="connsiteY78" fmla="*/ 79880 h 281355"/>
                  <a:gd name="connsiteX79" fmla="*/ 261255 w 288601"/>
                  <a:gd name="connsiteY79" fmla="*/ 85585 h 281355"/>
                  <a:gd name="connsiteX80" fmla="*/ 265510 w 288601"/>
                  <a:gd name="connsiteY80" fmla="*/ 81330 h 281355"/>
                  <a:gd name="connsiteX81" fmla="*/ 264022 w 288601"/>
                  <a:gd name="connsiteY81" fmla="*/ 84605 h 281355"/>
                  <a:gd name="connsiteX82" fmla="*/ 261157 w 288601"/>
                  <a:gd name="connsiteY82" fmla="*/ 85907 h 281355"/>
                  <a:gd name="connsiteX83" fmla="*/ 261101 w 288601"/>
                  <a:gd name="connsiteY83" fmla="*/ 86092 h 281355"/>
                  <a:gd name="connsiteX84" fmla="*/ 261008 w 288601"/>
                  <a:gd name="connsiteY84" fmla="*/ 86397 h 281355"/>
                  <a:gd name="connsiteX85" fmla="*/ 256469 w 288601"/>
                  <a:gd name="connsiteY85" fmla="*/ 88664 h 281355"/>
                  <a:gd name="connsiteX86" fmla="*/ 249660 w 288601"/>
                  <a:gd name="connsiteY86" fmla="*/ 88664 h 281355"/>
                  <a:gd name="connsiteX87" fmla="*/ 256469 w 288601"/>
                  <a:gd name="connsiteY87" fmla="*/ 93198 h 281355"/>
                  <a:gd name="connsiteX88" fmla="*/ 259400 w 288601"/>
                  <a:gd name="connsiteY88" fmla="*/ 90803 h 281355"/>
                  <a:gd name="connsiteX89" fmla="*/ 259589 w 288601"/>
                  <a:gd name="connsiteY89" fmla="*/ 90648 h 281355"/>
                  <a:gd name="connsiteX90" fmla="*/ 261008 w 288601"/>
                  <a:gd name="connsiteY90" fmla="*/ 93198 h 281355"/>
                  <a:gd name="connsiteX91" fmla="*/ 270086 w 288601"/>
                  <a:gd name="connsiteY91" fmla="*/ 88664 h 281355"/>
                  <a:gd name="connsiteX92" fmla="*/ 276895 w 288601"/>
                  <a:gd name="connsiteY92" fmla="*/ 88664 h 281355"/>
                  <a:gd name="connsiteX93" fmla="*/ 288243 w 288601"/>
                  <a:gd name="connsiteY93" fmla="*/ 97732 h 281355"/>
                  <a:gd name="connsiteX94" fmla="*/ 281435 w 288601"/>
                  <a:gd name="connsiteY94" fmla="*/ 102266 h 281355"/>
                  <a:gd name="connsiteX95" fmla="*/ 272356 w 288601"/>
                  <a:gd name="connsiteY95" fmla="*/ 106800 h 281355"/>
                  <a:gd name="connsiteX96" fmla="*/ 270086 w 288601"/>
                  <a:gd name="connsiteY96" fmla="*/ 111334 h 281355"/>
                  <a:gd name="connsiteX97" fmla="*/ 270086 w 288601"/>
                  <a:gd name="connsiteY97" fmla="*/ 120402 h 281355"/>
                  <a:gd name="connsiteX98" fmla="*/ 274626 w 288601"/>
                  <a:gd name="connsiteY98" fmla="*/ 122668 h 281355"/>
                  <a:gd name="connsiteX99" fmla="*/ 276895 w 288601"/>
                  <a:gd name="connsiteY99" fmla="*/ 127202 h 281355"/>
                  <a:gd name="connsiteX100" fmla="*/ 267817 w 288601"/>
                  <a:gd name="connsiteY100" fmla="*/ 131736 h 281355"/>
                  <a:gd name="connsiteX101" fmla="*/ 263277 w 288601"/>
                  <a:gd name="connsiteY101" fmla="*/ 131736 h 281355"/>
                  <a:gd name="connsiteX102" fmla="*/ 261008 w 288601"/>
                  <a:gd name="connsiteY102" fmla="*/ 134003 h 281355"/>
                  <a:gd name="connsiteX103" fmla="*/ 256469 w 288601"/>
                  <a:gd name="connsiteY103" fmla="*/ 147605 h 281355"/>
                  <a:gd name="connsiteX104" fmla="*/ 254199 w 288601"/>
                  <a:gd name="connsiteY104" fmla="*/ 154406 h 281355"/>
                  <a:gd name="connsiteX105" fmla="*/ 261008 w 288601"/>
                  <a:gd name="connsiteY105" fmla="*/ 165741 h 281355"/>
                  <a:gd name="connsiteX106" fmla="*/ 265547 w 288601"/>
                  <a:gd name="connsiteY106" fmla="*/ 181609 h 281355"/>
                  <a:gd name="connsiteX107" fmla="*/ 258738 w 288601"/>
                  <a:gd name="connsiteY107" fmla="*/ 186143 h 281355"/>
                  <a:gd name="connsiteX108" fmla="*/ 254199 w 288601"/>
                  <a:gd name="connsiteY108" fmla="*/ 188410 h 281355"/>
                  <a:gd name="connsiteX109" fmla="*/ 249660 w 288601"/>
                  <a:gd name="connsiteY109" fmla="*/ 190677 h 281355"/>
                  <a:gd name="connsiteX110" fmla="*/ 242851 w 288601"/>
                  <a:gd name="connsiteY110" fmla="*/ 195211 h 281355"/>
                  <a:gd name="connsiteX111" fmla="*/ 231503 w 288601"/>
                  <a:gd name="connsiteY111" fmla="*/ 197478 h 281355"/>
                  <a:gd name="connsiteX112" fmla="*/ 224694 w 288601"/>
                  <a:gd name="connsiteY112" fmla="*/ 199745 h 281355"/>
                  <a:gd name="connsiteX113" fmla="*/ 222424 w 288601"/>
                  <a:gd name="connsiteY113" fmla="*/ 204279 h 281355"/>
                  <a:gd name="connsiteX114" fmla="*/ 215615 w 288601"/>
                  <a:gd name="connsiteY114" fmla="*/ 208813 h 281355"/>
                  <a:gd name="connsiteX115" fmla="*/ 211076 w 288601"/>
                  <a:gd name="connsiteY115" fmla="*/ 202012 h 281355"/>
                  <a:gd name="connsiteX116" fmla="*/ 204267 w 288601"/>
                  <a:gd name="connsiteY116" fmla="*/ 202012 h 281355"/>
                  <a:gd name="connsiteX117" fmla="*/ 197458 w 288601"/>
                  <a:gd name="connsiteY117" fmla="*/ 202012 h 281355"/>
                  <a:gd name="connsiteX118" fmla="*/ 192919 w 288601"/>
                  <a:gd name="connsiteY118" fmla="*/ 199745 h 281355"/>
                  <a:gd name="connsiteX119" fmla="*/ 186110 w 288601"/>
                  <a:gd name="connsiteY119" fmla="*/ 197478 h 281355"/>
                  <a:gd name="connsiteX120" fmla="*/ 179301 w 288601"/>
                  <a:gd name="connsiteY120" fmla="*/ 192944 h 281355"/>
                  <a:gd name="connsiteX121" fmla="*/ 181571 w 288601"/>
                  <a:gd name="connsiteY121" fmla="*/ 202012 h 281355"/>
                  <a:gd name="connsiteX122" fmla="*/ 190649 w 288601"/>
                  <a:gd name="connsiteY122" fmla="*/ 215614 h 281355"/>
                  <a:gd name="connsiteX123" fmla="*/ 190649 w 288601"/>
                  <a:gd name="connsiteY123" fmla="*/ 222414 h 281355"/>
                  <a:gd name="connsiteX124" fmla="*/ 195188 w 288601"/>
                  <a:gd name="connsiteY124" fmla="*/ 231482 h 281355"/>
                  <a:gd name="connsiteX125" fmla="*/ 199728 w 288601"/>
                  <a:gd name="connsiteY125" fmla="*/ 238283 h 281355"/>
                  <a:gd name="connsiteX126" fmla="*/ 206537 w 288601"/>
                  <a:gd name="connsiteY126" fmla="*/ 240550 h 281355"/>
                  <a:gd name="connsiteX127" fmla="*/ 199728 w 288601"/>
                  <a:gd name="connsiteY127" fmla="*/ 247351 h 281355"/>
                  <a:gd name="connsiteX128" fmla="*/ 192919 w 288601"/>
                  <a:gd name="connsiteY128" fmla="*/ 251885 h 281355"/>
                  <a:gd name="connsiteX129" fmla="*/ 190649 w 288601"/>
                  <a:gd name="connsiteY129" fmla="*/ 258686 h 281355"/>
                  <a:gd name="connsiteX130" fmla="*/ 186110 w 288601"/>
                  <a:gd name="connsiteY130" fmla="*/ 263220 h 281355"/>
                  <a:gd name="connsiteX131" fmla="*/ 177031 w 288601"/>
                  <a:gd name="connsiteY131" fmla="*/ 267753 h 281355"/>
                  <a:gd name="connsiteX132" fmla="*/ 167953 w 288601"/>
                  <a:gd name="connsiteY132" fmla="*/ 272287 h 281355"/>
                  <a:gd name="connsiteX133" fmla="*/ 161144 w 288601"/>
                  <a:gd name="connsiteY133" fmla="*/ 281355 h 281355"/>
                  <a:gd name="connsiteX134" fmla="*/ 161144 w 288601"/>
                  <a:gd name="connsiteY134" fmla="*/ 274554 h 281355"/>
                  <a:gd name="connsiteX135" fmla="*/ 152065 w 288601"/>
                  <a:gd name="connsiteY135" fmla="*/ 274554 h 281355"/>
                  <a:gd name="connsiteX136" fmla="*/ 133908 w 288601"/>
                  <a:gd name="connsiteY136" fmla="*/ 267753 h 281355"/>
                  <a:gd name="connsiteX137" fmla="*/ 129369 w 288601"/>
                  <a:gd name="connsiteY137" fmla="*/ 256419 h 281355"/>
                  <a:gd name="connsiteX138" fmla="*/ 124830 w 288601"/>
                  <a:gd name="connsiteY138" fmla="*/ 242817 h 281355"/>
                  <a:gd name="connsiteX139" fmla="*/ 111212 w 288601"/>
                  <a:gd name="connsiteY139" fmla="*/ 229215 h 281355"/>
                  <a:gd name="connsiteX140" fmla="*/ 120290 w 288601"/>
                  <a:gd name="connsiteY140" fmla="*/ 217880 h 281355"/>
                  <a:gd name="connsiteX141" fmla="*/ 118021 w 288601"/>
                  <a:gd name="connsiteY141" fmla="*/ 206546 h 281355"/>
                  <a:gd name="connsiteX142" fmla="*/ 113482 w 288601"/>
                  <a:gd name="connsiteY142" fmla="*/ 172541 h 281355"/>
                  <a:gd name="connsiteX143" fmla="*/ 115751 w 288601"/>
                  <a:gd name="connsiteY143" fmla="*/ 163474 h 281355"/>
                  <a:gd name="connsiteX144" fmla="*/ 118021 w 288601"/>
                  <a:gd name="connsiteY144" fmla="*/ 156673 h 281355"/>
                  <a:gd name="connsiteX145" fmla="*/ 122560 w 288601"/>
                  <a:gd name="connsiteY145" fmla="*/ 149872 h 281355"/>
                  <a:gd name="connsiteX146" fmla="*/ 115751 w 288601"/>
                  <a:gd name="connsiteY146" fmla="*/ 143071 h 281355"/>
                  <a:gd name="connsiteX147" fmla="*/ 104403 w 288601"/>
                  <a:gd name="connsiteY147" fmla="*/ 147605 h 281355"/>
                  <a:gd name="connsiteX148" fmla="*/ 93055 w 288601"/>
                  <a:gd name="connsiteY148" fmla="*/ 147605 h 281355"/>
                  <a:gd name="connsiteX149" fmla="*/ 86246 w 288601"/>
                  <a:gd name="connsiteY149" fmla="*/ 147605 h 281355"/>
                  <a:gd name="connsiteX150" fmla="*/ 79437 w 288601"/>
                  <a:gd name="connsiteY150" fmla="*/ 147605 h 281355"/>
                  <a:gd name="connsiteX151" fmla="*/ 74898 w 288601"/>
                  <a:gd name="connsiteY151" fmla="*/ 140804 h 281355"/>
                  <a:gd name="connsiteX152" fmla="*/ 68089 w 288601"/>
                  <a:gd name="connsiteY152" fmla="*/ 131736 h 281355"/>
                  <a:gd name="connsiteX153" fmla="*/ 63550 w 288601"/>
                  <a:gd name="connsiteY153" fmla="*/ 127202 h 281355"/>
                  <a:gd name="connsiteX154" fmla="*/ 54471 w 288601"/>
                  <a:gd name="connsiteY154" fmla="*/ 124935 h 281355"/>
                  <a:gd name="connsiteX155" fmla="*/ 47662 w 288601"/>
                  <a:gd name="connsiteY155" fmla="*/ 127202 h 281355"/>
                  <a:gd name="connsiteX156" fmla="*/ 36314 w 288601"/>
                  <a:gd name="connsiteY156" fmla="*/ 127202 h 281355"/>
                  <a:gd name="connsiteX157" fmla="*/ 31775 w 288601"/>
                  <a:gd name="connsiteY157" fmla="*/ 127202 h 281355"/>
                  <a:gd name="connsiteX158" fmla="*/ 24966 w 288601"/>
                  <a:gd name="connsiteY158" fmla="*/ 124935 h 281355"/>
                  <a:gd name="connsiteX159" fmla="*/ 22696 w 288601"/>
                  <a:gd name="connsiteY159" fmla="*/ 120402 h 281355"/>
                  <a:gd name="connsiteX160" fmla="*/ 15887 w 288601"/>
                  <a:gd name="connsiteY160" fmla="*/ 115868 h 281355"/>
                  <a:gd name="connsiteX161" fmla="*/ 18157 w 288601"/>
                  <a:gd name="connsiteY161" fmla="*/ 102266 h 281355"/>
                  <a:gd name="connsiteX162" fmla="*/ 13618 w 288601"/>
                  <a:gd name="connsiteY162" fmla="*/ 86397 h 281355"/>
                  <a:gd name="connsiteX163" fmla="*/ 6809 w 288601"/>
                  <a:gd name="connsiteY163" fmla="*/ 75062 h 281355"/>
                  <a:gd name="connsiteX164" fmla="*/ 6809 w 288601"/>
                  <a:gd name="connsiteY164" fmla="*/ 70529 h 281355"/>
                  <a:gd name="connsiteX165" fmla="*/ 0 w 288601"/>
                  <a:gd name="connsiteY165" fmla="*/ 75062 h 281355"/>
                  <a:gd name="connsiteX166" fmla="*/ 9078 w 288601"/>
                  <a:gd name="connsiteY166" fmla="*/ 52393 h 281355"/>
                  <a:gd name="connsiteX167" fmla="*/ 15887 w 288601"/>
                  <a:gd name="connsiteY167" fmla="*/ 31990 h 281355"/>
                  <a:gd name="connsiteX168" fmla="*/ 31775 w 288601"/>
                  <a:gd name="connsiteY168" fmla="*/ 16121 h 281355"/>
                  <a:gd name="connsiteX169" fmla="*/ 47662 w 288601"/>
                  <a:gd name="connsiteY169" fmla="*/ 7054 h 281355"/>
                  <a:gd name="connsiteX170" fmla="*/ 77167 w 288601"/>
                  <a:gd name="connsiteY170" fmla="*/ 253 h 281355"/>
                  <a:gd name="connsiteX171" fmla="*/ 79437 w 288601"/>
                  <a:gd name="connsiteY171" fmla="*/ 13855 h 281355"/>
                  <a:gd name="connsiteX172" fmla="*/ 70359 w 288601"/>
                  <a:gd name="connsiteY172" fmla="*/ 13855 h 281355"/>
                  <a:gd name="connsiteX173" fmla="*/ 77167 w 288601"/>
                  <a:gd name="connsiteY173" fmla="*/ 253 h 28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Lst>
                <a:rect l="l" t="t" r="r" b="b"/>
                <a:pathLst>
                  <a:path w="288601" h="281355">
                    <a:moveTo>
                      <a:pt x="259557" y="88474"/>
                    </a:moveTo>
                    <a:cubicBezTo>
                      <a:pt x="261343" y="88474"/>
                      <a:pt x="261343" y="88474"/>
                      <a:pt x="263129" y="88474"/>
                    </a:cubicBezTo>
                    <a:cubicBezTo>
                      <a:pt x="263129" y="88474"/>
                      <a:pt x="263129" y="90855"/>
                      <a:pt x="261343" y="90855"/>
                    </a:cubicBezTo>
                    <a:cubicBezTo>
                      <a:pt x="259557" y="88474"/>
                      <a:pt x="259557" y="88474"/>
                      <a:pt x="259557" y="88474"/>
                    </a:cubicBezTo>
                    <a:close/>
                    <a:moveTo>
                      <a:pt x="267891" y="78949"/>
                    </a:moveTo>
                    <a:cubicBezTo>
                      <a:pt x="265510" y="81330"/>
                      <a:pt x="265510" y="81330"/>
                      <a:pt x="265510" y="81330"/>
                    </a:cubicBezTo>
                    <a:cubicBezTo>
                      <a:pt x="263128" y="81330"/>
                      <a:pt x="263128" y="81330"/>
                      <a:pt x="263128" y="81330"/>
                    </a:cubicBezTo>
                    <a:cubicBezTo>
                      <a:pt x="263128" y="78949"/>
                      <a:pt x="265510" y="76567"/>
                      <a:pt x="267891" y="78949"/>
                    </a:cubicBezTo>
                    <a:close/>
                    <a:moveTo>
                      <a:pt x="175022" y="28942"/>
                    </a:moveTo>
                    <a:cubicBezTo>
                      <a:pt x="175022" y="31323"/>
                      <a:pt x="175022" y="31323"/>
                      <a:pt x="175022" y="31323"/>
                    </a:cubicBezTo>
                    <a:cubicBezTo>
                      <a:pt x="172641" y="31323"/>
                      <a:pt x="172641" y="31323"/>
                      <a:pt x="172641" y="31323"/>
                    </a:cubicBezTo>
                    <a:cubicBezTo>
                      <a:pt x="175022" y="28942"/>
                      <a:pt x="175022" y="28942"/>
                      <a:pt x="175022" y="28942"/>
                    </a:cubicBezTo>
                    <a:close/>
                    <a:moveTo>
                      <a:pt x="204788" y="24180"/>
                    </a:moveTo>
                    <a:cubicBezTo>
                      <a:pt x="207169" y="28943"/>
                      <a:pt x="207169" y="28943"/>
                      <a:pt x="202406" y="31324"/>
                    </a:cubicBezTo>
                    <a:cubicBezTo>
                      <a:pt x="200025" y="31324"/>
                      <a:pt x="190500" y="28943"/>
                      <a:pt x="195263" y="26561"/>
                    </a:cubicBezTo>
                    <a:cubicBezTo>
                      <a:pt x="197644" y="26561"/>
                      <a:pt x="197644" y="28943"/>
                      <a:pt x="200025" y="28943"/>
                    </a:cubicBezTo>
                    <a:cubicBezTo>
                      <a:pt x="202406" y="28943"/>
                      <a:pt x="202406" y="24180"/>
                      <a:pt x="204788" y="24180"/>
                    </a:cubicBezTo>
                    <a:close/>
                    <a:moveTo>
                      <a:pt x="47662" y="7054"/>
                    </a:moveTo>
                    <a:cubicBezTo>
                      <a:pt x="45393" y="13855"/>
                      <a:pt x="38584" y="11588"/>
                      <a:pt x="34044" y="16121"/>
                    </a:cubicBezTo>
                    <a:cubicBezTo>
                      <a:pt x="31775" y="18388"/>
                      <a:pt x="34044" y="27456"/>
                      <a:pt x="38584" y="29723"/>
                    </a:cubicBezTo>
                    <a:cubicBezTo>
                      <a:pt x="34044" y="27456"/>
                      <a:pt x="38584" y="36524"/>
                      <a:pt x="38584" y="38791"/>
                    </a:cubicBezTo>
                    <a:cubicBezTo>
                      <a:pt x="40853" y="41058"/>
                      <a:pt x="36314" y="45592"/>
                      <a:pt x="31775" y="50126"/>
                    </a:cubicBezTo>
                    <a:cubicBezTo>
                      <a:pt x="29505" y="52393"/>
                      <a:pt x="27236" y="56927"/>
                      <a:pt x="29505" y="61461"/>
                    </a:cubicBezTo>
                    <a:cubicBezTo>
                      <a:pt x="29505" y="63728"/>
                      <a:pt x="29505" y="65995"/>
                      <a:pt x="31775" y="68262"/>
                    </a:cubicBezTo>
                    <a:cubicBezTo>
                      <a:pt x="34044" y="70529"/>
                      <a:pt x="34044" y="68262"/>
                      <a:pt x="34044" y="70529"/>
                    </a:cubicBezTo>
                    <a:cubicBezTo>
                      <a:pt x="34044" y="77329"/>
                      <a:pt x="38584" y="79596"/>
                      <a:pt x="43123" y="75062"/>
                    </a:cubicBezTo>
                    <a:cubicBezTo>
                      <a:pt x="47662" y="72796"/>
                      <a:pt x="49932" y="68262"/>
                      <a:pt x="49932" y="63728"/>
                    </a:cubicBezTo>
                    <a:cubicBezTo>
                      <a:pt x="49932" y="56927"/>
                      <a:pt x="47662" y="54660"/>
                      <a:pt x="43123" y="47859"/>
                    </a:cubicBezTo>
                    <a:cubicBezTo>
                      <a:pt x="43123" y="45592"/>
                      <a:pt x="40853" y="43325"/>
                      <a:pt x="40853" y="41058"/>
                    </a:cubicBezTo>
                    <a:cubicBezTo>
                      <a:pt x="40853" y="38791"/>
                      <a:pt x="40853" y="36524"/>
                      <a:pt x="40853" y="34257"/>
                    </a:cubicBezTo>
                    <a:cubicBezTo>
                      <a:pt x="43123" y="34257"/>
                      <a:pt x="45393" y="31990"/>
                      <a:pt x="47662" y="29723"/>
                    </a:cubicBezTo>
                    <a:cubicBezTo>
                      <a:pt x="49932" y="27456"/>
                      <a:pt x="54471" y="25189"/>
                      <a:pt x="56741" y="25189"/>
                    </a:cubicBezTo>
                    <a:cubicBezTo>
                      <a:pt x="61280" y="22922"/>
                      <a:pt x="63550" y="22922"/>
                      <a:pt x="68089" y="20655"/>
                    </a:cubicBezTo>
                    <a:cubicBezTo>
                      <a:pt x="68089" y="20655"/>
                      <a:pt x="72628" y="18388"/>
                      <a:pt x="72628" y="18388"/>
                    </a:cubicBezTo>
                    <a:cubicBezTo>
                      <a:pt x="72628" y="18388"/>
                      <a:pt x="72628" y="16121"/>
                      <a:pt x="72628" y="16121"/>
                    </a:cubicBezTo>
                    <a:cubicBezTo>
                      <a:pt x="72628" y="16121"/>
                      <a:pt x="79437" y="20655"/>
                      <a:pt x="79437" y="18388"/>
                    </a:cubicBezTo>
                    <a:cubicBezTo>
                      <a:pt x="81707" y="16121"/>
                      <a:pt x="79437" y="13855"/>
                      <a:pt x="79437" y="13855"/>
                    </a:cubicBezTo>
                    <a:cubicBezTo>
                      <a:pt x="81707" y="20655"/>
                      <a:pt x="88516" y="16121"/>
                      <a:pt x="95325" y="18388"/>
                    </a:cubicBezTo>
                    <a:cubicBezTo>
                      <a:pt x="99864" y="20655"/>
                      <a:pt x="106673" y="20655"/>
                      <a:pt x="108942" y="27456"/>
                    </a:cubicBezTo>
                    <a:cubicBezTo>
                      <a:pt x="111212" y="31990"/>
                      <a:pt x="106673" y="41058"/>
                      <a:pt x="113482" y="43325"/>
                    </a:cubicBezTo>
                    <a:cubicBezTo>
                      <a:pt x="122560" y="43325"/>
                      <a:pt x="131639" y="41058"/>
                      <a:pt x="140717" y="38791"/>
                    </a:cubicBezTo>
                    <a:cubicBezTo>
                      <a:pt x="147526" y="38791"/>
                      <a:pt x="154335" y="36524"/>
                      <a:pt x="158874" y="43325"/>
                    </a:cubicBezTo>
                    <a:cubicBezTo>
                      <a:pt x="158874" y="45592"/>
                      <a:pt x="161144" y="47859"/>
                      <a:pt x="165683" y="47859"/>
                    </a:cubicBezTo>
                    <a:cubicBezTo>
                      <a:pt x="167953" y="50126"/>
                      <a:pt x="170222" y="50126"/>
                      <a:pt x="172492" y="50126"/>
                    </a:cubicBezTo>
                    <a:cubicBezTo>
                      <a:pt x="172492" y="50126"/>
                      <a:pt x="179301" y="52393"/>
                      <a:pt x="177031" y="52393"/>
                    </a:cubicBezTo>
                    <a:cubicBezTo>
                      <a:pt x="181571" y="54660"/>
                      <a:pt x="186110" y="47859"/>
                      <a:pt x="190649" y="47859"/>
                    </a:cubicBezTo>
                    <a:cubicBezTo>
                      <a:pt x="192919" y="47859"/>
                      <a:pt x="195188" y="43325"/>
                      <a:pt x="197458" y="43325"/>
                    </a:cubicBezTo>
                    <a:cubicBezTo>
                      <a:pt x="199728" y="41058"/>
                      <a:pt x="204267" y="45592"/>
                      <a:pt x="208806" y="43325"/>
                    </a:cubicBezTo>
                    <a:cubicBezTo>
                      <a:pt x="204267" y="38791"/>
                      <a:pt x="197458" y="43325"/>
                      <a:pt x="195188" y="38791"/>
                    </a:cubicBezTo>
                    <a:cubicBezTo>
                      <a:pt x="197458" y="38791"/>
                      <a:pt x="199728" y="38791"/>
                      <a:pt x="199728" y="38791"/>
                    </a:cubicBezTo>
                    <a:cubicBezTo>
                      <a:pt x="204267" y="38791"/>
                      <a:pt x="204267" y="36524"/>
                      <a:pt x="206537" y="36524"/>
                    </a:cubicBezTo>
                    <a:cubicBezTo>
                      <a:pt x="206537" y="36524"/>
                      <a:pt x="206537" y="36524"/>
                      <a:pt x="208806" y="38791"/>
                    </a:cubicBezTo>
                    <a:cubicBezTo>
                      <a:pt x="211076" y="38791"/>
                      <a:pt x="213345" y="38791"/>
                      <a:pt x="215615" y="38791"/>
                    </a:cubicBezTo>
                    <a:cubicBezTo>
                      <a:pt x="226963" y="36524"/>
                      <a:pt x="238312" y="38791"/>
                      <a:pt x="247390" y="36524"/>
                    </a:cubicBezTo>
                    <a:cubicBezTo>
                      <a:pt x="245120" y="38791"/>
                      <a:pt x="240581" y="38791"/>
                      <a:pt x="238312" y="41058"/>
                    </a:cubicBezTo>
                    <a:cubicBezTo>
                      <a:pt x="236042" y="42192"/>
                      <a:pt x="233205" y="41625"/>
                      <a:pt x="230368" y="41342"/>
                    </a:cubicBezTo>
                    <a:lnTo>
                      <a:pt x="228394" y="41834"/>
                    </a:lnTo>
                    <a:lnTo>
                      <a:pt x="222424" y="43325"/>
                    </a:lnTo>
                    <a:cubicBezTo>
                      <a:pt x="224694" y="41058"/>
                      <a:pt x="226963" y="41058"/>
                      <a:pt x="226963" y="43325"/>
                    </a:cubicBezTo>
                    <a:cubicBezTo>
                      <a:pt x="224694" y="43325"/>
                      <a:pt x="224694" y="43325"/>
                      <a:pt x="222424" y="45592"/>
                    </a:cubicBezTo>
                    <a:cubicBezTo>
                      <a:pt x="226963" y="43325"/>
                      <a:pt x="229233" y="45592"/>
                      <a:pt x="229233" y="50126"/>
                    </a:cubicBezTo>
                    <a:cubicBezTo>
                      <a:pt x="229233" y="54660"/>
                      <a:pt x="224694" y="52393"/>
                      <a:pt x="222424" y="52393"/>
                    </a:cubicBezTo>
                    <a:cubicBezTo>
                      <a:pt x="224694" y="56927"/>
                      <a:pt x="231503" y="52393"/>
                      <a:pt x="231503" y="47859"/>
                    </a:cubicBezTo>
                    <a:cubicBezTo>
                      <a:pt x="233772" y="47859"/>
                      <a:pt x="233772" y="52393"/>
                      <a:pt x="233772" y="52393"/>
                    </a:cubicBezTo>
                    <a:cubicBezTo>
                      <a:pt x="233772" y="56927"/>
                      <a:pt x="236042" y="59194"/>
                      <a:pt x="236042" y="61461"/>
                    </a:cubicBezTo>
                    <a:cubicBezTo>
                      <a:pt x="238312" y="59194"/>
                      <a:pt x="238312" y="56927"/>
                      <a:pt x="238312" y="54660"/>
                    </a:cubicBezTo>
                    <a:cubicBezTo>
                      <a:pt x="240581" y="56927"/>
                      <a:pt x="240581" y="61461"/>
                      <a:pt x="238312" y="63728"/>
                    </a:cubicBezTo>
                    <a:cubicBezTo>
                      <a:pt x="240581" y="61461"/>
                      <a:pt x="240581" y="59194"/>
                      <a:pt x="240581" y="56927"/>
                    </a:cubicBezTo>
                    <a:cubicBezTo>
                      <a:pt x="240581" y="56927"/>
                      <a:pt x="242851" y="56927"/>
                      <a:pt x="242851" y="56927"/>
                    </a:cubicBezTo>
                    <a:cubicBezTo>
                      <a:pt x="242851" y="56927"/>
                      <a:pt x="236042" y="52393"/>
                      <a:pt x="240581" y="54660"/>
                    </a:cubicBezTo>
                    <a:cubicBezTo>
                      <a:pt x="242851" y="54660"/>
                      <a:pt x="249660" y="59194"/>
                      <a:pt x="247390" y="61461"/>
                    </a:cubicBezTo>
                    <a:cubicBezTo>
                      <a:pt x="247390" y="61461"/>
                      <a:pt x="249660" y="61461"/>
                      <a:pt x="247390" y="59194"/>
                    </a:cubicBezTo>
                    <a:cubicBezTo>
                      <a:pt x="249660" y="59194"/>
                      <a:pt x="251929" y="59194"/>
                      <a:pt x="251929" y="59194"/>
                    </a:cubicBezTo>
                    <a:cubicBezTo>
                      <a:pt x="249660" y="54660"/>
                      <a:pt x="254199" y="59194"/>
                      <a:pt x="256469" y="61461"/>
                    </a:cubicBezTo>
                    <a:cubicBezTo>
                      <a:pt x="258738" y="63728"/>
                      <a:pt x="263277" y="63728"/>
                      <a:pt x="265547" y="65995"/>
                    </a:cubicBezTo>
                    <a:cubicBezTo>
                      <a:pt x="272356" y="70529"/>
                      <a:pt x="263277" y="70529"/>
                      <a:pt x="261008" y="77329"/>
                    </a:cubicBezTo>
                    <a:cubicBezTo>
                      <a:pt x="263277" y="75062"/>
                      <a:pt x="263277" y="75062"/>
                      <a:pt x="263277" y="75062"/>
                    </a:cubicBezTo>
                    <a:lnTo>
                      <a:pt x="263095" y="78166"/>
                    </a:lnTo>
                    <a:lnTo>
                      <a:pt x="262994" y="79880"/>
                    </a:lnTo>
                    <a:lnTo>
                      <a:pt x="261255" y="85585"/>
                    </a:lnTo>
                    <a:lnTo>
                      <a:pt x="265510" y="81330"/>
                    </a:lnTo>
                    <a:cubicBezTo>
                      <a:pt x="265510" y="83712"/>
                      <a:pt x="264915" y="84307"/>
                      <a:pt x="264022" y="84605"/>
                    </a:cubicBezTo>
                    <a:lnTo>
                      <a:pt x="261157" y="85907"/>
                    </a:lnTo>
                    <a:lnTo>
                      <a:pt x="261101" y="86092"/>
                    </a:lnTo>
                    <a:lnTo>
                      <a:pt x="261008" y="86397"/>
                    </a:lnTo>
                    <a:cubicBezTo>
                      <a:pt x="258738" y="86397"/>
                      <a:pt x="258738" y="88664"/>
                      <a:pt x="256469" y="88664"/>
                    </a:cubicBezTo>
                    <a:cubicBezTo>
                      <a:pt x="256469" y="88664"/>
                      <a:pt x="249660" y="86397"/>
                      <a:pt x="249660" y="88664"/>
                    </a:cubicBezTo>
                    <a:cubicBezTo>
                      <a:pt x="251929" y="88664"/>
                      <a:pt x="256469" y="90931"/>
                      <a:pt x="256469" y="93198"/>
                    </a:cubicBezTo>
                    <a:lnTo>
                      <a:pt x="259400" y="90803"/>
                    </a:lnTo>
                    <a:lnTo>
                      <a:pt x="259589" y="90648"/>
                    </a:lnTo>
                    <a:cubicBezTo>
                      <a:pt x="260440" y="90364"/>
                      <a:pt x="261008" y="90931"/>
                      <a:pt x="261008" y="93198"/>
                    </a:cubicBezTo>
                    <a:cubicBezTo>
                      <a:pt x="263277" y="90931"/>
                      <a:pt x="265547" y="88664"/>
                      <a:pt x="270086" y="88664"/>
                    </a:cubicBezTo>
                    <a:cubicBezTo>
                      <a:pt x="272356" y="86397"/>
                      <a:pt x="272356" y="90931"/>
                      <a:pt x="276895" y="88664"/>
                    </a:cubicBezTo>
                    <a:cubicBezTo>
                      <a:pt x="281435" y="84130"/>
                      <a:pt x="290513" y="95465"/>
                      <a:pt x="288243" y="97732"/>
                    </a:cubicBezTo>
                    <a:cubicBezTo>
                      <a:pt x="285974" y="97732"/>
                      <a:pt x="283704" y="99999"/>
                      <a:pt x="281435" y="102266"/>
                    </a:cubicBezTo>
                    <a:cubicBezTo>
                      <a:pt x="279165" y="104533"/>
                      <a:pt x="274626" y="106800"/>
                      <a:pt x="272356" y="106800"/>
                    </a:cubicBezTo>
                    <a:cubicBezTo>
                      <a:pt x="272356" y="109067"/>
                      <a:pt x="270086" y="111334"/>
                      <a:pt x="270086" y="111334"/>
                    </a:cubicBezTo>
                    <a:cubicBezTo>
                      <a:pt x="267817" y="115868"/>
                      <a:pt x="270086" y="115868"/>
                      <a:pt x="270086" y="120402"/>
                    </a:cubicBezTo>
                    <a:cubicBezTo>
                      <a:pt x="270086" y="122668"/>
                      <a:pt x="272356" y="124935"/>
                      <a:pt x="274626" y="122668"/>
                    </a:cubicBezTo>
                    <a:cubicBezTo>
                      <a:pt x="276895" y="120402"/>
                      <a:pt x="279165" y="124935"/>
                      <a:pt x="276895" y="127202"/>
                    </a:cubicBezTo>
                    <a:cubicBezTo>
                      <a:pt x="274626" y="129469"/>
                      <a:pt x="270086" y="129469"/>
                      <a:pt x="267817" y="131736"/>
                    </a:cubicBezTo>
                    <a:cubicBezTo>
                      <a:pt x="267817" y="134003"/>
                      <a:pt x="265547" y="131736"/>
                      <a:pt x="263277" y="131736"/>
                    </a:cubicBezTo>
                    <a:cubicBezTo>
                      <a:pt x="263277" y="131736"/>
                      <a:pt x="263277" y="134003"/>
                      <a:pt x="261008" y="134003"/>
                    </a:cubicBezTo>
                    <a:cubicBezTo>
                      <a:pt x="254199" y="136270"/>
                      <a:pt x="261008" y="143071"/>
                      <a:pt x="256469" y="147605"/>
                    </a:cubicBezTo>
                    <a:cubicBezTo>
                      <a:pt x="256469" y="147605"/>
                      <a:pt x="251929" y="152139"/>
                      <a:pt x="254199" y="154406"/>
                    </a:cubicBezTo>
                    <a:cubicBezTo>
                      <a:pt x="256469" y="156673"/>
                      <a:pt x="258738" y="161207"/>
                      <a:pt x="261008" y="165741"/>
                    </a:cubicBezTo>
                    <a:cubicBezTo>
                      <a:pt x="265547" y="170274"/>
                      <a:pt x="272356" y="177075"/>
                      <a:pt x="265547" y="181609"/>
                    </a:cubicBezTo>
                    <a:cubicBezTo>
                      <a:pt x="263277" y="181609"/>
                      <a:pt x="261008" y="186143"/>
                      <a:pt x="258738" y="186143"/>
                    </a:cubicBezTo>
                    <a:cubicBezTo>
                      <a:pt x="258738" y="188410"/>
                      <a:pt x="254199" y="186143"/>
                      <a:pt x="254199" y="188410"/>
                    </a:cubicBezTo>
                    <a:cubicBezTo>
                      <a:pt x="251929" y="190677"/>
                      <a:pt x="249660" y="188410"/>
                      <a:pt x="249660" y="190677"/>
                    </a:cubicBezTo>
                    <a:cubicBezTo>
                      <a:pt x="249660" y="192944"/>
                      <a:pt x="245120" y="192944"/>
                      <a:pt x="242851" y="195211"/>
                    </a:cubicBezTo>
                    <a:cubicBezTo>
                      <a:pt x="238312" y="195211"/>
                      <a:pt x="236042" y="197478"/>
                      <a:pt x="231503" y="197478"/>
                    </a:cubicBezTo>
                    <a:cubicBezTo>
                      <a:pt x="229233" y="195211"/>
                      <a:pt x="226963" y="197478"/>
                      <a:pt x="224694" y="199745"/>
                    </a:cubicBezTo>
                    <a:cubicBezTo>
                      <a:pt x="220154" y="199745"/>
                      <a:pt x="220154" y="202012"/>
                      <a:pt x="222424" y="204279"/>
                    </a:cubicBezTo>
                    <a:cubicBezTo>
                      <a:pt x="222424" y="208813"/>
                      <a:pt x="220154" y="211080"/>
                      <a:pt x="215615" y="208813"/>
                    </a:cubicBezTo>
                    <a:cubicBezTo>
                      <a:pt x="215615" y="206546"/>
                      <a:pt x="213345" y="204279"/>
                      <a:pt x="211076" y="202012"/>
                    </a:cubicBezTo>
                    <a:cubicBezTo>
                      <a:pt x="208806" y="199745"/>
                      <a:pt x="206537" y="204279"/>
                      <a:pt x="204267" y="202012"/>
                    </a:cubicBezTo>
                    <a:cubicBezTo>
                      <a:pt x="201997" y="202012"/>
                      <a:pt x="199728" y="202012"/>
                      <a:pt x="197458" y="202012"/>
                    </a:cubicBezTo>
                    <a:cubicBezTo>
                      <a:pt x="192919" y="202012"/>
                      <a:pt x="195188" y="202012"/>
                      <a:pt x="192919" y="199745"/>
                    </a:cubicBezTo>
                    <a:cubicBezTo>
                      <a:pt x="192919" y="195211"/>
                      <a:pt x="188379" y="195211"/>
                      <a:pt x="186110" y="197478"/>
                    </a:cubicBezTo>
                    <a:cubicBezTo>
                      <a:pt x="181571" y="197478"/>
                      <a:pt x="181571" y="192944"/>
                      <a:pt x="179301" y="192944"/>
                    </a:cubicBezTo>
                    <a:cubicBezTo>
                      <a:pt x="177031" y="195211"/>
                      <a:pt x="181571" y="199745"/>
                      <a:pt x="181571" y="202012"/>
                    </a:cubicBezTo>
                    <a:cubicBezTo>
                      <a:pt x="186110" y="206546"/>
                      <a:pt x="190649" y="208813"/>
                      <a:pt x="190649" y="215614"/>
                    </a:cubicBezTo>
                    <a:cubicBezTo>
                      <a:pt x="190649" y="217880"/>
                      <a:pt x="190649" y="220147"/>
                      <a:pt x="190649" y="222414"/>
                    </a:cubicBezTo>
                    <a:cubicBezTo>
                      <a:pt x="190649" y="224681"/>
                      <a:pt x="195188" y="226948"/>
                      <a:pt x="195188" y="231482"/>
                    </a:cubicBezTo>
                    <a:cubicBezTo>
                      <a:pt x="192919" y="236016"/>
                      <a:pt x="192919" y="238283"/>
                      <a:pt x="199728" y="238283"/>
                    </a:cubicBezTo>
                    <a:cubicBezTo>
                      <a:pt x="201997" y="238283"/>
                      <a:pt x="208806" y="236016"/>
                      <a:pt x="206537" y="240550"/>
                    </a:cubicBezTo>
                    <a:cubicBezTo>
                      <a:pt x="206537" y="245084"/>
                      <a:pt x="204267" y="245084"/>
                      <a:pt x="199728" y="247351"/>
                    </a:cubicBezTo>
                    <a:cubicBezTo>
                      <a:pt x="197458" y="249618"/>
                      <a:pt x="195188" y="249618"/>
                      <a:pt x="192919" y="251885"/>
                    </a:cubicBezTo>
                    <a:cubicBezTo>
                      <a:pt x="192919" y="254152"/>
                      <a:pt x="192919" y="256419"/>
                      <a:pt x="190649" y="258686"/>
                    </a:cubicBezTo>
                    <a:cubicBezTo>
                      <a:pt x="190649" y="260953"/>
                      <a:pt x="188379" y="260953"/>
                      <a:pt x="186110" y="263220"/>
                    </a:cubicBezTo>
                    <a:cubicBezTo>
                      <a:pt x="186110" y="258686"/>
                      <a:pt x="179301" y="265486"/>
                      <a:pt x="177031" y="267753"/>
                    </a:cubicBezTo>
                    <a:cubicBezTo>
                      <a:pt x="172492" y="267753"/>
                      <a:pt x="170222" y="270020"/>
                      <a:pt x="167953" y="272287"/>
                    </a:cubicBezTo>
                    <a:cubicBezTo>
                      <a:pt x="165683" y="274554"/>
                      <a:pt x="163413" y="281355"/>
                      <a:pt x="161144" y="281355"/>
                    </a:cubicBezTo>
                    <a:cubicBezTo>
                      <a:pt x="158874" y="279088"/>
                      <a:pt x="161144" y="276821"/>
                      <a:pt x="161144" y="274554"/>
                    </a:cubicBezTo>
                    <a:cubicBezTo>
                      <a:pt x="158874" y="270020"/>
                      <a:pt x="154335" y="274554"/>
                      <a:pt x="152065" y="274554"/>
                    </a:cubicBezTo>
                    <a:cubicBezTo>
                      <a:pt x="145256" y="281355"/>
                      <a:pt x="138448" y="274554"/>
                      <a:pt x="133908" y="267753"/>
                    </a:cubicBezTo>
                    <a:cubicBezTo>
                      <a:pt x="131639" y="265486"/>
                      <a:pt x="131639" y="260953"/>
                      <a:pt x="129369" y="256419"/>
                    </a:cubicBezTo>
                    <a:cubicBezTo>
                      <a:pt x="129369" y="251885"/>
                      <a:pt x="124830" y="247351"/>
                      <a:pt x="124830" y="242817"/>
                    </a:cubicBezTo>
                    <a:cubicBezTo>
                      <a:pt x="124830" y="238283"/>
                      <a:pt x="115751" y="226948"/>
                      <a:pt x="111212" y="229215"/>
                    </a:cubicBezTo>
                    <a:cubicBezTo>
                      <a:pt x="111212" y="224681"/>
                      <a:pt x="118021" y="220147"/>
                      <a:pt x="120290" y="217880"/>
                    </a:cubicBezTo>
                    <a:cubicBezTo>
                      <a:pt x="124830" y="215614"/>
                      <a:pt x="122560" y="211080"/>
                      <a:pt x="118021" y="206546"/>
                    </a:cubicBezTo>
                    <a:cubicBezTo>
                      <a:pt x="111212" y="197478"/>
                      <a:pt x="113482" y="181609"/>
                      <a:pt x="113482" y="172541"/>
                    </a:cubicBezTo>
                    <a:cubicBezTo>
                      <a:pt x="113482" y="168008"/>
                      <a:pt x="113482" y="165741"/>
                      <a:pt x="115751" y="163474"/>
                    </a:cubicBezTo>
                    <a:cubicBezTo>
                      <a:pt x="118021" y="161207"/>
                      <a:pt x="118021" y="158940"/>
                      <a:pt x="118021" y="156673"/>
                    </a:cubicBezTo>
                    <a:cubicBezTo>
                      <a:pt x="120290" y="154406"/>
                      <a:pt x="122560" y="152139"/>
                      <a:pt x="122560" y="149872"/>
                    </a:cubicBezTo>
                    <a:cubicBezTo>
                      <a:pt x="124830" y="147605"/>
                      <a:pt x="118021" y="143071"/>
                      <a:pt x="115751" y="143071"/>
                    </a:cubicBezTo>
                    <a:cubicBezTo>
                      <a:pt x="111212" y="145338"/>
                      <a:pt x="106673" y="147605"/>
                      <a:pt x="104403" y="147605"/>
                    </a:cubicBezTo>
                    <a:cubicBezTo>
                      <a:pt x="102133" y="147605"/>
                      <a:pt x="97594" y="147605"/>
                      <a:pt x="93055" y="147605"/>
                    </a:cubicBezTo>
                    <a:cubicBezTo>
                      <a:pt x="88516" y="147605"/>
                      <a:pt x="88516" y="147605"/>
                      <a:pt x="86246" y="147605"/>
                    </a:cubicBezTo>
                    <a:cubicBezTo>
                      <a:pt x="79437" y="147605"/>
                      <a:pt x="79437" y="147605"/>
                      <a:pt x="79437" y="147605"/>
                    </a:cubicBezTo>
                    <a:cubicBezTo>
                      <a:pt x="77167" y="145338"/>
                      <a:pt x="77167" y="143071"/>
                      <a:pt x="74898" y="140804"/>
                    </a:cubicBezTo>
                    <a:cubicBezTo>
                      <a:pt x="72628" y="136270"/>
                      <a:pt x="70359" y="134003"/>
                      <a:pt x="68089" y="131736"/>
                    </a:cubicBezTo>
                    <a:cubicBezTo>
                      <a:pt x="68089" y="129469"/>
                      <a:pt x="65819" y="127202"/>
                      <a:pt x="63550" y="127202"/>
                    </a:cubicBezTo>
                    <a:cubicBezTo>
                      <a:pt x="61280" y="129469"/>
                      <a:pt x="56741" y="124935"/>
                      <a:pt x="54471" y="124935"/>
                    </a:cubicBezTo>
                    <a:cubicBezTo>
                      <a:pt x="49932" y="124935"/>
                      <a:pt x="49932" y="127202"/>
                      <a:pt x="47662" y="127202"/>
                    </a:cubicBezTo>
                    <a:cubicBezTo>
                      <a:pt x="43123" y="127202"/>
                      <a:pt x="40853" y="124935"/>
                      <a:pt x="36314" y="127202"/>
                    </a:cubicBezTo>
                    <a:cubicBezTo>
                      <a:pt x="34044" y="127202"/>
                      <a:pt x="34044" y="124935"/>
                      <a:pt x="31775" y="127202"/>
                    </a:cubicBezTo>
                    <a:cubicBezTo>
                      <a:pt x="29505" y="127202"/>
                      <a:pt x="24966" y="127202"/>
                      <a:pt x="24966" y="124935"/>
                    </a:cubicBezTo>
                    <a:cubicBezTo>
                      <a:pt x="22696" y="122668"/>
                      <a:pt x="22696" y="120402"/>
                      <a:pt x="22696" y="120402"/>
                    </a:cubicBezTo>
                    <a:cubicBezTo>
                      <a:pt x="20427" y="115868"/>
                      <a:pt x="18157" y="118135"/>
                      <a:pt x="15887" y="115868"/>
                    </a:cubicBezTo>
                    <a:cubicBezTo>
                      <a:pt x="13618" y="111334"/>
                      <a:pt x="15887" y="104533"/>
                      <a:pt x="18157" y="102266"/>
                    </a:cubicBezTo>
                    <a:cubicBezTo>
                      <a:pt x="22696" y="95465"/>
                      <a:pt x="15887" y="90931"/>
                      <a:pt x="13618" y="86397"/>
                    </a:cubicBezTo>
                    <a:cubicBezTo>
                      <a:pt x="11348" y="84130"/>
                      <a:pt x="13618" y="72796"/>
                      <a:pt x="6809" y="75062"/>
                    </a:cubicBezTo>
                    <a:cubicBezTo>
                      <a:pt x="9078" y="72796"/>
                      <a:pt x="6809" y="72796"/>
                      <a:pt x="6809" y="70529"/>
                    </a:cubicBezTo>
                    <a:cubicBezTo>
                      <a:pt x="4539" y="72796"/>
                      <a:pt x="2270" y="75062"/>
                      <a:pt x="0" y="75062"/>
                    </a:cubicBezTo>
                    <a:cubicBezTo>
                      <a:pt x="4539" y="68262"/>
                      <a:pt x="6809" y="61461"/>
                      <a:pt x="9078" y="52393"/>
                    </a:cubicBezTo>
                    <a:cubicBezTo>
                      <a:pt x="11348" y="43325"/>
                      <a:pt x="13618" y="38791"/>
                      <a:pt x="15887" y="31990"/>
                    </a:cubicBezTo>
                    <a:cubicBezTo>
                      <a:pt x="20427" y="25189"/>
                      <a:pt x="27236" y="22922"/>
                      <a:pt x="31775" y="16121"/>
                    </a:cubicBezTo>
                    <a:cubicBezTo>
                      <a:pt x="34044" y="9321"/>
                      <a:pt x="40853" y="11588"/>
                      <a:pt x="47662" y="7054"/>
                    </a:cubicBezTo>
                    <a:close/>
                    <a:moveTo>
                      <a:pt x="77167" y="253"/>
                    </a:moveTo>
                    <a:cubicBezTo>
                      <a:pt x="81707" y="2520"/>
                      <a:pt x="79437" y="9321"/>
                      <a:pt x="79437" y="13855"/>
                    </a:cubicBezTo>
                    <a:cubicBezTo>
                      <a:pt x="77167" y="11588"/>
                      <a:pt x="72628" y="13855"/>
                      <a:pt x="70359" y="13855"/>
                    </a:cubicBezTo>
                    <a:cubicBezTo>
                      <a:pt x="70359" y="11588"/>
                      <a:pt x="68089" y="-2014"/>
                      <a:pt x="77167" y="253"/>
                    </a:cubicBezTo>
                    <a:close/>
                  </a:path>
                </a:pathLst>
              </a:custGeom>
              <a:grpFill/>
              <a:ln w="3175">
                <a:solidFill>
                  <a:schemeClr val="accent2">
                    <a:lumMod val="75000"/>
                  </a:schemeClr>
                </a:solidFill>
              </a:ln>
            </p:spPr>
            <p:txBody>
              <a:bodyPr vert="horz" wrap="square" lIns="91273" tIns="45637" rIns="91273" bIns="4563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97" b="0" i="0" u="none" strike="noStrike" kern="1200" cap="none" spc="0" normalizeH="0" baseline="0" noProof="0" dirty="0">
                  <a:ln>
                    <a:noFill/>
                  </a:ln>
                  <a:solidFill>
                    <a:srgbClr val="000000"/>
                  </a:solidFill>
                  <a:effectLst/>
                  <a:uLnTx/>
                  <a:uFillTx/>
                  <a:latin typeface="Calibri"/>
                  <a:ea typeface="+mn-ea"/>
                  <a:cs typeface="+mn-cs"/>
                </a:endParaRPr>
              </a:p>
            </p:txBody>
          </p:sp>
          <p:sp>
            <p:nvSpPr>
              <p:cNvPr id="168" name="Uruguay">
                <a:extLst>
                  <a:ext uri="{FF2B5EF4-FFF2-40B4-BE49-F238E27FC236}">
                    <a16:creationId xmlns:a16="http://schemas.microsoft.com/office/drawing/2014/main" id="{BE94950F-434B-D401-2943-0319FCDE5039}"/>
                  </a:ext>
                </a:extLst>
              </p:cNvPr>
              <p:cNvSpPr>
                <a:spLocks/>
              </p:cNvSpPr>
              <p:nvPr/>
            </p:nvSpPr>
            <p:spPr bwMode="auto">
              <a:xfrm>
                <a:off x="2583423" y="4094681"/>
                <a:ext cx="114054" cy="120121"/>
              </a:xfrm>
              <a:custGeom>
                <a:avLst/>
                <a:gdLst/>
                <a:ahLst/>
                <a:cxnLst>
                  <a:cxn ang="0">
                    <a:pos x="0" y="5"/>
                  </a:cxn>
                  <a:cxn ang="0">
                    <a:pos x="2" y="1"/>
                  </a:cxn>
                  <a:cxn ang="0">
                    <a:pos x="6" y="2"/>
                  </a:cxn>
                  <a:cxn ang="0">
                    <a:pos x="8" y="0"/>
                  </a:cxn>
                  <a:cxn ang="0">
                    <a:pos x="13" y="3"/>
                  </a:cxn>
                  <a:cxn ang="0">
                    <a:pos x="18" y="8"/>
                  </a:cxn>
                  <a:cxn ang="0">
                    <a:pos x="19" y="10"/>
                  </a:cxn>
                  <a:cxn ang="0">
                    <a:pos x="21" y="8"/>
                  </a:cxn>
                  <a:cxn ang="0">
                    <a:pos x="27" y="13"/>
                  </a:cxn>
                  <a:cxn ang="0">
                    <a:pos x="29" y="14"/>
                  </a:cxn>
                  <a:cxn ang="0">
                    <a:pos x="33" y="16"/>
                  </a:cxn>
                  <a:cxn ang="0">
                    <a:pos x="36" y="19"/>
                  </a:cxn>
                  <a:cxn ang="0">
                    <a:pos x="40" y="21"/>
                  </a:cxn>
                  <a:cxn ang="0">
                    <a:pos x="46" y="26"/>
                  </a:cxn>
                  <a:cxn ang="0">
                    <a:pos x="46" y="31"/>
                  </a:cxn>
                  <a:cxn ang="0">
                    <a:pos x="47" y="39"/>
                  </a:cxn>
                  <a:cxn ang="0">
                    <a:pos x="46" y="45"/>
                  </a:cxn>
                  <a:cxn ang="0">
                    <a:pos x="41" y="48"/>
                  </a:cxn>
                  <a:cxn ang="0">
                    <a:pos x="39" y="51"/>
                  </a:cxn>
                  <a:cxn ang="0">
                    <a:pos x="34" y="51"/>
                  </a:cxn>
                  <a:cxn ang="0">
                    <a:pos x="28" y="51"/>
                  </a:cxn>
                  <a:cxn ang="0">
                    <a:pos x="25" y="52"/>
                  </a:cxn>
                  <a:cxn ang="0">
                    <a:pos x="23" y="50"/>
                  </a:cxn>
                  <a:cxn ang="0">
                    <a:pos x="18" y="49"/>
                  </a:cxn>
                  <a:cxn ang="0">
                    <a:pos x="13" y="47"/>
                  </a:cxn>
                  <a:cxn ang="0">
                    <a:pos x="8" y="46"/>
                  </a:cxn>
                  <a:cxn ang="0">
                    <a:pos x="3" y="41"/>
                  </a:cxn>
                  <a:cxn ang="0">
                    <a:pos x="3" y="32"/>
                  </a:cxn>
                  <a:cxn ang="0">
                    <a:pos x="3" y="28"/>
                  </a:cxn>
                  <a:cxn ang="0">
                    <a:pos x="1" y="25"/>
                  </a:cxn>
                  <a:cxn ang="0">
                    <a:pos x="2" y="23"/>
                  </a:cxn>
                  <a:cxn ang="0">
                    <a:pos x="1" y="19"/>
                  </a:cxn>
                  <a:cxn ang="0">
                    <a:pos x="1" y="14"/>
                  </a:cxn>
                  <a:cxn ang="0">
                    <a:pos x="1" y="9"/>
                  </a:cxn>
                  <a:cxn ang="0">
                    <a:pos x="0" y="5"/>
                  </a:cxn>
                </a:cxnLst>
                <a:rect l="0" t="0" r="r" b="b"/>
                <a:pathLst>
                  <a:path w="49" h="52">
                    <a:moveTo>
                      <a:pt x="0" y="5"/>
                    </a:moveTo>
                    <a:cubicBezTo>
                      <a:pt x="1" y="3"/>
                      <a:pt x="2" y="2"/>
                      <a:pt x="2" y="1"/>
                    </a:cubicBezTo>
                    <a:cubicBezTo>
                      <a:pt x="3" y="2"/>
                      <a:pt x="4" y="2"/>
                      <a:pt x="6" y="2"/>
                    </a:cubicBezTo>
                    <a:cubicBezTo>
                      <a:pt x="6" y="1"/>
                      <a:pt x="6" y="0"/>
                      <a:pt x="8" y="0"/>
                    </a:cubicBezTo>
                    <a:cubicBezTo>
                      <a:pt x="9" y="0"/>
                      <a:pt x="11" y="2"/>
                      <a:pt x="13" y="3"/>
                    </a:cubicBezTo>
                    <a:cubicBezTo>
                      <a:pt x="14" y="4"/>
                      <a:pt x="18" y="6"/>
                      <a:pt x="18" y="8"/>
                    </a:cubicBezTo>
                    <a:cubicBezTo>
                      <a:pt x="18" y="9"/>
                      <a:pt x="18" y="11"/>
                      <a:pt x="19" y="10"/>
                    </a:cubicBezTo>
                    <a:cubicBezTo>
                      <a:pt x="20" y="10"/>
                      <a:pt x="22" y="9"/>
                      <a:pt x="21" y="8"/>
                    </a:cubicBezTo>
                    <a:cubicBezTo>
                      <a:pt x="23" y="8"/>
                      <a:pt x="26" y="13"/>
                      <a:pt x="27" y="13"/>
                    </a:cubicBezTo>
                    <a:cubicBezTo>
                      <a:pt x="28" y="12"/>
                      <a:pt x="28" y="13"/>
                      <a:pt x="29" y="14"/>
                    </a:cubicBezTo>
                    <a:cubicBezTo>
                      <a:pt x="31" y="15"/>
                      <a:pt x="32" y="15"/>
                      <a:pt x="33" y="16"/>
                    </a:cubicBezTo>
                    <a:cubicBezTo>
                      <a:pt x="34" y="17"/>
                      <a:pt x="35" y="18"/>
                      <a:pt x="36" y="19"/>
                    </a:cubicBezTo>
                    <a:cubicBezTo>
                      <a:pt x="37" y="19"/>
                      <a:pt x="39" y="20"/>
                      <a:pt x="40" y="21"/>
                    </a:cubicBezTo>
                    <a:cubicBezTo>
                      <a:pt x="42" y="23"/>
                      <a:pt x="43" y="25"/>
                      <a:pt x="46" y="26"/>
                    </a:cubicBezTo>
                    <a:cubicBezTo>
                      <a:pt x="49" y="28"/>
                      <a:pt x="47" y="29"/>
                      <a:pt x="46" y="31"/>
                    </a:cubicBezTo>
                    <a:cubicBezTo>
                      <a:pt x="45" y="33"/>
                      <a:pt x="45" y="37"/>
                      <a:pt x="47" y="39"/>
                    </a:cubicBezTo>
                    <a:cubicBezTo>
                      <a:pt x="48" y="39"/>
                      <a:pt x="46" y="43"/>
                      <a:pt x="46" y="45"/>
                    </a:cubicBezTo>
                    <a:cubicBezTo>
                      <a:pt x="45" y="46"/>
                      <a:pt x="43" y="50"/>
                      <a:pt x="41" y="48"/>
                    </a:cubicBezTo>
                    <a:cubicBezTo>
                      <a:pt x="42" y="50"/>
                      <a:pt x="40" y="50"/>
                      <a:pt x="39" y="51"/>
                    </a:cubicBezTo>
                    <a:cubicBezTo>
                      <a:pt x="37" y="52"/>
                      <a:pt x="36" y="52"/>
                      <a:pt x="34" y="51"/>
                    </a:cubicBezTo>
                    <a:cubicBezTo>
                      <a:pt x="32" y="51"/>
                      <a:pt x="30" y="50"/>
                      <a:pt x="28" y="51"/>
                    </a:cubicBezTo>
                    <a:cubicBezTo>
                      <a:pt x="27" y="51"/>
                      <a:pt x="26" y="52"/>
                      <a:pt x="25" y="52"/>
                    </a:cubicBezTo>
                    <a:cubicBezTo>
                      <a:pt x="24" y="52"/>
                      <a:pt x="24" y="51"/>
                      <a:pt x="23" y="50"/>
                    </a:cubicBezTo>
                    <a:cubicBezTo>
                      <a:pt x="22" y="50"/>
                      <a:pt x="20" y="50"/>
                      <a:pt x="18" y="49"/>
                    </a:cubicBezTo>
                    <a:cubicBezTo>
                      <a:pt x="16" y="48"/>
                      <a:pt x="15" y="46"/>
                      <a:pt x="13" y="47"/>
                    </a:cubicBezTo>
                    <a:cubicBezTo>
                      <a:pt x="11" y="47"/>
                      <a:pt x="10" y="47"/>
                      <a:pt x="8" y="46"/>
                    </a:cubicBezTo>
                    <a:cubicBezTo>
                      <a:pt x="7" y="44"/>
                      <a:pt x="4" y="43"/>
                      <a:pt x="3" y="41"/>
                    </a:cubicBezTo>
                    <a:cubicBezTo>
                      <a:pt x="2" y="39"/>
                      <a:pt x="1" y="33"/>
                      <a:pt x="3" y="32"/>
                    </a:cubicBezTo>
                    <a:cubicBezTo>
                      <a:pt x="5" y="32"/>
                      <a:pt x="3" y="29"/>
                      <a:pt x="3" y="28"/>
                    </a:cubicBezTo>
                    <a:cubicBezTo>
                      <a:pt x="2" y="27"/>
                      <a:pt x="2" y="26"/>
                      <a:pt x="1" y="25"/>
                    </a:cubicBezTo>
                    <a:cubicBezTo>
                      <a:pt x="1" y="25"/>
                      <a:pt x="2" y="24"/>
                      <a:pt x="2" y="23"/>
                    </a:cubicBezTo>
                    <a:cubicBezTo>
                      <a:pt x="1" y="22"/>
                      <a:pt x="0" y="20"/>
                      <a:pt x="1" y="19"/>
                    </a:cubicBezTo>
                    <a:cubicBezTo>
                      <a:pt x="2" y="17"/>
                      <a:pt x="0" y="15"/>
                      <a:pt x="1" y="14"/>
                    </a:cubicBezTo>
                    <a:cubicBezTo>
                      <a:pt x="1" y="13"/>
                      <a:pt x="1" y="9"/>
                      <a:pt x="1" y="9"/>
                    </a:cubicBezTo>
                    <a:cubicBezTo>
                      <a:pt x="2" y="8"/>
                      <a:pt x="0" y="6"/>
                      <a:pt x="0" y="5"/>
                    </a:cubicBezTo>
                  </a:path>
                </a:pathLst>
              </a:custGeom>
              <a:grpFill/>
              <a:ln w="3175">
                <a:solidFill>
                  <a:schemeClr val="accent2">
                    <a:lumMod val="75000"/>
                  </a:schemeClr>
                </a:solidFill>
              </a:ln>
            </p:spPr>
            <p:txBody>
              <a:bodyPr vert="horz" wrap="square" lIns="91273" tIns="45637" rIns="91273" bIns="4563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97" b="0" i="0" u="none" strike="noStrike" kern="1200" cap="none" spc="0" normalizeH="0" baseline="0" noProof="0" dirty="0">
                  <a:ln>
                    <a:noFill/>
                  </a:ln>
                  <a:solidFill>
                    <a:srgbClr val="000000"/>
                  </a:solidFill>
                  <a:effectLst/>
                  <a:uLnTx/>
                  <a:uFillTx/>
                  <a:latin typeface="Calibri"/>
                  <a:ea typeface="+mn-ea"/>
                  <a:cs typeface="+mn-cs"/>
                </a:endParaRPr>
              </a:p>
            </p:txBody>
          </p:sp>
          <p:sp>
            <p:nvSpPr>
              <p:cNvPr id="169" name="United States of America">
                <a:extLst>
                  <a:ext uri="{FF2B5EF4-FFF2-40B4-BE49-F238E27FC236}">
                    <a16:creationId xmlns:a16="http://schemas.microsoft.com/office/drawing/2014/main" id="{49EDB8CC-338B-0E53-2A96-8847B83279BF}"/>
                  </a:ext>
                </a:extLst>
              </p:cNvPr>
              <p:cNvSpPr>
                <a:spLocks noEditPoints="1"/>
              </p:cNvSpPr>
              <p:nvPr/>
            </p:nvSpPr>
            <p:spPr bwMode="auto">
              <a:xfrm>
                <a:off x="668553" y="1625459"/>
                <a:ext cx="1833574" cy="1103594"/>
              </a:xfrm>
              <a:custGeom>
                <a:avLst/>
                <a:gdLst>
                  <a:gd name="T0" fmla="*/ 101 w 1914"/>
                  <a:gd name="T1" fmla="*/ 399 h 1152"/>
                  <a:gd name="T2" fmla="*/ 168 w 1914"/>
                  <a:gd name="T3" fmla="*/ 394 h 1152"/>
                  <a:gd name="T4" fmla="*/ 637 w 1914"/>
                  <a:gd name="T5" fmla="*/ 249 h 1152"/>
                  <a:gd name="T6" fmla="*/ 246 w 1914"/>
                  <a:gd name="T7" fmla="*/ 370 h 1152"/>
                  <a:gd name="T8" fmla="*/ 343 w 1914"/>
                  <a:gd name="T9" fmla="*/ 359 h 1152"/>
                  <a:gd name="T10" fmla="*/ 397 w 1914"/>
                  <a:gd name="T11" fmla="*/ 330 h 1152"/>
                  <a:gd name="T12" fmla="*/ 440 w 1914"/>
                  <a:gd name="T13" fmla="*/ 310 h 1152"/>
                  <a:gd name="T14" fmla="*/ 415 w 1914"/>
                  <a:gd name="T15" fmla="*/ 136 h 1152"/>
                  <a:gd name="T16" fmla="*/ 597 w 1914"/>
                  <a:gd name="T17" fmla="*/ 253 h 1152"/>
                  <a:gd name="T18" fmla="*/ 534 w 1914"/>
                  <a:gd name="T19" fmla="*/ 264 h 1152"/>
                  <a:gd name="T20" fmla="*/ 517 w 1914"/>
                  <a:gd name="T21" fmla="*/ 252 h 1152"/>
                  <a:gd name="T22" fmla="*/ 395 w 1914"/>
                  <a:gd name="T23" fmla="*/ 314 h 1152"/>
                  <a:gd name="T24" fmla="*/ 261 w 1914"/>
                  <a:gd name="T25" fmla="*/ 362 h 1152"/>
                  <a:gd name="T26" fmla="*/ 241 w 1914"/>
                  <a:gd name="T27" fmla="*/ 362 h 1152"/>
                  <a:gd name="T28" fmla="*/ 381 w 1914"/>
                  <a:gd name="T29" fmla="*/ 281 h 1152"/>
                  <a:gd name="T30" fmla="*/ 343 w 1914"/>
                  <a:gd name="T31" fmla="*/ 253 h 1152"/>
                  <a:gd name="T32" fmla="*/ 336 w 1914"/>
                  <a:gd name="T33" fmla="*/ 238 h 1152"/>
                  <a:gd name="T34" fmla="*/ 372 w 1914"/>
                  <a:gd name="T35" fmla="*/ 197 h 1152"/>
                  <a:gd name="T36" fmla="*/ 460 w 1914"/>
                  <a:gd name="T37" fmla="*/ 152 h 1152"/>
                  <a:gd name="T38" fmla="*/ 515 w 1914"/>
                  <a:gd name="T39" fmla="*/ 103 h 1152"/>
                  <a:gd name="T40" fmla="*/ 541 w 1914"/>
                  <a:gd name="T41" fmla="*/ 83 h 1152"/>
                  <a:gd name="T42" fmla="*/ 795 w 1914"/>
                  <a:gd name="T43" fmla="*/ 2 h 1152"/>
                  <a:gd name="T44" fmla="*/ 933 w 1914"/>
                  <a:gd name="T45" fmla="*/ 27 h 1152"/>
                  <a:gd name="T46" fmla="*/ 769 w 1914"/>
                  <a:gd name="T47" fmla="*/ 275 h 1152"/>
                  <a:gd name="T48" fmla="*/ 810 w 1914"/>
                  <a:gd name="T49" fmla="*/ 376 h 1152"/>
                  <a:gd name="T50" fmla="*/ 801 w 1914"/>
                  <a:gd name="T51" fmla="*/ 345 h 1152"/>
                  <a:gd name="T52" fmla="*/ 803 w 1914"/>
                  <a:gd name="T53" fmla="*/ 291 h 1152"/>
                  <a:gd name="T54" fmla="*/ 776 w 1914"/>
                  <a:gd name="T55" fmla="*/ 298 h 1152"/>
                  <a:gd name="T56" fmla="*/ 714 w 1914"/>
                  <a:gd name="T57" fmla="*/ 258 h 1152"/>
                  <a:gd name="T58" fmla="*/ 628 w 1914"/>
                  <a:gd name="T59" fmla="*/ 233 h 1152"/>
                  <a:gd name="T60" fmla="*/ 302 w 1914"/>
                  <a:gd name="T61" fmla="*/ 186 h 1152"/>
                  <a:gd name="T62" fmla="*/ 1538 w 1914"/>
                  <a:gd name="T63" fmla="*/ 613 h 1152"/>
                  <a:gd name="T64" fmla="*/ 761 w 1914"/>
                  <a:gd name="T65" fmla="*/ 595 h 1152"/>
                  <a:gd name="T66" fmla="*/ 1852 w 1914"/>
                  <a:gd name="T67" fmla="*/ 658 h 1152"/>
                  <a:gd name="T68" fmla="*/ 1805 w 1914"/>
                  <a:gd name="T69" fmla="*/ 715 h 1152"/>
                  <a:gd name="T70" fmla="*/ 1719 w 1914"/>
                  <a:gd name="T71" fmla="*/ 744 h 1152"/>
                  <a:gd name="T72" fmla="*/ 1663 w 1914"/>
                  <a:gd name="T73" fmla="*/ 807 h 1152"/>
                  <a:gd name="T74" fmla="*/ 1657 w 1914"/>
                  <a:gd name="T75" fmla="*/ 785 h 1152"/>
                  <a:gd name="T76" fmla="*/ 1643 w 1914"/>
                  <a:gd name="T77" fmla="*/ 831 h 1152"/>
                  <a:gd name="T78" fmla="*/ 1639 w 1914"/>
                  <a:gd name="T79" fmla="*/ 869 h 1152"/>
                  <a:gd name="T80" fmla="*/ 1586 w 1914"/>
                  <a:gd name="T81" fmla="*/ 913 h 1152"/>
                  <a:gd name="T82" fmla="*/ 1495 w 1914"/>
                  <a:gd name="T83" fmla="*/ 975 h 1152"/>
                  <a:gd name="T84" fmla="*/ 1472 w 1914"/>
                  <a:gd name="T85" fmla="*/ 1152 h 1152"/>
                  <a:gd name="T86" fmla="*/ 1438 w 1914"/>
                  <a:gd name="T87" fmla="*/ 1077 h 1152"/>
                  <a:gd name="T88" fmla="*/ 1361 w 1914"/>
                  <a:gd name="T89" fmla="*/ 1010 h 1152"/>
                  <a:gd name="T90" fmla="*/ 1305 w 1914"/>
                  <a:gd name="T91" fmla="*/ 1022 h 1152"/>
                  <a:gd name="T92" fmla="*/ 1250 w 1914"/>
                  <a:gd name="T93" fmla="*/ 1026 h 1152"/>
                  <a:gd name="T94" fmla="*/ 1135 w 1914"/>
                  <a:gd name="T95" fmla="*/ 1057 h 1152"/>
                  <a:gd name="T96" fmla="*/ 1087 w 1914"/>
                  <a:gd name="T97" fmla="*/ 1122 h 1152"/>
                  <a:gd name="T98" fmla="*/ 944 w 1914"/>
                  <a:gd name="T99" fmla="*/ 975 h 1152"/>
                  <a:gd name="T100" fmla="*/ 683 w 1914"/>
                  <a:gd name="T101" fmla="*/ 904 h 1152"/>
                  <a:gd name="T102" fmla="*/ 654 w 1914"/>
                  <a:gd name="T103" fmla="*/ 811 h 1152"/>
                  <a:gd name="T104" fmla="*/ 728 w 1914"/>
                  <a:gd name="T105" fmla="*/ 644 h 1152"/>
                  <a:gd name="T106" fmla="*/ 815 w 1914"/>
                  <a:gd name="T107" fmla="*/ 555 h 1152"/>
                  <a:gd name="T108" fmla="*/ 1073 w 1914"/>
                  <a:gd name="T109" fmla="*/ 528 h 1152"/>
                  <a:gd name="T110" fmla="*/ 1461 w 1914"/>
                  <a:gd name="T111" fmla="*/ 552 h 1152"/>
                  <a:gd name="T112" fmla="*/ 1558 w 1914"/>
                  <a:gd name="T113" fmla="*/ 592 h 1152"/>
                  <a:gd name="T114" fmla="*/ 1497 w 1914"/>
                  <a:gd name="T115" fmla="*/ 629 h 1152"/>
                  <a:gd name="T116" fmla="*/ 1530 w 1914"/>
                  <a:gd name="T117" fmla="*/ 633 h 1152"/>
                  <a:gd name="T118" fmla="*/ 1558 w 1914"/>
                  <a:gd name="T119" fmla="*/ 691 h 1152"/>
                  <a:gd name="T120" fmla="*/ 1710 w 1914"/>
                  <a:gd name="T121" fmla="*/ 659 h 1152"/>
                  <a:gd name="T122" fmla="*/ 1903 w 1914"/>
                  <a:gd name="T123" fmla="*/ 573 h 1152"/>
                  <a:gd name="T124" fmla="*/ 1628 w 1914"/>
                  <a:gd name="T125" fmla="*/ 888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14" h="1152">
                    <a:moveTo>
                      <a:pt x="0" y="432"/>
                    </a:moveTo>
                    <a:lnTo>
                      <a:pt x="4" y="431"/>
                    </a:lnTo>
                    <a:lnTo>
                      <a:pt x="6" y="430"/>
                    </a:lnTo>
                    <a:lnTo>
                      <a:pt x="10" y="428"/>
                    </a:lnTo>
                    <a:lnTo>
                      <a:pt x="6" y="430"/>
                    </a:lnTo>
                    <a:lnTo>
                      <a:pt x="0" y="432"/>
                    </a:lnTo>
                    <a:lnTo>
                      <a:pt x="0" y="432"/>
                    </a:lnTo>
                    <a:close/>
                    <a:moveTo>
                      <a:pt x="44" y="417"/>
                    </a:moveTo>
                    <a:lnTo>
                      <a:pt x="42" y="416"/>
                    </a:lnTo>
                    <a:lnTo>
                      <a:pt x="42" y="416"/>
                    </a:lnTo>
                    <a:lnTo>
                      <a:pt x="41" y="416"/>
                    </a:lnTo>
                    <a:lnTo>
                      <a:pt x="41" y="416"/>
                    </a:lnTo>
                    <a:lnTo>
                      <a:pt x="39" y="416"/>
                    </a:lnTo>
                    <a:lnTo>
                      <a:pt x="39" y="416"/>
                    </a:lnTo>
                    <a:lnTo>
                      <a:pt x="37" y="416"/>
                    </a:lnTo>
                    <a:lnTo>
                      <a:pt x="35" y="416"/>
                    </a:lnTo>
                    <a:lnTo>
                      <a:pt x="32" y="417"/>
                    </a:lnTo>
                    <a:lnTo>
                      <a:pt x="30" y="420"/>
                    </a:lnTo>
                    <a:lnTo>
                      <a:pt x="29" y="421"/>
                    </a:lnTo>
                    <a:lnTo>
                      <a:pt x="27" y="422"/>
                    </a:lnTo>
                    <a:lnTo>
                      <a:pt x="26" y="422"/>
                    </a:lnTo>
                    <a:lnTo>
                      <a:pt x="26" y="422"/>
                    </a:lnTo>
                    <a:lnTo>
                      <a:pt x="24" y="423"/>
                    </a:lnTo>
                    <a:lnTo>
                      <a:pt x="20" y="425"/>
                    </a:lnTo>
                    <a:lnTo>
                      <a:pt x="14" y="427"/>
                    </a:lnTo>
                    <a:lnTo>
                      <a:pt x="10" y="428"/>
                    </a:lnTo>
                    <a:lnTo>
                      <a:pt x="11" y="428"/>
                    </a:lnTo>
                    <a:lnTo>
                      <a:pt x="22" y="426"/>
                    </a:lnTo>
                    <a:lnTo>
                      <a:pt x="26" y="425"/>
                    </a:lnTo>
                    <a:lnTo>
                      <a:pt x="32" y="422"/>
                    </a:lnTo>
                    <a:lnTo>
                      <a:pt x="39" y="421"/>
                    </a:lnTo>
                    <a:lnTo>
                      <a:pt x="44" y="417"/>
                    </a:lnTo>
                    <a:lnTo>
                      <a:pt x="44" y="417"/>
                    </a:lnTo>
                    <a:close/>
                    <a:moveTo>
                      <a:pt x="81" y="406"/>
                    </a:moveTo>
                    <a:lnTo>
                      <a:pt x="80" y="407"/>
                    </a:lnTo>
                    <a:lnTo>
                      <a:pt x="80" y="407"/>
                    </a:lnTo>
                    <a:lnTo>
                      <a:pt x="77" y="408"/>
                    </a:lnTo>
                    <a:lnTo>
                      <a:pt x="77" y="408"/>
                    </a:lnTo>
                    <a:lnTo>
                      <a:pt x="77" y="407"/>
                    </a:lnTo>
                    <a:lnTo>
                      <a:pt x="77" y="407"/>
                    </a:lnTo>
                    <a:lnTo>
                      <a:pt x="77" y="406"/>
                    </a:lnTo>
                    <a:lnTo>
                      <a:pt x="80" y="405"/>
                    </a:lnTo>
                    <a:lnTo>
                      <a:pt x="80" y="404"/>
                    </a:lnTo>
                    <a:lnTo>
                      <a:pt x="80" y="402"/>
                    </a:lnTo>
                    <a:lnTo>
                      <a:pt x="80" y="402"/>
                    </a:lnTo>
                    <a:lnTo>
                      <a:pt x="77" y="402"/>
                    </a:lnTo>
                    <a:lnTo>
                      <a:pt x="76" y="404"/>
                    </a:lnTo>
                    <a:lnTo>
                      <a:pt x="72" y="405"/>
                    </a:lnTo>
                    <a:lnTo>
                      <a:pt x="71" y="405"/>
                    </a:lnTo>
                    <a:lnTo>
                      <a:pt x="71" y="406"/>
                    </a:lnTo>
                    <a:lnTo>
                      <a:pt x="70" y="406"/>
                    </a:lnTo>
                    <a:lnTo>
                      <a:pt x="67" y="407"/>
                    </a:lnTo>
                    <a:lnTo>
                      <a:pt x="67" y="407"/>
                    </a:lnTo>
                    <a:lnTo>
                      <a:pt x="67" y="408"/>
                    </a:lnTo>
                    <a:lnTo>
                      <a:pt x="67" y="408"/>
                    </a:lnTo>
                    <a:lnTo>
                      <a:pt x="67" y="410"/>
                    </a:lnTo>
                    <a:lnTo>
                      <a:pt x="70" y="410"/>
                    </a:lnTo>
                    <a:lnTo>
                      <a:pt x="70" y="410"/>
                    </a:lnTo>
                    <a:lnTo>
                      <a:pt x="71" y="411"/>
                    </a:lnTo>
                    <a:lnTo>
                      <a:pt x="70" y="411"/>
                    </a:lnTo>
                    <a:lnTo>
                      <a:pt x="70" y="412"/>
                    </a:lnTo>
                    <a:lnTo>
                      <a:pt x="67" y="412"/>
                    </a:lnTo>
                    <a:lnTo>
                      <a:pt x="67" y="412"/>
                    </a:lnTo>
                    <a:lnTo>
                      <a:pt x="67" y="411"/>
                    </a:lnTo>
                    <a:lnTo>
                      <a:pt x="66" y="411"/>
                    </a:lnTo>
                    <a:lnTo>
                      <a:pt x="66" y="411"/>
                    </a:lnTo>
                    <a:lnTo>
                      <a:pt x="65" y="411"/>
                    </a:lnTo>
                    <a:lnTo>
                      <a:pt x="65" y="412"/>
                    </a:lnTo>
                    <a:lnTo>
                      <a:pt x="63" y="412"/>
                    </a:lnTo>
                    <a:lnTo>
                      <a:pt x="63" y="413"/>
                    </a:lnTo>
                    <a:lnTo>
                      <a:pt x="62" y="413"/>
                    </a:lnTo>
                    <a:lnTo>
                      <a:pt x="61" y="413"/>
                    </a:lnTo>
                    <a:lnTo>
                      <a:pt x="61" y="413"/>
                    </a:lnTo>
                    <a:lnTo>
                      <a:pt x="60" y="415"/>
                    </a:lnTo>
                    <a:lnTo>
                      <a:pt x="60" y="416"/>
                    </a:lnTo>
                    <a:lnTo>
                      <a:pt x="58" y="416"/>
                    </a:lnTo>
                    <a:lnTo>
                      <a:pt x="56" y="416"/>
                    </a:lnTo>
                    <a:lnTo>
                      <a:pt x="56" y="417"/>
                    </a:lnTo>
                    <a:lnTo>
                      <a:pt x="53" y="417"/>
                    </a:lnTo>
                    <a:lnTo>
                      <a:pt x="51" y="418"/>
                    </a:lnTo>
                    <a:lnTo>
                      <a:pt x="49" y="420"/>
                    </a:lnTo>
                    <a:lnTo>
                      <a:pt x="45" y="421"/>
                    </a:lnTo>
                    <a:lnTo>
                      <a:pt x="42" y="421"/>
                    </a:lnTo>
                    <a:lnTo>
                      <a:pt x="41" y="422"/>
                    </a:lnTo>
                    <a:lnTo>
                      <a:pt x="39" y="422"/>
                    </a:lnTo>
                    <a:lnTo>
                      <a:pt x="39" y="422"/>
                    </a:lnTo>
                    <a:lnTo>
                      <a:pt x="37" y="423"/>
                    </a:lnTo>
                    <a:lnTo>
                      <a:pt x="37" y="423"/>
                    </a:lnTo>
                    <a:lnTo>
                      <a:pt x="37" y="423"/>
                    </a:lnTo>
                    <a:lnTo>
                      <a:pt x="39" y="423"/>
                    </a:lnTo>
                    <a:lnTo>
                      <a:pt x="39" y="423"/>
                    </a:lnTo>
                    <a:lnTo>
                      <a:pt x="39" y="423"/>
                    </a:lnTo>
                    <a:lnTo>
                      <a:pt x="41" y="423"/>
                    </a:lnTo>
                    <a:lnTo>
                      <a:pt x="45" y="423"/>
                    </a:lnTo>
                    <a:lnTo>
                      <a:pt x="46" y="422"/>
                    </a:lnTo>
                    <a:lnTo>
                      <a:pt x="50" y="422"/>
                    </a:lnTo>
                    <a:lnTo>
                      <a:pt x="55" y="421"/>
                    </a:lnTo>
                    <a:lnTo>
                      <a:pt x="61" y="418"/>
                    </a:lnTo>
                    <a:lnTo>
                      <a:pt x="61" y="418"/>
                    </a:lnTo>
                    <a:lnTo>
                      <a:pt x="63" y="418"/>
                    </a:lnTo>
                    <a:lnTo>
                      <a:pt x="66" y="417"/>
                    </a:lnTo>
                    <a:lnTo>
                      <a:pt x="67" y="417"/>
                    </a:lnTo>
                    <a:lnTo>
                      <a:pt x="71" y="416"/>
                    </a:lnTo>
                    <a:lnTo>
                      <a:pt x="73" y="416"/>
                    </a:lnTo>
                    <a:lnTo>
                      <a:pt x="75" y="415"/>
                    </a:lnTo>
                    <a:lnTo>
                      <a:pt x="76" y="415"/>
                    </a:lnTo>
                    <a:lnTo>
                      <a:pt x="77" y="413"/>
                    </a:lnTo>
                    <a:lnTo>
                      <a:pt x="77" y="412"/>
                    </a:lnTo>
                    <a:lnTo>
                      <a:pt x="77" y="411"/>
                    </a:lnTo>
                    <a:lnTo>
                      <a:pt x="77" y="411"/>
                    </a:lnTo>
                    <a:lnTo>
                      <a:pt x="77" y="411"/>
                    </a:lnTo>
                    <a:lnTo>
                      <a:pt x="77" y="411"/>
                    </a:lnTo>
                    <a:lnTo>
                      <a:pt x="77" y="411"/>
                    </a:lnTo>
                    <a:lnTo>
                      <a:pt x="75" y="411"/>
                    </a:lnTo>
                    <a:lnTo>
                      <a:pt x="75" y="411"/>
                    </a:lnTo>
                    <a:lnTo>
                      <a:pt x="76" y="410"/>
                    </a:lnTo>
                    <a:lnTo>
                      <a:pt x="77" y="410"/>
                    </a:lnTo>
                    <a:lnTo>
                      <a:pt x="80" y="408"/>
                    </a:lnTo>
                    <a:lnTo>
                      <a:pt x="81" y="407"/>
                    </a:lnTo>
                    <a:lnTo>
                      <a:pt x="83" y="406"/>
                    </a:lnTo>
                    <a:lnTo>
                      <a:pt x="85" y="405"/>
                    </a:lnTo>
                    <a:lnTo>
                      <a:pt x="85" y="405"/>
                    </a:lnTo>
                    <a:lnTo>
                      <a:pt x="85" y="404"/>
                    </a:lnTo>
                    <a:lnTo>
                      <a:pt x="86" y="402"/>
                    </a:lnTo>
                    <a:lnTo>
                      <a:pt x="83" y="405"/>
                    </a:lnTo>
                    <a:lnTo>
                      <a:pt x="81" y="406"/>
                    </a:lnTo>
                    <a:lnTo>
                      <a:pt x="81" y="406"/>
                    </a:lnTo>
                    <a:close/>
                    <a:moveTo>
                      <a:pt x="81" y="408"/>
                    </a:moveTo>
                    <a:lnTo>
                      <a:pt x="81" y="408"/>
                    </a:lnTo>
                    <a:lnTo>
                      <a:pt x="80" y="408"/>
                    </a:lnTo>
                    <a:lnTo>
                      <a:pt x="80" y="410"/>
                    </a:lnTo>
                    <a:lnTo>
                      <a:pt x="80" y="411"/>
                    </a:lnTo>
                    <a:lnTo>
                      <a:pt x="83" y="410"/>
                    </a:lnTo>
                    <a:lnTo>
                      <a:pt x="83" y="410"/>
                    </a:lnTo>
                    <a:lnTo>
                      <a:pt x="85" y="410"/>
                    </a:lnTo>
                    <a:lnTo>
                      <a:pt x="85" y="408"/>
                    </a:lnTo>
                    <a:lnTo>
                      <a:pt x="85" y="408"/>
                    </a:lnTo>
                    <a:lnTo>
                      <a:pt x="86" y="408"/>
                    </a:lnTo>
                    <a:lnTo>
                      <a:pt x="83" y="408"/>
                    </a:lnTo>
                    <a:lnTo>
                      <a:pt x="81" y="408"/>
                    </a:lnTo>
                    <a:lnTo>
                      <a:pt x="81" y="408"/>
                    </a:lnTo>
                    <a:close/>
                    <a:moveTo>
                      <a:pt x="101" y="401"/>
                    </a:moveTo>
                    <a:lnTo>
                      <a:pt x="101" y="401"/>
                    </a:lnTo>
                    <a:lnTo>
                      <a:pt x="101" y="400"/>
                    </a:lnTo>
                    <a:lnTo>
                      <a:pt x="101" y="400"/>
                    </a:lnTo>
                    <a:lnTo>
                      <a:pt x="101" y="399"/>
                    </a:lnTo>
                    <a:lnTo>
                      <a:pt x="101" y="399"/>
                    </a:lnTo>
                    <a:lnTo>
                      <a:pt x="99" y="399"/>
                    </a:lnTo>
                    <a:lnTo>
                      <a:pt x="98" y="399"/>
                    </a:lnTo>
                    <a:lnTo>
                      <a:pt x="97" y="399"/>
                    </a:lnTo>
                    <a:lnTo>
                      <a:pt x="97" y="400"/>
                    </a:lnTo>
                    <a:lnTo>
                      <a:pt x="96" y="400"/>
                    </a:lnTo>
                    <a:lnTo>
                      <a:pt x="93" y="402"/>
                    </a:lnTo>
                    <a:lnTo>
                      <a:pt x="92" y="402"/>
                    </a:lnTo>
                    <a:lnTo>
                      <a:pt x="92" y="402"/>
                    </a:lnTo>
                    <a:lnTo>
                      <a:pt x="92" y="402"/>
                    </a:lnTo>
                    <a:lnTo>
                      <a:pt x="93" y="402"/>
                    </a:lnTo>
                    <a:lnTo>
                      <a:pt x="93" y="402"/>
                    </a:lnTo>
                    <a:lnTo>
                      <a:pt x="96" y="402"/>
                    </a:lnTo>
                    <a:lnTo>
                      <a:pt x="98" y="402"/>
                    </a:lnTo>
                    <a:lnTo>
                      <a:pt x="99" y="402"/>
                    </a:lnTo>
                    <a:lnTo>
                      <a:pt x="101" y="402"/>
                    </a:lnTo>
                    <a:lnTo>
                      <a:pt x="101" y="402"/>
                    </a:lnTo>
                    <a:lnTo>
                      <a:pt x="102" y="401"/>
                    </a:lnTo>
                    <a:lnTo>
                      <a:pt x="101" y="401"/>
                    </a:lnTo>
                    <a:lnTo>
                      <a:pt x="101" y="401"/>
                    </a:lnTo>
                    <a:lnTo>
                      <a:pt x="101" y="401"/>
                    </a:lnTo>
                    <a:close/>
                    <a:moveTo>
                      <a:pt x="108" y="397"/>
                    </a:moveTo>
                    <a:lnTo>
                      <a:pt x="107" y="397"/>
                    </a:lnTo>
                    <a:lnTo>
                      <a:pt x="106" y="397"/>
                    </a:lnTo>
                    <a:lnTo>
                      <a:pt x="106" y="399"/>
                    </a:lnTo>
                    <a:lnTo>
                      <a:pt x="104" y="400"/>
                    </a:lnTo>
                    <a:lnTo>
                      <a:pt x="104" y="401"/>
                    </a:lnTo>
                    <a:lnTo>
                      <a:pt x="104" y="402"/>
                    </a:lnTo>
                    <a:lnTo>
                      <a:pt x="106" y="401"/>
                    </a:lnTo>
                    <a:lnTo>
                      <a:pt x="106" y="401"/>
                    </a:lnTo>
                    <a:lnTo>
                      <a:pt x="107" y="401"/>
                    </a:lnTo>
                    <a:lnTo>
                      <a:pt x="107" y="400"/>
                    </a:lnTo>
                    <a:lnTo>
                      <a:pt x="108" y="399"/>
                    </a:lnTo>
                    <a:lnTo>
                      <a:pt x="109" y="397"/>
                    </a:lnTo>
                    <a:lnTo>
                      <a:pt x="109" y="397"/>
                    </a:lnTo>
                    <a:lnTo>
                      <a:pt x="109" y="397"/>
                    </a:lnTo>
                    <a:lnTo>
                      <a:pt x="108" y="397"/>
                    </a:lnTo>
                    <a:lnTo>
                      <a:pt x="108" y="397"/>
                    </a:lnTo>
                    <a:close/>
                    <a:moveTo>
                      <a:pt x="107" y="402"/>
                    </a:moveTo>
                    <a:lnTo>
                      <a:pt x="106" y="402"/>
                    </a:lnTo>
                    <a:lnTo>
                      <a:pt x="106" y="402"/>
                    </a:lnTo>
                    <a:lnTo>
                      <a:pt x="106" y="402"/>
                    </a:lnTo>
                    <a:lnTo>
                      <a:pt x="104" y="402"/>
                    </a:lnTo>
                    <a:lnTo>
                      <a:pt x="106" y="402"/>
                    </a:lnTo>
                    <a:lnTo>
                      <a:pt x="106" y="402"/>
                    </a:lnTo>
                    <a:lnTo>
                      <a:pt x="106" y="402"/>
                    </a:lnTo>
                    <a:lnTo>
                      <a:pt x="107" y="402"/>
                    </a:lnTo>
                    <a:lnTo>
                      <a:pt x="107" y="402"/>
                    </a:lnTo>
                    <a:lnTo>
                      <a:pt x="107" y="402"/>
                    </a:lnTo>
                    <a:lnTo>
                      <a:pt x="107" y="402"/>
                    </a:lnTo>
                    <a:lnTo>
                      <a:pt x="107" y="402"/>
                    </a:lnTo>
                    <a:lnTo>
                      <a:pt x="107" y="402"/>
                    </a:lnTo>
                    <a:close/>
                    <a:moveTo>
                      <a:pt x="113" y="402"/>
                    </a:moveTo>
                    <a:lnTo>
                      <a:pt x="112" y="402"/>
                    </a:lnTo>
                    <a:lnTo>
                      <a:pt x="112" y="402"/>
                    </a:lnTo>
                    <a:lnTo>
                      <a:pt x="112" y="402"/>
                    </a:lnTo>
                    <a:lnTo>
                      <a:pt x="112" y="402"/>
                    </a:lnTo>
                    <a:lnTo>
                      <a:pt x="113" y="402"/>
                    </a:lnTo>
                    <a:lnTo>
                      <a:pt x="113" y="402"/>
                    </a:lnTo>
                    <a:lnTo>
                      <a:pt x="116" y="402"/>
                    </a:lnTo>
                    <a:lnTo>
                      <a:pt x="116" y="402"/>
                    </a:lnTo>
                    <a:lnTo>
                      <a:pt x="116" y="402"/>
                    </a:lnTo>
                    <a:lnTo>
                      <a:pt x="116" y="402"/>
                    </a:lnTo>
                    <a:lnTo>
                      <a:pt x="113" y="402"/>
                    </a:lnTo>
                    <a:lnTo>
                      <a:pt x="113" y="402"/>
                    </a:lnTo>
                    <a:close/>
                    <a:moveTo>
                      <a:pt x="168" y="387"/>
                    </a:moveTo>
                    <a:lnTo>
                      <a:pt x="167" y="385"/>
                    </a:lnTo>
                    <a:lnTo>
                      <a:pt x="167" y="385"/>
                    </a:lnTo>
                    <a:lnTo>
                      <a:pt x="165" y="384"/>
                    </a:lnTo>
                    <a:lnTo>
                      <a:pt x="165" y="384"/>
                    </a:lnTo>
                    <a:lnTo>
                      <a:pt x="165" y="384"/>
                    </a:lnTo>
                    <a:lnTo>
                      <a:pt x="165" y="381"/>
                    </a:lnTo>
                    <a:lnTo>
                      <a:pt x="167" y="380"/>
                    </a:lnTo>
                    <a:lnTo>
                      <a:pt x="167" y="379"/>
                    </a:lnTo>
                    <a:lnTo>
                      <a:pt x="165" y="379"/>
                    </a:lnTo>
                    <a:lnTo>
                      <a:pt x="164" y="379"/>
                    </a:lnTo>
                    <a:lnTo>
                      <a:pt x="164" y="379"/>
                    </a:lnTo>
                    <a:lnTo>
                      <a:pt x="162" y="379"/>
                    </a:lnTo>
                    <a:lnTo>
                      <a:pt x="160" y="379"/>
                    </a:lnTo>
                    <a:lnTo>
                      <a:pt x="158" y="380"/>
                    </a:lnTo>
                    <a:lnTo>
                      <a:pt x="155" y="380"/>
                    </a:lnTo>
                    <a:lnTo>
                      <a:pt x="154" y="381"/>
                    </a:lnTo>
                    <a:lnTo>
                      <a:pt x="150" y="381"/>
                    </a:lnTo>
                    <a:lnTo>
                      <a:pt x="150" y="381"/>
                    </a:lnTo>
                    <a:lnTo>
                      <a:pt x="148" y="381"/>
                    </a:lnTo>
                    <a:lnTo>
                      <a:pt x="147" y="381"/>
                    </a:lnTo>
                    <a:lnTo>
                      <a:pt x="144" y="384"/>
                    </a:lnTo>
                    <a:lnTo>
                      <a:pt x="143" y="384"/>
                    </a:lnTo>
                    <a:lnTo>
                      <a:pt x="139" y="385"/>
                    </a:lnTo>
                    <a:lnTo>
                      <a:pt x="137" y="387"/>
                    </a:lnTo>
                    <a:lnTo>
                      <a:pt x="134" y="387"/>
                    </a:lnTo>
                    <a:lnTo>
                      <a:pt x="132" y="387"/>
                    </a:lnTo>
                    <a:lnTo>
                      <a:pt x="131" y="387"/>
                    </a:lnTo>
                    <a:lnTo>
                      <a:pt x="131" y="387"/>
                    </a:lnTo>
                    <a:lnTo>
                      <a:pt x="129" y="390"/>
                    </a:lnTo>
                    <a:lnTo>
                      <a:pt x="128" y="391"/>
                    </a:lnTo>
                    <a:lnTo>
                      <a:pt x="127" y="391"/>
                    </a:lnTo>
                    <a:lnTo>
                      <a:pt x="127" y="394"/>
                    </a:lnTo>
                    <a:lnTo>
                      <a:pt x="127" y="394"/>
                    </a:lnTo>
                    <a:lnTo>
                      <a:pt x="128" y="394"/>
                    </a:lnTo>
                    <a:lnTo>
                      <a:pt x="129" y="394"/>
                    </a:lnTo>
                    <a:lnTo>
                      <a:pt x="131" y="394"/>
                    </a:lnTo>
                    <a:lnTo>
                      <a:pt x="132" y="394"/>
                    </a:lnTo>
                    <a:lnTo>
                      <a:pt x="133" y="394"/>
                    </a:lnTo>
                    <a:lnTo>
                      <a:pt x="136" y="394"/>
                    </a:lnTo>
                    <a:lnTo>
                      <a:pt x="138" y="394"/>
                    </a:lnTo>
                    <a:lnTo>
                      <a:pt x="141" y="391"/>
                    </a:lnTo>
                    <a:lnTo>
                      <a:pt x="146" y="387"/>
                    </a:lnTo>
                    <a:lnTo>
                      <a:pt x="147" y="387"/>
                    </a:lnTo>
                    <a:lnTo>
                      <a:pt x="148" y="390"/>
                    </a:lnTo>
                    <a:lnTo>
                      <a:pt x="152" y="390"/>
                    </a:lnTo>
                    <a:lnTo>
                      <a:pt x="154" y="390"/>
                    </a:lnTo>
                    <a:lnTo>
                      <a:pt x="155" y="390"/>
                    </a:lnTo>
                    <a:lnTo>
                      <a:pt x="158" y="390"/>
                    </a:lnTo>
                    <a:lnTo>
                      <a:pt x="159" y="387"/>
                    </a:lnTo>
                    <a:lnTo>
                      <a:pt x="159" y="387"/>
                    </a:lnTo>
                    <a:lnTo>
                      <a:pt x="159" y="387"/>
                    </a:lnTo>
                    <a:lnTo>
                      <a:pt x="160" y="387"/>
                    </a:lnTo>
                    <a:lnTo>
                      <a:pt x="160" y="387"/>
                    </a:lnTo>
                    <a:lnTo>
                      <a:pt x="162" y="387"/>
                    </a:lnTo>
                    <a:lnTo>
                      <a:pt x="164" y="387"/>
                    </a:lnTo>
                    <a:lnTo>
                      <a:pt x="164" y="387"/>
                    </a:lnTo>
                    <a:lnTo>
                      <a:pt x="164" y="387"/>
                    </a:lnTo>
                    <a:lnTo>
                      <a:pt x="165" y="387"/>
                    </a:lnTo>
                    <a:lnTo>
                      <a:pt x="167" y="387"/>
                    </a:lnTo>
                    <a:lnTo>
                      <a:pt x="167" y="387"/>
                    </a:lnTo>
                    <a:lnTo>
                      <a:pt x="168" y="387"/>
                    </a:lnTo>
                    <a:lnTo>
                      <a:pt x="169" y="387"/>
                    </a:lnTo>
                    <a:lnTo>
                      <a:pt x="168" y="387"/>
                    </a:lnTo>
                    <a:lnTo>
                      <a:pt x="168" y="387"/>
                    </a:lnTo>
                    <a:lnTo>
                      <a:pt x="168" y="387"/>
                    </a:lnTo>
                    <a:close/>
                    <a:moveTo>
                      <a:pt x="168" y="394"/>
                    </a:moveTo>
                    <a:lnTo>
                      <a:pt x="168" y="394"/>
                    </a:lnTo>
                    <a:lnTo>
                      <a:pt x="168" y="394"/>
                    </a:lnTo>
                    <a:lnTo>
                      <a:pt x="168" y="394"/>
                    </a:lnTo>
                    <a:lnTo>
                      <a:pt x="168" y="395"/>
                    </a:lnTo>
                    <a:lnTo>
                      <a:pt x="168" y="395"/>
                    </a:lnTo>
                    <a:lnTo>
                      <a:pt x="169" y="395"/>
                    </a:lnTo>
                    <a:lnTo>
                      <a:pt x="169" y="394"/>
                    </a:lnTo>
                    <a:lnTo>
                      <a:pt x="169" y="394"/>
                    </a:lnTo>
                    <a:lnTo>
                      <a:pt x="169" y="394"/>
                    </a:lnTo>
                    <a:lnTo>
                      <a:pt x="169" y="394"/>
                    </a:lnTo>
                    <a:lnTo>
                      <a:pt x="169" y="391"/>
                    </a:lnTo>
                    <a:lnTo>
                      <a:pt x="169" y="391"/>
                    </a:lnTo>
                    <a:lnTo>
                      <a:pt x="169" y="391"/>
                    </a:lnTo>
                    <a:lnTo>
                      <a:pt x="168" y="394"/>
                    </a:lnTo>
                    <a:lnTo>
                      <a:pt x="168" y="394"/>
                    </a:lnTo>
                    <a:close/>
                    <a:moveTo>
                      <a:pt x="190" y="380"/>
                    </a:moveTo>
                    <a:lnTo>
                      <a:pt x="189" y="381"/>
                    </a:lnTo>
                    <a:lnTo>
                      <a:pt x="189" y="381"/>
                    </a:lnTo>
                    <a:lnTo>
                      <a:pt x="189" y="381"/>
                    </a:lnTo>
                    <a:lnTo>
                      <a:pt x="187" y="381"/>
                    </a:lnTo>
                    <a:lnTo>
                      <a:pt x="187" y="384"/>
                    </a:lnTo>
                    <a:lnTo>
                      <a:pt x="187" y="384"/>
                    </a:lnTo>
                    <a:lnTo>
                      <a:pt x="189" y="384"/>
                    </a:lnTo>
                    <a:lnTo>
                      <a:pt x="189" y="384"/>
                    </a:lnTo>
                    <a:lnTo>
                      <a:pt x="189" y="381"/>
                    </a:lnTo>
                    <a:lnTo>
                      <a:pt x="190" y="381"/>
                    </a:lnTo>
                    <a:lnTo>
                      <a:pt x="190" y="381"/>
                    </a:lnTo>
                    <a:lnTo>
                      <a:pt x="190" y="381"/>
                    </a:lnTo>
                    <a:lnTo>
                      <a:pt x="193" y="381"/>
                    </a:lnTo>
                    <a:lnTo>
                      <a:pt x="190" y="381"/>
                    </a:lnTo>
                    <a:lnTo>
                      <a:pt x="190" y="380"/>
                    </a:lnTo>
                    <a:lnTo>
                      <a:pt x="190" y="380"/>
                    </a:lnTo>
                    <a:close/>
                    <a:moveTo>
                      <a:pt x="531" y="273"/>
                    </a:moveTo>
                    <a:lnTo>
                      <a:pt x="529" y="274"/>
                    </a:lnTo>
                    <a:lnTo>
                      <a:pt x="529" y="274"/>
                    </a:lnTo>
                    <a:lnTo>
                      <a:pt x="529" y="274"/>
                    </a:lnTo>
                    <a:lnTo>
                      <a:pt x="529" y="275"/>
                    </a:lnTo>
                    <a:lnTo>
                      <a:pt x="529" y="275"/>
                    </a:lnTo>
                    <a:lnTo>
                      <a:pt x="529" y="274"/>
                    </a:lnTo>
                    <a:lnTo>
                      <a:pt x="531" y="274"/>
                    </a:lnTo>
                    <a:lnTo>
                      <a:pt x="531" y="274"/>
                    </a:lnTo>
                    <a:lnTo>
                      <a:pt x="531" y="274"/>
                    </a:lnTo>
                    <a:lnTo>
                      <a:pt x="531" y="273"/>
                    </a:lnTo>
                    <a:lnTo>
                      <a:pt x="532" y="273"/>
                    </a:lnTo>
                    <a:lnTo>
                      <a:pt x="531" y="273"/>
                    </a:lnTo>
                    <a:lnTo>
                      <a:pt x="531" y="273"/>
                    </a:lnTo>
                    <a:lnTo>
                      <a:pt x="531" y="273"/>
                    </a:lnTo>
                    <a:close/>
                    <a:moveTo>
                      <a:pt x="541" y="249"/>
                    </a:moveTo>
                    <a:lnTo>
                      <a:pt x="540" y="247"/>
                    </a:lnTo>
                    <a:lnTo>
                      <a:pt x="540" y="247"/>
                    </a:lnTo>
                    <a:lnTo>
                      <a:pt x="539" y="247"/>
                    </a:lnTo>
                    <a:lnTo>
                      <a:pt x="539" y="247"/>
                    </a:lnTo>
                    <a:lnTo>
                      <a:pt x="539" y="247"/>
                    </a:lnTo>
                    <a:lnTo>
                      <a:pt x="536" y="249"/>
                    </a:lnTo>
                    <a:lnTo>
                      <a:pt x="539" y="249"/>
                    </a:lnTo>
                    <a:lnTo>
                      <a:pt x="541" y="249"/>
                    </a:lnTo>
                    <a:lnTo>
                      <a:pt x="541" y="249"/>
                    </a:lnTo>
                    <a:close/>
                    <a:moveTo>
                      <a:pt x="536" y="249"/>
                    </a:moveTo>
                    <a:lnTo>
                      <a:pt x="536" y="249"/>
                    </a:lnTo>
                    <a:lnTo>
                      <a:pt x="536" y="249"/>
                    </a:lnTo>
                    <a:lnTo>
                      <a:pt x="535" y="249"/>
                    </a:lnTo>
                    <a:lnTo>
                      <a:pt x="534" y="249"/>
                    </a:lnTo>
                    <a:lnTo>
                      <a:pt x="532" y="250"/>
                    </a:lnTo>
                    <a:lnTo>
                      <a:pt x="534" y="249"/>
                    </a:lnTo>
                    <a:lnTo>
                      <a:pt x="535" y="249"/>
                    </a:lnTo>
                    <a:lnTo>
                      <a:pt x="536" y="249"/>
                    </a:lnTo>
                    <a:lnTo>
                      <a:pt x="536" y="249"/>
                    </a:lnTo>
                    <a:close/>
                    <a:moveTo>
                      <a:pt x="624" y="250"/>
                    </a:moveTo>
                    <a:lnTo>
                      <a:pt x="623" y="250"/>
                    </a:lnTo>
                    <a:lnTo>
                      <a:pt x="623" y="252"/>
                    </a:lnTo>
                    <a:lnTo>
                      <a:pt x="622" y="252"/>
                    </a:lnTo>
                    <a:lnTo>
                      <a:pt x="622" y="250"/>
                    </a:lnTo>
                    <a:lnTo>
                      <a:pt x="622" y="250"/>
                    </a:lnTo>
                    <a:lnTo>
                      <a:pt x="622" y="252"/>
                    </a:lnTo>
                    <a:lnTo>
                      <a:pt x="619" y="253"/>
                    </a:lnTo>
                    <a:lnTo>
                      <a:pt x="617" y="253"/>
                    </a:lnTo>
                    <a:lnTo>
                      <a:pt x="613" y="254"/>
                    </a:lnTo>
                    <a:lnTo>
                      <a:pt x="612" y="257"/>
                    </a:lnTo>
                    <a:lnTo>
                      <a:pt x="609" y="257"/>
                    </a:lnTo>
                    <a:lnTo>
                      <a:pt x="606" y="258"/>
                    </a:lnTo>
                    <a:lnTo>
                      <a:pt x="603" y="258"/>
                    </a:lnTo>
                    <a:lnTo>
                      <a:pt x="602" y="259"/>
                    </a:lnTo>
                    <a:lnTo>
                      <a:pt x="602" y="259"/>
                    </a:lnTo>
                    <a:lnTo>
                      <a:pt x="599" y="260"/>
                    </a:lnTo>
                    <a:lnTo>
                      <a:pt x="598" y="262"/>
                    </a:lnTo>
                    <a:lnTo>
                      <a:pt x="597" y="263"/>
                    </a:lnTo>
                    <a:lnTo>
                      <a:pt x="597" y="263"/>
                    </a:lnTo>
                    <a:lnTo>
                      <a:pt x="598" y="263"/>
                    </a:lnTo>
                    <a:lnTo>
                      <a:pt x="599" y="263"/>
                    </a:lnTo>
                    <a:lnTo>
                      <a:pt x="602" y="263"/>
                    </a:lnTo>
                    <a:lnTo>
                      <a:pt x="603" y="262"/>
                    </a:lnTo>
                    <a:lnTo>
                      <a:pt x="607" y="260"/>
                    </a:lnTo>
                    <a:lnTo>
                      <a:pt x="612" y="258"/>
                    </a:lnTo>
                    <a:lnTo>
                      <a:pt x="612" y="257"/>
                    </a:lnTo>
                    <a:lnTo>
                      <a:pt x="613" y="257"/>
                    </a:lnTo>
                    <a:lnTo>
                      <a:pt x="616" y="257"/>
                    </a:lnTo>
                    <a:lnTo>
                      <a:pt x="617" y="254"/>
                    </a:lnTo>
                    <a:lnTo>
                      <a:pt x="619" y="253"/>
                    </a:lnTo>
                    <a:lnTo>
                      <a:pt x="622" y="253"/>
                    </a:lnTo>
                    <a:lnTo>
                      <a:pt x="623" y="252"/>
                    </a:lnTo>
                    <a:lnTo>
                      <a:pt x="626" y="250"/>
                    </a:lnTo>
                    <a:lnTo>
                      <a:pt x="624" y="250"/>
                    </a:lnTo>
                    <a:lnTo>
                      <a:pt x="624" y="250"/>
                    </a:lnTo>
                    <a:lnTo>
                      <a:pt x="624" y="250"/>
                    </a:lnTo>
                    <a:close/>
                    <a:moveTo>
                      <a:pt x="622" y="250"/>
                    </a:moveTo>
                    <a:lnTo>
                      <a:pt x="622" y="250"/>
                    </a:lnTo>
                    <a:lnTo>
                      <a:pt x="623" y="250"/>
                    </a:lnTo>
                    <a:lnTo>
                      <a:pt x="622" y="250"/>
                    </a:lnTo>
                    <a:lnTo>
                      <a:pt x="622" y="250"/>
                    </a:lnTo>
                    <a:close/>
                    <a:moveTo>
                      <a:pt x="612" y="249"/>
                    </a:moveTo>
                    <a:lnTo>
                      <a:pt x="609" y="250"/>
                    </a:lnTo>
                    <a:lnTo>
                      <a:pt x="609" y="252"/>
                    </a:lnTo>
                    <a:lnTo>
                      <a:pt x="608" y="253"/>
                    </a:lnTo>
                    <a:lnTo>
                      <a:pt x="608" y="254"/>
                    </a:lnTo>
                    <a:lnTo>
                      <a:pt x="609" y="253"/>
                    </a:lnTo>
                    <a:lnTo>
                      <a:pt x="609" y="252"/>
                    </a:lnTo>
                    <a:lnTo>
                      <a:pt x="612" y="250"/>
                    </a:lnTo>
                    <a:lnTo>
                      <a:pt x="612" y="249"/>
                    </a:lnTo>
                    <a:lnTo>
                      <a:pt x="613" y="249"/>
                    </a:lnTo>
                    <a:lnTo>
                      <a:pt x="616" y="249"/>
                    </a:lnTo>
                    <a:lnTo>
                      <a:pt x="616" y="249"/>
                    </a:lnTo>
                    <a:lnTo>
                      <a:pt x="616" y="247"/>
                    </a:lnTo>
                    <a:lnTo>
                      <a:pt x="617" y="247"/>
                    </a:lnTo>
                    <a:lnTo>
                      <a:pt x="617" y="247"/>
                    </a:lnTo>
                    <a:lnTo>
                      <a:pt x="617" y="247"/>
                    </a:lnTo>
                    <a:lnTo>
                      <a:pt x="616" y="247"/>
                    </a:lnTo>
                    <a:lnTo>
                      <a:pt x="612" y="249"/>
                    </a:lnTo>
                    <a:lnTo>
                      <a:pt x="612" y="249"/>
                    </a:lnTo>
                    <a:lnTo>
                      <a:pt x="612" y="249"/>
                    </a:lnTo>
                    <a:close/>
                    <a:moveTo>
                      <a:pt x="618" y="247"/>
                    </a:moveTo>
                    <a:lnTo>
                      <a:pt x="617" y="247"/>
                    </a:lnTo>
                    <a:lnTo>
                      <a:pt x="618" y="247"/>
                    </a:lnTo>
                    <a:lnTo>
                      <a:pt x="618" y="247"/>
                    </a:lnTo>
                    <a:lnTo>
                      <a:pt x="618" y="247"/>
                    </a:lnTo>
                    <a:close/>
                    <a:moveTo>
                      <a:pt x="616" y="243"/>
                    </a:moveTo>
                    <a:lnTo>
                      <a:pt x="616" y="242"/>
                    </a:lnTo>
                    <a:lnTo>
                      <a:pt x="616" y="242"/>
                    </a:lnTo>
                    <a:lnTo>
                      <a:pt x="616" y="240"/>
                    </a:lnTo>
                    <a:lnTo>
                      <a:pt x="616" y="240"/>
                    </a:lnTo>
                    <a:lnTo>
                      <a:pt x="616" y="240"/>
                    </a:lnTo>
                    <a:lnTo>
                      <a:pt x="616" y="240"/>
                    </a:lnTo>
                    <a:lnTo>
                      <a:pt x="613" y="240"/>
                    </a:lnTo>
                    <a:lnTo>
                      <a:pt x="613" y="242"/>
                    </a:lnTo>
                    <a:lnTo>
                      <a:pt x="616" y="242"/>
                    </a:lnTo>
                    <a:lnTo>
                      <a:pt x="616" y="243"/>
                    </a:lnTo>
                    <a:lnTo>
                      <a:pt x="616" y="243"/>
                    </a:lnTo>
                    <a:close/>
                    <a:moveTo>
                      <a:pt x="622" y="237"/>
                    </a:moveTo>
                    <a:lnTo>
                      <a:pt x="622" y="237"/>
                    </a:lnTo>
                    <a:lnTo>
                      <a:pt x="622" y="237"/>
                    </a:lnTo>
                    <a:lnTo>
                      <a:pt x="623" y="237"/>
                    </a:lnTo>
                    <a:lnTo>
                      <a:pt x="622" y="237"/>
                    </a:lnTo>
                    <a:lnTo>
                      <a:pt x="622" y="237"/>
                    </a:lnTo>
                    <a:lnTo>
                      <a:pt x="621" y="237"/>
                    </a:lnTo>
                    <a:lnTo>
                      <a:pt x="619" y="238"/>
                    </a:lnTo>
                    <a:lnTo>
                      <a:pt x="619" y="239"/>
                    </a:lnTo>
                    <a:lnTo>
                      <a:pt x="621" y="238"/>
                    </a:lnTo>
                    <a:lnTo>
                      <a:pt x="622" y="238"/>
                    </a:lnTo>
                    <a:lnTo>
                      <a:pt x="622" y="237"/>
                    </a:lnTo>
                    <a:lnTo>
                      <a:pt x="622" y="237"/>
                    </a:lnTo>
                    <a:close/>
                    <a:moveTo>
                      <a:pt x="637" y="249"/>
                    </a:moveTo>
                    <a:lnTo>
                      <a:pt x="634" y="249"/>
                    </a:lnTo>
                    <a:lnTo>
                      <a:pt x="634" y="249"/>
                    </a:lnTo>
                    <a:lnTo>
                      <a:pt x="633" y="249"/>
                    </a:lnTo>
                    <a:lnTo>
                      <a:pt x="633" y="249"/>
                    </a:lnTo>
                    <a:lnTo>
                      <a:pt x="633" y="250"/>
                    </a:lnTo>
                    <a:lnTo>
                      <a:pt x="632" y="250"/>
                    </a:lnTo>
                    <a:lnTo>
                      <a:pt x="631" y="250"/>
                    </a:lnTo>
                    <a:lnTo>
                      <a:pt x="629" y="252"/>
                    </a:lnTo>
                    <a:lnTo>
                      <a:pt x="629" y="252"/>
                    </a:lnTo>
                    <a:lnTo>
                      <a:pt x="629" y="253"/>
                    </a:lnTo>
                    <a:lnTo>
                      <a:pt x="632" y="252"/>
                    </a:lnTo>
                    <a:lnTo>
                      <a:pt x="634" y="252"/>
                    </a:lnTo>
                    <a:lnTo>
                      <a:pt x="637" y="250"/>
                    </a:lnTo>
                    <a:lnTo>
                      <a:pt x="640" y="249"/>
                    </a:lnTo>
                    <a:lnTo>
                      <a:pt x="642" y="249"/>
                    </a:lnTo>
                    <a:lnTo>
                      <a:pt x="644" y="249"/>
                    </a:lnTo>
                    <a:lnTo>
                      <a:pt x="637" y="249"/>
                    </a:lnTo>
                    <a:lnTo>
                      <a:pt x="637" y="249"/>
                    </a:lnTo>
                    <a:lnTo>
                      <a:pt x="637" y="249"/>
                    </a:lnTo>
                    <a:close/>
                    <a:moveTo>
                      <a:pt x="391" y="342"/>
                    </a:moveTo>
                    <a:lnTo>
                      <a:pt x="393" y="341"/>
                    </a:lnTo>
                    <a:lnTo>
                      <a:pt x="391" y="341"/>
                    </a:lnTo>
                    <a:lnTo>
                      <a:pt x="388" y="341"/>
                    </a:lnTo>
                    <a:lnTo>
                      <a:pt x="387" y="342"/>
                    </a:lnTo>
                    <a:lnTo>
                      <a:pt x="386" y="342"/>
                    </a:lnTo>
                    <a:lnTo>
                      <a:pt x="384" y="342"/>
                    </a:lnTo>
                    <a:lnTo>
                      <a:pt x="384" y="342"/>
                    </a:lnTo>
                    <a:lnTo>
                      <a:pt x="386" y="342"/>
                    </a:lnTo>
                    <a:lnTo>
                      <a:pt x="388" y="342"/>
                    </a:lnTo>
                    <a:lnTo>
                      <a:pt x="389" y="342"/>
                    </a:lnTo>
                    <a:lnTo>
                      <a:pt x="391" y="342"/>
                    </a:lnTo>
                    <a:lnTo>
                      <a:pt x="391" y="342"/>
                    </a:lnTo>
                    <a:lnTo>
                      <a:pt x="391" y="342"/>
                    </a:lnTo>
                    <a:close/>
                    <a:moveTo>
                      <a:pt x="459" y="309"/>
                    </a:moveTo>
                    <a:lnTo>
                      <a:pt x="459" y="309"/>
                    </a:lnTo>
                    <a:lnTo>
                      <a:pt x="458" y="309"/>
                    </a:lnTo>
                    <a:lnTo>
                      <a:pt x="458" y="310"/>
                    </a:lnTo>
                    <a:lnTo>
                      <a:pt x="459" y="310"/>
                    </a:lnTo>
                    <a:lnTo>
                      <a:pt x="459" y="310"/>
                    </a:lnTo>
                    <a:lnTo>
                      <a:pt x="460" y="310"/>
                    </a:lnTo>
                    <a:lnTo>
                      <a:pt x="460" y="310"/>
                    </a:lnTo>
                    <a:lnTo>
                      <a:pt x="461" y="310"/>
                    </a:lnTo>
                    <a:lnTo>
                      <a:pt x="460" y="309"/>
                    </a:lnTo>
                    <a:lnTo>
                      <a:pt x="459" y="309"/>
                    </a:lnTo>
                    <a:lnTo>
                      <a:pt x="459" y="309"/>
                    </a:lnTo>
                    <a:close/>
                    <a:moveTo>
                      <a:pt x="478" y="293"/>
                    </a:moveTo>
                    <a:lnTo>
                      <a:pt x="475" y="293"/>
                    </a:lnTo>
                    <a:lnTo>
                      <a:pt x="474" y="293"/>
                    </a:lnTo>
                    <a:lnTo>
                      <a:pt x="473" y="293"/>
                    </a:lnTo>
                    <a:lnTo>
                      <a:pt x="473" y="294"/>
                    </a:lnTo>
                    <a:lnTo>
                      <a:pt x="473" y="295"/>
                    </a:lnTo>
                    <a:lnTo>
                      <a:pt x="474" y="294"/>
                    </a:lnTo>
                    <a:lnTo>
                      <a:pt x="475" y="294"/>
                    </a:lnTo>
                    <a:lnTo>
                      <a:pt x="476" y="294"/>
                    </a:lnTo>
                    <a:lnTo>
                      <a:pt x="478" y="294"/>
                    </a:lnTo>
                    <a:lnTo>
                      <a:pt x="479" y="293"/>
                    </a:lnTo>
                    <a:lnTo>
                      <a:pt x="480" y="293"/>
                    </a:lnTo>
                    <a:lnTo>
                      <a:pt x="478" y="293"/>
                    </a:lnTo>
                    <a:lnTo>
                      <a:pt x="478" y="293"/>
                    </a:lnTo>
                    <a:lnTo>
                      <a:pt x="478" y="293"/>
                    </a:lnTo>
                    <a:close/>
                    <a:moveTo>
                      <a:pt x="204" y="376"/>
                    </a:moveTo>
                    <a:lnTo>
                      <a:pt x="205" y="376"/>
                    </a:lnTo>
                    <a:lnTo>
                      <a:pt x="204" y="376"/>
                    </a:lnTo>
                    <a:lnTo>
                      <a:pt x="204" y="376"/>
                    </a:lnTo>
                    <a:lnTo>
                      <a:pt x="204" y="376"/>
                    </a:lnTo>
                    <a:close/>
                    <a:moveTo>
                      <a:pt x="205" y="375"/>
                    </a:moveTo>
                    <a:lnTo>
                      <a:pt x="205" y="376"/>
                    </a:lnTo>
                    <a:lnTo>
                      <a:pt x="205" y="376"/>
                    </a:lnTo>
                    <a:lnTo>
                      <a:pt x="205" y="376"/>
                    </a:lnTo>
                    <a:lnTo>
                      <a:pt x="205" y="377"/>
                    </a:lnTo>
                    <a:lnTo>
                      <a:pt x="205" y="377"/>
                    </a:lnTo>
                    <a:lnTo>
                      <a:pt x="205" y="376"/>
                    </a:lnTo>
                    <a:lnTo>
                      <a:pt x="205" y="376"/>
                    </a:lnTo>
                    <a:lnTo>
                      <a:pt x="205" y="376"/>
                    </a:lnTo>
                    <a:lnTo>
                      <a:pt x="205" y="375"/>
                    </a:lnTo>
                    <a:lnTo>
                      <a:pt x="205" y="375"/>
                    </a:lnTo>
                    <a:close/>
                    <a:moveTo>
                      <a:pt x="231" y="375"/>
                    </a:moveTo>
                    <a:lnTo>
                      <a:pt x="231" y="375"/>
                    </a:lnTo>
                    <a:lnTo>
                      <a:pt x="233" y="372"/>
                    </a:lnTo>
                    <a:lnTo>
                      <a:pt x="234" y="372"/>
                    </a:lnTo>
                    <a:lnTo>
                      <a:pt x="233" y="372"/>
                    </a:lnTo>
                    <a:lnTo>
                      <a:pt x="230" y="372"/>
                    </a:lnTo>
                    <a:lnTo>
                      <a:pt x="231" y="371"/>
                    </a:lnTo>
                    <a:lnTo>
                      <a:pt x="231" y="371"/>
                    </a:lnTo>
                    <a:lnTo>
                      <a:pt x="233" y="370"/>
                    </a:lnTo>
                    <a:lnTo>
                      <a:pt x="231" y="370"/>
                    </a:lnTo>
                    <a:lnTo>
                      <a:pt x="230" y="370"/>
                    </a:lnTo>
                    <a:lnTo>
                      <a:pt x="229" y="371"/>
                    </a:lnTo>
                    <a:lnTo>
                      <a:pt x="228" y="372"/>
                    </a:lnTo>
                    <a:lnTo>
                      <a:pt x="228" y="372"/>
                    </a:lnTo>
                    <a:lnTo>
                      <a:pt x="225" y="372"/>
                    </a:lnTo>
                    <a:lnTo>
                      <a:pt x="225" y="375"/>
                    </a:lnTo>
                    <a:lnTo>
                      <a:pt x="225" y="376"/>
                    </a:lnTo>
                    <a:lnTo>
                      <a:pt x="225" y="376"/>
                    </a:lnTo>
                    <a:lnTo>
                      <a:pt x="225" y="376"/>
                    </a:lnTo>
                    <a:lnTo>
                      <a:pt x="228" y="376"/>
                    </a:lnTo>
                    <a:lnTo>
                      <a:pt x="230" y="376"/>
                    </a:lnTo>
                    <a:lnTo>
                      <a:pt x="231" y="375"/>
                    </a:lnTo>
                    <a:lnTo>
                      <a:pt x="231" y="375"/>
                    </a:lnTo>
                    <a:close/>
                    <a:moveTo>
                      <a:pt x="235" y="371"/>
                    </a:moveTo>
                    <a:lnTo>
                      <a:pt x="235" y="371"/>
                    </a:lnTo>
                    <a:lnTo>
                      <a:pt x="235" y="370"/>
                    </a:lnTo>
                    <a:lnTo>
                      <a:pt x="235" y="371"/>
                    </a:lnTo>
                    <a:lnTo>
                      <a:pt x="234" y="372"/>
                    </a:lnTo>
                    <a:lnTo>
                      <a:pt x="235" y="372"/>
                    </a:lnTo>
                    <a:lnTo>
                      <a:pt x="235" y="371"/>
                    </a:lnTo>
                    <a:lnTo>
                      <a:pt x="235" y="371"/>
                    </a:lnTo>
                    <a:close/>
                    <a:moveTo>
                      <a:pt x="245" y="372"/>
                    </a:moveTo>
                    <a:lnTo>
                      <a:pt x="244" y="372"/>
                    </a:lnTo>
                    <a:lnTo>
                      <a:pt x="241" y="374"/>
                    </a:lnTo>
                    <a:lnTo>
                      <a:pt x="239" y="375"/>
                    </a:lnTo>
                    <a:lnTo>
                      <a:pt x="238" y="376"/>
                    </a:lnTo>
                    <a:lnTo>
                      <a:pt x="238" y="376"/>
                    </a:lnTo>
                    <a:lnTo>
                      <a:pt x="236" y="377"/>
                    </a:lnTo>
                    <a:lnTo>
                      <a:pt x="235" y="377"/>
                    </a:lnTo>
                    <a:lnTo>
                      <a:pt x="235" y="379"/>
                    </a:lnTo>
                    <a:lnTo>
                      <a:pt x="233" y="380"/>
                    </a:lnTo>
                    <a:lnTo>
                      <a:pt x="230" y="381"/>
                    </a:lnTo>
                    <a:lnTo>
                      <a:pt x="233" y="381"/>
                    </a:lnTo>
                    <a:lnTo>
                      <a:pt x="235" y="380"/>
                    </a:lnTo>
                    <a:lnTo>
                      <a:pt x="235" y="380"/>
                    </a:lnTo>
                    <a:lnTo>
                      <a:pt x="236" y="380"/>
                    </a:lnTo>
                    <a:lnTo>
                      <a:pt x="238" y="380"/>
                    </a:lnTo>
                    <a:lnTo>
                      <a:pt x="246" y="372"/>
                    </a:lnTo>
                    <a:lnTo>
                      <a:pt x="245" y="372"/>
                    </a:lnTo>
                    <a:lnTo>
                      <a:pt x="245" y="372"/>
                    </a:lnTo>
                    <a:close/>
                    <a:moveTo>
                      <a:pt x="235" y="372"/>
                    </a:moveTo>
                    <a:lnTo>
                      <a:pt x="235" y="372"/>
                    </a:lnTo>
                    <a:lnTo>
                      <a:pt x="235" y="372"/>
                    </a:lnTo>
                    <a:lnTo>
                      <a:pt x="236" y="372"/>
                    </a:lnTo>
                    <a:lnTo>
                      <a:pt x="238" y="372"/>
                    </a:lnTo>
                    <a:lnTo>
                      <a:pt x="239" y="372"/>
                    </a:lnTo>
                    <a:lnTo>
                      <a:pt x="240" y="372"/>
                    </a:lnTo>
                    <a:lnTo>
                      <a:pt x="239" y="372"/>
                    </a:lnTo>
                    <a:lnTo>
                      <a:pt x="238" y="371"/>
                    </a:lnTo>
                    <a:lnTo>
                      <a:pt x="238" y="371"/>
                    </a:lnTo>
                    <a:lnTo>
                      <a:pt x="236" y="371"/>
                    </a:lnTo>
                    <a:lnTo>
                      <a:pt x="235" y="372"/>
                    </a:lnTo>
                    <a:lnTo>
                      <a:pt x="235" y="372"/>
                    </a:lnTo>
                    <a:lnTo>
                      <a:pt x="235" y="372"/>
                    </a:lnTo>
                    <a:lnTo>
                      <a:pt x="235" y="372"/>
                    </a:lnTo>
                    <a:lnTo>
                      <a:pt x="235" y="372"/>
                    </a:lnTo>
                    <a:close/>
                    <a:moveTo>
                      <a:pt x="243" y="370"/>
                    </a:moveTo>
                    <a:lnTo>
                      <a:pt x="244" y="370"/>
                    </a:lnTo>
                    <a:lnTo>
                      <a:pt x="245" y="370"/>
                    </a:lnTo>
                    <a:lnTo>
                      <a:pt x="246" y="370"/>
                    </a:lnTo>
                    <a:lnTo>
                      <a:pt x="245" y="370"/>
                    </a:lnTo>
                    <a:lnTo>
                      <a:pt x="244" y="369"/>
                    </a:lnTo>
                    <a:lnTo>
                      <a:pt x="243" y="369"/>
                    </a:lnTo>
                    <a:lnTo>
                      <a:pt x="243" y="370"/>
                    </a:lnTo>
                    <a:lnTo>
                      <a:pt x="241" y="370"/>
                    </a:lnTo>
                    <a:lnTo>
                      <a:pt x="240" y="370"/>
                    </a:lnTo>
                    <a:lnTo>
                      <a:pt x="240" y="370"/>
                    </a:lnTo>
                    <a:lnTo>
                      <a:pt x="240" y="370"/>
                    </a:lnTo>
                    <a:lnTo>
                      <a:pt x="241" y="370"/>
                    </a:lnTo>
                    <a:lnTo>
                      <a:pt x="243" y="370"/>
                    </a:lnTo>
                    <a:lnTo>
                      <a:pt x="243" y="370"/>
                    </a:lnTo>
                    <a:close/>
                    <a:moveTo>
                      <a:pt x="250" y="375"/>
                    </a:moveTo>
                    <a:lnTo>
                      <a:pt x="249" y="376"/>
                    </a:lnTo>
                    <a:lnTo>
                      <a:pt x="246" y="377"/>
                    </a:lnTo>
                    <a:lnTo>
                      <a:pt x="246" y="379"/>
                    </a:lnTo>
                    <a:lnTo>
                      <a:pt x="246" y="379"/>
                    </a:lnTo>
                    <a:lnTo>
                      <a:pt x="246" y="379"/>
                    </a:lnTo>
                    <a:lnTo>
                      <a:pt x="249" y="377"/>
                    </a:lnTo>
                    <a:lnTo>
                      <a:pt x="250" y="376"/>
                    </a:lnTo>
                    <a:lnTo>
                      <a:pt x="250" y="375"/>
                    </a:lnTo>
                    <a:lnTo>
                      <a:pt x="250" y="375"/>
                    </a:lnTo>
                    <a:lnTo>
                      <a:pt x="250" y="375"/>
                    </a:lnTo>
                    <a:lnTo>
                      <a:pt x="250" y="375"/>
                    </a:lnTo>
                    <a:close/>
                    <a:moveTo>
                      <a:pt x="246" y="380"/>
                    </a:moveTo>
                    <a:lnTo>
                      <a:pt x="246" y="380"/>
                    </a:lnTo>
                    <a:lnTo>
                      <a:pt x="246" y="381"/>
                    </a:lnTo>
                    <a:lnTo>
                      <a:pt x="246" y="381"/>
                    </a:lnTo>
                    <a:lnTo>
                      <a:pt x="246" y="381"/>
                    </a:lnTo>
                    <a:lnTo>
                      <a:pt x="246" y="381"/>
                    </a:lnTo>
                    <a:lnTo>
                      <a:pt x="246" y="380"/>
                    </a:lnTo>
                    <a:lnTo>
                      <a:pt x="249" y="379"/>
                    </a:lnTo>
                    <a:lnTo>
                      <a:pt x="246" y="379"/>
                    </a:lnTo>
                    <a:lnTo>
                      <a:pt x="246" y="380"/>
                    </a:lnTo>
                    <a:lnTo>
                      <a:pt x="246" y="380"/>
                    </a:lnTo>
                    <a:close/>
                    <a:moveTo>
                      <a:pt x="249" y="258"/>
                    </a:moveTo>
                    <a:lnTo>
                      <a:pt x="249" y="259"/>
                    </a:lnTo>
                    <a:lnTo>
                      <a:pt x="250" y="260"/>
                    </a:lnTo>
                    <a:lnTo>
                      <a:pt x="252" y="262"/>
                    </a:lnTo>
                    <a:lnTo>
                      <a:pt x="254" y="263"/>
                    </a:lnTo>
                    <a:lnTo>
                      <a:pt x="256" y="263"/>
                    </a:lnTo>
                    <a:lnTo>
                      <a:pt x="256" y="264"/>
                    </a:lnTo>
                    <a:lnTo>
                      <a:pt x="256" y="265"/>
                    </a:lnTo>
                    <a:lnTo>
                      <a:pt x="256" y="265"/>
                    </a:lnTo>
                    <a:lnTo>
                      <a:pt x="256" y="267"/>
                    </a:lnTo>
                    <a:lnTo>
                      <a:pt x="257" y="265"/>
                    </a:lnTo>
                    <a:lnTo>
                      <a:pt x="257" y="264"/>
                    </a:lnTo>
                    <a:lnTo>
                      <a:pt x="260" y="263"/>
                    </a:lnTo>
                    <a:lnTo>
                      <a:pt x="262" y="262"/>
                    </a:lnTo>
                    <a:lnTo>
                      <a:pt x="264" y="262"/>
                    </a:lnTo>
                    <a:lnTo>
                      <a:pt x="266" y="262"/>
                    </a:lnTo>
                    <a:lnTo>
                      <a:pt x="267" y="260"/>
                    </a:lnTo>
                    <a:lnTo>
                      <a:pt x="270" y="260"/>
                    </a:lnTo>
                    <a:lnTo>
                      <a:pt x="270" y="260"/>
                    </a:lnTo>
                    <a:lnTo>
                      <a:pt x="271" y="260"/>
                    </a:lnTo>
                    <a:lnTo>
                      <a:pt x="271" y="260"/>
                    </a:lnTo>
                    <a:lnTo>
                      <a:pt x="272" y="260"/>
                    </a:lnTo>
                    <a:lnTo>
                      <a:pt x="272" y="260"/>
                    </a:lnTo>
                    <a:lnTo>
                      <a:pt x="274" y="259"/>
                    </a:lnTo>
                    <a:lnTo>
                      <a:pt x="275" y="258"/>
                    </a:lnTo>
                    <a:lnTo>
                      <a:pt x="277" y="257"/>
                    </a:lnTo>
                    <a:lnTo>
                      <a:pt x="279" y="254"/>
                    </a:lnTo>
                    <a:lnTo>
                      <a:pt x="279" y="253"/>
                    </a:lnTo>
                    <a:lnTo>
                      <a:pt x="280" y="252"/>
                    </a:lnTo>
                    <a:lnTo>
                      <a:pt x="280" y="250"/>
                    </a:lnTo>
                    <a:lnTo>
                      <a:pt x="280" y="250"/>
                    </a:lnTo>
                    <a:lnTo>
                      <a:pt x="280" y="250"/>
                    </a:lnTo>
                    <a:lnTo>
                      <a:pt x="279" y="250"/>
                    </a:lnTo>
                    <a:lnTo>
                      <a:pt x="279" y="250"/>
                    </a:lnTo>
                    <a:lnTo>
                      <a:pt x="279" y="250"/>
                    </a:lnTo>
                    <a:lnTo>
                      <a:pt x="279" y="249"/>
                    </a:lnTo>
                    <a:lnTo>
                      <a:pt x="277" y="249"/>
                    </a:lnTo>
                    <a:lnTo>
                      <a:pt x="276" y="249"/>
                    </a:lnTo>
                    <a:lnTo>
                      <a:pt x="275" y="249"/>
                    </a:lnTo>
                    <a:lnTo>
                      <a:pt x="272" y="250"/>
                    </a:lnTo>
                    <a:lnTo>
                      <a:pt x="272" y="250"/>
                    </a:lnTo>
                    <a:lnTo>
                      <a:pt x="271" y="250"/>
                    </a:lnTo>
                    <a:lnTo>
                      <a:pt x="270" y="250"/>
                    </a:lnTo>
                    <a:lnTo>
                      <a:pt x="270" y="250"/>
                    </a:lnTo>
                    <a:lnTo>
                      <a:pt x="266" y="250"/>
                    </a:lnTo>
                    <a:lnTo>
                      <a:pt x="264" y="250"/>
                    </a:lnTo>
                    <a:lnTo>
                      <a:pt x="264" y="252"/>
                    </a:lnTo>
                    <a:lnTo>
                      <a:pt x="262" y="252"/>
                    </a:lnTo>
                    <a:lnTo>
                      <a:pt x="261" y="253"/>
                    </a:lnTo>
                    <a:lnTo>
                      <a:pt x="261" y="253"/>
                    </a:lnTo>
                    <a:lnTo>
                      <a:pt x="260" y="253"/>
                    </a:lnTo>
                    <a:lnTo>
                      <a:pt x="260" y="253"/>
                    </a:lnTo>
                    <a:lnTo>
                      <a:pt x="257" y="253"/>
                    </a:lnTo>
                    <a:lnTo>
                      <a:pt x="256" y="253"/>
                    </a:lnTo>
                    <a:lnTo>
                      <a:pt x="252" y="253"/>
                    </a:lnTo>
                    <a:lnTo>
                      <a:pt x="250" y="253"/>
                    </a:lnTo>
                    <a:lnTo>
                      <a:pt x="250" y="253"/>
                    </a:lnTo>
                    <a:lnTo>
                      <a:pt x="249" y="253"/>
                    </a:lnTo>
                    <a:lnTo>
                      <a:pt x="249" y="254"/>
                    </a:lnTo>
                    <a:lnTo>
                      <a:pt x="249" y="254"/>
                    </a:lnTo>
                    <a:lnTo>
                      <a:pt x="249" y="257"/>
                    </a:lnTo>
                    <a:lnTo>
                      <a:pt x="249" y="257"/>
                    </a:lnTo>
                    <a:lnTo>
                      <a:pt x="249" y="258"/>
                    </a:lnTo>
                    <a:lnTo>
                      <a:pt x="249" y="258"/>
                    </a:lnTo>
                    <a:lnTo>
                      <a:pt x="249" y="258"/>
                    </a:lnTo>
                    <a:lnTo>
                      <a:pt x="249" y="258"/>
                    </a:lnTo>
                    <a:lnTo>
                      <a:pt x="249" y="258"/>
                    </a:lnTo>
                    <a:close/>
                    <a:moveTo>
                      <a:pt x="321" y="293"/>
                    </a:moveTo>
                    <a:lnTo>
                      <a:pt x="323" y="291"/>
                    </a:lnTo>
                    <a:lnTo>
                      <a:pt x="326" y="289"/>
                    </a:lnTo>
                    <a:lnTo>
                      <a:pt x="327" y="288"/>
                    </a:lnTo>
                    <a:lnTo>
                      <a:pt x="326" y="288"/>
                    </a:lnTo>
                    <a:lnTo>
                      <a:pt x="323" y="289"/>
                    </a:lnTo>
                    <a:lnTo>
                      <a:pt x="321" y="291"/>
                    </a:lnTo>
                    <a:lnTo>
                      <a:pt x="320" y="291"/>
                    </a:lnTo>
                    <a:lnTo>
                      <a:pt x="317" y="291"/>
                    </a:lnTo>
                    <a:lnTo>
                      <a:pt x="317" y="293"/>
                    </a:lnTo>
                    <a:lnTo>
                      <a:pt x="316" y="294"/>
                    </a:lnTo>
                    <a:lnTo>
                      <a:pt x="316" y="294"/>
                    </a:lnTo>
                    <a:lnTo>
                      <a:pt x="316" y="295"/>
                    </a:lnTo>
                    <a:lnTo>
                      <a:pt x="317" y="294"/>
                    </a:lnTo>
                    <a:lnTo>
                      <a:pt x="317" y="294"/>
                    </a:lnTo>
                    <a:lnTo>
                      <a:pt x="321" y="293"/>
                    </a:lnTo>
                    <a:lnTo>
                      <a:pt x="321" y="293"/>
                    </a:lnTo>
                    <a:close/>
                    <a:moveTo>
                      <a:pt x="332" y="341"/>
                    </a:moveTo>
                    <a:lnTo>
                      <a:pt x="331" y="341"/>
                    </a:lnTo>
                    <a:lnTo>
                      <a:pt x="331" y="341"/>
                    </a:lnTo>
                    <a:lnTo>
                      <a:pt x="331" y="342"/>
                    </a:lnTo>
                    <a:lnTo>
                      <a:pt x="331" y="342"/>
                    </a:lnTo>
                    <a:lnTo>
                      <a:pt x="331" y="342"/>
                    </a:lnTo>
                    <a:lnTo>
                      <a:pt x="330" y="342"/>
                    </a:lnTo>
                    <a:lnTo>
                      <a:pt x="330" y="342"/>
                    </a:lnTo>
                    <a:lnTo>
                      <a:pt x="331" y="342"/>
                    </a:lnTo>
                    <a:lnTo>
                      <a:pt x="331" y="342"/>
                    </a:lnTo>
                    <a:lnTo>
                      <a:pt x="331" y="342"/>
                    </a:lnTo>
                    <a:lnTo>
                      <a:pt x="331" y="342"/>
                    </a:lnTo>
                    <a:lnTo>
                      <a:pt x="332" y="342"/>
                    </a:lnTo>
                    <a:lnTo>
                      <a:pt x="332" y="342"/>
                    </a:lnTo>
                    <a:lnTo>
                      <a:pt x="333" y="341"/>
                    </a:lnTo>
                    <a:lnTo>
                      <a:pt x="332" y="341"/>
                    </a:lnTo>
                    <a:lnTo>
                      <a:pt x="332" y="341"/>
                    </a:lnTo>
                    <a:lnTo>
                      <a:pt x="332" y="341"/>
                    </a:lnTo>
                    <a:close/>
                    <a:moveTo>
                      <a:pt x="343" y="359"/>
                    </a:moveTo>
                    <a:lnTo>
                      <a:pt x="342" y="359"/>
                    </a:lnTo>
                    <a:lnTo>
                      <a:pt x="343" y="359"/>
                    </a:lnTo>
                    <a:lnTo>
                      <a:pt x="343" y="359"/>
                    </a:lnTo>
                    <a:lnTo>
                      <a:pt x="343" y="359"/>
                    </a:lnTo>
                    <a:lnTo>
                      <a:pt x="343" y="357"/>
                    </a:lnTo>
                    <a:lnTo>
                      <a:pt x="344" y="357"/>
                    </a:lnTo>
                    <a:lnTo>
                      <a:pt x="343" y="357"/>
                    </a:lnTo>
                    <a:lnTo>
                      <a:pt x="343" y="359"/>
                    </a:lnTo>
                    <a:lnTo>
                      <a:pt x="343" y="359"/>
                    </a:lnTo>
                    <a:close/>
                    <a:moveTo>
                      <a:pt x="383" y="341"/>
                    </a:moveTo>
                    <a:lnTo>
                      <a:pt x="381" y="341"/>
                    </a:lnTo>
                    <a:lnTo>
                      <a:pt x="379" y="342"/>
                    </a:lnTo>
                    <a:lnTo>
                      <a:pt x="378" y="342"/>
                    </a:lnTo>
                    <a:lnTo>
                      <a:pt x="377" y="342"/>
                    </a:lnTo>
                    <a:lnTo>
                      <a:pt x="374" y="344"/>
                    </a:lnTo>
                    <a:lnTo>
                      <a:pt x="373" y="345"/>
                    </a:lnTo>
                    <a:lnTo>
                      <a:pt x="373" y="346"/>
                    </a:lnTo>
                    <a:lnTo>
                      <a:pt x="374" y="345"/>
                    </a:lnTo>
                    <a:lnTo>
                      <a:pt x="376" y="344"/>
                    </a:lnTo>
                    <a:lnTo>
                      <a:pt x="379" y="342"/>
                    </a:lnTo>
                    <a:lnTo>
                      <a:pt x="381" y="342"/>
                    </a:lnTo>
                    <a:lnTo>
                      <a:pt x="383" y="342"/>
                    </a:lnTo>
                    <a:lnTo>
                      <a:pt x="384" y="341"/>
                    </a:lnTo>
                    <a:lnTo>
                      <a:pt x="383" y="341"/>
                    </a:lnTo>
                    <a:lnTo>
                      <a:pt x="383" y="341"/>
                    </a:lnTo>
                    <a:close/>
                    <a:moveTo>
                      <a:pt x="393" y="342"/>
                    </a:moveTo>
                    <a:lnTo>
                      <a:pt x="393" y="342"/>
                    </a:lnTo>
                    <a:lnTo>
                      <a:pt x="391" y="342"/>
                    </a:lnTo>
                    <a:lnTo>
                      <a:pt x="391" y="342"/>
                    </a:lnTo>
                    <a:lnTo>
                      <a:pt x="391" y="342"/>
                    </a:lnTo>
                    <a:lnTo>
                      <a:pt x="391" y="342"/>
                    </a:lnTo>
                    <a:lnTo>
                      <a:pt x="391" y="342"/>
                    </a:lnTo>
                    <a:lnTo>
                      <a:pt x="391" y="342"/>
                    </a:lnTo>
                    <a:lnTo>
                      <a:pt x="393" y="342"/>
                    </a:lnTo>
                    <a:lnTo>
                      <a:pt x="394" y="342"/>
                    </a:lnTo>
                    <a:lnTo>
                      <a:pt x="394" y="342"/>
                    </a:lnTo>
                    <a:lnTo>
                      <a:pt x="394" y="342"/>
                    </a:lnTo>
                    <a:lnTo>
                      <a:pt x="394" y="342"/>
                    </a:lnTo>
                    <a:lnTo>
                      <a:pt x="393" y="342"/>
                    </a:lnTo>
                    <a:lnTo>
                      <a:pt x="393" y="342"/>
                    </a:lnTo>
                    <a:close/>
                    <a:moveTo>
                      <a:pt x="455" y="309"/>
                    </a:moveTo>
                    <a:lnTo>
                      <a:pt x="455" y="309"/>
                    </a:lnTo>
                    <a:lnTo>
                      <a:pt x="454" y="310"/>
                    </a:lnTo>
                    <a:lnTo>
                      <a:pt x="451" y="310"/>
                    </a:lnTo>
                    <a:lnTo>
                      <a:pt x="450" y="310"/>
                    </a:lnTo>
                    <a:lnTo>
                      <a:pt x="449" y="310"/>
                    </a:lnTo>
                    <a:lnTo>
                      <a:pt x="446" y="313"/>
                    </a:lnTo>
                    <a:lnTo>
                      <a:pt x="446" y="313"/>
                    </a:lnTo>
                    <a:lnTo>
                      <a:pt x="446" y="313"/>
                    </a:lnTo>
                    <a:lnTo>
                      <a:pt x="446" y="313"/>
                    </a:lnTo>
                    <a:lnTo>
                      <a:pt x="446" y="313"/>
                    </a:lnTo>
                    <a:lnTo>
                      <a:pt x="448" y="310"/>
                    </a:lnTo>
                    <a:lnTo>
                      <a:pt x="449" y="310"/>
                    </a:lnTo>
                    <a:lnTo>
                      <a:pt x="449" y="309"/>
                    </a:lnTo>
                    <a:lnTo>
                      <a:pt x="448" y="309"/>
                    </a:lnTo>
                    <a:lnTo>
                      <a:pt x="446" y="308"/>
                    </a:lnTo>
                    <a:lnTo>
                      <a:pt x="446" y="306"/>
                    </a:lnTo>
                    <a:lnTo>
                      <a:pt x="448" y="306"/>
                    </a:lnTo>
                    <a:lnTo>
                      <a:pt x="449" y="306"/>
                    </a:lnTo>
                    <a:lnTo>
                      <a:pt x="450" y="306"/>
                    </a:lnTo>
                    <a:lnTo>
                      <a:pt x="451" y="306"/>
                    </a:lnTo>
                    <a:lnTo>
                      <a:pt x="450" y="305"/>
                    </a:lnTo>
                    <a:lnTo>
                      <a:pt x="449" y="305"/>
                    </a:lnTo>
                    <a:lnTo>
                      <a:pt x="449" y="304"/>
                    </a:lnTo>
                    <a:lnTo>
                      <a:pt x="448" y="304"/>
                    </a:lnTo>
                    <a:lnTo>
                      <a:pt x="448" y="304"/>
                    </a:lnTo>
                    <a:lnTo>
                      <a:pt x="446" y="304"/>
                    </a:lnTo>
                    <a:lnTo>
                      <a:pt x="446" y="304"/>
                    </a:lnTo>
                    <a:lnTo>
                      <a:pt x="446" y="305"/>
                    </a:lnTo>
                    <a:lnTo>
                      <a:pt x="446" y="305"/>
                    </a:lnTo>
                    <a:lnTo>
                      <a:pt x="446" y="306"/>
                    </a:lnTo>
                    <a:lnTo>
                      <a:pt x="446" y="306"/>
                    </a:lnTo>
                    <a:lnTo>
                      <a:pt x="446" y="308"/>
                    </a:lnTo>
                    <a:lnTo>
                      <a:pt x="446" y="309"/>
                    </a:lnTo>
                    <a:lnTo>
                      <a:pt x="444" y="310"/>
                    </a:lnTo>
                    <a:lnTo>
                      <a:pt x="444" y="310"/>
                    </a:lnTo>
                    <a:lnTo>
                      <a:pt x="443" y="310"/>
                    </a:lnTo>
                    <a:lnTo>
                      <a:pt x="443" y="310"/>
                    </a:lnTo>
                    <a:lnTo>
                      <a:pt x="440" y="310"/>
                    </a:lnTo>
                    <a:lnTo>
                      <a:pt x="438" y="310"/>
                    </a:lnTo>
                    <a:lnTo>
                      <a:pt x="438" y="313"/>
                    </a:lnTo>
                    <a:lnTo>
                      <a:pt x="437" y="313"/>
                    </a:lnTo>
                    <a:lnTo>
                      <a:pt x="437" y="313"/>
                    </a:lnTo>
                    <a:lnTo>
                      <a:pt x="437" y="313"/>
                    </a:lnTo>
                    <a:lnTo>
                      <a:pt x="437" y="313"/>
                    </a:lnTo>
                    <a:lnTo>
                      <a:pt x="437" y="314"/>
                    </a:lnTo>
                    <a:lnTo>
                      <a:pt x="437" y="313"/>
                    </a:lnTo>
                    <a:lnTo>
                      <a:pt x="434" y="313"/>
                    </a:lnTo>
                    <a:lnTo>
                      <a:pt x="434" y="313"/>
                    </a:lnTo>
                    <a:lnTo>
                      <a:pt x="433" y="313"/>
                    </a:lnTo>
                    <a:lnTo>
                      <a:pt x="433" y="314"/>
                    </a:lnTo>
                    <a:lnTo>
                      <a:pt x="433" y="314"/>
                    </a:lnTo>
                    <a:lnTo>
                      <a:pt x="433" y="313"/>
                    </a:lnTo>
                    <a:lnTo>
                      <a:pt x="433" y="313"/>
                    </a:lnTo>
                    <a:lnTo>
                      <a:pt x="433" y="313"/>
                    </a:lnTo>
                    <a:lnTo>
                      <a:pt x="433" y="310"/>
                    </a:lnTo>
                    <a:lnTo>
                      <a:pt x="433" y="309"/>
                    </a:lnTo>
                    <a:lnTo>
                      <a:pt x="433" y="309"/>
                    </a:lnTo>
                    <a:lnTo>
                      <a:pt x="433" y="310"/>
                    </a:lnTo>
                    <a:lnTo>
                      <a:pt x="430" y="310"/>
                    </a:lnTo>
                    <a:lnTo>
                      <a:pt x="428" y="310"/>
                    </a:lnTo>
                    <a:lnTo>
                      <a:pt x="427" y="310"/>
                    </a:lnTo>
                    <a:lnTo>
                      <a:pt x="427" y="313"/>
                    </a:lnTo>
                    <a:lnTo>
                      <a:pt x="427" y="313"/>
                    </a:lnTo>
                    <a:lnTo>
                      <a:pt x="428" y="313"/>
                    </a:lnTo>
                    <a:lnTo>
                      <a:pt x="428" y="313"/>
                    </a:lnTo>
                    <a:lnTo>
                      <a:pt x="429" y="314"/>
                    </a:lnTo>
                    <a:lnTo>
                      <a:pt x="428" y="314"/>
                    </a:lnTo>
                    <a:lnTo>
                      <a:pt x="427" y="314"/>
                    </a:lnTo>
                    <a:lnTo>
                      <a:pt x="427" y="315"/>
                    </a:lnTo>
                    <a:lnTo>
                      <a:pt x="425" y="315"/>
                    </a:lnTo>
                    <a:lnTo>
                      <a:pt x="425" y="316"/>
                    </a:lnTo>
                    <a:lnTo>
                      <a:pt x="425" y="316"/>
                    </a:lnTo>
                    <a:lnTo>
                      <a:pt x="425" y="316"/>
                    </a:lnTo>
                    <a:lnTo>
                      <a:pt x="425" y="318"/>
                    </a:lnTo>
                    <a:lnTo>
                      <a:pt x="425" y="318"/>
                    </a:lnTo>
                    <a:lnTo>
                      <a:pt x="425" y="318"/>
                    </a:lnTo>
                    <a:lnTo>
                      <a:pt x="423" y="318"/>
                    </a:lnTo>
                    <a:lnTo>
                      <a:pt x="423" y="318"/>
                    </a:lnTo>
                    <a:lnTo>
                      <a:pt x="423" y="318"/>
                    </a:lnTo>
                    <a:lnTo>
                      <a:pt x="422" y="318"/>
                    </a:lnTo>
                    <a:lnTo>
                      <a:pt x="422" y="318"/>
                    </a:lnTo>
                    <a:lnTo>
                      <a:pt x="420" y="320"/>
                    </a:lnTo>
                    <a:lnTo>
                      <a:pt x="420" y="320"/>
                    </a:lnTo>
                    <a:lnTo>
                      <a:pt x="419" y="321"/>
                    </a:lnTo>
                    <a:lnTo>
                      <a:pt x="419" y="323"/>
                    </a:lnTo>
                    <a:lnTo>
                      <a:pt x="419" y="323"/>
                    </a:lnTo>
                    <a:lnTo>
                      <a:pt x="419" y="321"/>
                    </a:lnTo>
                    <a:lnTo>
                      <a:pt x="419" y="320"/>
                    </a:lnTo>
                    <a:lnTo>
                      <a:pt x="419" y="320"/>
                    </a:lnTo>
                    <a:lnTo>
                      <a:pt x="419" y="318"/>
                    </a:lnTo>
                    <a:lnTo>
                      <a:pt x="420" y="318"/>
                    </a:lnTo>
                    <a:lnTo>
                      <a:pt x="420" y="316"/>
                    </a:lnTo>
                    <a:lnTo>
                      <a:pt x="420" y="316"/>
                    </a:lnTo>
                    <a:lnTo>
                      <a:pt x="419" y="316"/>
                    </a:lnTo>
                    <a:lnTo>
                      <a:pt x="419" y="316"/>
                    </a:lnTo>
                    <a:lnTo>
                      <a:pt x="418" y="316"/>
                    </a:lnTo>
                    <a:lnTo>
                      <a:pt x="417" y="315"/>
                    </a:lnTo>
                    <a:lnTo>
                      <a:pt x="415" y="316"/>
                    </a:lnTo>
                    <a:lnTo>
                      <a:pt x="413" y="316"/>
                    </a:lnTo>
                    <a:lnTo>
                      <a:pt x="412" y="316"/>
                    </a:lnTo>
                    <a:lnTo>
                      <a:pt x="410" y="318"/>
                    </a:lnTo>
                    <a:lnTo>
                      <a:pt x="408" y="318"/>
                    </a:lnTo>
                    <a:lnTo>
                      <a:pt x="405" y="318"/>
                    </a:lnTo>
                    <a:lnTo>
                      <a:pt x="404" y="318"/>
                    </a:lnTo>
                    <a:lnTo>
                      <a:pt x="404" y="318"/>
                    </a:lnTo>
                    <a:lnTo>
                      <a:pt x="402" y="320"/>
                    </a:lnTo>
                    <a:lnTo>
                      <a:pt x="400" y="320"/>
                    </a:lnTo>
                    <a:lnTo>
                      <a:pt x="400" y="321"/>
                    </a:lnTo>
                    <a:lnTo>
                      <a:pt x="400" y="323"/>
                    </a:lnTo>
                    <a:lnTo>
                      <a:pt x="398" y="324"/>
                    </a:lnTo>
                    <a:lnTo>
                      <a:pt x="398" y="325"/>
                    </a:lnTo>
                    <a:lnTo>
                      <a:pt x="398" y="326"/>
                    </a:lnTo>
                    <a:lnTo>
                      <a:pt x="398" y="328"/>
                    </a:lnTo>
                    <a:lnTo>
                      <a:pt x="397" y="330"/>
                    </a:lnTo>
                    <a:lnTo>
                      <a:pt x="397" y="330"/>
                    </a:lnTo>
                    <a:lnTo>
                      <a:pt x="395" y="330"/>
                    </a:lnTo>
                    <a:lnTo>
                      <a:pt x="395" y="331"/>
                    </a:lnTo>
                    <a:lnTo>
                      <a:pt x="397" y="331"/>
                    </a:lnTo>
                    <a:lnTo>
                      <a:pt x="397" y="331"/>
                    </a:lnTo>
                    <a:lnTo>
                      <a:pt x="398" y="331"/>
                    </a:lnTo>
                    <a:lnTo>
                      <a:pt x="398" y="331"/>
                    </a:lnTo>
                    <a:lnTo>
                      <a:pt x="400" y="330"/>
                    </a:lnTo>
                    <a:lnTo>
                      <a:pt x="400" y="330"/>
                    </a:lnTo>
                    <a:lnTo>
                      <a:pt x="404" y="330"/>
                    </a:lnTo>
                    <a:lnTo>
                      <a:pt x="404" y="328"/>
                    </a:lnTo>
                    <a:lnTo>
                      <a:pt x="404" y="328"/>
                    </a:lnTo>
                    <a:lnTo>
                      <a:pt x="402" y="328"/>
                    </a:lnTo>
                    <a:lnTo>
                      <a:pt x="400" y="328"/>
                    </a:lnTo>
                    <a:lnTo>
                      <a:pt x="400" y="330"/>
                    </a:lnTo>
                    <a:lnTo>
                      <a:pt x="398" y="330"/>
                    </a:lnTo>
                    <a:lnTo>
                      <a:pt x="398" y="330"/>
                    </a:lnTo>
                    <a:lnTo>
                      <a:pt x="398" y="330"/>
                    </a:lnTo>
                    <a:lnTo>
                      <a:pt x="398" y="328"/>
                    </a:lnTo>
                    <a:lnTo>
                      <a:pt x="400" y="328"/>
                    </a:lnTo>
                    <a:lnTo>
                      <a:pt x="402" y="328"/>
                    </a:lnTo>
                    <a:lnTo>
                      <a:pt x="404" y="326"/>
                    </a:lnTo>
                    <a:lnTo>
                      <a:pt x="404" y="328"/>
                    </a:lnTo>
                    <a:lnTo>
                      <a:pt x="405" y="328"/>
                    </a:lnTo>
                    <a:lnTo>
                      <a:pt x="407" y="328"/>
                    </a:lnTo>
                    <a:lnTo>
                      <a:pt x="405" y="328"/>
                    </a:lnTo>
                    <a:lnTo>
                      <a:pt x="405" y="328"/>
                    </a:lnTo>
                    <a:lnTo>
                      <a:pt x="404" y="330"/>
                    </a:lnTo>
                    <a:lnTo>
                      <a:pt x="404" y="330"/>
                    </a:lnTo>
                    <a:lnTo>
                      <a:pt x="402" y="330"/>
                    </a:lnTo>
                    <a:lnTo>
                      <a:pt x="404" y="330"/>
                    </a:lnTo>
                    <a:lnTo>
                      <a:pt x="404" y="330"/>
                    </a:lnTo>
                    <a:lnTo>
                      <a:pt x="404" y="330"/>
                    </a:lnTo>
                    <a:lnTo>
                      <a:pt x="404" y="330"/>
                    </a:lnTo>
                    <a:lnTo>
                      <a:pt x="405" y="330"/>
                    </a:lnTo>
                    <a:lnTo>
                      <a:pt x="407" y="330"/>
                    </a:lnTo>
                    <a:lnTo>
                      <a:pt x="407" y="330"/>
                    </a:lnTo>
                    <a:lnTo>
                      <a:pt x="408" y="330"/>
                    </a:lnTo>
                    <a:lnTo>
                      <a:pt x="408" y="331"/>
                    </a:lnTo>
                    <a:lnTo>
                      <a:pt x="407" y="331"/>
                    </a:lnTo>
                    <a:lnTo>
                      <a:pt x="405" y="331"/>
                    </a:lnTo>
                    <a:lnTo>
                      <a:pt x="404" y="333"/>
                    </a:lnTo>
                    <a:lnTo>
                      <a:pt x="404" y="333"/>
                    </a:lnTo>
                    <a:lnTo>
                      <a:pt x="402" y="333"/>
                    </a:lnTo>
                    <a:lnTo>
                      <a:pt x="400" y="333"/>
                    </a:lnTo>
                    <a:lnTo>
                      <a:pt x="400" y="333"/>
                    </a:lnTo>
                    <a:lnTo>
                      <a:pt x="398" y="334"/>
                    </a:lnTo>
                    <a:lnTo>
                      <a:pt x="398" y="335"/>
                    </a:lnTo>
                    <a:lnTo>
                      <a:pt x="398" y="335"/>
                    </a:lnTo>
                    <a:lnTo>
                      <a:pt x="398" y="336"/>
                    </a:lnTo>
                    <a:lnTo>
                      <a:pt x="398" y="336"/>
                    </a:lnTo>
                    <a:lnTo>
                      <a:pt x="398" y="336"/>
                    </a:lnTo>
                    <a:lnTo>
                      <a:pt x="400" y="336"/>
                    </a:lnTo>
                    <a:lnTo>
                      <a:pt x="402" y="335"/>
                    </a:lnTo>
                    <a:lnTo>
                      <a:pt x="404" y="335"/>
                    </a:lnTo>
                    <a:lnTo>
                      <a:pt x="407" y="334"/>
                    </a:lnTo>
                    <a:lnTo>
                      <a:pt x="409" y="333"/>
                    </a:lnTo>
                    <a:lnTo>
                      <a:pt x="412" y="331"/>
                    </a:lnTo>
                    <a:lnTo>
                      <a:pt x="412" y="330"/>
                    </a:lnTo>
                    <a:lnTo>
                      <a:pt x="412" y="330"/>
                    </a:lnTo>
                    <a:lnTo>
                      <a:pt x="412" y="330"/>
                    </a:lnTo>
                    <a:lnTo>
                      <a:pt x="410" y="330"/>
                    </a:lnTo>
                    <a:lnTo>
                      <a:pt x="410" y="330"/>
                    </a:lnTo>
                    <a:lnTo>
                      <a:pt x="413" y="330"/>
                    </a:lnTo>
                    <a:lnTo>
                      <a:pt x="414" y="330"/>
                    </a:lnTo>
                    <a:lnTo>
                      <a:pt x="418" y="328"/>
                    </a:lnTo>
                    <a:lnTo>
                      <a:pt x="418" y="330"/>
                    </a:lnTo>
                    <a:lnTo>
                      <a:pt x="417" y="330"/>
                    </a:lnTo>
                    <a:lnTo>
                      <a:pt x="418" y="330"/>
                    </a:lnTo>
                    <a:lnTo>
                      <a:pt x="420" y="330"/>
                    </a:lnTo>
                    <a:lnTo>
                      <a:pt x="423" y="330"/>
                    </a:lnTo>
                    <a:lnTo>
                      <a:pt x="427" y="328"/>
                    </a:lnTo>
                    <a:lnTo>
                      <a:pt x="427" y="328"/>
                    </a:lnTo>
                    <a:lnTo>
                      <a:pt x="429" y="328"/>
                    </a:lnTo>
                    <a:lnTo>
                      <a:pt x="427" y="328"/>
                    </a:lnTo>
                    <a:lnTo>
                      <a:pt x="427" y="328"/>
                    </a:lnTo>
                    <a:lnTo>
                      <a:pt x="427" y="326"/>
                    </a:lnTo>
                    <a:lnTo>
                      <a:pt x="429" y="326"/>
                    </a:lnTo>
                    <a:lnTo>
                      <a:pt x="429" y="325"/>
                    </a:lnTo>
                    <a:lnTo>
                      <a:pt x="429" y="324"/>
                    </a:lnTo>
                    <a:lnTo>
                      <a:pt x="429" y="324"/>
                    </a:lnTo>
                    <a:lnTo>
                      <a:pt x="429" y="323"/>
                    </a:lnTo>
                    <a:lnTo>
                      <a:pt x="430" y="324"/>
                    </a:lnTo>
                    <a:lnTo>
                      <a:pt x="432" y="324"/>
                    </a:lnTo>
                    <a:lnTo>
                      <a:pt x="433" y="324"/>
                    </a:lnTo>
                    <a:lnTo>
                      <a:pt x="434" y="324"/>
                    </a:lnTo>
                    <a:lnTo>
                      <a:pt x="437" y="324"/>
                    </a:lnTo>
                    <a:lnTo>
                      <a:pt x="438" y="324"/>
                    </a:lnTo>
                    <a:lnTo>
                      <a:pt x="438" y="324"/>
                    </a:lnTo>
                    <a:lnTo>
                      <a:pt x="438" y="324"/>
                    </a:lnTo>
                    <a:lnTo>
                      <a:pt x="438" y="324"/>
                    </a:lnTo>
                    <a:lnTo>
                      <a:pt x="438" y="323"/>
                    </a:lnTo>
                    <a:lnTo>
                      <a:pt x="439" y="323"/>
                    </a:lnTo>
                    <a:lnTo>
                      <a:pt x="439" y="323"/>
                    </a:lnTo>
                    <a:lnTo>
                      <a:pt x="439" y="321"/>
                    </a:lnTo>
                    <a:lnTo>
                      <a:pt x="439" y="321"/>
                    </a:lnTo>
                    <a:lnTo>
                      <a:pt x="439" y="320"/>
                    </a:lnTo>
                    <a:lnTo>
                      <a:pt x="438" y="320"/>
                    </a:lnTo>
                    <a:lnTo>
                      <a:pt x="438" y="320"/>
                    </a:lnTo>
                    <a:lnTo>
                      <a:pt x="438" y="320"/>
                    </a:lnTo>
                    <a:lnTo>
                      <a:pt x="439" y="320"/>
                    </a:lnTo>
                    <a:lnTo>
                      <a:pt x="442" y="320"/>
                    </a:lnTo>
                    <a:lnTo>
                      <a:pt x="443" y="320"/>
                    </a:lnTo>
                    <a:lnTo>
                      <a:pt x="444" y="320"/>
                    </a:lnTo>
                    <a:lnTo>
                      <a:pt x="446" y="320"/>
                    </a:lnTo>
                    <a:lnTo>
                      <a:pt x="448" y="320"/>
                    </a:lnTo>
                    <a:lnTo>
                      <a:pt x="449" y="320"/>
                    </a:lnTo>
                    <a:lnTo>
                      <a:pt x="451" y="318"/>
                    </a:lnTo>
                    <a:lnTo>
                      <a:pt x="451" y="318"/>
                    </a:lnTo>
                    <a:lnTo>
                      <a:pt x="454" y="318"/>
                    </a:lnTo>
                    <a:lnTo>
                      <a:pt x="455" y="316"/>
                    </a:lnTo>
                    <a:lnTo>
                      <a:pt x="455" y="316"/>
                    </a:lnTo>
                    <a:lnTo>
                      <a:pt x="455" y="316"/>
                    </a:lnTo>
                    <a:lnTo>
                      <a:pt x="455" y="316"/>
                    </a:lnTo>
                    <a:lnTo>
                      <a:pt x="454" y="316"/>
                    </a:lnTo>
                    <a:lnTo>
                      <a:pt x="453" y="316"/>
                    </a:lnTo>
                    <a:lnTo>
                      <a:pt x="451" y="316"/>
                    </a:lnTo>
                    <a:lnTo>
                      <a:pt x="451" y="316"/>
                    </a:lnTo>
                    <a:lnTo>
                      <a:pt x="451" y="316"/>
                    </a:lnTo>
                    <a:lnTo>
                      <a:pt x="451" y="315"/>
                    </a:lnTo>
                    <a:lnTo>
                      <a:pt x="451" y="315"/>
                    </a:lnTo>
                    <a:lnTo>
                      <a:pt x="453" y="314"/>
                    </a:lnTo>
                    <a:lnTo>
                      <a:pt x="454" y="313"/>
                    </a:lnTo>
                    <a:lnTo>
                      <a:pt x="455" y="313"/>
                    </a:lnTo>
                    <a:lnTo>
                      <a:pt x="458" y="310"/>
                    </a:lnTo>
                    <a:lnTo>
                      <a:pt x="458" y="310"/>
                    </a:lnTo>
                    <a:lnTo>
                      <a:pt x="458" y="310"/>
                    </a:lnTo>
                    <a:lnTo>
                      <a:pt x="458" y="310"/>
                    </a:lnTo>
                    <a:lnTo>
                      <a:pt x="458" y="309"/>
                    </a:lnTo>
                    <a:lnTo>
                      <a:pt x="455" y="309"/>
                    </a:lnTo>
                    <a:lnTo>
                      <a:pt x="455" y="309"/>
                    </a:lnTo>
                    <a:close/>
                    <a:moveTo>
                      <a:pt x="440" y="310"/>
                    </a:moveTo>
                    <a:lnTo>
                      <a:pt x="442" y="310"/>
                    </a:lnTo>
                    <a:lnTo>
                      <a:pt x="442" y="310"/>
                    </a:lnTo>
                    <a:lnTo>
                      <a:pt x="442" y="310"/>
                    </a:lnTo>
                    <a:lnTo>
                      <a:pt x="442" y="309"/>
                    </a:lnTo>
                    <a:lnTo>
                      <a:pt x="442" y="308"/>
                    </a:lnTo>
                    <a:lnTo>
                      <a:pt x="440" y="306"/>
                    </a:lnTo>
                    <a:lnTo>
                      <a:pt x="439" y="306"/>
                    </a:lnTo>
                    <a:lnTo>
                      <a:pt x="439" y="308"/>
                    </a:lnTo>
                    <a:lnTo>
                      <a:pt x="438" y="308"/>
                    </a:lnTo>
                    <a:lnTo>
                      <a:pt x="438" y="309"/>
                    </a:lnTo>
                    <a:lnTo>
                      <a:pt x="438" y="309"/>
                    </a:lnTo>
                    <a:lnTo>
                      <a:pt x="439" y="310"/>
                    </a:lnTo>
                    <a:lnTo>
                      <a:pt x="440" y="310"/>
                    </a:lnTo>
                    <a:lnTo>
                      <a:pt x="440" y="310"/>
                    </a:lnTo>
                    <a:lnTo>
                      <a:pt x="440" y="310"/>
                    </a:lnTo>
                    <a:close/>
                    <a:moveTo>
                      <a:pt x="475" y="299"/>
                    </a:moveTo>
                    <a:lnTo>
                      <a:pt x="475" y="299"/>
                    </a:lnTo>
                    <a:lnTo>
                      <a:pt x="474" y="298"/>
                    </a:lnTo>
                    <a:lnTo>
                      <a:pt x="473" y="298"/>
                    </a:lnTo>
                    <a:lnTo>
                      <a:pt x="471" y="298"/>
                    </a:lnTo>
                    <a:lnTo>
                      <a:pt x="471" y="298"/>
                    </a:lnTo>
                    <a:lnTo>
                      <a:pt x="471" y="299"/>
                    </a:lnTo>
                    <a:lnTo>
                      <a:pt x="471" y="300"/>
                    </a:lnTo>
                    <a:lnTo>
                      <a:pt x="471" y="301"/>
                    </a:lnTo>
                    <a:lnTo>
                      <a:pt x="471" y="303"/>
                    </a:lnTo>
                    <a:lnTo>
                      <a:pt x="471" y="303"/>
                    </a:lnTo>
                    <a:lnTo>
                      <a:pt x="471" y="303"/>
                    </a:lnTo>
                    <a:lnTo>
                      <a:pt x="471" y="303"/>
                    </a:lnTo>
                    <a:lnTo>
                      <a:pt x="473" y="303"/>
                    </a:lnTo>
                    <a:lnTo>
                      <a:pt x="473" y="303"/>
                    </a:lnTo>
                    <a:lnTo>
                      <a:pt x="474" y="303"/>
                    </a:lnTo>
                    <a:lnTo>
                      <a:pt x="475" y="301"/>
                    </a:lnTo>
                    <a:lnTo>
                      <a:pt x="476" y="300"/>
                    </a:lnTo>
                    <a:lnTo>
                      <a:pt x="478" y="299"/>
                    </a:lnTo>
                    <a:lnTo>
                      <a:pt x="476" y="299"/>
                    </a:lnTo>
                    <a:lnTo>
                      <a:pt x="475" y="299"/>
                    </a:lnTo>
                    <a:lnTo>
                      <a:pt x="475" y="299"/>
                    </a:lnTo>
                    <a:close/>
                    <a:moveTo>
                      <a:pt x="471" y="298"/>
                    </a:moveTo>
                    <a:lnTo>
                      <a:pt x="471" y="298"/>
                    </a:lnTo>
                    <a:lnTo>
                      <a:pt x="471" y="298"/>
                    </a:lnTo>
                    <a:lnTo>
                      <a:pt x="469" y="296"/>
                    </a:lnTo>
                    <a:lnTo>
                      <a:pt x="468" y="296"/>
                    </a:lnTo>
                    <a:lnTo>
                      <a:pt x="468" y="298"/>
                    </a:lnTo>
                    <a:lnTo>
                      <a:pt x="465" y="298"/>
                    </a:lnTo>
                    <a:lnTo>
                      <a:pt x="464" y="298"/>
                    </a:lnTo>
                    <a:lnTo>
                      <a:pt x="461" y="299"/>
                    </a:lnTo>
                    <a:lnTo>
                      <a:pt x="461" y="299"/>
                    </a:lnTo>
                    <a:lnTo>
                      <a:pt x="461" y="299"/>
                    </a:lnTo>
                    <a:lnTo>
                      <a:pt x="461" y="300"/>
                    </a:lnTo>
                    <a:lnTo>
                      <a:pt x="460" y="299"/>
                    </a:lnTo>
                    <a:lnTo>
                      <a:pt x="459" y="299"/>
                    </a:lnTo>
                    <a:lnTo>
                      <a:pt x="458" y="299"/>
                    </a:lnTo>
                    <a:lnTo>
                      <a:pt x="455" y="299"/>
                    </a:lnTo>
                    <a:lnTo>
                      <a:pt x="455" y="300"/>
                    </a:lnTo>
                    <a:lnTo>
                      <a:pt x="455" y="300"/>
                    </a:lnTo>
                    <a:lnTo>
                      <a:pt x="455" y="301"/>
                    </a:lnTo>
                    <a:lnTo>
                      <a:pt x="454" y="301"/>
                    </a:lnTo>
                    <a:lnTo>
                      <a:pt x="453" y="303"/>
                    </a:lnTo>
                    <a:lnTo>
                      <a:pt x="451" y="303"/>
                    </a:lnTo>
                    <a:lnTo>
                      <a:pt x="451" y="303"/>
                    </a:lnTo>
                    <a:lnTo>
                      <a:pt x="451" y="304"/>
                    </a:lnTo>
                    <a:lnTo>
                      <a:pt x="451" y="304"/>
                    </a:lnTo>
                    <a:lnTo>
                      <a:pt x="451" y="305"/>
                    </a:lnTo>
                    <a:lnTo>
                      <a:pt x="451" y="305"/>
                    </a:lnTo>
                    <a:lnTo>
                      <a:pt x="451" y="306"/>
                    </a:lnTo>
                    <a:lnTo>
                      <a:pt x="453" y="306"/>
                    </a:lnTo>
                    <a:lnTo>
                      <a:pt x="455" y="306"/>
                    </a:lnTo>
                    <a:lnTo>
                      <a:pt x="455" y="306"/>
                    </a:lnTo>
                    <a:lnTo>
                      <a:pt x="458" y="305"/>
                    </a:lnTo>
                    <a:lnTo>
                      <a:pt x="459" y="305"/>
                    </a:lnTo>
                    <a:lnTo>
                      <a:pt x="461" y="303"/>
                    </a:lnTo>
                    <a:lnTo>
                      <a:pt x="464" y="303"/>
                    </a:lnTo>
                    <a:lnTo>
                      <a:pt x="465" y="301"/>
                    </a:lnTo>
                    <a:lnTo>
                      <a:pt x="465" y="303"/>
                    </a:lnTo>
                    <a:lnTo>
                      <a:pt x="464" y="303"/>
                    </a:lnTo>
                    <a:lnTo>
                      <a:pt x="464" y="303"/>
                    </a:lnTo>
                    <a:lnTo>
                      <a:pt x="464" y="304"/>
                    </a:lnTo>
                    <a:lnTo>
                      <a:pt x="464" y="304"/>
                    </a:lnTo>
                    <a:lnTo>
                      <a:pt x="465" y="303"/>
                    </a:lnTo>
                    <a:lnTo>
                      <a:pt x="465" y="303"/>
                    </a:lnTo>
                    <a:lnTo>
                      <a:pt x="465" y="303"/>
                    </a:lnTo>
                    <a:lnTo>
                      <a:pt x="468" y="301"/>
                    </a:lnTo>
                    <a:lnTo>
                      <a:pt x="471" y="299"/>
                    </a:lnTo>
                    <a:lnTo>
                      <a:pt x="471" y="298"/>
                    </a:lnTo>
                    <a:lnTo>
                      <a:pt x="471" y="298"/>
                    </a:lnTo>
                    <a:lnTo>
                      <a:pt x="471" y="298"/>
                    </a:lnTo>
                    <a:close/>
                    <a:moveTo>
                      <a:pt x="480" y="273"/>
                    </a:moveTo>
                    <a:lnTo>
                      <a:pt x="479" y="273"/>
                    </a:lnTo>
                    <a:lnTo>
                      <a:pt x="479" y="273"/>
                    </a:lnTo>
                    <a:lnTo>
                      <a:pt x="478" y="273"/>
                    </a:lnTo>
                    <a:lnTo>
                      <a:pt x="478" y="274"/>
                    </a:lnTo>
                    <a:lnTo>
                      <a:pt x="478" y="275"/>
                    </a:lnTo>
                    <a:lnTo>
                      <a:pt x="478" y="275"/>
                    </a:lnTo>
                    <a:lnTo>
                      <a:pt x="478" y="274"/>
                    </a:lnTo>
                    <a:lnTo>
                      <a:pt x="479" y="274"/>
                    </a:lnTo>
                    <a:lnTo>
                      <a:pt x="480" y="274"/>
                    </a:lnTo>
                    <a:lnTo>
                      <a:pt x="480" y="274"/>
                    </a:lnTo>
                    <a:lnTo>
                      <a:pt x="481" y="273"/>
                    </a:lnTo>
                    <a:lnTo>
                      <a:pt x="483" y="273"/>
                    </a:lnTo>
                    <a:lnTo>
                      <a:pt x="481" y="273"/>
                    </a:lnTo>
                    <a:lnTo>
                      <a:pt x="480" y="273"/>
                    </a:lnTo>
                    <a:lnTo>
                      <a:pt x="480" y="273"/>
                    </a:lnTo>
                    <a:close/>
                    <a:moveTo>
                      <a:pt x="490" y="284"/>
                    </a:moveTo>
                    <a:lnTo>
                      <a:pt x="489" y="284"/>
                    </a:lnTo>
                    <a:lnTo>
                      <a:pt x="489" y="284"/>
                    </a:lnTo>
                    <a:lnTo>
                      <a:pt x="488" y="284"/>
                    </a:lnTo>
                    <a:lnTo>
                      <a:pt x="488" y="285"/>
                    </a:lnTo>
                    <a:lnTo>
                      <a:pt x="488" y="285"/>
                    </a:lnTo>
                    <a:lnTo>
                      <a:pt x="489" y="285"/>
                    </a:lnTo>
                    <a:lnTo>
                      <a:pt x="489" y="285"/>
                    </a:lnTo>
                    <a:lnTo>
                      <a:pt x="490" y="285"/>
                    </a:lnTo>
                    <a:lnTo>
                      <a:pt x="490" y="285"/>
                    </a:lnTo>
                    <a:lnTo>
                      <a:pt x="491" y="285"/>
                    </a:lnTo>
                    <a:lnTo>
                      <a:pt x="490" y="284"/>
                    </a:lnTo>
                    <a:lnTo>
                      <a:pt x="490" y="284"/>
                    </a:lnTo>
                    <a:lnTo>
                      <a:pt x="490" y="284"/>
                    </a:lnTo>
                    <a:close/>
                    <a:moveTo>
                      <a:pt x="341" y="254"/>
                    </a:moveTo>
                    <a:lnTo>
                      <a:pt x="341" y="254"/>
                    </a:lnTo>
                    <a:lnTo>
                      <a:pt x="341" y="253"/>
                    </a:lnTo>
                    <a:lnTo>
                      <a:pt x="341" y="253"/>
                    </a:lnTo>
                    <a:lnTo>
                      <a:pt x="341" y="254"/>
                    </a:lnTo>
                    <a:lnTo>
                      <a:pt x="341" y="254"/>
                    </a:lnTo>
                    <a:close/>
                    <a:moveTo>
                      <a:pt x="341" y="253"/>
                    </a:moveTo>
                    <a:lnTo>
                      <a:pt x="341" y="253"/>
                    </a:lnTo>
                    <a:lnTo>
                      <a:pt x="341" y="253"/>
                    </a:lnTo>
                    <a:lnTo>
                      <a:pt x="341" y="253"/>
                    </a:lnTo>
                    <a:lnTo>
                      <a:pt x="341" y="253"/>
                    </a:lnTo>
                    <a:close/>
                    <a:moveTo>
                      <a:pt x="485" y="156"/>
                    </a:moveTo>
                    <a:lnTo>
                      <a:pt x="485" y="156"/>
                    </a:lnTo>
                    <a:lnTo>
                      <a:pt x="486" y="156"/>
                    </a:lnTo>
                    <a:lnTo>
                      <a:pt x="486" y="156"/>
                    </a:lnTo>
                    <a:lnTo>
                      <a:pt x="485" y="156"/>
                    </a:lnTo>
                    <a:lnTo>
                      <a:pt x="485" y="156"/>
                    </a:lnTo>
                    <a:close/>
                    <a:moveTo>
                      <a:pt x="795" y="0"/>
                    </a:moveTo>
                    <a:lnTo>
                      <a:pt x="793" y="0"/>
                    </a:lnTo>
                    <a:lnTo>
                      <a:pt x="793" y="0"/>
                    </a:lnTo>
                    <a:lnTo>
                      <a:pt x="792" y="0"/>
                    </a:lnTo>
                    <a:lnTo>
                      <a:pt x="795" y="0"/>
                    </a:lnTo>
                    <a:lnTo>
                      <a:pt x="795" y="0"/>
                    </a:lnTo>
                    <a:lnTo>
                      <a:pt x="795" y="0"/>
                    </a:lnTo>
                    <a:close/>
                    <a:moveTo>
                      <a:pt x="415" y="136"/>
                    </a:moveTo>
                    <a:lnTo>
                      <a:pt x="417" y="136"/>
                    </a:lnTo>
                    <a:lnTo>
                      <a:pt x="418" y="136"/>
                    </a:lnTo>
                    <a:lnTo>
                      <a:pt x="418" y="135"/>
                    </a:lnTo>
                    <a:lnTo>
                      <a:pt x="419" y="135"/>
                    </a:lnTo>
                    <a:lnTo>
                      <a:pt x="419" y="133"/>
                    </a:lnTo>
                    <a:lnTo>
                      <a:pt x="418" y="135"/>
                    </a:lnTo>
                    <a:lnTo>
                      <a:pt x="415" y="136"/>
                    </a:lnTo>
                    <a:lnTo>
                      <a:pt x="415" y="136"/>
                    </a:lnTo>
                    <a:lnTo>
                      <a:pt x="415" y="136"/>
                    </a:lnTo>
                    <a:lnTo>
                      <a:pt x="415" y="136"/>
                    </a:lnTo>
                    <a:lnTo>
                      <a:pt x="415" y="136"/>
                    </a:lnTo>
                    <a:close/>
                    <a:moveTo>
                      <a:pt x="711" y="16"/>
                    </a:moveTo>
                    <a:lnTo>
                      <a:pt x="711" y="16"/>
                    </a:lnTo>
                    <a:lnTo>
                      <a:pt x="711" y="16"/>
                    </a:lnTo>
                    <a:lnTo>
                      <a:pt x="711" y="16"/>
                    </a:lnTo>
                    <a:lnTo>
                      <a:pt x="711" y="16"/>
                    </a:lnTo>
                    <a:close/>
                    <a:moveTo>
                      <a:pt x="414" y="136"/>
                    </a:moveTo>
                    <a:lnTo>
                      <a:pt x="414" y="137"/>
                    </a:lnTo>
                    <a:lnTo>
                      <a:pt x="415" y="136"/>
                    </a:lnTo>
                    <a:lnTo>
                      <a:pt x="414" y="136"/>
                    </a:lnTo>
                    <a:lnTo>
                      <a:pt x="414" y="136"/>
                    </a:lnTo>
                    <a:close/>
                    <a:moveTo>
                      <a:pt x="652" y="247"/>
                    </a:moveTo>
                    <a:lnTo>
                      <a:pt x="652" y="247"/>
                    </a:lnTo>
                    <a:lnTo>
                      <a:pt x="652" y="247"/>
                    </a:lnTo>
                    <a:lnTo>
                      <a:pt x="650" y="247"/>
                    </a:lnTo>
                    <a:lnTo>
                      <a:pt x="652" y="247"/>
                    </a:lnTo>
                    <a:lnTo>
                      <a:pt x="654" y="245"/>
                    </a:lnTo>
                    <a:lnTo>
                      <a:pt x="655" y="243"/>
                    </a:lnTo>
                    <a:lnTo>
                      <a:pt x="657" y="243"/>
                    </a:lnTo>
                    <a:lnTo>
                      <a:pt x="655" y="243"/>
                    </a:lnTo>
                    <a:lnTo>
                      <a:pt x="654" y="243"/>
                    </a:lnTo>
                    <a:lnTo>
                      <a:pt x="654" y="243"/>
                    </a:lnTo>
                    <a:lnTo>
                      <a:pt x="652" y="243"/>
                    </a:lnTo>
                    <a:lnTo>
                      <a:pt x="654" y="243"/>
                    </a:lnTo>
                    <a:lnTo>
                      <a:pt x="654" y="243"/>
                    </a:lnTo>
                    <a:lnTo>
                      <a:pt x="647" y="243"/>
                    </a:lnTo>
                    <a:lnTo>
                      <a:pt x="648" y="243"/>
                    </a:lnTo>
                    <a:lnTo>
                      <a:pt x="649" y="242"/>
                    </a:lnTo>
                    <a:lnTo>
                      <a:pt x="650" y="242"/>
                    </a:lnTo>
                    <a:lnTo>
                      <a:pt x="652" y="240"/>
                    </a:lnTo>
                    <a:lnTo>
                      <a:pt x="648" y="242"/>
                    </a:lnTo>
                    <a:lnTo>
                      <a:pt x="647" y="242"/>
                    </a:lnTo>
                    <a:lnTo>
                      <a:pt x="645" y="242"/>
                    </a:lnTo>
                    <a:lnTo>
                      <a:pt x="644" y="242"/>
                    </a:lnTo>
                    <a:lnTo>
                      <a:pt x="642" y="240"/>
                    </a:lnTo>
                    <a:lnTo>
                      <a:pt x="644" y="239"/>
                    </a:lnTo>
                    <a:lnTo>
                      <a:pt x="645" y="239"/>
                    </a:lnTo>
                    <a:lnTo>
                      <a:pt x="648" y="238"/>
                    </a:lnTo>
                    <a:lnTo>
                      <a:pt x="647" y="238"/>
                    </a:lnTo>
                    <a:lnTo>
                      <a:pt x="647" y="237"/>
                    </a:lnTo>
                    <a:lnTo>
                      <a:pt x="647" y="237"/>
                    </a:lnTo>
                    <a:lnTo>
                      <a:pt x="647" y="237"/>
                    </a:lnTo>
                    <a:lnTo>
                      <a:pt x="648" y="237"/>
                    </a:lnTo>
                    <a:lnTo>
                      <a:pt x="648" y="237"/>
                    </a:lnTo>
                    <a:lnTo>
                      <a:pt x="649" y="237"/>
                    </a:lnTo>
                    <a:lnTo>
                      <a:pt x="652" y="235"/>
                    </a:lnTo>
                    <a:lnTo>
                      <a:pt x="654" y="235"/>
                    </a:lnTo>
                    <a:lnTo>
                      <a:pt x="655" y="233"/>
                    </a:lnTo>
                    <a:lnTo>
                      <a:pt x="657" y="233"/>
                    </a:lnTo>
                    <a:lnTo>
                      <a:pt x="658" y="233"/>
                    </a:lnTo>
                    <a:lnTo>
                      <a:pt x="658" y="233"/>
                    </a:lnTo>
                    <a:lnTo>
                      <a:pt x="659" y="233"/>
                    </a:lnTo>
                    <a:lnTo>
                      <a:pt x="658" y="233"/>
                    </a:lnTo>
                    <a:lnTo>
                      <a:pt x="657" y="233"/>
                    </a:lnTo>
                    <a:lnTo>
                      <a:pt x="655" y="233"/>
                    </a:lnTo>
                    <a:lnTo>
                      <a:pt x="654" y="233"/>
                    </a:lnTo>
                    <a:lnTo>
                      <a:pt x="652" y="233"/>
                    </a:lnTo>
                    <a:lnTo>
                      <a:pt x="649" y="233"/>
                    </a:lnTo>
                    <a:lnTo>
                      <a:pt x="647" y="233"/>
                    </a:lnTo>
                    <a:lnTo>
                      <a:pt x="645" y="235"/>
                    </a:lnTo>
                    <a:lnTo>
                      <a:pt x="644" y="235"/>
                    </a:lnTo>
                    <a:lnTo>
                      <a:pt x="644" y="237"/>
                    </a:lnTo>
                    <a:lnTo>
                      <a:pt x="642" y="237"/>
                    </a:lnTo>
                    <a:lnTo>
                      <a:pt x="638" y="237"/>
                    </a:lnTo>
                    <a:lnTo>
                      <a:pt x="638" y="237"/>
                    </a:lnTo>
                    <a:lnTo>
                      <a:pt x="637" y="237"/>
                    </a:lnTo>
                    <a:lnTo>
                      <a:pt x="637" y="237"/>
                    </a:lnTo>
                    <a:lnTo>
                      <a:pt x="637" y="237"/>
                    </a:lnTo>
                    <a:lnTo>
                      <a:pt x="637" y="237"/>
                    </a:lnTo>
                    <a:lnTo>
                      <a:pt x="634" y="237"/>
                    </a:lnTo>
                    <a:lnTo>
                      <a:pt x="634" y="237"/>
                    </a:lnTo>
                    <a:lnTo>
                      <a:pt x="634" y="237"/>
                    </a:lnTo>
                    <a:lnTo>
                      <a:pt x="633" y="237"/>
                    </a:lnTo>
                    <a:lnTo>
                      <a:pt x="633" y="237"/>
                    </a:lnTo>
                    <a:lnTo>
                      <a:pt x="632" y="237"/>
                    </a:lnTo>
                    <a:lnTo>
                      <a:pt x="629" y="238"/>
                    </a:lnTo>
                    <a:lnTo>
                      <a:pt x="628" y="238"/>
                    </a:lnTo>
                    <a:lnTo>
                      <a:pt x="628" y="237"/>
                    </a:lnTo>
                    <a:lnTo>
                      <a:pt x="629" y="237"/>
                    </a:lnTo>
                    <a:lnTo>
                      <a:pt x="629" y="237"/>
                    </a:lnTo>
                    <a:lnTo>
                      <a:pt x="629" y="237"/>
                    </a:lnTo>
                    <a:lnTo>
                      <a:pt x="629" y="237"/>
                    </a:lnTo>
                    <a:lnTo>
                      <a:pt x="628" y="237"/>
                    </a:lnTo>
                    <a:lnTo>
                      <a:pt x="627" y="237"/>
                    </a:lnTo>
                    <a:lnTo>
                      <a:pt x="626" y="237"/>
                    </a:lnTo>
                    <a:lnTo>
                      <a:pt x="626" y="237"/>
                    </a:lnTo>
                    <a:lnTo>
                      <a:pt x="624" y="238"/>
                    </a:lnTo>
                    <a:lnTo>
                      <a:pt x="624" y="237"/>
                    </a:lnTo>
                    <a:lnTo>
                      <a:pt x="624" y="237"/>
                    </a:lnTo>
                    <a:lnTo>
                      <a:pt x="624" y="237"/>
                    </a:lnTo>
                    <a:lnTo>
                      <a:pt x="624" y="237"/>
                    </a:lnTo>
                    <a:lnTo>
                      <a:pt x="626" y="235"/>
                    </a:lnTo>
                    <a:lnTo>
                      <a:pt x="627" y="233"/>
                    </a:lnTo>
                    <a:lnTo>
                      <a:pt x="624" y="233"/>
                    </a:lnTo>
                    <a:lnTo>
                      <a:pt x="624" y="233"/>
                    </a:lnTo>
                    <a:lnTo>
                      <a:pt x="624" y="235"/>
                    </a:lnTo>
                    <a:lnTo>
                      <a:pt x="623" y="235"/>
                    </a:lnTo>
                    <a:lnTo>
                      <a:pt x="622" y="237"/>
                    </a:lnTo>
                    <a:lnTo>
                      <a:pt x="622" y="237"/>
                    </a:lnTo>
                    <a:lnTo>
                      <a:pt x="619" y="237"/>
                    </a:lnTo>
                    <a:lnTo>
                      <a:pt x="617" y="237"/>
                    </a:lnTo>
                    <a:lnTo>
                      <a:pt x="616" y="237"/>
                    </a:lnTo>
                    <a:lnTo>
                      <a:pt x="612" y="237"/>
                    </a:lnTo>
                    <a:lnTo>
                      <a:pt x="609" y="237"/>
                    </a:lnTo>
                    <a:lnTo>
                      <a:pt x="608" y="238"/>
                    </a:lnTo>
                    <a:lnTo>
                      <a:pt x="609" y="238"/>
                    </a:lnTo>
                    <a:lnTo>
                      <a:pt x="609" y="238"/>
                    </a:lnTo>
                    <a:lnTo>
                      <a:pt x="612" y="238"/>
                    </a:lnTo>
                    <a:lnTo>
                      <a:pt x="612" y="239"/>
                    </a:lnTo>
                    <a:lnTo>
                      <a:pt x="609" y="239"/>
                    </a:lnTo>
                    <a:lnTo>
                      <a:pt x="609" y="239"/>
                    </a:lnTo>
                    <a:lnTo>
                      <a:pt x="608" y="240"/>
                    </a:lnTo>
                    <a:lnTo>
                      <a:pt x="606" y="242"/>
                    </a:lnTo>
                    <a:lnTo>
                      <a:pt x="606" y="243"/>
                    </a:lnTo>
                    <a:lnTo>
                      <a:pt x="603" y="243"/>
                    </a:lnTo>
                    <a:lnTo>
                      <a:pt x="603" y="243"/>
                    </a:lnTo>
                    <a:lnTo>
                      <a:pt x="606" y="243"/>
                    </a:lnTo>
                    <a:lnTo>
                      <a:pt x="606" y="242"/>
                    </a:lnTo>
                    <a:lnTo>
                      <a:pt x="606" y="242"/>
                    </a:lnTo>
                    <a:lnTo>
                      <a:pt x="607" y="240"/>
                    </a:lnTo>
                    <a:lnTo>
                      <a:pt x="609" y="240"/>
                    </a:lnTo>
                    <a:lnTo>
                      <a:pt x="612" y="240"/>
                    </a:lnTo>
                    <a:lnTo>
                      <a:pt x="609" y="242"/>
                    </a:lnTo>
                    <a:lnTo>
                      <a:pt x="609" y="242"/>
                    </a:lnTo>
                    <a:lnTo>
                      <a:pt x="609" y="243"/>
                    </a:lnTo>
                    <a:lnTo>
                      <a:pt x="609" y="243"/>
                    </a:lnTo>
                    <a:lnTo>
                      <a:pt x="609" y="243"/>
                    </a:lnTo>
                    <a:lnTo>
                      <a:pt x="609" y="242"/>
                    </a:lnTo>
                    <a:lnTo>
                      <a:pt x="612" y="242"/>
                    </a:lnTo>
                    <a:lnTo>
                      <a:pt x="612" y="240"/>
                    </a:lnTo>
                    <a:lnTo>
                      <a:pt x="612" y="240"/>
                    </a:lnTo>
                    <a:lnTo>
                      <a:pt x="612" y="240"/>
                    </a:lnTo>
                    <a:lnTo>
                      <a:pt x="612" y="243"/>
                    </a:lnTo>
                    <a:lnTo>
                      <a:pt x="609" y="243"/>
                    </a:lnTo>
                    <a:lnTo>
                      <a:pt x="609" y="245"/>
                    </a:lnTo>
                    <a:lnTo>
                      <a:pt x="607" y="245"/>
                    </a:lnTo>
                    <a:lnTo>
                      <a:pt x="603" y="247"/>
                    </a:lnTo>
                    <a:lnTo>
                      <a:pt x="606" y="247"/>
                    </a:lnTo>
                    <a:lnTo>
                      <a:pt x="609" y="245"/>
                    </a:lnTo>
                    <a:lnTo>
                      <a:pt x="612" y="243"/>
                    </a:lnTo>
                    <a:lnTo>
                      <a:pt x="612" y="243"/>
                    </a:lnTo>
                    <a:lnTo>
                      <a:pt x="612" y="245"/>
                    </a:lnTo>
                    <a:lnTo>
                      <a:pt x="612" y="247"/>
                    </a:lnTo>
                    <a:lnTo>
                      <a:pt x="612" y="247"/>
                    </a:lnTo>
                    <a:lnTo>
                      <a:pt x="612" y="247"/>
                    </a:lnTo>
                    <a:lnTo>
                      <a:pt x="609" y="249"/>
                    </a:lnTo>
                    <a:lnTo>
                      <a:pt x="608" y="249"/>
                    </a:lnTo>
                    <a:lnTo>
                      <a:pt x="606" y="249"/>
                    </a:lnTo>
                    <a:lnTo>
                      <a:pt x="602" y="250"/>
                    </a:lnTo>
                    <a:lnTo>
                      <a:pt x="599" y="252"/>
                    </a:lnTo>
                    <a:lnTo>
                      <a:pt x="598" y="252"/>
                    </a:lnTo>
                    <a:lnTo>
                      <a:pt x="598" y="252"/>
                    </a:lnTo>
                    <a:lnTo>
                      <a:pt x="597" y="253"/>
                    </a:lnTo>
                    <a:lnTo>
                      <a:pt x="597" y="253"/>
                    </a:lnTo>
                    <a:lnTo>
                      <a:pt x="597" y="253"/>
                    </a:lnTo>
                    <a:lnTo>
                      <a:pt x="598" y="253"/>
                    </a:lnTo>
                    <a:lnTo>
                      <a:pt x="598" y="253"/>
                    </a:lnTo>
                    <a:lnTo>
                      <a:pt x="599" y="253"/>
                    </a:lnTo>
                    <a:lnTo>
                      <a:pt x="598" y="253"/>
                    </a:lnTo>
                    <a:lnTo>
                      <a:pt x="599" y="253"/>
                    </a:lnTo>
                    <a:lnTo>
                      <a:pt x="599" y="253"/>
                    </a:lnTo>
                    <a:lnTo>
                      <a:pt x="599" y="253"/>
                    </a:lnTo>
                    <a:lnTo>
                      <a:pt x="602" y="253"/>
                    </a:lnTo>
                    <a:lnTo>
                      <a:pt x="599" y="253"/>
                    </a:lnTo>
                    <a:lnTo>
                      <a:pt x="599" y="254"/>
                    </a:lnTo>
                    <a:lnTo>
                      <a:pt x="597" y="257"/>
                    </a:lnTo>
                    <a:lnTo>
                      <a:pt x="594" y="257"/>
                    </a:lnTo>
                    <a:lnTo>
                      <a:pt x="593" y="257"/>
                    </a:lnTo>
                    <a:lnTo>
                      <a:pt x="592" y="257"/>
                    </a:lnTo>
                    <a:lnTo>
                      <a:pt x="592" y="258"/>
                    </a:lnTo>
                    <a:lnTo>
                      <a:pt x="589" y="258"/>
                    </a:lnTo>
                    <a:lnTo>
                      <a:pt x="588" y="258"/>
                    </a:lnTo>
                    <a:lnTo>
                      <a:pt x="587" y="258"/>
                    </a:lnTo>
                    <a:lnTo>
                      <a:pt x="587" y="258"/>
                    </a:lnTo>
                    <a:lnTo>
                      <a:pt x="587" y="259"/>
                    </a:lnTo>
                    <a:lnTo>
                      <a:pt x="586" y="260"/>
                    </a:lnTo>
                    <a:lnTo>
                      <a:pt x="585" y="260"/>
                    </a:lnTo>
                    <a:lnTo>
                      <a:pt x="583" y="260"/>
                    </a:lnTo>
                    <a:lnTo>
                      <a:pt x="582" y="260"/>
                    </a:lnTo>
                    <a:lnTo>
                      <a:pt x="581" y="260"/>
                    </a:lnTo>
                    <a:lnTo>
                      <a:pt x="581" y="259"/>
                    </a:lnTo>
                    <a:lnTo>
                      <a:pt x="578" y="259"/>
                    </a:lnTo>
                    <a:lnTo>
                      <a:pt x="577" y="258"/>
                    </a:lnTo>
                    <a:lnTo>
                      <a:pt x="577" y="258"/>
                    </a:lnTo>
                    <a:lnTo>
                      <a:pt x="577" y="259"/>
                    </a:lnTo>
                    <a:lnTo>
                      <a:pt x="573" y="259"/>
                    </a:lnTo>
                    <a:lnTo>
                      <a:pt x="573" y="260"/>
                    </a:lnTo>
                    <a:lnTo>
                      <a:pt x="571" y="260"/>
                    </a:lnTo>
                    <a:lnTo>
                      <a:pt x="573" y="259"/>
                    </a:lnTo>
                    <a:lnTo>
                      <a:pt x="573" y="259"/>
                    </a:lnTo>
                    <a:lnTo>
                      <a:pt x="573" y="258"/>
                    </a:lnTo>
                    <a:lnTo>
                      <a:pt x="575" y="257"/>
                    </a:lnTo>
                    <a:lnTo>
                      <a:pt x="577" y="254"/>
                    </a:lnTo>
                    <a:lnTo>
                      <a:pt x="577" y="254"/>
                    </a:lnTo>
                    <a:lnTo>
                      <a:pt x="575" y="257"/>
                    </a:lnTo>
                    <a:lnTo>
                      <a:pt x="573" y="257"/>
                    </a:lnTo>
                    <a:lnTo>
                      <a:pt x="573" y="257"/>
                    </a:lnTo>
                    <a:lnTo>
                      <a:pt x="571" y="258"/>
                    </a:lnTo>
                    <a:lnTo>
                      <a:pt x="567" y="259"/>
                    </a:lnTo>
                    <a:lnTo>
                      <a:pt x="566" y="260"/>
                    </a:lnTo>
                    <a:lnTo>
                      <a:pt x="565" y="262"/>
                    </a:lnTo>
                    <a:lnTo>
                      <a:pt x="563" y="263"/>
                    </a:lnTo>
                    <a:lnTo>
                      <a:pt x="563" y="263"/>
                    </a:lnTo>
                    <a:lnTo>
                      <a:pt x="562" y="264"/>
                    </a:lnTo>
                    <a:lnTo>
                      <a:pt x="562" y="264"/>
                    </a:lnTo>
                    <a:lnTo>
                      <a:pt x="562" y="264"/>
                    </a:lnTo>
                    <a:lnTo>
                      <a:pt x="562" y="263"/>
                    </a:lnTo>
                    <a:lnTo>
                      <a:pt x="562" y="263"/>
                    </a:lnTo>
                    <a:lnTo>
                      <a:pt x="563" y="262"/>
                    </a:lnTo>
                    <a:lnTo>
                      <a:pt x="563" y="262"/>
                    </a:lnTo>
                    <a:lnTo>
                      <a:pt x="565" y="260"/>
                    </a:lnTo>
                    <a:lnTo>
                      <a:pt x="563" y="260"/>
                    </a:lnTo>
                    <a:lnTo>
                      <a:pt x="563" y="262"/>
                    </a:lnTo>
                    <a:lnTo>
                      <a:pt x="562" y="262"/>
                    </a:lnTo>
                    <a:lnTo>
                      <a:pt x="562" y="262"/>
                    </a:lnTo>
                    <a:lnTo>
                      <a:pt x="561" y="262"/>
                    </a:lnTo>
                    <a:lnTo>
                      <a:pt x="561" y="262"/>
                    </a:lnTo>
                    <a:lnTo>
                      <a:pt x="561" y="262"/>
                    </a:lnTo>
                    <a:lnTo>
                      <a:pt x="561" y="263"/>
                    </a:lnTo>
                    <a:lnTo>
                      <a:pt x="560" y="263"/>
                    </a:lnTo>
                    <a:lnTo>
                      <a:pt x="557" y="263"/>
                    </a:lnTo>
                    <a:lnTo>
                      <a:pt x="557" y="263"/>
                    </a:lnTo>
                    <a:lnTo>
                      <a:pt x="557" y="264"/>
                    </a:lnTo>
                    <a:lnTo>
                      <a:pt x="557" y="265"/>
                    </a:lnTo>
                    <a:lnTo>
                      <a:pt x="557" y="267"/>
                    </a:lnTo>
                    <a:lnTo>
                      <a:pt x="557" y="265"/>
                    </a:lnTo>
                    <a:lnTo>
                      <a:pt x="557" y="265"/>
                    </a:lnTo>
                    <a:lnTo>
                      <a:pt x="556" y="264"/>
                    </a:lnTo>
                    <a:lnTo>
                      <a:pt x="555" y="264"/>
                    </a:lnTo>
                    <a:lnTo>
                      <a:pt x="555" y="264"/>
                    </a:lnTo>
                    <a:lnTo>
                      <a:pt x="553" y="265"/>
                    </a:lnTo>
                    <a:lnTo>
                      <a:pt x="552" y="265"/>
                    </a:lnTo>
                    <a:lnTo>
                      <a:pt x="548" y="268"/>
                    </a:lnTo>
                    <a:lnTo>
                      <a:pt x="546" y="268"/>
                    </a:lnTo>
                    <a:lnTo>
                      <a:pt x="545" y="269"/>
                    </a:lnTo>
                    <a:lnTo>
                      <a:pt x="543" y="269"/>
                    </a:lnTo>
                    <a:lnTo>
                      <a:pt x="545" y="268"/>
                    </a:lnTo>
                    <a:lnTo>
                      <a:pt x="546" y="268"/>
                    </a:lnTo>
                    <a:lnTo>
                      <a:pt x="543" y="268"/>
                    </a:lnTo>
                    <a:lnTo>
                      <a:pt x="540" y="270"/>
                    </a:lnTo>
                    <a:lnTo>
                      <a:pt x="539" y="271"/>
                    </a:lnTo>
                    <a:lnTo>
                      <a:pt x="539" y="273"/>
                    </a:lnTo>
                    <a:lnTo>
                      <a:pt x="539" y="271"/>
                    </a:lnTo>
                    <a:lnTo>
                      <a:pt x="539" y="270"/>
                    </a:lnTo>
                    <a:lnTo>
                      <a:pt x="539" y="270"/>
                    </a:lnTo>
                    <a:lnTo>
                      <a:pt x="539" y="269"/>
                    </a:lnTo>
                    <a:lnTo>
                      <a:pt x="539" y="269"/>
                    </a:lnTo>
                    <a:lnTo>
                      <a:pt x="536" y="269"/>
                    </a:lnTo>
                    <a:lnTo>
                      <a:pt x="536" y="269"/>
                    </a:lnTo>
                    <a:lnTo>
                      <a:pt x="536" y="269"/>
                    </a:lnTo>
                    <a:lnTo>
                      <a:pt x="535" y="269"/>
                    </a:lnTo>
                    <a:lnTo>
                      <a:pt x="534" y="270"/>
                    </a:lnTo>
                    <a:lnTo>
                      <a:pt x="532" y="270"/>
                    </a:lnTo>
                    <a:lnTo>
                      <a:pt x="531" y="271"/>
                    </a:lnTo>
                    <a:lnTo>
                      <a:pt x="531" y="273"/>
                    </a:lnTo>
                    <a:lnTo>
                      <a:pt x="529" y="273"/>
                    </a:lnTo>
                    <a:lnTo>
                      <a:pt x="527" y="274"/>
                    </a:lnTo>
                    <a:lnTo>
                      <a:pt x="526" y="274"/>
                    </a:lnTo>
                    <a:lnTo>
                      <a:pt x="525" y="275"/>
                    </a:lnTo>
                    <a:lnTo>
                      <a:pt x="524" y="275"/>
                    </a:lnTo>
                    <a:lnTo>
                      <a:pt x="522" y="275"/>
                    </a:lnTo>
                    <a:lnTo>
                      <a:pt x="521" y="275"/>
                    </a:lnTo>
                    <a:lnTo>
                      <a:pt x="520" y="275"/>
                    </a:lnTo>
                    <a:lnTo>
                      <a:pt x="517" y="275"/>
                    </a:lnTo>
                    <a:lnTo>
                      <a:pt x="519" y="275"/>
                    </a:lnTo>
                    <a:lnTo>
                      <a:pt x="519" y="275"/>
                    </a:lnTo>
                    <a:lnTo>
                      <a:pt x="519" y="275"/>
                    </a:lnTo>
                    <a:lnTo>
                      <a:pt x="519" y="278"/>
                    </a:lnTo>
                    <a:lnTo>
                      <a:pt x="519" y="278"/>
                    </a:lnTo>
                    <a:lnTo>
                      <a:pt x="517" y="278"/>
                    </a:lnTo>
                    <a:lnTo>
                      <a:pt x="517" y="278"/>
                    </a:lnTo>
                    <a:lnTo>
                      <a:pt x="517" y="278"/>
                    </a:lnTo>
                    <a:lnTo>
                      <a:pt x="517" y="278"/>
                    </a:lnTo>
                    <a:lnTo>
                      <a:pt x="516" y="275"/>
                    </a:lnTo>
                    <a:lnTo>
                      <a:pt x="515" y="275"/>
                    </a:lnTo>
                    <a:lnTo>
                      <a:pt x="514" y="275"/>
                    </a:lnTo>
                    <a:lnTo>
                      <a:pt x="512" y="275"/>
                    </a:lnTo>
                    <a:lnTo>
                      <a:pt x="511" y="275"/>
                    </a:lnTo>
                    <a:lnTo>
                      <a:pt x="510" y="278"/>
                    </a:lnTo>
                    <a:lnTo>
                      <a:pt x="510" y="278"/>
                    </a:lnTo>
                    <a:lnTo>
                      <a:pt x="507" y="278"/>
                    </a:lnTo>
                    <a:lnTo>
                      <a:pt x="506" y="278"/>
                    </a:lnTo>
                    <a:lnTo>
                      <a:pt x="506" y="278"/>
                    </a:lnTo>
                    <a:lnTo>
                      <a:pt x="506" y="278"/>
                    </a:lnTo>
                    <a:lnTo>
                      <a:pt x="506" y="278"/>
                    </a:lnTo>
                    <a:lnTo>
                      <a:pt x="506" y="275"/>
                    </a:lnTo>
                    <a:lnTo>
                      <a:pt x="506" y="275"/>
                    </a:lnTo>
                    <a:lnTo>
                      <a:pt x="506" y="275"/>
                    </a:lnTo>
                    <a:lnTo>
                      <a:pt x="507" y="275"/>
                    </a:lnTo>
                    <a:lnTo>
                      <a:pt x="507" y="274"/>
                    </a:lnTo>
                    <a:lnTo>
                      <a:pt x="510" y="274"/>
                    </a:lnTo>
                    <a:lnTo>
                      <a:pt x="510" y="273"/>
                    </a:lnTo>
                    <a:lnTo>
                      <a:pt x="510" y="273"/>
                    </a:lnTo>
                    <a:lnTo>
                      <a:pt x="512" y="271"/>
                    </a:lnTo>
                    <a:lnTo>
                      <a:pt x="516" y="270"/>
                    </a:lnTo>
                    <a:lnTo>
                      <a:pt x="522" y="268"/>
                    </a:lnTo>
                    <a:lnTo>
                      <a:pt x="529" y="268"/>
                    </a:lnTo>
                    <a:lnTo>
                      <a:pt x="532" y="267"/>
                    </a:lnTo>
                    <a:lnTo>
                      <a:pt x="536" y="265"/>
                    </a:lnTo>
                    <a:lnTo>
                      <a:pt x="535" y="265"/>
                    </a:lnTo>
                    <a:lnTo>
                      <a:pt x="534" y="264"/>
                    </a:lnTo>
                    <a:lnTo>
                      <a:pt x="532" y="264"/>
                    </a:lnTo>
                    <a:lnTo>
                      <a:pt x="531" y="265"/>
                    </a:lnTo>
                    <a:lnTo>
                      <a:pt x="531" y="265"/>
                    </a:lnTo>
                    <a:lnTo>
                      <a:pt x="529" y="267"/>
                    </a:lnTo>
                    <a:lnTo>
                      <a:pt x="527" y="267"/>
                    </a:lnTo>
                    <a:lnTo>
                      <a:pt x="526" y="267"/>
                    </a:lnTo>
                    <a:lnTo>
                      <a:pt x="525" y="267"/>
                    </a:lnTo>
                    <a:lnTo>
                      <a:pt x="524" y="267"/>
                    </a:lnTo>
                    <a:lnTo>
                      <a:pt x="522" y="267"/>
                    </a:lnTo>
                    <a:lnTo>
                      <a:pt x="522" y="267"/>
                    </a:lnTo>
                    <a:lnTo>
                      <a:pt x="521" y="265"/>
                    </a:lnTo>
                    <a:lnTo>
                      <a:pt x="520" y="264"/>
                    </a:lnTo>
                    <a:lnTo>
                      <a:pt x="521" y="264"/>
                    </a:lnTo>
                    <a:lnTo>
                      <a:pt x="521" y="263"/>
                    </a:lnTo>
                    <a:lnTo>
                      <a:pt x="522" y="263"/>
                    </a:lnTo>
                    <a:lnTo>
                      <a:pt x="524" y="262"/>
                    </a:lnTo>
                    <a:lnTo>
                      <a:pt x="525" y="260"/>
                    </a:lnTo>
                    <a:lnTo>
                      <a:pt x="527" y="260"/>
                    </a:lnTo>
                    <a:lnTo>
                      <a:pt x="529" y="259"/>
                    </a:lnTo>
                    <a:lnTo>
                      <a:pt x="531" y="257"/>
                    </a:lnTo>
                    <a:lnTo>
                      <a:pt x="535" y="254"/>
                    </a:lnTo>
                    <a:lnTo>
                      <a:pt x="536" y="254"/>
                    </a:lnTo>
                    <a:lnTo>
                      <a:pt x="539" y="253"/>
                    </a:lnTo>
                    <a:lnTo>
                      <a:pt x="539" y="253"/>
                    </a:lnTo>
                    <a:lnTo>
                      <a:pt x="540" y="253"/>
                    </a:lnTo>
                    <a:lnTo>
                      <a:pt x="541" y="253"/>
                    </a:lnTo>
                    <a:lnTo>
                      <a:pt x="542" y="253"/>
                    </a:lnTo>
                    <a:lnTo>
                      <a:pt x="545" y="252"/>
                    </a:lnTo>
                    <a:lnTo>
                      <a:pt x="545" y="252"/>
                    </a:lnTo>
                    <a:lnTo>
                      <a:pt x="548" y="249"/>
                    </a:lnTo>
                    <a:lnTo>
                      <a:pt x="548" y="249"/>
                    </a:lnTo>
                    <a:lnTo>
                      <a:pt x="550" y="249"/>
                    </a:lnTo>
                    <a:lnTo>
                      <a:pt x="551" y="247"/>
                    </a:lnTo>
                    <a:lnTo>
                      <a:pt x="551" y="247"/>
                    </a:lnTo>
                    <a:lnTo>
                      <a:pt x="552" y="245"/>
                    </a:lnTo>
                    <a:lnTo>
                      <a:pt x="553" y="243"/>
                    </a:lnTo>
                    <a:lnTo>
                      <a:pt x="555" y="242"/>
                    </a:lnTo>
                    <a:lnTo>
                      <a:pt x="555" y="240"/>
                    </a:lnTo>
                    <a:lnTo>
                      <a:pt x="562" y="238"/>
                    </a:lnTo>
                    <a:lnTo>
                      <a:pt x="570" y="237"/>
                    </a:lnTo>
                    <a:lnTo>
                      <a:pt x="573" y="237"/>
                    </a:lnTo>
                    <a:lnTo>
                      <a:pt x="577" y="237"/>
                    </a:lnTo>
                    <a:lnTo>
                      <a:pt x="578" y="235"/>
                    </a:lnTo>
                    <a:lnTo>
                      <a:pt x="581" y="233"/>
                    </a:lnTo>
                    <a:lnTo>
                      <a:pt x="581" y="235"/>
                    </a:lnTo>
                    <a:lnTo>
                      <a:pt x="582" y="235"/>
                    </a:lnTo>
                    <a:lnTo>
                      <a:pt x="582" y="237"/>
                    </a:lnTo>
                    <a:lnTo>
                      <a:pt x="582" y="237"/>
                    </a:lnTo>
                    <a:lnTo>
                      <a:pt x="583" y="237"/>
                    </a:lnTo>
                    <a:lnTo>
                      <a:pt x="585" y="237"/>
                    </a:lnTo>
                    <a:lnTo>
                      <a:pt x="586" y="237"/>
                    </a:lnTo>
                    <a:lnTo>
                      <a:pt x="587" y="237"/>
                    </a:lnTo>
                    <a:lnTo>
                      <a:pt x="588" y="237"/>
                    </a:lnTo>
                    <a:lnTo>
                      <a:pt x="589" y="237"/>
                    </a:lnTo>
                    <a:lnTo>
                      <a:pt x="592" y="237"/>
                    </a:lnTo>
                    <a:lnTo>
                      <a:pt x="597" y="237"/>
                    </a:lnTo>
                    <a:lnTo>
                      <a:pt x="598" y="237"/>
                    </a:lnTo>
                    <a:lnTo>
                      <a:pt x="599" y="237"/>
                    </a:lnTo>
                    <a:lnTo>
                      <a:pt x="602" y="237"/>
                    </a:lnTo>
                    <a:lnTo>
                      <a:pt x="603" y="238"/>
                    </a:lnTo>
                    <a:lnTo>
                      <a:pt x="602" y="237"/>
                    </a:lnTo>
                    <a:lnTo>
                      <a:pt x="602" y="237"/>
                    </a:lnTo>
                    <a:lnTo>
                      <a:pt x="599" y="237"/>
                    </a:lnTo>
                    <a:lnTo>
                      <a:pt x="597" y="235"/>
                    </a:lnTo>
                    <a:lnTo>
                      <a:pt x="596" y="233"/>
                    </a:lnTo>
                    <a:lnTo>
                      <a:pt x="594" y="233"/>
                    </a:lnTo>
                    <a:lnTo>
                      <a:pt x="593" y="233"/>
                    </a:lnTo>
                    <a:lnTo>
                      <a:pt x="592" y="233"/>
                    </a:lnTo>
                    <a:lnTo>
                      <a:pt x="592" y="232"/>
                    </a:lnTo>
                    <a:lnTo>
                      <a:pt x="592" y="232"/>
                    </a:lnTo>
                    <a:lnTo>
                      <a:pt x="592" y="230"/>
                    </a:lnTo>
                    <a:lnTo>
                      <a:pt x="593" y="230"/>
                    </a:lnTo>
                    <a:lnTo>
                      <a:pt x="594" y="229"/>
                    </a:lnTo>
                    <a:lnTo>
                      <a:pt x="597" y="228"/>
                    </a:lnTo>
                    <a:lnTo>
                      <a:pt x="598" y="227"/>
                    </a:lnTo>
                    <a:lnTo>
                      <a:pt x="602" y="227"/>
                    </a:lnTo>
                    <a:lnTo>
                      <a:pt x="606" y="224"/>
                    </a:lnTo>
                    <a:lnTo>
                      <a:pt x="608" y="224"/>
                    </a:lnTo>
                    <a:lnTo>
                      <a:pt x="609" y="224"/>
                    </a:lnTo>
                    <a:lnTo>
                      <a:pt x="612" y="224"/>
                    </a:lnTo>
                    <a:lnTo>
                      <a:pt x="616" y="224"/>
                    </a:lnTo>
                    <a:lnTo>
                      <a:pt x="613" y="224"/>
                    </a:lnTo>
                    <a:lnTo>
                      <a:pt x="612" y="224"/>
                    </a:lnTo>
                    <a:lnTo>
                      <a:pt x="612" y="224"/>
                    </a:lnTo>
                    <a:lnTo>
                      <a:pt x="609" y="224"/>
                    </a:lnTo>
                    <a:lnTo>
                      <a:pt x="608" y="224"/>
                    </a:lnTo>
                    <a:lnTo>
                      <a:pt x="606" y="224"/>
                    </a:lnTo>
                    <a:lnTo>
                      <a:pt x="606" y="224"/>
                    </a:lnTo>
                    <a:lnTo>
                      <a:pt x="602" y="224"/>
                    </a:lnTo>
                    <a:lnTo>
                      <a:pt x="599" y="225"/>
                    </a:lnTo>
                    <a:lnTo>
                      <a:pt x="598" y="225"/>
                    </a:lnTo>
                    <a:lnTo>
                      <a:pt x="598" y="225"/>
                    </a:lnTo>
                    <a:lnTo>
                      <a:pt x="598" y="227"/>
                    </a:lnTo>
                    <a:lnTo>
                      <a:pt x="596" y="228"/>
                    </a:lnTo>
                    <a:lnTo>
                      <a:pt x="593" y="228"/>
                    </a:lnTo>
                    <a:lnTo>
                      <a:pt x="592" y="229"/>
                    </a:lnTo>
                    <a:lnTo>
                      <a:pt x="591" y="229"/>
                    </a:lnTo>
                    <a:lnTo>
                      <a:pt x="589" y="228"/>
                    </a:lnTo>
                    <a:lnTo>
                      <a:pt x="589" y="228"/>
                    </a:lnTo>
                    <a:lnTo>
                      <a:pt x="589" y="228"/>
                    </a:lnTo>
                    <a:lnTo>
                      <a:pt x="588" y="227"/>
                    </a:lnTo>
                    <a:lnTo>
                      <a:pt x="588" y="227"/>
                    </a:lnTo>
                    <a:lnTo>
                      <a:pt x="589" y="225"/>
                    </a:lnTo>
                    <a:lnTo>
                      <a:pt x="588" y="227"/>
                    </a:lnTo>
                    <a:lnTo>
                      <a:pt x="587" y="227"/>
                    </a:lnTo>
                    <a:lnTo>
                      <a:pt x="585" y="228"/>
                    </a:lnTo>
                    <a:lnTo>
                      <a:pt x="585" y="228"/>
                    </a:lnTo>
                    <a:lnTo>
                      <a:pt x="581" y="228"/>
                    </a:lnTo>
                    <a:lnTo>
                      <a:pt x="581" y="228"/>
                    </a:lnTo>
                    <a:lnTo>
                      <a:pt x="578" y="228"/>
                    </a:lnTo>
                    <a:lnTo>
                      <a:pt x="577" y="229"/>
                    </a:lnTo>
                    <a:lnTo>
                      <a:pt x="577" y="230"/>
                    </a:lnTo>
                    <a:lnTo>
                      <a:pt x="573" y="232"/>
                    </a:lnTo>
                    <a:lnTo>
                      <a:pt x="571" y="233"/>
                    </a:lnTo>
                    <a:lnTo>
                      <a:pt x="571" y="233"/>
                    </a:lnTo>
                    <a:lnTo>
                      <a:pt x="570" y="233"/>
                    </a:lnTo>
                    <a:lnTo>
                      <a:pt x="567" y="233"/>
                    </a:lnTo>
                    <a:lnTo>
                      <a:pt x="566" y="235"/>
                    </a:lnTo>
                    <a:lnTo>
                      <a:pt x="563" y="235"/>
                    </a:lnTo>
                    <a:lnTo>
                      <a:pt x="561" y="237"/>
                    </a:lnTo>
                    <a:lnTo>
                      <a:pt x="557" y="237"/>
                    </a:lnTo>
                    <a:lnTo>
                      <a:pt x="557" y="237"/>
                    </a:lnTo>
                    <a:lnTo>
                      <a:pt x="555" y="238"/>
                    </a:lnTo>
                    <a:lnTo>
                      <a:pt x="555" y="238"/>
                    </a:lnTo>
                    <a:lnTo>
                      <a:pt x="553" y="238"/>
                    </a:lnTo>
                    <a:lnTo>
                      <a:pt x="551" y="239"/>
                    </a:lnTo>
                    <a:lnTo>
                      <a:pt x="548" y="240"/>
                    </a:lnTo>
                    <a:lnTo>
                      <a:pt x="548" y="240"/>
                    </a:lnTo>
                    <a:lnTo>
                      <a:pt x="548" y="240"/>
                    </a:lnTo>
                    <a:lnTo>
                      <a:pt x="545" y="242"/>
                    </a:lnTo>
                    <a:lnTo>
                      <a:pt x="542" y="243"/>
                    </a:lnTo>
                    <a:lnTo>
                      <a:pt x="540" y="243"/>
                    </a:lnTo>
                    <a:lnTo>
                      <a:pt x="539" y="243"/>
                    </a:lnTo>
                    <a:lnTo>
                      <a:pt x="536" y="243"/>
                    </a:lnTo>
                    <a:lnTo>
                      <a:pt x="535" y="245"/>
                    </a:lnTo>
                    <a:lnTo>
                      <a:pt x="532" y="247"/>
                    </a:lnTo>
                    <a:lnTo>
                      <a:pt x="531" y="249"/>
                    </a:lnTo>
                    <a:lnTo>
                      <a:pt x="531" y="249"/>
                    </a:lnTo>
                    <a:lnTo>
                      <a:pt x="529" y="249"/>
                    </a:lnTo>
                    <a:lnTo>
                      <a:pt x="526" y="250"/>
                    </a:lnTo>
                    <a:lnTo>
                      <a:pt x="524" y="252"/>
                    </a:lnTo>
                    <a:lnTo>
                      <a:pt x="522" y="252"/>
                    </a:lnTo>
                    <a:lnTo>
                      <a:pt x="521" y="253"/>
                    </a:lnTo>
                    <a:lnTo>
                      <a:pt x="520" y="253"/>
                    </a:lnTo>
                    <a:lnTo>
                      <a:pt x="519" y="253"/>
                    </a:lnTo>
                    <a:lnTo>
                      <a:pt x="517" y="252"/>
                    </a:lnTo>
                    <a:lnTo>
                      <a:pt x="516" y="250"/>
                    </a:lnTo>
                    <a:lnTo>
                      <a:pt x="515" y="250"/>
                    </a:lnTo>
                    <a:lnTo>
                      <a:pt x="516" y="250"/>
                    </a:lnTo>
                    <a:lnTo>
                      <a:pt x="516" y="252"/>
                    </a:lnTo>
                    <a:lnTo>
                      <a:pt x="516" y="253"/>
                    </a:lnTo>
                    <a:lnTo>
                      <a:pt x="516" y="253"/>
                    </a:lnTo>
                    <a:lnTo>
                      <a:pt x="516" y="254"/>
                    </a:lnTo>
                    <a:lnTo>
                      <a:pt x="515" y="257"/>
                    </a:lnTo>
                    <a:lnTo>
                      <a:pt x="514" y="258"/>
                    </a:lnTo>
                    <a:lnTo>
                      <a:pt x="512" y="258"/>
                    </a:lnTo>
                    <a:lnTo>
                      <a:pt x="510" y="259"/>
                    </a:lnTo>
                    <a:lnTo>
                      <a:pt x="504" y="260"/>
                    </a:lnTo>
                    <a:lnTo>
                      <a:pt x="501" y="262"/>
                    </a:lnTo>
                    <a:lnTo>
                      <a:pt x="500" y="262"/>
                    </a:lnTo>
                    <a:lnTo>
                      <a:pt x="496" y="263"/>
                    </a:lnTo>
                    <a:lnTo>
                      <a:pt x="497" y="263"/>
                    </a:lnTo>
                    <a:lnTo>
                      <a:pt x="497" y="263"/>
                    </a:lnTo>
                    <a:lnTo>
                      <a:pt x="500" y="263"/>
                    </a:lnTo>
                    <a:lnTo>
                      <a:pt x="500" y="263"/>
                    </a:lnTo>
                    <a:lnTo>
                      <a:pt x="500" y="263"/>
                    </a:lnTo>
                    <a:lnTo>
                      <a:pt x="500" y="264"/>
                    </a:lnTo>
                    <a:lnTo>
                      <a:pt x="500" y="264"/>
                    </a:lnTo>
                    <a:lnTo>
                      <a:pt x="500" y="265"/>
                    </a:lnTo>
                    <a:lnTo>
                      <a:pt x="497" y="265"/>
                    </a:lnTo>
                    <a:lnTo>
                      <a:pt x="496" y="265"/>
                    </a:lnTo>
                    <a:lnTo>
                      <a:pt x="496" y="267"/>
                    </a:lnTo>
                    <a:lnTo>
                      <a:pt x="495" y="267"/>
                    </a:lnTo>
                    <a:lnTo>
                      <a:pt x="494" y="267"/>
                    </a:lnTo>
                    <a:lnTo>
                      <a:pt x="494" y="267"/>
                    </a:lnTo>
                    <a:lnTo>
                      <a:pt x="492" y="267"/>
                    </a:lnTo>
                    <a:lnTo>
                      <a:pt x="491" y="267"/>
                    </a:lnTo>
                    <a:lnTo>
                      <a:pt x="491" y="267"/>
                    </a:lnTo>
                    <a:lnTo>
                      <a:pt x="490" y="268"/>
                    </a:lnTo>
                    <a:lnTo>
                      <a:pt x="490" y="267"/>
                    </a:lnTo>
                    <a:lnTo>
                      <a:pt x="491" y="267"/>
                    </a:lnTo>
                    <a:lnTo>
                      <a:pt x="491" y="265"/>
                    </a:lnTo>
                    <a:lnTo>
                      <a:pt x="491" y="265"/>
                    </a:lnTo>
                    <a:lnTo>
                      <a:pt x="490" y="265"/>
                    </a:lnTo>
                    <a:lnTo>
                      <a:pt x="489" y="267"/>
                    </a:lnTo>
                    <a:lnTo>
                      <a:pt x="488" y="267"/>
                    </a:lnTo>
                    <a:lnTo>
                      <a:pt x="488" y="268"/>
                    </a:lnTo>
                    <a:lnTo>
                      <a:pt x="488" y="268"/>
                    </a:lnTo>
                    <a:lnTo>
                      <a:pt x="486" y="268"/>
                    </a:lnTo>
                    <a:lnTo>
                      <a:pt x="486" y="268"/>
                    </a:lnTo>
                    <a:lnTo>
                      <a:pt x="485" y="268"/>
                    </a:lnTo>
                    <a:lnTo>
                      <a:pt x="483" y="268"/>
                    </a:lnTo>
                    <a:lnTo>
                      <a:pt x="481" y="268"/>
                    </a:lnTo>
                    <a:lnTo>
                      <a:pt x="479" y="268"/>
                    </a:lnTo>
                    <a:lnTo>
                      <a:pt x="478" y="269"/>
                    </a:lnTo>
                    <a:lnTo>
                      <a:pt x="478" y="269"/>
                    </a:lnTo>
                    <a:lnTo>
                      <a:pt x="478" y="270"/>
                    </a:lnTo>
                    <a:lnTo>
                      <a:pt x="478" y="271"/>
                    </a:lnTo>
                    <a:lnTo>
                      <a:pt x="476" y="271"/>
                    </a:lnTo>
                    <a:lnTo>
                      <a:pt x="476" y="271"/>
                    </a:lnTo>
                    <a:lnTo>
                      <a:pt x="475" y="273"/>
                    </a:lnTo>
                    <a:lnTo>
                      <a:pt x="475" y="273"/>
                    </a:lnTo>
                    <a:lnTo>
                      <a:pt x="475" y="273"/>
                    </a:lnTo>
                    <a:lnTo>
                      <a:pt x="475" y="273"/>
                    </a:lnTo>
                    <a:lnTo>
                      <a:pt x="474" y="273"/>
                    </a:lnTo>
                    <a:lnTo>
                      <a:pt x="473" y="273"/>
                    </a:lnTo>
                    <a:lnTo>
                      <a:pt x="471" y="273"/>
                    </a:lnTo>
                    <a:lnTo>
                      <a:pt x="471" y="273"/>
                    </a:lnTo>
                    <a:lnTo>
                      <a:pt x="471" y="274"/>
                    </a:lnTo>
                    <a:lnTo>
                      <a:pt x="469" y="274"/>
                    </a:lnTo>
                    <a:lnTo>
                      <a:pt x="468" y="274"/>
                    </a:lnTo>
                    <a:lnTo>
                      <a:pt x="468" y="275"/>
                    </a:lnTo>
                    <a:lnTo>
                      <a:pt x="465" y="275"/>
                    </a:lnTo>
                    <a:lnTo>
                      <a:pt x="465" y="275"/>
                    </a:lnTo>
                    <a:lnTo>
                      <a:pt x="465" y="275"/>
                    </a:lnTo>
                    <a:lnTo>
                      <a:pt x="464" y="275"/>
                    </a:lnTo>
                    <a:lnTo>
                      <a:pt x="461" y="278"/>
                    </a:lnTo>
                    <a:lnTo>
                      <a:pt x="460" y="278"/>
                    </a:lnTo>
                    <a:lnTo>
                      <a:pt x="459" y="279"/>
                    </a:lnTo>
                    <a:lnTo>
                      <a:pt x="458" y="281"/>
                    </a:lnTo>
                    <a:lnTo>
                      <a:pt x="458" y="281"/>
                    </a:lnTo>
                    <a:lnTo>
                      <a:pt x="459" y="281"/>
                    </a:lnTo>
                    <a:lnTo>
                      <a:pt x="460" y="281"/>
                    </a:lnTo>
                    <a:lnTo>
                      <a:pt x="461" y="281"/>
                    </a:lnTo>
                    <a:lnTo>
                      <a:pt x="464" y="281"/>
                    </a:lnTo>
                    <a:lnTo>
                      <a:pt x="465" y="281"/>
                    </a:lnTo>
                    <a:lnTo>
                      <a:pt x="465" y="281"/>
                    </a:lnTo>
                    <a:lnTo>
                      <a:pt x="468" y="281"/>
                    </a:lnTo>
                    <a:lnTo>
                      <a:pt x="468" y="281"/>
                    </a:lnTo>
                    <a:lnTo>
                      <a:pt x="469" y="283"/>
                    </a:lnTo>
                    <a:lnTo>
                      <a:pt x="469" y="283"/>
                    </a:lnTo>
                    <a:lnTo>
                      <a:pt x="469" y="284"/>
                    </a:lnTo>
                    <a:lnTo>
                      <a:pt x="469" y="284"/>
                    </a:lnTo>
                    <a:lnTo>
                      <a:pt x="469" y="285"/>
                    </a:lnTo>
                    <a:lnTo>
                      <a:pt x="468" y="285"/>
                    </a:lnTo>
                    <a:lnTo>
                      <a:pt x="468" y="285"/>
                    </a:lnTo>
                    <a:lnTo>
                      <a:pt x="468" y="288"/>
                    </a:lnTo>
                    <a:lnTo>
                      <a:pt x="465" y="288"/>
                    </a:lnTo>
                    <a:lnTo>
                      <a:pt x="464" y="288"/>
                    </a:lnTo>
                    <a:lnTo>
                      <a:pt x="461" y="289"/>
                    </a:lnTo>
                    <a:lnTo>
                      <a:pt x="461" y="289"/>
                    </a:lnTo>
                    <a:lnTo>
                      <a:pt x="461" y="289"/>
                    </a:lnTo>
                    <a:lnTo>
                      <a:pt x="459" y="289"/>
                    </a:lnTo>
                    <a:lnTo>
                      <a:pt x="458" y="291"/>
                    </a:lnTo>
                    <a:lnTo>
                      <a:pt x="454" y="291"/>
                    </a:lnTo>
                    <a:lnTo>
                      <a:pt x="453" y="291"/>
                    </a:lnTo>
                    <a:lnTo>
                      <a:pt x="451" y="293"/>
                    </a:lnTo>
                    <a:lnTo>
                      <a:pt x="450" y="293"/>
                    </a:lnTo>
                    <a:lnTo>
                      <a:pt x="449" y="294"/>
                    </a:lnTo>
                    <a:lnTo>
                      <a:pt x="446" y="294"/>
                    </a:lnTo>
                    <a:lnTo>
                      <a:pt x="444" y="294"/>
                    </a:lnTo>
                    <a:lnTo>
                      <a:pt x="443" y="295"/>
                    </a:lnTo>
                    <a:lnTo>
                      <a:pt x="443" y="295"/>
                    </a:lnTo>
                    <a:lnTo>
                      <a:pt x="443" y="296"/>
                    </a:lnTo>
                    <a:lnTo>
                      <a:pt x="442" y="296"/>
                    </a:lnTo>
                    <a:lnTo>
                      <a:pt x="440" y="298"/>
                    </a:lnTo>
                    <a:lnTo>
                      <a:pt x="439" y="298"/>
                    </a:lnTo>
                    <a:lnTo>
                      <a:pt x="438" y="298"/>
                    </a:lnTo>
                    <a:lnTo>
                      <a:pt x="438" y="298"/>
                    </a:lnTo>
                    <a:lnTo>
                      <a:pt x="437" y="299"/>
                    </a:lnTo>
                    <a:lnTo>
                      <a:pt x="437" y="299"/>
                    </a:lnTo>
                    <a:lnTo>
                      <a:pt x="437" y="299"/>
                    </a:lnTo>
                    <a:lnTo>
                      <a:pt x="433" y="300"/>
                    </a:lnTo>
                    <a:lnTo>
                      <a:pt x="433" y="301"/>
                    </a:lnTo>
                    <a:lnTo>
                      <a:pt x="432" y="303"/>
                    </a:lnTo>
                    <a:lnTo>
                      <a:pt x="430" y="303"/>
                    </a:lnTo>
                    <a:lnTo>
                      <a:pt x="429" y="303"/>
                    </a:lnTo>
                    <a:lnTo>
                      <a:pt x="429" y="303"/>
                    </a:lnTo>
                    <a:lnTo>
                      <a:pt x="429" y="303"/>
                    </a:lnTo>
                    <a:lnTo>
                      <a:pt x="429" y="303"/>
                    </a:lnTo>
                    <a:lnTo>
                      <a:pt x="429" y="301"/>
                    </a:lnTo>
                    <a:lnTo>
                      <a:pt x="428" y="303"/>
                    </a:lnTo>
                    <a:lnTo>
                      <a:pt x="427" y="303"/>
                    </a:lnTo>
                    <a:lnTo>
                      <a:pt x="425" y="304"/>
                    </a:lnTo>
                    <a:lnTo>
                      <a:pt x="423" y="305"/>
                    </a:lnTo>
                    <a:lnTo>
                      <a:pt x="422" y="305"/>
                    </a:lnTo>
                    <a:lnTo>
                      <a:pt x="420" y="306"/>
                    </a:lnTo>
                    <a:lnTo>
                      <a:pt x="418" y="306"/>
                    </a:lnTo>
                    <a:lnTo>
                      <a:pt x="417" y="306"/>
                    </a:lnTo>
                    <a:lnTo>
                      <a:pt x="415" y="306"/>
                    </a:lnTo>
                    <a:lnTo>
                      <a:pt x="413" y="306"/>
                    </a:lnTo>
                    <a:lnTo>
                      <a:pt x="413" y="308"/>
                    </a:lnTo>
                    <a:lnTo>
                      <a:pt x="412" y="308"/>
                    </a:lnTo>
                    <a:lnTo>
                      <a:pt x="409" y="309"/>
                    </a:lnTo>
                    <a:lnTo>
                      <a:pt x="408" y="309"/>
                    </a:lnTo>
                    <a:lnTo>
                      <a:pt x="408" y="309"/>
                    </a:lnTo>
                    <a:lnTo>
                      <a:pt x="405" y="310"/>
                    </a:lnTo>
                    <a:lnTo>
                      <a:pt x="404" y="310"/>
                    </a:lnTo>
                    <a:lnTo>
                      <a:pt x="400" y="313"/>
                    </a:lnTo>
                    <a:lnTo>
                      <a:pt x="398" y="313"/>
                    </a:lnTo>
                    <a:lnTo>
                      <a:pt x="397" y="313"/>
                    </a:lnTo>
                    <a:lnTo>
                      <a:pt x="395" y="314"/>
                    </a:lnTo>
                    <a:lnTo>
                      <a:pt x="394" y="314"/>
                    </a:lnTo>
                    <a:lnTo>
                      <a:pt x="393" y="315"/>
                    </a:lnTo>
                    <a:lnTo>
                      <a:pt x="391" y="315"/>
                    </a:lnTo>
                    <a:lnTo>
                      <a:pt x="389" y="316"/>
                    </a:lnTo>
                    <a:lnTo>
                      <a:pt x="388" y="316"/>
                    </a:lnTo>
                    <a:lnTo>
                      <a:pt x="386" y="318"/>
                    </a:lnTo>
                    <a:lnTo>
                      <a:pt x="384" y="318"/>
                    </a:lnTo>
                    <a:lnTo>
                      <a:pt x="383" y="318"/>
                    </a:lnTo>
                    <a:lnTo>
                      <a:pt x="383" y="318"/>
                    </a:lnTo>
                    <a:lnTo>
                      <a:pt x="381" y="318"/>
                    </a:lnTo>
                    <a:lnTo>
                      <a:pt x="381" y="320"/>
                    </a:lnTo>
                    <a:lnTo>
                      <a:pt x="379" y="320"/>
                    </a:lnTo>
                    <a:lnTo>
                      <a:pt x="378" y="320"/>
                    </a:lnTo>
                    <a:lnTo>
                      <a:pt x="377" y="320"/>
                    </a:lnTo>
                    <a:lnTo>
                      <a:pt x="376" y="318"/>
                    </a:lnTo>
                    <a:lnTo>
                      <a:pt x="374" y="318"/>
                    </a:lnTo>
                    <a:lnTo>
                      <a:pt x="373" y="320"/>
                    </a:lnTo>
                    <a:lnTo>
                      <a:pt x="372" y="320"/>
                    </a:lnTo>
                    <a:lnTo>
                      <a:pt x="369" y="320"/>
                    </a:lnTo>
                    <a:lnTo>
                      <a:pt x="368" y="321"/>
                    </a:lnTo>
                    <a:lnTo>
                      <a:pt x="367" y="323"/>
                    </a:lnTo>
                    <a:lnTo>
                      <a:pt x="366" y="323"/>
                    </a:lnTo>
                    <a:lnTo>
                      <a:pt x="366" y="324"/>
                    </a:lnTo>
                    <a:lnTo>
                      <a:pt x="366" y="324"/>
                    </a:lnTo>
                    <a:lnTo>
                      <a:pt x="366" y="324"/>
                    </a:lnTo>
                    <a:lnTo>
                      <a:pt x="366" y="325"/>
                    </a:lnTo>
                    <a:lnTo>
                      <a:pt x="366" y="326"/>
                    </a:lnTo>
                    <a:lnTo>
                      <a:pt x="366" y="326"/>
                    </a:lnTo>
                    <a:lnTo>
                      <a:pt x="363" y="328"/>
                    </a:lnTo>
                    <a:lnTo>
                      <a:pt x="363" y="328"/>
                    </a:lnTo>
                    <a:lnTo>
                      <a:pt x="362" y="328"/>
                    </a:lnTo>
                    <a:lnTo>
                      <a:pt x="362" y="328"/>
                    </a:lnTo>
                    <a:lnTo>
                      <a:pt x="359" y="328"/>
                    </a:lnTo>
                    <a:lnTo>
                      <a:pt x="358" y="330"/>
                    </a:lnTo>
                    <a:lnTo>
                      <a:pt x="356" y="330"/>
                    </a:lnTo>
                    <a:lnTo>
                      <a:pt x="356" y="330"/>
                    </a:lnTo>
                    <a:lnTo>
                      <a:pt x="354" y="330"/>
                    </a:lnTo>
                    <a:lnTo>
                      <a:pt x="353" y="331"/>
                    </a:lnTo>
                    <a:lnTo>
                      <a:pt x="352" y="331"/>
                    </a:lnTo>
                    <a:lnTo>
                      <a:pt x="352" y="331"/>
                    </a:lnTo>
                    <a:lnTo>
                      <a:pt x="351" y="333"/>
                    </a:lnTo>
                    <a:lnTo>
                      <a:pt x="349" y="333"/>
                    </a:lnTo>
                    <a:lnTo>
                      <a:pt x="347" y="333"/>
                    </a:lnTo>
                    <a:lnTo>
                      <a:pt x="346" y="333"/>
                    </a:lnTo>
                    <a:lnTo>
                      <a:pt x="344" y="333"/>
                    </a:lnTo>
                    <a:lnTo>
                      <a:pt x="343" y="334"/>
                    </a:lnTo>
                    <a:lnTo>
                      <a:pt x="341" y="335"/>
                    </a:lnTo>
                    <a:lnTo>
                      <a:pt x="341" y="335"/>
                    </a:lnTo>
                    <a:lnTo>
                      <a:pt x="341" y="335"/>
                    </a:lnTo>
                    <a:lnTo>
                      <a:pt x="338" y="335"/>
                    </a:lnTo>
                    <a:lnTo>
                      <a:pt x="338" y="335"/>
                    </a:lnTo>
                    <a:lnTo>
                      <a:pt x="337" y="334"/>
                    </a:lnTo>
                    <a:lnTo>
                      <a:pt x="337" y="334"/>
                    </a:lnTo>
                    <a:lnTo>
                      <a:pt x="336" y="334"/>
                    </a:lnTo>
                    <a:lnTo>
                      <a:pt x="336" y="335"/>
                    </a:lnTo>
                    <a:lnTo>
                      <a:pt x="335" y="335"/>
                    </a:lnTo>
                    <a:lnTo>
                      <a:pt x="335" y="335"/>
                    </a:lnTo>
                    <a:lnTo>
                      <a:pt x="333" y="335"/>
                    </a:lnTo>
                    <a:lnTo>
                      <a:pt x="333" y="335"/>
                    </a:lnTo>
                    <a:lnTo>
                      <a:pt x="332" y="336"/>
                    </a:lnTo>
                    <a:lnTo>
                      <a:pt x="331" y="336"/>
                    </a:lnTo>
                    <a:lnTo>
                      <a:pt x="331" y="336"/>
                    </a:lnTo>
                    <a:lnTo>
                      <a:pt x="331" y="338"/>
                    </a:lnTo>
                    <a:lnTo>
                      <a:pt x="331" y="339"/>
                    </a:lnTo>
                    <a:lnTo>
                      <a:pt x="331" y="339"/>
                    </a:lnTo>
                    <a:lnTo>
                      <a:pt x="330" y="339"/>
                    </a:lnTo>
                    <a:lnTo>
                      <a:pt x="330" y="339"/>
                    </a:lnTo>
                    <a:lnTo>
                      <a:pt x="327" y="341"/>
                    </a:lnTo>
                    <a:lnTo>
                      <a:pt x="327" y="341"/>
                    </a:lnTo>
                    <a:lnTo>
                      <a:pt x="326" y="341"/>
                    </a:lnTo>
                    <a:lnTo>
                      <a:pt x="326" y="341"/>
                    </a:lnTo>
                    <a:lnTo>
                      <a:pt x="323" y="339"/>
                    </a:lnTo>
                    <a:lnTo>
                      <a:pt x="321" y="339"/>
                    </a:lnTo>
                    <a:lnTo>
                      <a:pt x="321" y="339"/>
                    </a:lnTo>
                    <a:lnTo>
                      <a:pt x="320" y="339"/>
                    </a:lnTo>
                    <a:lnTo>
                      <a:pt x="317" y="341"/>
                    </a:lnTo>
                    <a:lnTo>
                      <a:pt x="317" y="341"/>
                    </a:lnTo>
                    <a:lnTo>
                      <a:pt x="316" y="341"/>
                    </a:lnTo>
                    <a:lnTo>
                      <a:pt x="317" y="341"/>
                    </a:lnTo>
                    <a:lnTo>
                      <a:pt x="317" y="342"/>
                    </a:lnTo>
                    <a:lnTo>
                      <a:pt x="317" y="342"/>
                    </a:lnTo>
                    <a:lnTo>
                      <a:pt x="317" y="342"/>
                    </a:lnTo>
                    <a:lnTo>
                      <a:pt x="317" y="342"/>
                    </a:lnTo>
                    <a:lnTo>
                      <a:pt x="316" y="342"/>
                    </a:lnTo>
                    <a:lnTo>
                      <a:pt x="315" y="342"/>
                    </a:lnTo>
                    <a:lnTo>
                      <a:pt x="313" y="342"/>
                    </a:lnTo>
                    <a:lnTo>
                      <a:pt x="311" y="342"/>
                    </a:lnTo>
                    <a:lnTo>
                      <a:pt x="310" y="342"/>
                    </a:lnTo>
                    <a:lnTo>
                      <a:pt x="308" y="342"/>
                    </a:lnTo>
                    <a:lnTo>
                      <a:pt x="307" y="342"/>
                    </a:lnTo>
                    <a:lnTo>
                      <a:pt x="305" y="342"/>
                    </a:lnTo>
                    <a:lnTo>
                      <a:pt x="303" y="344"/>
                    </a:lnTo>
                    <a:lnTo>
                      <a:pt x="300" y="345"/>
                    </a:lnTo>
                    <a:lnTo>
                      <a:pt x="296" y="347"/>
                    </a:lnTo>
                    <a:lnTo>
                      <a:pt x="303" y="347"/>
                    </a:lnTo>
                    <a:lnTo>
                      <a:pt x="302" y="349"/>
                    </a:lnTo>
                    <a:lnTo>
                      <a:pt x="302" y="349"/>
                    </a:lnTo>
                    <a:lnTo>
                      <a:pt x="301" y="349"/>
                    </a:lnTo>
                    <a:lnTo>
                      <a:pt x="301" y="349"/>
                    </a:lnTo>
                    <a:lnTo>
                      <a:pt x="300" y="351"/>
                    </a:lnTo>
                    <a:lnTo>
                      <a:pt x="298" y="351"/>
                    </a:lnTo>
                    <a:lnTo>
                      <a:pt x="298" y="351"/>
                    </a:lnTo>
                    <a:lnTo>
                      <a:pt x="296" y="352"/>
                    </a:lnTo>
                    <a:lnTo>
                      <a:pt x="296" y="352"/>
                    </a:lnTo>
                    <a:lnTo>
                      <a:pt x="296" y="352"/>
                    </a:lnTo>
                    <a:lnTo>
                      <a:pt x="295" y="352"/>
                    </a:lnTo>
                    <a:lnTo>
                      <a:pt x="294" y="355"/>
                    </a:lnTo>
                    <a:lnTo>
                      <a:pt x="292" y="355"/>
                    </a:lnTo>
                    <a:lnTo>
                      <a:pt x="291" y="355"/>
                    </a:lnTo>
                    <a:lnTo>
                      <a:pt x="291" y="355"/>
                    </a:lnTo>
                    <a:lnTo>
                      <a:pt x="291" y="355"/>
                    </a:lnTo>
                    <a:lnTo>
                      <a:pt x="291" y="355"/>
                    </a:lnTo>
                    <a:lnTo>
                      <a:pt x="292" y="352"/>
                    </a:lnTo>
                    <a:lnTo>
                      <a:pt x="292" y="352"/>
                    </a:lnTo>
                    <a:lnTo>
                      <a:pt x="295" y="352"/>
                    </a:lnTo>
                    <a:lnTo>
                      <a:pt x="295" y="351"/>
                    </a:lnTo>
                    <a:lnTo>
                      <a:pt x="296" y="349"/>
                    </a:lnTo>
                    <a:lnTo>
                      <a:pt x="295" y="351"/>
                    </a:lnTo>
                    <a:lnTo>
                      <a:pt x="295" y="351"/>
                    </a:lnTo>
                    <a:lnTo>
                      <a:pt x="294" y="351"/>
                    </a:lnTo>
                    <a:lnTo>
                      <a:pt x="292" y="352"/>
                    </a:lnTo>
                    <a:lnTo>
                      <a:pt x="291" y="352"/>
                    </a:lnTo>
                    <a:lnTo>
                      <a:pt x="289" y="355"/>
                    </a:lnTo>
                    <a:lnTo>
                      <a:pt x="289" y="356"/>
                    </a:lnTo>
                    <a:lnTo>
                      <a:pt x="287" y="356"/>
                    </a:lnTo>
                    <a:lnTo>
                      <a:pt x="286" y="356"/>
                    </a:lnTo>
                    <a:lnTo>
                      <a:pt x="284" y="356"/>
                    </a:lnTo>
                    <a:lnTo>
                      <a:pt x="281" y="357"/>
                    </a:lnTo>
                    <a:lnTo>
                      <a:pt x="280" y="357"/>
                    </a:lnTo>
                    <a:lnTo>
                      <a:pt x="279" y="357"/>
                    </a:lnTo>
                    <a:lnTo>
                      <a:pt x="279" y="357"/>
                    </a:lnTo>
                    <a:lnTo>
                      <a:pt x="276" y="357"/>
                    </a:lnTo>
                    <a:lnTo>
                      <a:pt x="274" y="357"/>
                    </a:lnTo>
                    <a:lnTo>
                      <a:pt x="271" y="357"/>
                    </a:lnTo>
                    <a:lnTo>
                      <a:pt x="270" y="359"/>
                    </a:lnTo>
                    <a:lnTo>
                      <a:pt x="270" y="359"/>
                    </a:lnTo>
                    <a:lnTo>
                      <a:pt x="266" y="359"/>
                    </a:lnTo>
                    <a:lnTo>
                      <a:pt x="266" y="360"/>
                    </a:lnTo>
                    <a:lnTo>
                      <a:pt x="264" y="362"/>
                    </a:lnTo>
                    <a:lnTo>
                      <a:pt x="264" y="364"/>
                    </a:lnTo>
                    <a:lnTo>
                      <a:pt x="262" y="365"/>
                    </a:lnTo>
                    <a:lnTo>
                      <a:pt x="260" y="366"/>
                    </a:lnTo>
                    <a:lnTo>
                      <a:pt x="260" y="367"/>
                    </a:lnTo>
                    <a:lnTo>
                      <a:pt x="256" y="367"/>
                    </a:lnTo>
                    <a:lnTo>
                      <a:pt x="260" y="365"/>
                    </a:lnTo>
                    <a:lnTo>
                      <a:pt x="261" y="362"/>
                    </a:lnTo>
                    <a:lnTo>
                      <a:pt x="261" y="362"/>
                    </a:lnTo>
                    <a:lnTo>
                      <a:pt x="262" y="362"/>
                    </a:lnTo>
                    <a:lnTo>
                      <a:pt x="262" y="360"/>
                    </a:lnTo>
                    <a:lnTo>
                      <a:pt x="262" y="359"/>
                    </a:lnTo>
                    <a:lnTo>
                      <a:pt x="262" y="359"/>
                    </a:lnTo>
                    <a:lnTo>
                      <a:pt x="261" y="359"/>
                    </a:lnTo>
                    <a:lnTo>
                      <a:pt x="261" y="359"/>
                    </a:lnTo>
                    <a:lnTo>
                      <a:pt x="260" y="359"/>
                    </a:lnTo>
                    <a:lnTo>
                      <a:pt x="260" y="359"/>
                    </a:lnTo>
                    <a:lnTo>
                      <a:pt x="256" y="359"/>
                    </a:lnTo>
                    <a:lnTo>
                      <a:pt x="256" y="360"/>
                    </a:lnTo>
                    <a:lnTo>
                      <a:pt x="254" y="362"/>
                    </a:lnTo>
                    <a:lnTo>
                      <a:pt x="254" y="362"/>
                    </a:lnTo>
                    <a:lnTo>
                      <a:pt x="252" y="362"/>
                    </a:lnTo>
                    <a:lnTo>
                      <a:pt x="250" y="362"/>
                    </a:lnTo>
                    <a:lnTo>
                      <a:pt x="250" y="362"/>
                    </a:lnTo>
                    <a:lnTo>
                      <a:pt x="250" y="362"/>
                    </a:lnTo>
                    <a:lnTo>
                      <a:pt x="249" y="364"/>
                    </a:lnTo>
                    <a:lnTo>
                      <a:pt x="249" y="364"/>
                    </a:lnTo>
                    <a:lnTo>
                      <a:pt x="249" y="365"/>
                    </a:lnTo>
                    <a:lnTo>
                      <a:pt x="246" y="365"/>
                    </a:lnTo>
                    <a:lnTo>
                      <a:pt x="246" y="365"/>
                    </a:lnTo>
                    <a:lnTo>
                      <a:pt x="244" y="366"/>
                    </a:lnTo>
                    <a:lnTo>
                      <a:pt x="243" y="366"/>
                    </a:lnTo>
                    <a:lnTo>
                      <a:pt x="241" y="366"/>
                    </a:lnTo>
                    <a:lnTo>
                      <a:pt x="240" y="367"/>
                    </a:lnTo>
                    <a:lnTo>
                      <a:pt x="240" y="366"/>
                    </a:lnTo>
                    <a:lnTo>
                      <a:pt x="241" y="366"/>
                    </a:lnTo>
                    <a:lnTo>
                      <a:pt x="241" y="365"/>
                    </a:lnTo>
                    <a:lnTo>
                      <a:pt x="241" y="365"/>
                    </a:lnTo>
                    <a:lnTo>
                      <a:pt x="240" y="365"/>
                    </a:lnTo>
                    <a:lnTo>
                      <a:pt x="240" y="365"/>
                    </a:lnTo>
                    <a:lnTo>
                      <a:pt x="239" y="366"/>
                    </a:lnTo>
                    <a:lnTo>
                      <a:pt x="238" y="366"/>
                    </a:lnTo>
                    <a:lnTo>
                      <a:pt x="238" y="367"/>
                    </a:lnTo>
                    <a:lnTo>
                      <a:pt x="238" y="367"/>
                    </a:lnTo>
                    <a:lnTo>
                      <a:pt x="236" y="369"/>
                    </a:lnTo>
                    <a:lnTo>
                      <a:pt x="236" y="369"/>
                    </a:lnTo>
                    <a:lnTo>
                      <a:pt x="235" y="369"/>
                    </a:lnTo>
                    <a:lnTo>
                      <a:pt x="235" y="370"/>
                    </a:lnTo>
                    <a:lnTo>
                      <a:pt x="234" y="369"/>
                    </a:lnTo>
                    <a:lnTo>
                      <a:pt x="233" y="369"/>
                    </a:lnTo>
                    <a:lnTo>
                      <a:pt x="231" y="369"/>
                    </a:lnTo>
                    <a:lnTo>
                      <a:pt x="231" y="367"/>
                    </a:lnTo>
                    <a:lnTo>
                      <a:pt x="229" y="369"/>
                    </a:lnTo>
                    <a:lnTo>
                      <a:pt x="228" y="369"/>
                    </a:lnTo>
                    <a:lnTo>
                      <a:pt x="228" y="370"/>
                    </a:lnTo>
                    <a:lnTo>
                      <a:pt x="228" y="370"/>
                    </a:lnTo>
                    <a:lnTo>
                      <a:pt x="225" y="370"/>
                    </a:lnTo>
                    <a:lnTo>
                      <a:pt x="225" y="370"/>
                    </a:lnTo>
                    <a:lnTo>
                      <a:pt x="221" y="370"/>
                    </a:lnTo>
                    <a:lnTo>
                      <a:pt x="221" y="370"/>
                    </a:lnTo>
                    <a:lnTo>
                      <a:pt x="220" y="371"/>
                    </a:lnTo>
                    <a:lnTo>
                      <a:pt x="220" y="371"/>
                    </a:lnTo>
                    <a:lnTo>
                      <a:pt x="219" y="372"/>
                    </a:lnTo>
                    <a:lnTo>
                      <a:pt x="220" y="370"/>
                    </a:lnTo>
                    <a:lnTo>
                      <a:pt x="220" y="370"/>
                    </a:lnTo>
                    <a:lnTo>
                      <a:pt x="221" y="369"/>
                    </a:lnTo>
                    <a:lnTo>
                      <a:pt x="221" y="367"/>
                    </a:lnTo>
                    <a:lnTo>
                      <a:pt x="224" y="367"/>
                    </a:lnTo>
                    <a:lnTo>
                      <a:pt x="225" y="367"/>
                    </a:lnTo>
                    <a:lnTo>
                      <a:pt x="228" y="367"/>
                    </a:lnTo>
                    <a:lnTo>
                      <a:pt x="228" y="367"/>
                    </a:lnTo>
                    <a:lnTo>
                      <a:pt x="228" y="366"/>
                    </a:lnTo>
                    <a:lnTo>
                      <a:pt x="225" y="365"/>
                    </a:lnTo>
                    <a:lnTo>
                      <a:pt x="225" y="365"/>
                    </a:lnTo>
                    <a:lnTo>
                      <a:pt x="225" y="364"/>
                    </a:lnTo>
                    <a:lnTo>
                      <a:pt x="224" y="364"/>
                    </a:lnTo>
                    <a:lnTo>
                      <a:pt x="221" y="365"/>
                    </a:lnTo>
                    <a:lnTo>
                      <a:pt x="220" y="365"/>
                    </a:lnTo>
                    <a:lnTo>
                      <a:pt x="219" y="366"/>
                    </a:lnTo>
                    <a:lnTo>
                      <a:pt x="218" y="367"/>
                    </a:lnTo>
                    <a:lnTo>
                      <a:pt x="215" y="370"/>
                    </a:lnTo>
                    <a:lnTo>
                      <a:pt x="214" y="370"/>
                    </a:lnTo>
                    <a:lnTo>
                      <a:pt x="211" y="371"/>
                    </a:lnTo>
                    <a:lnTo>
                      <a:pt x="211" y="371"/>
                    </a:lnTo>
                    <a:lnTo>
                      <a:pt x="211" y="372"/>
                    </a:lnTo>
                    <a:lnTo>
                      <a:pt x="210" y="372"/>
                    </a:lnTo>
                    <a:lnTo>
                      <a:pt x="208" y="372"/>
                    </a:lnTo>
                    <a:lnTo>
                      <a:pt x="206" y="372"/>
                    </a:lnTo>
                    <a:lnTo>
                      <a:pt x="205" y="372"/>
                    </a:lnTo>
                    <a:lnTo>
                      <a:pt x="205" y="372"/>
                    </a:lnTo>
                    <a:lnTo>
                      <a:pt x="205" y="374"/>
                    </a:lnTo>
                    <a:lnTo>
                      <a:pt x="204" y="374"/>
                    </a:lnTo>
                    <a:lnTo>
                      <a:pt x="203" y="375"/>
                    </a:lnTo>
                    <a:lnTo>
                      <a:pt x="201" y="375"/>
                    </a:lnTo>
                    <a:lnTo>
                      <a:pt x="200" y="376"/>
                    </a:lnTo>
                    <a:lnTo>
                      <a:pt x="200" y="376"/>
                    </a:lnTo>
                    <a:lnTo>
                      <a:pt x="199" y="376"/>
                    </a:lnTo>
                    <a:lnTo>
                      <a:pt x="199" y="377"/>
                    </a:lnTo>
                    <a:lnTo>
                      <a:pt x="199" y="377"/>
                    </a:lnTo>
                    <a:lnTo>
                      <a:pt x="198" y="377"/>
                    </a:lnTo>
                    <a:lnTo>
                      <a:pt x="198" y="376"/>
                    </a:lnTo>
                    <a:lnTo>
                      <a:pt x="198" y="376"/>
                    </a:lnTo>
                    <a:lnTo>
                      <a:pt x="198" y="376"/>
                    </a:lnTo>
                    <a:lnTo>
                      <a:pt x="198" y="376"/>
                    </a:lnTo>
                    <a:lnTo>
                      <a:pt x="196" y="376"/>
                    </a:lnTo>
                    <a:lnTo>
                      <a:pt x="195" y="377"/>
                    </a:lnTo>
                    <a:lnTo>
                      <a:pt x="195" y="379"/>
                    </a:lnTo>
                    <a:lnTo>
                      <a:pt x="194" y="379"/>
                    </a:lnTo>
                    <a:lnTo>
                      <a:pt x="193" y="379"/>
                    </a:lnTo>
                    <a:lnTo>
                      <a:pt x="190" y="380"/>
                    </a:lnTo>
                    <a:lnTo>
                      <a:pt x="189" y="380"/>
                    </a:lnTo>
                    <a:lnTo>
                      <a:pt x="190" y="379"/>
                    </a:lnTo>
                    <a:lnTo>
                      <a:pt x="190" y="379"/>
                    </a:lnTo>
                    <a:lnTo>
                      <a:pt x="190" y="377"/>
                    </a:lnTo>
                    <a:lnTo>
                      <a:pt x="193" y="377"/>
                    </a:lnTo>
                    <a:lnTo>
                      <a:pt x="193" y="376"/>
                    </a:lnTo>
                    <a:lnTo>
                      <a:pt x="193" y="375"/>
                    </a:lnTo>
                    <a:lnTo>
                      <a:pt x="193" y="374"/>
                    </a:lnTo>
                    <a:lnTo>
                      <a:pt x="193" y="374"/>
                    </a:lnTo>
                    <a:lnTo>
                      <a:pt x="193" y="372"/>
                    </a:lnTo>
                    <a:lnTo>
                      <a:pt x="194" y="372"/>
                    </a:lnTo>
                    <a:lnTo>
                      <a:pt x="193" y="372"/>
                    </a:lnTo>
                    <a:lnTo>
                      <a:pt x="195" y="371"/>
                    </a:lnTo>
                    <a:lnTo>
                      <a:pt x="198" y="370"/>
                    </a:lnTo>
                    <a:lnTo>
                      <a:pt x="199" y="370"/>
                    </a:lnTo>
                    <a:lnTo>
                      <a:pt x="203" y="367"/>
                    </a:lnTo>
                    <a:lnTo>
                      <a:pt x="205" y="366"/>
                    </a:lnTo>
                    <a:lnTo>
                      <a:pt x="206" y="365"/>
                    </a:lnTo>
                    <a:lnTo>
                      <a:pt x="210" y="362"/>
                    </a:lnTo>
                    <a:lnTo>
                      <a:pt x="214" y="362"/>
                    </a:lnTo>
                    <a:lnTo>
                      <a:pt x="218" y="359"/>
                    </a:lnTo>
                    <a:lnTo>
                      <a:pt x="221" y="359"/>
                    </a:lnTo>
                    <a:lnTo>
                      <a:pt x="230" y="356"/>
                    </a:lnTo>
                    <a:lnTo>
                      <a:pt x="235" y="356"/>
                    </a:lnTo>
                    <a:lnTo>
                      <a:pt x="236" y="355"/>
                    </a:lnTo>
                    <a:lnTo>
                      <a:pt x="236" y="356"/>
                    </a:lnTo>
                    <a:lnTo>
                      <a:pt x="238" y="356"/>
                    </a:lnTo>
                    <a:lnTo>
                      <a:pt x="238" y="356"/>
                    </a:lnTo>
                    <a:lnTo>
                      <a:pt x="239" y="356"/>
                    </a:lnTo>
                    <a:lnTo>
                      <a:pt x="240" y="356"/>
                    </a:lnTo>
                    <a:lnTo>
                      <a:pt x="241" y="356"/>
                    </a:lnTo>
                    <a:lnTo>
                      <a:pt x="244" y="355"/>
                    </a:lnTo>
                    <a:lnTo>
                      <a:pt x="245" y="355"/>
                    </a:lnTo>
                    <a:lnTo>
                      <a:pt x="245" y="355"/>
                    </a:lnTo>
                    <a:lnTo>
                      <a:pt x="246" y="355"/>
                    </a:lnTo>
                    <a:lnTo>
                      <a:pt x="245" y="356"/>
                    </a:lnTo>
                    <a:lnTo>
                      <a:pt x="244" y="356"/>
                    </a:lnTo>
                    <a:lnTo>
                      <a:pt x="243" y="357"/>
                    </a:lnTo>
                    <a:lnTo>
                      <a:pt x="241" y="359"/>
                    </a:lnTo>
                    <a:lnTo>
                      <a:pt x="240" y="359"/>
                    </a:lnTo>
                    <a:lnTo>
                      <a:pt x="240" y="360"/>
                    </a:lnTo>
                    <a:lnTo>
                      <a:pt x="240" y="362"/>
                    </a:lnTo>
                    <a:lnTo>
                      <a:pt x="241" y="362"/>
                    </a:lnTo>
                    <a:lnTo>
                      <a:pt x="241" y="362"/>
                    </a:lnTo>
                    <a:lnTo>
                      <a:pt x="243" y="362"/>
                    </a:lnTo>
                    <a:lnTo>
                      <a:pt x="244" y="360"/>
                    </a:lnTo>
                    <a:lnTo>
                      <a:pt x="245" y="359"/>
                    </a:lnTo>
                    <a:lnTo>
                      <a:pt x="246" y="359"/>
                    </a:lnTo>
                    <a:lnTo>
                      <a:pt x="249" y="357"/>
                    </a:lnTo>
                    <a:lnTo>
                      <a:pt x="249" y="357"/>
                    </a:lnTo>
                    <a:lnTo>
                      <a:pt x="249" y="357"/>
                    </a:lnTo>
                    <a:lnTo>
                      <a:pt x="250" y="356"/>
                    </a:lnTo>
                    <a:lnTo>
                      <a:pt x="250" y="357"/>
                    </a:lnTo>
                    <a:lnTo>
                      <a:pt x="250" y="357"/>
                    </a:lnTo>
                    <a:lnTo>
                      <a:pt x="250" y="359"/>
                    </a:lnTo>
                    <a:lnTo>
                      <a:pt x="250" y="357"/>
                    </a:lnTo>
                    <a:lnTo>
                      <a:pt x="250" y="356"/>
                    </a:lnTo>
                    <a:lnTo>
                      <a:pt x="252" y="356"/>
                    </a:lnTo>
                    <a:lnTo>
                      <a:pt x="252" y="356"/>
                    </a:lnTo>
                    <a:lnTo>
                      <a:pt x="254" y="355"/>
                    </a:lnTo>
                    <a:lnTo>
                      <a:pt x="254" y="355"/>
                    </a:lnTo>
                    <a:lnTo>
                      <a:pt x="256" y="352"/>
                    </a:lnTo>
                    <a:lnTo>
                      <a:pt x="256" y="352"/>
                    </a:lnTo>
                    <a:lnTo>
                      <a:pt x="260" y="351"/>
                    </a:lnTo>
                    <a:lnTo>
                      <a:pt x="262" y="349"/>
                    </a:lnTo>
                    <a:lnTo>
                      <a:pt x="266" y="349"/>
                    </a:lnTo>
                    <a:lnTo>
                      <a:pt x="272" y="345"/>
                    </a:lnTo>
                    <a:lnTo>
                      <a:pt x="276" y="344"/>
                    </a:lnTo>
                    <a:lnTo>
                      <a:pt x="279" y="342"/>
                    </a:lnTo>
                    <a:lnTo>
                      <a:pt x="281" y="342"/>
                    </a:lnTo>
                    <a:lnTo>
                      <a:pt x="282" y="342"/>
                    </a:lnTo>
                    <a:lnTo>
                      <a:pt x="284" y="342"/>
                    </a:lnTo>
                    <a:lnTo>
                      <a:pt x="285" y="342"/>
                    </a:lnTo>
                    <a:lnTo>
                      <a:pt x="286" y="341"/>
                    </a:lnTo>
                    <a:lnTo>
                      <a:pt x="286" y="341"/>
                    </a:lnTo>
                    <a:lnTo>
                      <a:pt x="287" y="341"/>
                    </a:lnTo>
                    <a:lnTo>
                      <a:pt x="289" y="341"/>
                    </a:lnTo>
                    <a:lnTo>
                      <a:pt x="291" y="339"/>
                    </a:lnTo>
                    <a:lnTo>
                      <a:pt x="294" y="339"/>
                    </a:lnTo>
                    <a:lnTo>
                      <a:pt x="296" y="339"/>
                    </a:lnTo>
                    <a:lnTo>
                      <a:pt x="300" y="338"/>
                    </a:lnTo>
                    <a:lnTo>
                      <a:pt x="303" y="335"/>
                    </a:lnTo>
                    <a:lnTo>
                      <a:pt x="305" y="335"/>
                    </a:lnTo>
                    <a:lnTo>
                      <a:pt x="305" y="335"/>
                    </a:lnTo>
                    <a:lnTo>
                      <a:pt x="306" y="335"/>
                    </a:lnTo>
                    <a:lnTo>
                      <a:pt x="307" y="335"/>
                    </a:lnTo>
                    <a:lnTo>
                      <a:pt x="308" y="335"/>
                    </a:lnTo>
                    <a:lnTo>
                      <a:pt x="308" y="335"/>
                    </a:lnTo>
                    <a:lnTo>
                      <a:pt x="310" y="335"/>
                    </a:lnTo>
                    <a:lnTo>
                      <a:pt x="311" y="335"/>
                    </a:lnTo>
                    <a:lnTo>
                      <a:pt x="312" y="335"/>
                    </a:lnTo>
                    <a:lnTo>
                      <a:pt x="312" y="334"/>
                    </a:lnTo>
                    <a:lnTo>
                      <a:pt x="313" y="334"/>
                    </a:lnTo>
                    <a:lnTo>
                      <a:pt x="315" y="331"/>
                    </a:lnTo>
                    <a:lnTo>
                      <a:pt x="315" y="331"/>
                    </a:lnTo>
                    <a:lnTo>
                      <a:pt x="316" y="330"/>
                    </a:lnTo>
                    <a:lnTo>
                      <a:pt x="331" y="323"/>
                    </a:lnTo>
                    <a:lnTo>
                      <a:pt x="332" y="323"/>
                    </a:lnTo>
                    <a:lnTo>
                      <a:pt x="335" y="321"/>
                    </a:lnTo>
                    <a:lnTo>
                      <a:pt x="341" y="320"/>
                    </a:lnTo>
                    <a:lnTo>
                      <a:pt x="344" y="318"/>
                    </a:lnTo>
                    <a:lnTo>
                      <a:pt x="347" y="316"/>
                    </a:lnTo>
                    <a:lnTo>
                      <a:pt x="349" y="316"/>
                    </a:lnTo>
                    <a:lnTo>
                      <a:pt x="349" y="316"/>
                    </a:lnTo>
                    <a:lnTo>
                      <a:pt x="349" y="318"/>
                    </a:lnTo>
                    <a:lnTo>
                      <a:pt x="349" y="318"/>
                    </a:lnTo>
                    <a:lnTo>
                      <a:pt x="349" y="318"/>
                    </a:lnTo>
                    <a:lnTo>
                      <a:pt x="351" y="318"/>
                    </a:lnTo>
                    <a:lnTo>
                      <a:pt x="352" y="318"/>
                    </a:lnTo>
                    <a:lnTo>
                      <a:pt x="352" y="318"/>
                    </a:lnTo>
                    <a:lnTo>
                      <a:pt x="354" y="318"/>
                    </a:lnTo>
                    <a:lnTo>
                      <a:pt x="356" y="318"/>
                    </a:lnTo>
                    <a:lnTo>
                      <a:pt x="352" y="318"/>
                    </a:lnTo>
                    <a:lnTo>
                      <a:pt x="352" y="318"/>
                    </a:lnTo>
                    <a:lnTo>
                      <a:pt x="353" y="316"/>
                    </a:lnTo>
                    <a:lnTo>
                      <a:pt x="353" y="316"/>
                    </a:lnTo>
                    <a:lnTo>
                      <a:pt x="353" y="315"/>
                    </a:lnTo>
                    <a:lnTo>
                      <a:pt x="354" y="315"/>
                    </a:lnTo>
                    <a:lnTo>
                      <a:pt x="354" y="314"/>
                    </a:lnTo>
                    <a:lnTo>
                      <a:pt x="354" y="314"/>
                    </a:lnTo>
                    <a:lnTo>
                      <a:pt x="356" y="313"/>
                    </a:lnTo>
                    <a:lnTo>
                      <a:pt x="356" y="313"/>
                    </a:lnTo>
                    <a:lnTo>
                      <a:pt x="358" y="310"/>
                    </a:lnTo>
                    <a:lnTo>
                      <a:pt x="359" y="310"/>
                    </a:lnTo>
                    <a:lnTo>
                      <a:pt x="359" y="310"/>
                    </a:lnTo>
                    <a:lnTo>
                      <a:pt x="362" y="309"/>
                    </a:lnTo>
                    <a:lnTo>
                      <a:pt x="362" y="309"/>
                    </a:lnTo>
                    <a:lnTo>
                      <a:pt x="363" y="308"/>
                    </a:lnTo>
                    <a:lnTo>
                      <a:pt x="366" y="305"/>
                    </a:lnTo>
                    <a:lnTo>
                      <a:pt x="368" y="304"/>
                    </a:lnTo>
                    <a:lnTo>
                      <a:pt x="369" y="303"/>
                    </a:lnTo>
                    <a:lnTo>
                      <a:pt x="372" y="301"/>
                    </a:lnTo>
                    <a:lnTo>
                      <a:pt x="373" y="300"/>
                    </a:lnTo>
                    <a:lnTo>
                      <a:pt x="373" y="300"/>
                    </a:lnTo>
                    <a:lnTo>
                      <a:pt x="373" y="299"/>
                    </a:lnTo>
                    <a:lnTo>
                      <a:pt x="374" y="298"/>
                    </a:lnTo>
                    <a:lnTo>
                      <a:pt x="374" y="298"/>
                    </a:lnTo>
                    <a:lnTo>
                      <a:pt x="376" y="298"/>
                    </a:lnTo>
                    <a:lnTo>
                      <a:pt x="377" y="296"/>
                    </a:lnTo>
                    <a:lnTo>
                      <a:pt x="379" y="295"/>
                    </a:lnTo>
                    <a:lnTo>
                      <a:pt x="381" y="294"/>
                    </a:lnTo>
                    <a:lnTo>
                      <a:pt x="383" y="293"/>
                    </a:lnTo>
                    <a:lnTo>
                      <a:pt x="386" y="291"/>
                    </a:lnTo>
                    <a:lnTo>
                      <a:pt x="388" y="291"/>
                    </a:lnTo>
                    <a:lnTo>
                      <a:pt x="391" y="291"/>
                    </a:lnTo>
                    <a:lnTo>
                      <a:pt x="394" y="289"/>
                    </a:lnTo>
                    <a:lnTo>
                      <a:pt x="398" y="288"/>
                    </a:lnTo>
                    <a:lnTo>
                      <a:pt x="400" y="285"/>
                    </a:lnTo>
                    <a:lnTo>
                      <a:pt x="404" y="284"/>
                    </a:lnTo>
                    <a:lnTo>
                      <a:pt x="404" y="283"/>
                    </a:lnTo>
                    <a:lnTo>
                      <a:pt x="404" y="284"/>
                    </a:lnTo>
                    <a:lnTo>
                      <a:pt x="400" y="284"/>
                    </a:lnTo>
                    <a:lnTo>
                      <a:pt x="400" y="285"/>
                    </a:lnTo>
                    <a:lnTo>
                      <a:pt x="398" y="285"/>
                    </a:lnTo>
                    <a:lnTo>
                      <a:pt x="397" y="285"/>
                    </a:lnTo>
                    <a:lnTo>
                      <a:pt x="394" y="288"/>
                    </a:lnTo>
                    <a:lnTo>
                      <a:pt x="391" y="288"/>
                    </a:lnTo>
                    <a:lnTo>
                      <a:pt x="391" y="288"/>
                    </a:lnTo>
                    <a:lnTo>
                      <a:pt x="389" y="288"/>
                    </a:lnTo>
                    <a:lnTo>
                      <a:pt x="388" y="289"/>
                    </a:lnTo>
                    <a:lnTo>
                      <a:pt x="386" y="289"/>
                    </a:lnTo>
                    <a:lnTo>
                      <a:pt x="383" y="289"/>
                    </a:lnTo>
                    <a:lnTo>
                      <a:pt x="381" y="291"/>
                    </a:lnTo>
                    <a:lnTo>
                      <a:pt x="378" y="291"/>
                    </a:lnTo>
                    <a:lnTo>
                      <a:pt x="376" y="291"/>
                    </a:lnTo>
                    <a:lnTo>
                      <a:pt x="372" y="291"/>
                    </a:lnTo>
                    <a:lnTo>
                      <a:pt x="372" y="293"/>
                    </a:lnTo>
                    <a:lnTo>
                      <a:pt x="372" y="291"/>
                    </a:lnTo>
                    <a:lnTo>
                      <a:pt x="369" y="291"/>
                    </a:lnTo>
                    <a:lnTo>
                      <a:pt x="369" y="291"/>
                    </a:lnTo>
                    <a:lnTo>
                      <a:pt x="369" y="291"/>
                    </a:lnTo>
                    <a:lnTo>
                      <a:pt x="369" y="291"/>
                    </a:lnTo>
                    <a:lnTo>
                      <a:pt x="372" y="289"/>
                    </a:lnTo>
                    <a:lnTo>
                      <a:pt x="372" y="289"/>
                    </a:lnTo>
                    <a:lnTo>
                      <a:pt x="372" y="288"/>
                    </a:lnTo>
                    <a:lnTo>
                      <a:pt x="372" y="288"/>
                    </a:lnTo>
                    <a:lnTo>
                      <a:pt x="372" y="288"/>
                    </a:lnTo>
                    <a:lnTo>
                      <a:pt x="372" y="285"/>
                    </a:lnTo>
                    <a:lnTo>
                      <a:pt x="372" y="285"/>
                    </a:lnTo>
                    <a:lnTo>
                      <a:pt x="372" y="285"/>
                    </a:lnTo>
                    <a:lnTo>
                      <a:pt x="373" y="285"/>
                    </a:lnTo>
                    <a:lnTo>
                      <a:pt x="374" y="285"/>
                    </a:lnTo>
                    <a:lnTo>
                      <a:pt x="374" y="285"/>
                    </a:lnTo>
                    <a:lnTo>
                      <a:pt x="376" y="285"/>
                    </a:lnTo>
                    <a:lnTo>
                      <a:pt x="376" y="285"/>
                    </a:lnTo>
                    <a:lnTo>
                      <a:pt x="377" y="284"/>
                    </a:lnTo>
                    <a:lnTo>
                      <a:pt x="378" y="283"/>
                    </a:lnTo>
                    <a:lnTo>
                      <a:pt x="379" y="281"/>
                    </a:lnTo>
                    <a:lnTo>
                      <a:pt x="381" y="281"/>
                    </a:lnTo>
                    <a:lnTo>
                      <a:pt x="381" y="281"/>
                    </a:lnTo>
                    <a:lnTo>
                      <a:pt x="383" y="281"/>
                    </a:lnTo>
                    <a:lnTo>
                      <a:pt x="383" y="283"/>
                    </a:lnTo>
                    <a:lnTo>
                      <a:pt x="383" y="281"/>
                    </a:lnTo>
                    <a:lnTo>
                      <a:pt x="383" y="281"/>
                    </a:lnTo>
                    <a:lnTo>
                      <a:pt x="383" y="281"/>
                    </a:lnTo>
                    <a:lnTo>
                      <a:pt x="383" y="281"/>
                    </a:lnTo>
                    <a:lnTo>
                      <a:pt x="381" y="278"/>
                    </a:lnTo>
                    <a:lnTo>
                      <a:pt x="381" y="278"/>
                    </a:lnTo>
                    <a:lnTo>
                      <a:pt x="381" y="278"/>
                    </a:lnTo>
                    <a:lnTo>
                      <a:pt x="381" y="279"/>
                    </a:lnTo>
                    <a:lnTo>
                      <a:pt x="379" y="281"/>
                    </a:lnTo>
                    <a:lnTo>
                      <a:pt x="379" y="281"/>
                    </a:lnTo>
                    <a:lnTo>
                      <a:pt x="378" y="281"/>
                    </a:lnTo>
                    <a:lnTo>
                      <a:pt x="377" y="281"/>
                    </a:lnTo>
                    <a:lnTo>
                      <a:pt x="376" y="281"/>
                    </a:lnTo>
                    <a:lnTo>
                      <a:pt x="376" y="283"/>
                    </a:lnTo>
                    <a:lnTo>
                      <a:pt x="374" y="283"/>
                    </a:lnTo>
                    <a:lnTo>
                      <a:pt x="372" y="284"/>
                    </a:lnTo>
                    <a:lnTo>
                      <a:pt x="372" y="285"/>
                    </a:lnTo>
                    <a:lnTo>
                      <a:pt x="368" y="285"/>
                    </a:lnTo>
                    <a:lnTo>
                      <a:pt x="366" y="288"/>
                    </a:lnTo>
                    <a:lnTo>
                      <a:pt x="362" y="289"/>
                    </a:lnTo>
                    <a:lnTo>
                      <a:pt x="362" y="289"/>
                    </a:lnTo>
                    <a:lnTo>
                      <a:pt x="359" y="291"/>
                    </a:lnTo>
                    <a:lnTo>
                      <a:pt x="359" y="291"/>
                    </a:lnTo>
                    <a:lnTo>
                      <a:pt x="359" y="293"/>
                    </a:lnTo>
                    <a:lnTo>
                      <a:pt x="358" y="294"/>
                    </a:lnTo>
                    <a:lnTo>
                      <a:pt x="358" y="295"/>
                    </a:lnTo>
                    <a:lnTo>
                      <a:pt x="356" y="296"/>
                    </a:lnTo>
                    <a:lnTo>
                      <a:pt x="356" y="298"/>
                    </a:lnTo>
                    <a:lnTo>
                      <a:pt x="353" y="298"/>
                    </a:lnTo>
                    <a:lnTo>
                      <a:pt x="353" y="298"/>
                    </a:lnTo>
                    <a:lnTo>
                      <a:pt x="352" y="298"/>
                    </a:lnTo>
                    <a:lnTo>
                      <a:pt x="352" y="298"/>
                    </a:lnTo>
                    <a:lnTo>
                      <a:pt x="352" y="296"/>
                    </a:lnTo>
                    <a:lnTo>
                      <a:pt x="352" y="296"/>
                    </a:lnTo>
                    <a:lnTo>
                      <a:pt x="352" y="295"/>
                    </a:lnTo>
                    <a:lnTo>
                      <a:pt x="352" y="295"/>
                    </a:lnTo>
                    <a:lnTo>
                      <a:pt x="352" y="294"/>
                    </a:lnTo>
                    <a:lnTo>
                      <a:pt x="352" y="293"/>
                    </a:lnTo>
                    <a:lnTo>
                      <a:pt x="352" y="291"/>
                    </a:lnTo>
                    <a:lnTo>
                      <a:pt x="352" y="289"/>
                    </a:lnTo>
                    <a:lnTo>
                      <a:pt x="352" y="288"/>
                    </a:lnTo>
                    <a:lnTo>
                      <a:pt x="352" y="288"/>
                    </a:lnTo>
                    <a:lnTo>
                      <a:pt x="352" y="288"/>
                    </a:lnTo>
                    <a:lnTo>
                      <a:pt x="352" y="288"/>
                    </a:lnTo>
                    <a:lnTo>
                      <a:pt x="351" y="288"/>
                    </a:lnTo>
                    <a:lnTo>
                      <a:pt x="349" y="288"/>
                    </a:lnTo>
                    <a:lnTo>
                      <a:pt x="351" y="285"/>
                    </a:lnTo>
                    <a:lnTo>
                      <a:pt x="351" y="285"/>
                    </a:lnTo>
                    <a:lnTo>
                      <a:pt x="352" y="285"/>
                    </a:lnTo>
                    <a:lnTo>
                      <a:pt x="352" y="285"/>
                    </a:lnTo>
                    <a:lnTo>
                      <a:pt x="352" y="285"/>
                    </a:lnTo>
                    <a:lnTo>
                      <a:pt x="351" y="285"/>
                    </a:lnTo>
                    <a:lnTo>
                      <a:pt x="348" y="285"/>
                    </a:lnTo>
                    <a:lnTo>
                      <a:pt x="346" y="285"/>
                    </a:lnTo>
                    <a:lnTo>
                      <a:pt x="344" y="288"/>
                    </a:lnTo>
                    <a:lnTo>
                      <a:pt x="344" y="288"/>
                    </a:lnTo>
                    <a:lnTo>
                      <a:pt x="344" y="285"/>
                    </a:lnTo>
                    <a:lnTo>
                      <a:pt x="344" y="285"/>
                    </a:lnTo>
                    <a:lnTo>
                      <a:pt x="344" y="285"/>
                    </a:lnTo>
                    <a:lnTo>
                      <a:pt x="344" y="285"/>
                    </a:lnTo>
                    <a:lnTo>
                      <a:pt x="343" y="285"/>
                    </a:lnTo>
                    <a:lnTo>
                      <a:pt x="343" y="285"/>
                    </a:lnTo>
                    <a:lnTo>
                      <a:pt x="342" y="285"/>
                    </a:lnTo>
                    <a:lnTo>
                      <a:pt x="342" y="285"/>
                    </a:lnTo>
                    <a:lnTo>
                      <a:pt x="343" y="284"/>
                    </a:lnTo>
                    <a:lnTo>
                      <a:pt x="343" y="283"/>
                    </a:lnTo>
                    <a:lnTo>
                      <a:pt x="344" y="283"/>
                    </a:lnTo>
                    <a:lnTo>
                      <a:pt x="344" y="281"/>
                    </a:lnTo>
                    <a:lnTo>
                      <a:pt x="343" y="281"/>
                    </a:lnTo>
                    <a:lnTo>
                      <a:pt x="342" y="281"/>
                    </a:lnTo>
                    <a:lnTo>
                      <a:pt x="341" y="281"/>
                    </a:lnTo>
                    <a:lnTo>
                      <a:pt x="338" y="281"/>
                    </a:lnTo>
                    <a:lnTo>
                      <a:pt x="336" y="283"/>
                    </a:lnTo>
                    <a:lnTo>
                      <a:pt x="332" y="284"/>
                    </a:lnTo>
                    <a:lnTo>
                      <a:pt x="330" y="285"/>
                    </a:lnTo>
                    <a:lnTo>
                      <a:pt x="326" y="285"/>
                    </a:lnTo>
                    <a:lnTo>
                      <a:pt x="323" y="285"/>
                    </a:lnTo>
                    <a:lnTo>
                      <a:pt x="323" y="288"/>
                    </a:lnTo>
                    <a:lnTo>
                      <a:pt x="321" y="288"/>
                    </a:lnTo>
                    <a:lnTo>
                      <a:pt x="321" y="288"/>
                    </a:lnTo>
                    <a:lnTo>
                      <a:pt x="317" y="288"/>
                    </a:lnTo>
                    <a:lnTo>
                      <a:pt x="317" y="288"/>
                    </a:lnTo>
                    <a:lnTo>
                      <a:pt x="316" y="288"/>
                    </a:lnTo>
                    <a:lnTo>
                      <a:pt x="315" y="289"/>
                    </a:lnTo>
                    <a:lnTo>
                      <a:pt x="313" y="289"/>
                    </a:lnTo>
                    <a:lnTo>
                      <a:pt x="312" y="291"/>
                    </a:lnTo>
                    <a:lnTo>
                      <a:pt x="311" y="291"/>
                    </a:lnTo>
                    <a:lnTo>
                      <a:pt x="310" y="291"/>
                    </a:lnTo>
                    <a:lnTo>
                      <a:pt x="308" y="291"/>
                    </a:lnTo>
                    <a:lnTo>
                      <a:pt x="307" y="291"/>
                    </a:lnTo>
                    <a:lnTo>
                      <a:pt x="307" y="291"/>
                    </a:lnTo>
                    <a:lnTo>
                      <a:pt x="306" y="291"/>
                    </a:lnTo>
                    <a:lnTo>
                      <a:pt x="306" y="291"/>
                    </a:lnTo>
                    <a:lnTo>
                      <a:pt x="305" y="293"/>
                    </a:lnTo>
                    <a:lnTo>
                      <a:pt x="305" y="293"/>
                    </a:lnTo>
                    <a:lnTo>
                      <a:pt x="303" y="293"/>
                    </a:lnTo>
                    <a:lnTo>
                      <a:pt x="302" y="293"/>
                    </a:lnTo>
                    <a:lnTo>
                      <a:pt x="302" y="291"/>
                    </a:lnTo>
                    <a:lnTo>
                      <a:pt x="301" y="291"/>
                    </a:lnTo>
                    <a:lnTo>
                      <a:pt x="301" y="291"/>
                    </a:lnTo>
                    <a:lnTo>
                      <a:pt x="302" y="291"/>
                    </a:lnTo>
                    <a:lnTo>
                      <a:pt x="303" y="291"/>
                    </a:lnTo>
                    <a:lnTo>
                      <a:pt x="305" y="291"/>
                    </a:lnTo>
                    <a:lnTo>
                      <a:pt x="307" y="289"/>
                    </a:lnTo>
                    <a:lnTo>
                      <a:pt x="308" y="289"/>
                    </a:lnTo>
                    <a:lnTo>
                      <a:pt x="310" y="289"/>
                    </a:lnTo>
                    <a:lnTo>
                      <a:pt x="311" y="289"/>
                    </a:lnTo>
                    <a:lnTo>
                      <a:pt x="312" y="288"/>
                    </a:lnTo>
                    <a:lnTo>
                      <a:pt x="312" y="288"/>
                    </a:lnTo>
                    <a:lnTo>
                      <a:pt x="313" y="288"/>
                    </a:lnTo>
                    <a:lnTo>
                      <a:pt x="313" y="285"/>
                    </a:lnTo>
                    <a:lnTo>
                      <a:pt x="315" y="284"/>
                    </a:lnTo>
                    <a:lnTo>
                      <a:pt x="316" y="283"/>
                    </a:lnTo>
                    <a:lnTo>
                      <a:pt x="317" y="283"/>
                    </a:lnTo>
                    <a:lnTo>
                      <a:pt x="317" y="281"/>
                    </a:lnTo>
                    <a:lnTo>
                      <a:pt x="320" y="281"/>
                    </a:lnTo>
                    <a:lnTo>
                      <a:pt x="321" y="281"/>
                    </a:lnTo>
                    <a:lnTo>
                      <a:pt x="323" y="279"/>
                    </a:lnTo>
                    <a:lnTo>
                      <a:pt x="316" y="279"/>
                    </a:lnTo>
                    <a:lnTo>
                      <a:pt x="316" y="278"/>
                    </a:lnTo>
                    <a:lnTo>
                      <a:pt x="317" y="278"/>
                    </a:lnTo>
                    <a:lnTo>
                      <a:pt x="317" y="275"/>
                    </a:lnTo>
                    <a:lnTo>
                      <a:pt x="317" y="275"/>
                    </a:lnTo>
                    <a:lnTo>
                      <a:pt x="321" y="275"/>
                    </a:lnTo>
                    <a:lnTo>
                      <a:pt x="323" y="274"/>
                    </a:lnTo>
                    <a:lnTo>
                      <a:pt x="326" y="273"/>
                    </a:lnTo>
                    <a:lnTo>
                      <a:pt x="327" y="273"/>
                    </a:lnTo>
                    <a:lnTo>
                      <a:pt x="331" y="271"/>
                    </a:lnTo>
                    <a:lnTo>
                      <a:pt x="331" y="270"/>
                    </a:lnTo>
                    <a:lnTo>
                      <a:pt x="332" y="269"/>
                    </a:lnTo>
                    <a:lnTo>
                      <a:pt x="332" y="268"/>
                    </a:lnTo>
                    <a:lnTo>
                      <a:pt x="333" y="268"/>
                    </a:lnTo>
                    <a:lnTo>
                      <a:pt x="333" y="267"/>
                    </a:lnTo>
                    <a:lnTo>
                      <a:pt x="335" y="265"/>
                    </a:lnTo>
                    <a:lnTo>
                      <a:pt x="336" y="264"/>
                    </a:lnTo>
                    <a:lnTo>
                      <a:pt x="336" y="263"/>
                    </a:lnTo>
                    <a:lnTo>
                      <a:pt x="337" y="263"/>
                    </a:lnTo>
                    <a:lnTo>
                      <a:pt x="337" y="263"/>
                    </a:lnTo>
                    <a:lnTo>
                      <a:pt x="338" y="260"/>
                    </a:lnTo>
                    <a:lnTo>
                      <a:pt x="338" y="259"/>
                    </a:lnTo>
                    <a:lnTo>
                      <a:pt x="338" y="258"/>
                    </a:lnTo>
                    <a:lnTo>
                      <a:pt x="341" y="257"/>
                    </a:lnTo>
                    <a:lnTo>
                      <a:pt x="342" y="254"/>
                    </a:lnTo>
                    <a:lnTo>
                      <a:pt x="343" y="253"/>
                    </a:lnTo>
                    <a:lnTo>
                      <a:pt x="344" y="253"/>
                    </a:lnTo>
                    <a:lnTo>
                      <a:pt x="343" y="253"/>
                    </a:lnTo>
                    <a:lnTo>
                      <a:pt x="343" y="253"/>
                    </a:lnTo>
                    <a:lnTo>
                      <a:pt x="342" y="253"/>
                    </a:lnTo>
                    <a:lnTo>
                      <a:pt x="341" y="253"/>
                    </a:lnTo>
                    <a:lnTo>
                      <a:pt x="342" y="253"/>
                    </a:lnTo>
                    <a:lnTo>
                      <a:pt x="346" y="250"/>
                    </a:lnTo>
                    <a:lnTo>
                      <a:pt x="348" y="249"/>
                    </a:lnTo>
                    <a:lnTo>
                      <a:pt x="352" y="247"/>
                    </a:lnTo>
                    <a:lnTo>
                      <a:pt x="358" y="243"/>
                    </a:lnTo>
                    <a:lnTo>
                      <a:pt x="362" y="243"/>
                    </a:lnTo>
                    <a:lnTo>
                      <a:pt x="359" y="243"/>
                    </a:lnTo>
                    <a:lnTo>
                      <a:pt x="359" y="242"/>
                    </a:lnTo>
                    <a:lnTo>
                      <a:pt x="359" y="242"/>
                    </a:lnTo>
                    <a:lnTo>
                      <a:pt x="359" y="242"/>
                    </a:lnTo>
                    <a:lnTo>
                      <a:pt x="358" y="243"/>
                    </a:lnTo>
                    <a:lnTo>
                      <a:pt x="356" y="243"/>
                    </a:lnTo>
                    <a:lnTo>
                      <a:pt x="354" y="245"/>
                    </a:lnTo>
                    <a:lnTo>
                      <a:pt x="352" y="247"/>
                    </a:lnTo>
                    <a:lnTo>
                      <a:pt x="348" y="249"/>
                    </a:lnTo>
                    <a:lnTo>
                      <a:pt x="346" y="249"/>
                    </a:lnTo>
                    <a:lnTo>
                      <a:pt x="344" y="249"/>
                    </a:lnTo>
                    <a:lnTo>
                      <a:pt x="342" y="250"/>
                    </a:lnTo>
                    <a:lnTo>
                      <a:pt x="341" y="252"/>
                    </a:lnTo>
                    <a:lnTo>
                      <a:pt x="338" y="252"/>
                    </a:lnTo>
                    <a:lnTo>
                      <a:pt x="338" y="253"/>
                    </a:lnTo>
                    <a:lnTo>
                      <a:pt x="338" y="253"/>
                    </a:lnTo>
                    <a:lnTo>
                      <a:pt x="337" y="253"/>
                    </a:lnTo>
                    <a:lnTo>
                      <a:pt x="338" y="253"/>
                    </a:lnTo>
                    <a:lnTo>
                      <a:pt x="338" y="253"/>
                    </a:lnTo>
                    <a:lnTo>
                      <a:pt x="338" y="254"/>
                    </a:lnTo>
                    <a:lnTo>
                      <a:pt x="337" y="254"/>
                    </a:lnTo>
                    <a:lnTo>
                      <a:pt x="337" y="257"/>
                    </a:lnTo>
                    <a:lnTo>
                      <a:pt x="336" y="257"/>
                    </a:lnTo>
                    <a:lnTo>
                      <a:pt x="335" y="257"/>
                    </a:lnTo>
                    <a:lnTo>
                      <a:pt x="333" y="257"/>
                    </a:lnTo>
                    <a:lnTo>
                      <a:pt x="332" y="258"/>
                    </a:lnTo>
                    <a:lnTo>
                      <a:pt x="331" y="258"/>
                    </a:lnTo>
                    <a:lnTo>
                      <a:pt x="327" y="259"/>
                    </a:lnTo>
                    <a:lnTo>
                      <a:pt x="325" y="260"/>
                    </a:lnTo>
                    <a:lnTo>
                      <a:pt x="321" y="260"/>
                    </a:lnTo>
                    <a:lnTo>
                      <a:pt x="317" y="262"/>
                    </a:lnTo>
                    <a:lnTo>
                      <a:pt x="313" y="262"/>
                    </a:lnTo>
                    <a:lnTo>
                      <a:pt x="308" y="262"/>
                    </a:lnTo>
                    <a:lnTo>
                      <a:pt x="306" y="263"/>
                    </a:lnTo>
                    <a:lnTo>
                      <a:pt x="305" y="263"/>
                    </a:lnTo>
                    <a:lnTo>
                      <a:pt x="303" y="263"/>
                    </a:lnTo>
                    <a:lnTo>
                      <a:pt x="302" y="263"/>
                    </a:lnTo>
                    <a:lnTo>
                      <a:pt x="301" y="263"/>
                    </a:lnTo>
                    <a:lnTo>
                      <a:pt x="300" y="263"/>
                    </a:lnTo>
                    <a:lnTo>
                      <a:pt x="298" y="263"/>
                    </a:lnTo>
                    <a:lnTo>
                      <a:pt x="298" y="263"/>
                    </a:lnTo>
                    <a:lnTo>
                      <a:pt x="298" y="262"/>
                    </a:lnTo>
                    <a:lnTo>
                      <a:pt x="298" y="262"/>
                    </a:lnTo>
                    <a:lnTo>
                      <a:pt x="298" y="260"/>
                    </a:lnTo>
                    <a:lnTo>
                      <a:pt x="300" y="260"/>
                    </a:lnTo>
                    <a:lnTo>
                      <a:pt x="301" y="259"/>
                    </a:lnTo>
                    <a:lnTo>
                      <a:pt x="302" y="258"/>
                    </a:lnTo>
                    <a:lnTo>
                      <a:pt x="303" y="258"/>
                    </a:lnTo>
                    <a:lnTo>
                      <a:pt x="302" y="257"/>
                    </a:lnTo>
                    <a:lnTo>
                      <a:pt x="302" y="257"/>
                    </a:lnTo>
                    <a:lnTo>
                      <a:pt x="301" y="257"/>
                    </a:lnTo>
                    <a:lnTo>
                      <a:pt x="301" y="257"/>
                    </a:lnTo>
                    <a:lnTo>
                      <a:pt x="300" y="257"/>
                    </a:lnTo>
                    <a:lnTo>
                      <a:pt x="301" y="254"/>
                    </a:lnTo>
                    <a:lnTo>
                      <a:pt x="301" y="253"/>
                    </a:lnTo>
                    <a:lnTo>
                      <a:pt x="301" y="253"/>
                    </a:lnTo>
                    <a:lnTo>
                      <a:pt x="302" y="252"/>
                    </a:lnTo>
                    <a:lnTo>
                      <a:pt x="303" y="250"/>
                    </a:lnTo>
                    <a:lnTo>
                      <a:pt x="302" y="250"/>
                    </a:lnTo>
                    <a:lnTo>
                      <a:pt x="301" y="250"/>
                    </a:lnTo>
                    <a:lnTo>
                      <a:pt x="301" y="250"/>
                    </a:lnTo>
                    <a:lnTo>
                      <a:pt x="300" y="250"/>
                    </a:lnTo>
                    <a:lnTo>
                      <a:pt x="298" y="250"/>
                    </a:lnTo>
                    <a:lnTo>
                      <a:pt x="298" y="249"/>
                    </a:lnTo>
                    <a:lnTo>
                      <a:pt x="298" y="249"/>
                    </a:lnTo>
                    <a:lnTo>
                      <a:pt x="298" y="249"/>
                    </a:lnTo>
                    <a:lnTo>
                      <a:pt x="298" y="249"/>
                    </a:lnTo>
                    <a:lnTo>
                      <a:pt x="298" y="247"/>
                    </a:lnTo>
                    <a:lnTo>
                      <a:pt x="298" y="247"/>
                    </a:lnTo>
                    <a:lnTo>
                      <a:pt x="300" y="247"/>
                    </a:lnTo>
                    <a:lnTo>
                      <a:pt x="301" y="247"/>
                    </a:lnTo>
                    <a:lnTo>
                      <a:pt x="300" y="247"/>
                    </a:lnTo>
                    <a:lnTo>
                      <a:pt x="300" y="247"/>
                    </a:lnTo>
                    <a:lnTo>
                      <a:pt x="298" y="247"/>
                    </a:lnTo>
                    <a:lnTo>
                      <a:pt x="298" y="247"/>
                    </a:lnTo>
                    <a:lnTo>
                      <a:pt x="296" y="247"/>
                    </a:lnTo>
                    <a:lnTo>
                      <a:pt x="298" y="245"/>
                    </a:lnTo>
                    <a:lnTo>
                      <a:pt x="300" y="243"/>
                    </a:lnTo>
                    <a:lnTo>
                      <a:pt x="303" y="243"/>
                    </a:lnTo>
                    <a:lnTo>
                      <a:pt x="307" y="242"/>
                    </a:lnTo>
                    <a:lnTo>
                      <a:pt x="308" y="242"/>
                    </a:lnTo>
                    <a:lnTo>
                      <a:pt x="310" y="240"/>
                    </a:lnTo>
                    <a:lnTo>
                      <a:pt x="311" y="240"/>
                    </a:lnTo>
                    <a:lnTo>
                      <a:pt x="312" y="239"/>
                    </a:lnTo>
                    <a:lnTo>
                      <a:pt x="312" y="238"/>
                    </a:lnTo>
                    <a:lnTo>
                      <a:pt x="313" y="238"/>
                    </a:lnTo>
                    <a:lnTo>
                      <a:pt x="313" y="237"/>
                    </a:lnTo>
                    <a:lnTo>
                      <a:pt x="315" y="237"/>
                    </a:lnTo>
                    <a:lnTo>
                      <a:pt x="316" y="237"/>
                    </a:lnTo>
                    <a:lnTo>
                      <a:pt x="317" y="237"/>
                    </a:lnTo>
                    <a:lnTo>
                      <a:pt x="317" y="237"/>
                    </a:lnTo>
                    <a:lnTo>
                      <a:pt x="317" y="237"/>
                    </a:lnTo>
                    <a:lnTo>
                      <a:pt x="320" y="237"/>
                    </a:lnTo>
                    <a:lnTo>
                      <a:pt x="320" y="237"/>
                    </a:lnTo>
                    <a:lnTo>
                      <a:pt x="317" y="237"/>
                    </a:lnTo>
                    <a:lnTo>
                      <a:pt x="317" y="238"/>
                    </a:lnTo>
                    <a:lnTo>
                      <a:pt x="317" y="238"/>
                    </a:lnTo>
                    <a:lnTo>
                      <a:pt x="317" y="238"/>
                    </a:lnTo>
                    <a:lnTo>
                      <a:pt x="320" y="239"/>
                    </a:lnTo>
                    <a:lnTo>
                      <a:pt x="320" y="239"/>
                    </a:lnTo>
                    <a:lnTo>
                      <a:pt x="321" y="239"/>
                    </a:lnTo>
                    <a:lnTo>
                      <a:pt x="321" y="239"/>
                    </a:lnTo>
                    <a:lnTo>
                      <a:pt x="323" y="240"/>
                    </a:lnTo>
                    <a:lnTo>
                      <a:pt x="323" y="240"/>
                    </a:lnTo>
                    <a:lnTo>
                      <a:pt x="323" y="242"/>
                    </a:lnTo>
                    <a:lnTo>
                      <a:pt x="321" y="242"/>
                    </a:lnTo>
                    <a:lnTo>
                      <a:pt x="321" y="243"/>
                    </a:lnTo>
                    <a:lnTo>
                      <a:pt x="320" y="243"/>
                    </a:lnTo>
                    <a:lnTo>
                      <a:pt x="317" y="243"/>
                    </a:lnTo>
                    <a:lnTo>
                      <a:pt x="316" y="245"/>
                    </a:lnTo>
                    <a:lnTo>
                      <a:pt x="317" y="243"/>
                    </a:lnTo>
                    <a:lnTo>
                      <a:pt x="321" y="243"/>
                    </a:lnTo>
                    <a:lnTo>
                      <a:pt x="323" y="243"/>
                    </a:lnTo>
                    <a:lnTo>
                      <a:pt x="325" y="242"/>
                    </a:lnTo>
                    <a:lnTo>
                      <a:pt x="327" y="242"/>
                    </a:lnTo>
                    <a:lnTo>
                      <a:pt x="327" y="240"/>
                    </a:lnTo>
                    <a:lnTo>
                      <a:pt x="331" y="240"/>
                    </a:lnTo>
                    <a:lnTo>
                      <a:pt x="330" y="242"/>
                    </a:lnTo>
                    <a:lnTo>
                      <a:pt x="330" y="242"/>
                    </a:lnTo>
                    <a:lnTo>
                      <a:pt x="327" y="243"/>
                    </a:lnTo>
                    <a:lnTo>
                      <a:pt x="326" y="243"/>
                    </a:lnTo>
                    <a:lnTo>
                      <a:pt x="326" y="243"/>
                    </a:lnTo>
                    <a:lnTo>
                      <a:pt x="327" y="243"/>
                    </a:lnTo>
                    <a:lnTo>
                      <a:pt x="330" y="243"/>
                    </a:lnTo>
                    <a:lnTo>
                      <a:pt x="331" y="243"/>
                    </a:lnTo>
                    <a:lnTo>
                      <a:pt x="332" y="243"/>
                    </a:lnTo>
                    <a:lnTo>
                      <a:pt x="333" y="243"/>
                    </a:lnTo>
                    <a:lnTo>
                      <a:pt x="335" y="243"/>
                    </a:lnTo>
                    <a:lnTo>
                      <a:pt x="336" y="242"/>
                    </a:lnTo>
                    <a:lnTo>
                      <a:pt x="337" y="240"/>
                    </a:lnTo>
                    <a:lnTo>
                      <a:pt x="337" y="240"/>
                    </a:lnTo>
                    <a:lnTo>
                      <a:pt x="336" y="239"/>
                    </a:lnTo>
                    <a:lnTo>
                      <a:pt x="335" y="238"/>
                    </a:lnTo>
                    <a:lnTo>
                      <a:pt x="335" y="238"/>
                    </a:lnTo>
                    <a:lnTo>
                      <a:pt x="336" y="238"/>
                    </a:lnTo>
                    <a:lnTo>
                      <a:pt x="336" y="238"/>
                    </a:lnTo>
                    <a:lnTo>
                      <a:pt x="337" y="237"/>
                    </a:lnTo>
                    <a:lnTo>
                      <a:pt x="338" y="237"/>
                    </a:lnTo>
                    <a:lnTo>
                      <a:pt x="338" y="237"/>
                    </a:lnTo>
                    <a:lnTo>
                      <a:pt x="341" y="237"/>
                    </a:lnTo>
                    <a:lnTo>
                      <a:pt x="338" y="237"/>
                    </a:lnTo>
                    <a:lnTo>
                      <a:pt x="338" y="237"/>
                    </a:lnTo>
                    <a:lnTo>
                      <a:pt x="338" y="237"/>
                    </a:lnTo>
                    <a:lnTo>
                      <a:pt x="336" y="237"/>
                    </a:lnTo>
                    <a:lnTo>
                      <a:pt x="332" y="237"/>
                    </a:lnTo>
                    <a:lnTo>
                      <a:pt x="330" y="237"/>
                    </a:lnTo>
                    <a:lnTo>
                      <a:pt x="327" y="238"/>
                    </a:lnTo>
                    <a:lnTo>
                      <a:pt x="326" y="238"/>
                    </a:lnTo>
                    <a:lnTo>
                      <a:pt x="325" y="238"/>
                    </a:lnTo>
                    <a:lnTo>
                      <a:pt x="323" y="237"/>
                    </a:lnTo>
                    <a:lnTo>
                      <a:pt x="321" y="237"/>
                    </a:lnTo>
                    <a:lnTo>
                      <a:pt x="321" y="237"/>
                    </a:lnTo>
                    <a:lnTo>
                      <a:pt x="317" y="237"/>
                    </a:lnTo>
                    <a:lnTo>
                      <a:pt x="317" y="235"/>
                    </a:lnTo>
                    <a:lnTo>
                      <a:pt x="316" y="235"/>
                    </a:lnTo>
                    <a:lnTo>
                      <a:pt x="315" y="237"/>
                    </a:lnTo>
                    <a:lnTo>
                      <a:pt x="313" y="237"/>
                    </a:lnTo>
                    <a:lnTo>
                      <a:pt x="313" y="237"/>
                    </a:lnTo>
                    <a:lnTo>
                      <a:pt x="313" y="237"/>
                    </a:lnTo>
                    <a:lnTo>
                      <a:pt x="313" y="235"/>
                    </a:lnTo>
                    <a:lnTo>
                      <a:pt x="313" y="235"/>
                    </a:lnTo>
                    <a:lnTo>
                      <a:pt x="315" y="235"/>
                    </a:lnTo>
                    <a:lnTo>
                      <a:pt x="316" y="233"/>
                    </a:lnTo>
                    <a:lnTo>
                      <a:pt x="317" y="233"/>
                    </a:lnTo>
                    <a:lnTo>
                      <a:pt x="317" y="233"/>
                    </a:lnTo>
                    <a:lnTo>
                      <a:pt x="321" y="233"/>
                    </a:lnTo>
                    <a:lnTo>
                      <a:pt x="321" y="233"/>
                    </a:lnTo>
                    <a:lnTo>
                      <a:pt x="323" y="233"/>
                    </a:lnTo>
                    <a:lnTo>
                      <a:pt x="323" y="233"/>
                    </a:lnTo>
                    <a:lnTo>
                      <a:pt x="323" y="233"/>
                    </a:lnTo>
                    <a:lnTo>
                      <a:pt x="321" y="232"/>
                    </a:lnTo>
                    <a:lnTo>
                      <a:pt x="321" y="232"/>
                    </a:lnTo>
                    <a:lnTo>
                      <a:pt x="321" y="232"/>
                    </a:lnTo>
                    <a:lnTo>
                      <a:pt x="320" y="233"/>
                    </a:lnTo>
                    <a:lnTo>
                      <a:pt x="320" y="233"/>
                    </a:lnTo>
                    <a:lnTo>
                      <a:pt x="317" y="233"/>
                    </a:lnTo>
                    <a:lnTo>
                      <a:pt x="317" y="233"/>
                    </a:lnTo>
                    <a:lnTo>
                      <a:pt x="320" y="232"/>
                    </a:lnTo>
                    <a:lnTo>
                      <a:pt x="321" y="232"/>
                    </a:lnTo>
                    <a:lnTo>
                      <a:pt x="321" y="230"/>
                    </a:lnTo>
                    <a:lnTo>
                      <a:pt x="321" y="230"/>
                    </a:lnTo>
                    <a:lnTo>
                      <a:pt x="321" y="230"/>
                    </a:lnTo>
                    <a:lnTo>
                      <a:pt x="320" y="230"/>
                    </a:lnTo>
                    <a:lnTo>
                      <a:pt x="317" y="232"/>
                    </a:lnTo>
                    <a:lnTo>
                      <a:pt x="317" y="232"/>
                    </a:lnTo>
                    <a:lnTo>
                      <a:pt x="317" y="230"/>
                    </a:lnTo>
                    <a:lnTo>
                      <a:pt x="317" y="229"/>
                    </a:lnTo>
                    <a:lnTo>
                      <a:pt x="320" y="229"/>
                    </a:lnTo>
                    <a:lnTo>
                      <a:pt x="321" y="228"/>
                    </a:lnTo>
                    <a:lnTo>
                      <a:pt x="323" y="227"/>
                    </a:lnTo>
                    <a:lnTo>
                      <a:pt x="325" y="227"/>
                    </a:lnTo>
                    <a:lnTo>
                      <a:pt x="326" y="225"/>
                    </a:lnTo>
                    <a:lnTo>
                      <a:pt x="325" y="225"/>
                    </a:lnTo>
                    <a:lnTo>
                      <a:pt x="323" y="225"/>
                    </a:lnTo>
                    <a:lnTo>
                      <a:pt x="321" y="227"/>
                    </a:lnTo>
                    <a:lnTo>
                      <a:pt x="320" y="228"/>
                    </a:lnTo>
                    <a:lnTo>
                      <a:pt x="317" y="229"/>
                    </a:lnTo>
                    <a:lnTo>
                      <a:pt x="316" y="232"/>
                    </a:lnTo>
                    <a:lnTo>
                      <a:pt x="315" y="233"/>
                    </a:lnTo>
                    <a:lnTo>
                      <a:pt x="312" y="233"/>
                    </a:lnTo>
                    <a:lnTo>
                      <a:pt x="311" y="233"/>
                    </a:lnTo>
                    <a:lnTo>
                      <a:pt x="310" y="233"/>
                    </a:lnTo>
                    <a:lnTo>
                      <a:pt x="310" y="233"/>
                    </a:lnTo>
                    <a:lnTo>
                      <a:pt x="311" y="232"/>
                    </a:lnTo>
                    <a:lnTo>
                      <a:pt x="312" y="229"/>
                    </a:lnTo>
                    <a:lnTo>
                      <a:pt x="312" y="228"/>
                    </a:lnTo>
                    <a:lnTo>
                      <a:pt x="313" y="227"/>
                    </a:lnTo>
                    <a:lnTo>
                      <a:pt x="313" y="225"/>
                    </a:lnTo>
                    <a:lnTo>
                      <a:pt x="312" y="225"/>
                    </a:lnTo>
                    <a:lnTo>
                      <a:pt x="313" y="224"/>
                    </a:lnTo>
                    <a:lnTo>
                      <a:pt x="315" y="224"/>
                    </a:lnTo>
                    <a:lnTo>
                      <a:pt x="316" y="224"/>
                    </a:lnTo>
                    <a:lnTo>
                      <a:pt x="317" y="224"/>
                    </a:lnTo>
                    <a:lnTo>
                      <a:pt x="317" y="224"/>
                    </a:lnTo>
                    <a:lnTo>
                      <a:pt x="317" y="224"/>
                    </a:lnTo>
                    <a:lnTo>
                      <a:pt x="317" y="223"/>
                    </a:lnTo>
                    <a:lnTo>
                      <a:pt x="317" y="223"/>
                    </a:lnTo>
                    <a:lnTo>
                      <a:pt x="317" y="222"/>
                    </a:lnTo>
                    <a:lnTo>
                      <a:pt x="317" y="222"/>
                    </a:lnTo>
                    <a:lnTo>
                      <a:pt x="315" y="222"/>
                    </a:lnTo>
                    <a:lnTo>
                      <a:pt x="313" y="222"/>
                    </a:lnTo>
                    <a:lnTo>
                      <a:pt x="313" y="220"/>
                    </a:lnTo>
                    <a:lnTo>
                      <a:pt x="315" y="220"/>
                    </a:lnTo>
                    <a:lnTo>
                      <a:pt x="315" y="219"/>
                    </a:lnTo>
                    <a:lnTo>
                      <a:pt x="316" y="219"/>
                    </a:lnTo>
                    <a:lnTo>
                      <a:pt x="317" y="218"/>
                    </a:lnTo>
                    <a:lnTo>
                      <a:pt x="317" y="218"/>
                    </a:lnTo>
                    <a:lnTo>
                      <a:pt x="320" y="218"/>
                    </a:lnTo>
                    <a:lnTo>
                      <a:pt x="321" y="218"/>
                    </a:lnTo>
                    <a:lnTo>
                      <a:pt x="323" y="219"/>
                    </a:lnTo>
                    <a:lnTo>
                      <a:pt x="325" y="219"/>
                    </a:lnTo>
                    <a:lnTo>
                      <a:pt x="323" y="218"/>
                    </a:lnTo>
                    <a:lnTo>
                      <a:pt x="323" y="218"/>
                    </a:lnTo>
                    <a:lnTo>
                      <a:pt x="323" y="218"/>
                    </a:lnTo>
                    <a:lnTo>
                      <a:pt x="323" y="217"/>
                    </a:lnTo>
                    <a:lnTo>
                      <a:pt x="323" y="215"/>
                    </a:lnTo>
                    <a:lnTo>
                      <a:pt x="325" y="215"/>
                    </a:lnTo>
                    <a:lnTo>
                      <a:pt x="326" y="214"/>
                    </a:lnTo>
                    <a:lnTo>
                      <a:pt x="327" y="214"/>
                    </a:lnTo>
                    <a:lnTo>
                      <a:pt x="327" y="214"/>
                    </a:lnTo>
                    <a:lnTo>
                      <a:pt x="330" y="214"/>
                    </a:lnTo>
                    <a:lnTo>
                      <a:pt x="330" y="214"/>
                    </a:lnTo>
                    <a:lnTo>
                      <a:pt x="331" y="214"/>
                    </a:lnTo>
                    <a:lnTo>
                      <a:pt x="331" y="214"/>
                    </a:lnTo>
                    <a:lnTo>
                      <a:pt x="331" y="214"/>
                    </a:lnTo>
                    <a:lnTo>
                      <a:pt x="332" y="214"/>
                    </a:lnTo>
                    <a:lnTo>
                      <a:pt x="335" y="212"/>
                    </a:lnTo>
                    <a:lnTo>
                      <a:pt x="337" y="210"/>
                    </a:lnTo>
                    <a:lnTo>
                      <a:pt x="338" y="209"/>
                    </a:lnTo>
                    <a:lnTo>
                      <a:pt x="341" y="208"/>
                    </a:lnTo>
                    <a:lnTo>
                      <a:pt x="342" y="207"/>
                    </a:lnTo>
                    <a:lnTo>
                      <a:pt x="344" y="207"/>
                    </a:lnTo>
                    <a:lnTo>
                      <a:pt x="346" y="204"/>
                    </a:lnTo>
                    <a:lnTo>
                      <a:pt x="351" y="203"/>
                    </a:lnTo>
                    <a:lnTo>
                      <a:pt x="354" y="202"/>
                    </a:lnTo>
                    <a:lnTo>
                      <a:pt x="356" y="201"/>
                    </a:lnTo>
                    <a:lnTo>
                      <a:pt x="359" y="199"/>
                    </a:lnTo>
                    <a:lnTo>
                      <a:pt x="367" y="199"/>
                    </a:lnTo>
                    <a:lnTo>
                      <a:pt x="367" y="199"/>
                    </a:lnTo>
                    <a:lnTo>
                      <a:pt x="367" y="201"/>
                    </a:lnTo>
                    <a:lnTo>
                      <a:pt x="367" y="201"/>
                    </a:lnTo>
                    <a:lnTo>
                      <a:pt x="367" y="202"/>
                    </a:lnTo>
                    <a:lnTo>
                      <a:pt x="366" y="202"/>
                    </a:lnTo>
                    <a:lnTo>
                      <a:pt x="366" y="202"/>
                    </a:lnTo>
                    <a:lnTo>
                      <a:pt x="366" y="202"/>
                    </a:lnTo>
                    <a:lnTo>
                      <a:pt x="367" y="202"/>
                    </a:lnTo>
                    <a:lnTo>
                      <a:pt x="368" y="202"/>
                    </a:lnTo>
                    <a:lnTo>
                      <a:pt x="368" y="201"/>
                    </a:lnTo>
                    <a:lnTo>
                      <a:pt x="369" y="201"/>
                    </a:lnTo>
                    <a:lnTo>
                      <a:pt x="369" y="199"/>
                    </a:lnTo>
                    <a:lnTo>
                      <a:pt x="368" y="199"/>
                    </a:lnTo>
                    <a:lnTo>
                      <a:pt x="368" y="199"/>
                    </a:lnTo>
                    <a:lnTo>
                      <a:pt x="368" y="198"/>
                    </a:lnTo>
                    <a:lnTo>
                      <a:pt x="369" y="198"/>
                    </a:lnTo>
                    <a:lnTo>
                      <a:pt x="369" y="198"/>
                    </a:lnTo>
                    <a:lnTo>
                      <a:pt x="372" y="197"/>
                    </a:lnTo>
                    <a:lnTo>
                      <a:pt x="372" y="197"/>
                    </a:lnTo>
                    <a:lnTo>
                      <a:pt x="373" y="196"/>
                    </a:lnTo>
                    <a:lnTo>
                      <a:pt x="372" y="197"/>
                    </a:lnTo>
                    <a:lnTo>
                      <a:pt x="372" y="197"/>
                    </a:lnTo>
                    <a:lnTo>
                      <a:pt x="372" y="197"/>
                    </a:lnTo>
                    <a:lnTo>
                      <a:pt x="372" y="196"/>
                    </a:lnTo>
                    <a:lnTo>
                      <a:pt x="372" y="194"/>
                    </a:lnTo>
                    <a:lnTo>
                      <a:pt x="373" y="194"/>
                    </a:lnTo>
                    <a:lnTo>
                      <a:pt x="374" y="194"/>
                    </a:lnTo>
                    <a:lnTo>
                      <a:pt x="377" y="192"/>
                    </a:lnTo>
                    <a:lnTo>
                      <a:pt x="381" y="189"/>
                    </a:lnTo>
                    <a:lnTo>
                      <a:pt x="383" y="188"/>
                    </a:lnTo>
                    <a:lnTo>
                      <a:pt x="384" y="187"/>
                    </a:lnTo>
                    <a:lnTo>
                      <a:pt x="386" y="187"/>
                    </a:lnTo>
                    <a:lnTo>
                      <a:pt x="387" y="187"/>
                    </a:lnTo>
                    <a:lnTo>
                      <a:pt x="388" y="187"/>
                    </a:lnTo>
                    <a:lnTo>
                      <a:pt x="389" y="187"/>
                    </a:lnTo>
                    <a:lnTo>
                      <a:pt x="391" y="187"/>
                    </a:lnTo>
                    <a:lnTo>
                      <a:pt x="391" y="186"/>
                    </a:lnTo>
                    <a:lnTo>
                      <a:pt x="391" y="186"/>
                    </a:lnTo>
                    <a:lnTo>
                      <a:pt x="391" y="186"/>
                    </a:lnTo>
                    <a:lnTo>
                      <a:pt x="391" y="183"/>
                    </a:lnTo>
                    <a:lnTo>
                      <a:pt x="391" y="183"/>
                    </a:lnTo>
                    <a:lnTo>
                      <a:pt x="393" y="183"/>
                    </a:lnTo>
                    <a:lnTo>
                      <a:pt x="394" y="183"/>
                    </a:lnTo>
                    <a:lnTo>
                      <a:pt x="397" y="182"/>
                    </a:lnTo>
                    <a:lnTo>
                      <a:pt x="398" y="182"/>
                    </a:lnTo>
                    <a:lnTo>
                      <a:pt x="400" y="182"/>
                    </a:lnTo>
                    <a:lnTo>
                      <a:pt x="400" y="182"/>
                    </a:lnTo>
                    <a:lnTo>
                      <a:pt x="402" y="182"/>
                    </a:lnTo>
                    <a:lnTo>
                      <a:pt x="402" y="182"/>
                    </a:lnTo>
                    <a:lnTo>
                      <a:pt x="404" y="182"/>
                    </a:lnTo>
                    <a:lnTo>
                      <a:pt x="404" y="182"/>
                    </a:lnTo>
                    <a:lnTo>
                      <a:pt x="404" y="182"/>
                    </a:lnTo>
                    <a:lnTo>
                      <a:pt x="405" y="182"/>
                    </a:lnTo>
                    <a:lnTo>
                      <a:pt x="407" y="182"/>
                    </a:lnTo>
                    <a:lnTo>
                      <a:pt x="408" y="182"/>
                    </a:lnTo>
                    <a:lnTo>
                      <a:pt x="408" y="183"/>
                    </a:lnTo>
                    <a:lnTo>
                      <a:pt x="408" y="183"/>
                    </a:lnTo>
                    <a:lnTo>
                      <a:pt x="408" y="183"/>
                    </a:lnTo>
                    <a:lnTo>
                      <a:pt x="407" y="186"/>
                    </a:lnTo>
                    <a:lnTo>
                      <a:pt x="405" y="186"/>
                    </a:lnTo>
                    <a:lnTo>
                      <a:pt x="404" y="186"/>
                    </a:lnTo>
                    <a:lnTo>
                      <a:pt x="404" y="186"/>
                    </a:lnTo>
                    <a:lnTo>
                      <a:pt x="405" y="186"/>
                    </a:lnTo>
                    <a:lnTo>
                      <a:pt x="408" y="186"/>
                    </a:lnTo>
                    <a:lnTo>
                      <a:pt x="412" y="186"/>
                    </a:lnTo>
                    <a:lnTo>
                      <a:pt x="413" y="186"/>
                    </a:lnTo>
                    <a:lnTo>
                      <a:pt x="417" y="186"/>
                    </a:lnTo>
                    <a:lnTo>
                      <a:pt x="418" y="183"/>
                    </a:lnTo>
                    <a:lnTo>
                      <a:pt x="419" y="183"/>
                    </a:lnTo>
                    <a:lnTo>
                      <a:pt x="420" y="183"/>
                    </a:lnTo>
                    <a:lnTo>
                      <a:pt x="423" y="182"/>
                    </a:lnTo>
                    <a:lnTo>
                      <a:pt x="425" y="182"/>
                    </a:lnTo>
                    <a:lnTo>
                      <a:pt x="428" y="179"/>
                    </a:lnTo>
                    <a:lnTo>
                      <a:pt x="434" y="179"/>
                    </a:lnTo>
                    <a:lnTo>
                      <a:pt x="440" y="177"/>
                    </a:lnTo>
                    <a:lnTo>
                      <a:pt x="443" y="176"/>
                    </a:lnTo>
                    <a:lnTo>
                      <a:pt x="446" y="176"/>
                    </a:lnTo>
                    <a:lnTo>
                      <a:pt x="446" y="176"/>
                    </a:lnTo>
                    <a:lnTo>
                      <a:pt x="444" y="177"/>
                    </a:lnTo>
                    <a:lnTo>
                      <a:pt x="444" y="177"/>
                    </a:lnTo>
                    <a:lnTo>
                      <a:pt x="443" y="177"/>
                    </a:lnTo>
                    <a:lnTo>
                      <a:pt x="443" y="178"/>
                    </a:lnTo>
                    <a:lnTo>
                      <a:pt x="448" y="177"/>
                    </a:lnTo>
                    <a:lnTo>
                      <a:pt x="451" y="177"/>
                    </a:lnTo>
                    <a:lnTo>
                      <a:pt x="455" y="177"/>
                    </a:lnTo>
                    <a:lnTo>
                      <a:pt x="459" y="177"/>
                    </a:lnTo>
                    <a:lnTo>
                      <a:pt x="464" y="176"/>
                    </a:lnTo>
                    <a:lnTo>
                      <a:pt x="468" y="176"/>
                    </a:lnTo>
                    <a:lnTo>
                      <a:pt x="469" y="173"/>
                    </a:lnTo>
                    <a:lnTo>
                      <a:pt x="471" y="172"/>
                    </a:lnTo>
                    <a:lnTo>
                      <a:pt x="474" y="172"/>
                    </a:lnTo>
                    <a:lnTo>
                      <a:pt x="475" y="169"/>
                    </a:lnTo>
                    <a:lnTo>
                      <a:pt x="476" y="169"/>
                    </a:lnTo>
                    <a:lnTo>
                      <a:pt x="478" y="169"/>
                    </a:lnTo>
                    <a:lnTo>
                      <a:pt x="479" y="168"/>
                    </a:lnTo>
                    <a:lnTo>
                      <a:pt x="481" y="167"/>
                    </a:lnTo>
                    <a:lnTo>
                      <a:pt x="483" y="164"/>
                    </a:lnTo>
                    <a:lnTo>
                      <a:pt x="485" y="162"/>
                    </a:lnTo>
                    <a:lnTo>
                      <a:pt x="486" y="162"/>
                    </a:lnTo>
                    <a:lnTo>
                      <a:pt x="486" y="162"/>
                    </a:lnTo>
                    <a:lnTo>
                      <a:pt x="486" y="161"/>
                    </a:lnTo>
                    <a:lnTo>
                      <a:pt x="488" y="158"/>
                    </a:lnTo>
                    <a:lnTo>
                      <a:pt x="489" y="157"/>
                    </a:lnTo>
                    <a:lnTo>
                      <a:pt x="489" y="156"/>
                    </a:lnTo>
                    <a:lnTo>
                      <a:pt x="489" y="156"/>
                    </a:lnTo>
                    <a:lnTo>
                      <a:pt x="489" y="154"/>
                    </a:lnTo>
                    <a:lnTo>
                      <a:pt x="488" y="154"/>
                    </a:lnTo>
                    <a:lnTo>
                      <a:pt x="490" y="153"/>
                    </a:lnTo>
                    <a:lnTo>
                      <a:pt x="492" y="153"/>
                    </a:lnTo>
                    <a:lnTo>
                      <a:pt x="495" y="152"/>
                    </a:lnTo>
                    <a:lnTo>
                      <a:pt x="500" y="151"/>
                    </a:lnTo>
                    <a:lnTo>
                      <a:pt x="501" y="151"/>
                    </a:lnTo>
                    <a:lnTo>
                      <a:pt x="504" y="151"/>
                    </a:lnTo>
                    <a:lnTo>
                      <a:pt x="504" y="149"/>
                    </a:lnTo>
                    <a:lnTo>
                      <a:pt x="506" y="148"/>
                    </a:lnTo>
                    <a:lnTo>
                      <a:pt x="506" y="148"/>
                    </a:lnTo>
                    <a:lnTo>
                      <a:pt x="506" y="147"/>
                    </a:lnTo>
                    <a:lnTo>
                      <a:pt x="507" y="147"/>
                    </a:lnTo>
                    <a:lnTo>
                      <a:pt x="507" y="146"/>
                    </a:lnTo>
                    <a:lnTo>
                      <a:pt x="507" y="144"/>
                    </a:lnTo>
                    <a:lnTo>
                      <a:pt x="507" y="144"/>
                    </a:lnTo>
                    <a:lnTo>
                      <a:pt x="507" y="144"/>
                    </a:lnTo>
                    <a:lnTo>
                      <a:pt x="504" y="144"/>
                    </a:lnTo>
                    <a:lnTo>
                      <a:pt x="502" y="146"/>
                    </a:lnTo>
                    <a:lnTo>
                      <a:pt x="501" y="146"/>
                    </a:lnTo>
                    <a:lnTo>
                      <a:pt x="500" y="146"/>
                    </a:lnTo>
                    <a:lnTo>
                      <a:pt x="497" y="147"/>
                    </a:lnTo>
                    <a:lnTo>
                      <a:pt x="496" y="147"/>
                    </a:lnTo>
                    <a:lnTo>
                      <a:pt x="495" y="147"/>
                    </a:lnTo>
                    <a:lnTo>
                      <a:pt x="494" y="147"/>
                    </a:lnTo>
                    <a:lnTo>
                      <a:pt x="491" y="147"/>
                    </a:lnTo>
                    <a:lnTo>
                      <a:pt x="491" y="147"/>
                    </a:lnTo>
                    <a:lnTo>
                      <a:pt x="489" y="148"/>
                    </a:lnTo>
                    <a:lnTo>
                      <a:pt x="490" y="147"/>
                    </a:lnTo>
                    <a:lnTo>
                      <a:pt x="489" y="147"/>
                    </a:lnTo>
                    <a:lnTo>
                      <a:pt x="489" y="147"/>
                    </a:lnTo>
                    <a:lnTo>
                      <a:pt x="488" y="148"/>
                    </a:lnTo>
                    <a:lnTo>
                      <a:pt x="486" y="148"/>
                    </a:lnTo>
                    <a:lnTo>
                      <a:pt x="486" y="148"/>
                    </a:lnTo>
                    <a:lnTo>
                      <a:pt x="485" y="148"/>
                    </a:lnTo>
                    <a:lnTo>
                      <a:pt x="484" y="148"/>
                    </a:lnTo>
                    <a:lnTo>
                      <a:pt x="484" y="149"/>
                    </a:lnTo>
                    <a:lnTo>
                      <a:pt x="481" y="149"/>
                    </a:lnTo>
                    <a:lnTo>
                      <a:pt x="479" y="151"/>
                    </a:lnTo>
                    <a:lnTo>
                      <a:pt x="478" y="151"/>
                    </a:lnTo>
                    <a:lnTo>
                      <a:pt x="478" y="151"/>
                    </a:lnTo>
                    <a:lnTo>
                      <a:pt x="475" y="151"/>
                    </a:lnTo>
                    <a:lnTo>
                      <a:pt x="473" y="151"/>
                    </a:lnTo>
                    <a:lnTo>
                      <a:pt x="471" y="152"/>
                    </a:lnTo>
                    <a:lnTo>
                      <a:pt x="468" y="153"/>
                    </a:lnTo>
                    <a:lnTo>
                      <a:pt x="465" y="154"/>
                    </a:lnTo>
                    <a:lnTo>
                      <a:pt x="465" y="154"/>
                    </a:lnTo>
                    <a:lnTo>
                      <a:pt x="461" y="156"/>
                    </a:lnTo>
                    <a:lnTo>
                      <a:pt x="461" y="156"/>
                    </a:lnTo>
                    <a:lnTo>
                      <a:pt x="461" y="154"/>
                    </a:lnTo>
                    <a:lnTo>
                      <a:pt x="461" y="153"/>
                    </a:lnTo>
                    <a:lnTo>
                      <a:pt x="464" y="152"/>
                    </a:lnTo>
                    <a:lnTo>
                      <a:pt x="464" y="151"/>
                    </a:lnTo>
                    <a:lnTo>
                      <a:pt x="464" y="151"/>
                    </a:lnTo>
                    <a:lnTo>
                      <a:pt x="464" y="151"/>
                    </a:lnTo>
                    <a:lnTo>
                      <a:pt x="461" y="151"/>
                    </a:lnTo>
                    <a:lnTo>
                      <a:pt x="461" y="151"/>
                    </a:lnTo>
                    <a:lnTo>
                      <a:pt x="461" y="151"/>
                    </a:lnTo>
                    <a:lnTo>
                      <a:pt x="460" y="151"/>
                    </a:lnTo>
                    <a:lnTo>
                      <a:pt x="459" y="151"/>
                    </a:lnTo>
                    <a:lnTo>
                      <a:pt x="458" y="151"/>
                    </a:lnTo>
                    <a:lnTo>
                      <a:pt x="459" y="151"/>
                    </a:lnTo>
                    <a:lnTo>
                      <a:pt x="460" y="152"/>
                    </a:lnTo>
                    <a:lnTo>
                      <a:pt x="460" y="152"/>
                    </a:lnTo>
                    <a:lnTo>
                      <a:pt x="460" y="152"/>
                    </a:lnTo>
                    <a:lnTo>
                      <a:pt x="460" y="153"/>
                    </a:lnTo>
                    <a:lnTo>
                      <a:pt x="460" y="153"/>
                    </a:lnTo>
                    <a:lnTo>
                      <a:pt x="459" y="153"/>
                    </a:lnTo>
                    <a:lnTo>
                      <a:pt x="458" y="154"/>
                    </a:lnTo>
                    <a:lnTo>
                      <a:pt x="458" y="154"/>
                    </a:lnTo>
                    <a:lnTo>
                      <a:pt x="458" y="154"/>
                    </a:lnTo>
                    <a:lnTo>
                      <a:pt x="458" y="153"/>
                    </a:lnTo>
                    <a:lnTo>
                      <a:pt x="455" y="153"/>
                    </a:lnTo>
                    <a:lnTo>
                      <a:pt x="455" y="152"/>
                    </a:lnTo>
                    <a:lnTo>
                      <a:pt x="455" y="152"/>
                    </a:lnTo>
                    <a:lnTo>
                      <a:pt x="455" y="152"/>
                    </a:lnTo>
                    <a:lnTo>
                      <a:pt x="453" y="151"/>
                    </a:lnTo>
                    <a:lnTo>
                      <a:pt x="451" y="151"/>
                    </a:lnTo>
                    <a:lnTo>
                      <a:pt x="451" y="151"/>
                    </a:lnTo>
                    <a:lnTo>
                      <a:pt x="450" y="151"/>
                    </a:lnTo>
                    <a:lnTo>
                      <a:pt x="449" y="151"/>
                    </a:lnTo>
                    <a:lnTo>
                      <a:pt x="446" y="151"/>
                    </a:lnTo>
                    <a:lnTo>
                      <a:pt x="443" y="151"/>
                    </a:lnTo>
                    <a:lnTo>
                      <a:pt x="443" y="151"/>
                    </a:lnTo>
                    <a:lnTo>
                      <a:pt x="442" y="151"/>
                    </a:lnTo>
                    <a:lnTo>
                      <a:pt x="438" y="151"/>
                    </a:lnTo>
                    <a:lnTo>
                      <a:pt x="434" y="151"/>
                    </a:lnTo>
                    <a:lnTo>
                      <a:pt x="433" y="151"/>
                    </a:lnTo>
                    <a:lnTo>
                      <a:pt x="429" y="152"/>
                    </a:lnTo>
                    <a:lnTo>
                      <a:pt x="425" y="152"/>
                    </a:lnTo>
                    <a:lnTo>
                      <a:pt x="423" y="153"/>
                    </a:lnTo>
                    <a:lnTo>
                      <a:pt x="419" y="153"/>
                    </a:lnTo>
                    <a:lnTo>
                      <a:pt x="419" y="153"/>
                    </a:lnTo>
                    <a:lnTo>
                      <a:pt x="418" y="153"/>
                    </a:lnTo>
                    <a:lnTo>
                      <a:pt x="417" y="153"/>
                    </a:lnTo>
                    <a:lnTo>
                      <a:pt x="415" y="152"/>
                    </a:lnTo>
                    <a:lnTo>
                      <a:pt x="413" y="152"/>
                    </a:lnTo>
                    <a:lnTo>
                      <a:pt x="412" y="151"/>
                    </a:lnTo>
                    <a:lnTo>
                      <a:pt x="410" y="151"/>
                    </a:lnTo>
                    <a:lnTo>
                      <a:pt x="409" y="151"/>
                    </a:lnTo>
                    <a:lnTo>
                      <a:pt x="408" y="151"/>
                    </a:lnTo>
                    <a:lnTo>
                      <a:pt x="408" y="149"/>
                    </a:lnTo>
                    <a:lnTo>
                      <a:pt x="407" y="149"/>
                    </a:lnTo>
                    <a:lnTo>
                      <a:pt x="407" y="149"/>
                    </a:lnTo>
                    <a:lnTo>
                      <a:pt x="408" y="148"/>
                    </a:lnTo>
                    <a:lnTo>
                      <a:pt x="409" y="147"/>
                    </a:lnTo>
                    <a:lnTo>
                      <a:pt x="410" y="147"/>
                    </a:lnTo>
                    <a:lnTo>
                      <a:pt x="412" y="146"/>
                    </a:lnTo>
                    <a:lnTo>
                      <a:pt x="412" y="146"/>
                    </a:lnTo>
                    <a:lnTo>
                      <a:pt x="413" y="146"/>
                    </a:lnTo>
                    <a:lnTo>
                      <a:pt x="413" y="144"/>
                    </a:lnTo>
                    <a:lnTo>
                      <a:pt x="413" y="144"/>
                    </a:lnTo>
                    <a:lnTo>
                      <a:pt x="413" y="143"/>
                    </a:lnTo>
                    <a:lnTo>
                      <a:pt x="413" y="143"/>
                    </a:lnTo>
                    <a:lnTo>
                      <a:pt x="413" y="143"/>
                    </a:lnTo>
                    <a:lnTo>
                      <a:pt x="413" y="142"/>
                    </a:lnTo>
                    <a:lnTo>
                      <a:pt x="413" y="141"/>
                    </a:lnTo>
                    <a:lnTo>
                      <a:pt x="413" y="139"/>
                    </a:lnTo>
                    <a:lnTo>
                      <a:pt x="413" y="137"/>
                    </a:lnTo>
                    <a:lnTo>
                      <a:pt x="414" y="137"/>
                    </a:lnTo>
                    <a:lnTo>
                      <a:pt x="415" y="137"/>
                    </a:lnTo>
                    <a:lnTo>
                      <a:pt x="417" y="137"/>
                    </a:lnTo>
                    <a:lnTo>
                      <a:pt x="418" y="137"/>
                    </a:lnTo>
                    <a:lnTo>
                      <a:pt x="419" y="137"/>
                    </a:lnTo>
                    <a:lnTo>
                      <a:pt x="422" y="137"/>
                    </a:lnTo>
                    <a:lnTo>
                      <a:pt x="423" y="137"/>
                    </a:lnTo>
                    <a:lnTo>
                      <a:pt x="423" y="137"/>
                    </a:lnTo>
                    <a:lnTo>
                      <a:pt x="425" y="136"/>
                    </a:lnTo>
                    <a:lnTo>
                      <a:pt x="425" y="136"/>
                    </a:lnTo>
                    <a:lnTo>
                      <a:pt x="427" y="135"/>
                    </a:lnTo>
                    <a:lnTo>
                      <a:pt x="427" y="135"/>
                    </a:lnTo>
                    <a:lnTo>
                      <a:pt x="428" y="136"/>
                    </a:lnTo>
                    <a:lnTo>
                      <a:pt x="430" y="136"/>
                    </a:lnTo>
                    <a:lnTo>
                      <a:pt x="430" y="136"/>
                    </a:lnTo>
                    <a:lnTo>
                      <a:pt x="432" y="136"/>
                    </a:lnTo>
                    <a:lnTo>
                      <a:pt x="432" y="136"/>
                    </a:lnTo>
                    <a:lnTo>
                      <a:pt x="430" y="135"/>
                    </a:lnTo>
                    <a:lnTo>
                      <a:pt x="429" y="133"/>
                    </a:lnTo>
                    <a:lnTo>
                      <a:pt x="428" y="133"/>
                    </a:lnTo>
                    <a:lnTo>
                      <a:pt x="427" y="133"/>
                    </a:lnTo>
                    <a:lnTo>
                      <a:pt x="425" y="131"/>
                    </a:lnTo>
                    <a:lnTo>
                      <a:pt x="422" y="131"/>
                    </a:lnTo>
                    <a:lnTo>
                      <a:pt x="419" y="131"/>
                    </a:lnTo>
                    <a:lnTo>
                      <a:pt x="417" y="131"/>
                    </a:lnTo>
                    <a:lnTo>
                      <a:pt x="414" y="131"/>
                    </a:lnTo>
                    <a:lnTo>
                      <a:pt x="413" y="131"/>
                    </a:lnTo>
                    <a:lnTo>
                      <a:pt x="413" y="131"/>
                    </a:lnTo>
                    <a:lnTo>
                      <a:pt x="412" y="131"/>
                    </a:lnTo>
                    <a:lnTo>
                      <a:pt x="412" y="131"/>
                    </a:lnTo>
                    <a:lnTo>
                      <a:pt x="412" y="130"/>
                    </a:lnTo>
                    <a:lnTo>
                      <a:pt x="410" y="127"/>
                    </a:lnTo>
                    <a:lnTo>
                      <a:pt x="410" y="127"/>
                    </a:lnTo>
                    <a:lnTo>
                      <a:pt x="410" y="127"/>
                    </a:lnTo>
                    <a:lnTo>
                      <a:pt x="410" y="126"/>
                    </a:lnTo>
                    <a:lnTo>
                      <a:pt x="410" y="126"/>
                    </a:lnTo>
                    <a:lnTo>
                      <a:pt x="412" y="125"/>
                    </a:lnTo>
                    <a:lnTo>
                      <a:pt x="413" y="125"/>
                    </a:lnTo>
                    <a:lnTo>
                      <a:pt x="413" y="125"/>
                    </a:lnTo>
                    <a:lnTo>
                      <a:pt x="414" y="125"/>
                    </a:lnTo>
                    <a:lnTo>
                      <a:pt x="415" y="125"/>
                    </a:lnTo>
                    <a:lnTo>
                      <a:pt x="417" y="125"/>
                    </a:lnTo>
                    <a:lnTo>
                      <a:pt x="415" y="125"/>
                    </a:lnTo>
                    <a:lnTo>
                      <a:pt x="415" y="126"/>
                    </a:lnTo>
                    <a:lnTo>
                      <a:pt x="413" y="126"/>
                    </a:lnTo>
                    <a:lnTo>
                      <a:pt x="413" y="127"/>
                    </a:lnTo>
                    <a:lnTo>
                      <a:pt x="413" y="127"/>
                    </a:lnTo>
                    <a:lnTo>
                      <a:pt x="415" y="126"/>
                    </a:lnTo>
                    <a:lnTo>
                      <a:pt x="418" y="126"/>
                    </a:lnTo>
                    <a:lnTo>
                      <a:pt x="419" y="125"/>
                    </a:lnTo>
                    <a:lnTo>
                      <a:pt x="423" y="123"/>
                    </a:lnTo>
                    <a:lnTo>
                      <a:pt x="427" y="121"/>
                    </a:lnTo>
                    <a:lnTo>
                      <a:pt x="430" y="121"/>
                    </a:lnTo>
                    <a:lnTo>
                      <a:pt x="434" y="121"/>
                    </a:lnTo>
                    <a:lnTo>
                      <a:pt x="437" y="121"/>
                    </a:lnTo>
                    <a:lnTo>
                      <a:pt x="438" y="120"/>
                    </a:lnTo>
                    <a:lnTo>
                      <a:pt x="439" y="120"/>
                    </a:lnTo>
                    <a:lnTo>
                      <a:pt x="442" y="120"/>
                    </a:lnTo>
                    <a:lnTo>
                      <a:pt x="443" y="118"/>
                    </a:lnTo>
                    <a:lnTo>
                      <a:pt x="444" y="117"/>
                    </a:lnTo>
                    <a:lnTo>
                      <a:pt x="446" y="117"/>
                    </a:lnTo>
                    <a:lnTo>
                      <a:pt x="448" y="116"/>
                    </a:lnTo>
                    <a:lnTo>
                      <a:pt x="449" y="116"/>
                    </a:lnTo>
                    <a:lnTo>
                      <a:pt x="451" y="116"/>
                    </a:lnTo>
                    <a:lnTo>
                      <a:pt x="455" y="115"/>
                    </a:lnTo>
                    <a:lnTo>
                      <a:pt x="459" y="116"/>
                    </a:lnTo>
                    <a:lnTo>
                      <a:pt x="461" y="116"/>
                    </a:lnTo>
                    <a:lnTo>
                      <a:pt x="468" y="115"/>
                    </a:lnTo>
                    <a:lnTo>
                      <a:pt x="468" y="115"/>
                    </a:lnTo>
                    <a:lnTo>
                      <a:pt x="471" y="115"/>
                    </a:lnTo>
                    <a:lnTo>
                      <a:pt x="469" y="115"/>
                    </a:lnTo>
                    <a:lnTo>
                      <a:pt x="469" y="115"/>
                    </a:lnTo>
                    <a:lnTo>
                      <a:pt x="468" y="115"/>
                    </a:lnTo>
                    <a:lnTo>
                      <a:pt x="468" y="115"/>
                    </a:lnTo>
                    <a:lnTo>
                      <a:pt x="471" y="112"/>
                    </a:lnTo>
                    <a:lnTo>
                      <a:pt x="473" y="112"/>
                    </a:lnTo>
                    <a:lnTo>
                      <a:pt x="475" y="110"/>
                    </a:lnTo>
                    <a:lnTo>
                      <a:pt x="478" y="110"/>
                    </a:lnTo>
                    <a:lnTo>
                      <a:pt x="480" y="110"/>
                    </a:lnTo>
                    <a:lnTo>
                      <a:pt x="483" y="108"/>
                    </a:lnTo>
                    <a:lnTo>
                      <a:pt x="486" y="108"/>
                    </a:lnTo>
                    <a:lnTo>
                      <a:pt x="486" y="108"/>
                    </a:lnTo>
                    <a:lnTo>
                      <a:pt x="491" y="108"/>
                    </a:lnTo>
                    <a:lnTo>
                      <a:pt x="495" y="106"/>
                    </a:lnTo>
                    <a:lnTo>
                      <a:pt x="497" y="106"/>
                    </a:lnTo>
                    <a:lnTo>
                      <a:pt x="502" y="105"/>
                    </a:lnTo>
                    <a:lnTo>
                      <a:pt x="504" y="105"/>
                    </a:lnTo>
                    <a:lnTo>
                      <a:pt x="510" y="103"/>
                    </a:lnTo>
                    <a:lnTo>
                      <a:pt x="511" y="103"/>
                    </a:lnTo>
                    <a:lnTo>
                      <a:pt x="512" y="103"/>
                    </a:lnTo>
                    <a:lnTo>
                      <a:pt x="515" y="103"/>
                    </a:lnTo>
                    <a:lnTo>
                      <a:pt x="517" y="105"/>
                    </a:lnTo>
                    <a:lnTo>
                      <a:pt x="516" y="105"/>
                    </a:lnTo>
                    <a:lnTo>
                      <a:pt x="515" y="105"/>
                    </a:lnTo>
                    <a:lnTo>
                      <a:pt x="512" y="106"/>
                    </a:lnTo>
                    <a:lnTo>
                      <a:pt x="511" y="106"/>
                    </a:lnTo>
                    <a:lnTo>
                      <a:pt x="510" y="108"/>
                    </a:lnTo>
                    <a:lnTo>
                      <a:pt x="507" y="108"/>
                    </a:lnTo>
                    <a:lnTo>
                      <a:pt x="506" y="108"/>
                    </a:lnTo>
                    <a:lnTo>
                      <a:pt x="506" y="110"/>
                    </a:lnTo>
                    <a:lnTo>
                      <a:pt x="504" y="112"/>
                    </a:lnTo>
                    <a:lnTo>
                      <a:pt x="502" y="112"/>
                    </a:lnTo>
                    <a:lnTo>
                      <a:pt x="500" y="113"/>
                    </a:lnTo>
                    <a:lnTo>
                      <a:pt x="497" y="113"/>
                    </a:lnTo>
                    <a:lnTo>
                      <a:pt x="496" y="115"/>
                    </a:lnTo>
                    <a:lnTo>
                      <a:pt x="497" y="115"/>
                    </a:lnTo>
                    <a:lnTo>
                      <a:pt x="497" y="115"/>
                    </a:lnTo>
                    <a:lnTo>
                      <a:pt x="497" y="115"/>
                    </a:lnTo>
                    <a:lnTo>
                      <a:pt x="497" y="116"/>
                    </a:lnTo>
                    <a:lnTo>
                      <a:pt x="500" y="116"/>
                    </a:lnTo>
                    <a:lnTo>
                      <a:pt x="500" y="117"/>
                    </a:lnTo>
                    <a:lnTo>
                      <a:pt x="500" y="117"/>
                    </a:lnTo>
                    <a:lnTo>
                      <a:pt x="500" y="117"/>
                    </a:lnTo>
                    <a:lnTo>
                      <a:pt x="501" y="117"/>
                    </a:lnTo>
                    <a:lnTo>
                      <a:pt x="502" y="117"/>
                    </a:lnTo>
                    <a:lnTo>
                      <a:pt x="504" y="117"/>
                    </a:lnTo>
                    <a:lnTo>
                      <a:pt x="511" y="117"/>
                    </a:lnTo>
                    <a:lnTo>
                      <a:pt x="512" y="117"/>
                    </a:lnTo>
                    <a:lnTo>
                      <a:pt x="514" y="117"/>
                    </a:lnTo>
                    <a:lnTo>
                      <a:pt x="516" y="117"/>
                    </a:lnTo>
                    <a:lnTo>
                      <a:pt x="517" y="117"/>
                    </a:lnTo>
                    <a:lnTo>
                      <a:pt x="517" y="117"/>
                    </a:lnTo>
                    <a:lnTo>
                      <a:pt x="517" y="117"/>
                    </a:lnTo>
                    <a:lnTo>
                      <a:pt x="517" y="117"/>
                    </a:lnTo>
                    <a:lnTo>
                      <a:pt x="517" y="117"/>
                    </a:lnTo>
                    <a:lnTo>
                      <a:pt x="517" y="117"/>
                    </a:lnTo>
                    <a:lnTo>
                      <a:pt x="517" y="118"/>
                    </a:lnTo>
                    <a:lnTo>
                      <a:pt x="517" y="118"/>
                    </a:lnTo>
                    <a:lnTo>
                      <a:pt x="517" y="120"/>
                    </a:lnTo>
                    <a:lnTo>
                      <a:pt x="517" y="118"/>
                    </a:lnTo>
                    <a:lnTo>
                      <a:pt x="517" y="118"/>
                    </a:lnTo>
                    <a:lnTo>
                      <a:pt x="519" y="117"/>
                    </a:lnTo>
                    <a:lnTo>
                      <a:pt x="520" y="117"/>
                    </a:lnTo>
                    <a:lnTo>
                      <a:pt x="522" y="117"/>
                    </a:lnTo>
                    <a:lnTo>
                      <a:pt x="525" y="117"/>
                    </a:lnTo>
                    <a:lnTo>
                      <a:pt x="527" y="117"/>
                    </a:lnTo>
                    <a:lnTo>
                      <a:pt x="529" y="117"/>
                    </a:lnTo>
                    <a:lnTo>
                      <a:pt x="531" y="117"/>
                    </a:lnTo>
                    <a:lnTo>
                      <a:pt x="532" y="117"/>
                    </a:lnTo>
                    <a:lnTo>
                      <a:pt x="534" y="117"/>
                    </a:lnTo>
                    <a:lnTo>
                      <a:pt x="534" y="117"/>
                    </a:lnTo>
                    <a:lnTo>
                      <a:pt x="535" y="117"/>
                    </a:lnTo>
                    <a:lnTo>
                      <a:pt x="536" y="116"/>
                    </a:lnTo>
                    <a:lnTo>
                      <a:pt x="539" y="115"/>
                    </a:lnTo>
                    <a:lnTo>
                      <a:pt x="540" y="113"/>
                    </a:lnTo>
                    <a:lnTo>
                      <a:pt x="541" y="113"/>
                    </a:lnTo>
                    <a:lnTo>
                      <a:pt x="542" y="112"/>
                    </a:lnTo>
                    <a:lnTo>
                      <a:pt x="543" y="112"/>
                    </a:lnTo>
                    <a:lnTo>
                      <a:pt x="545" y="112"/>
                    </a:lnTo>
                    <a:lnTo>
                      <a:pt x="546" y="113"/>
                    </a:lnTo>
                    <a:lnTo>
                      <a:pt x="547" y="113"/>
                    </a:lnTo>
                    <a:lnTo>
                      <a:pt x="548" y="115"/>
                    </a:lnTo>
                    <a:lnTo>
                      <a:pt x="548" y="115"/>
                    </a:lnTo>
                    <a:lnTo>
                      <a:pt x="550" y="113"/>
                    </a:lnTo>
                    <a:lnTo>
                      <a:pt x="551" y="113"/>
                    </a:lnTo>
                    <a:lnTo>
                      <a:pt x="551" y="112"/>
                    </a:lnTo>
                    <a:lnTo>
                      <a:pt x="552" y="112"/>
                    </a:lnTo>
                    <a:lnTo>
                      <a:pt x="551" y="112"/>
                    </a:lnTo>
                    <a:lnTo>
                      <a:pt x="551" y="110"/>
                    </a:lnTo>
                    <a:lnTo>
                      <a:pt x="550" y="110"/>
                    </a:lnTo>
                    <a:lnTo>
                      <a:pt x="548" y="108"/>
                    </a:lnTo>
                    <a:lnTo>
                      <a:pt x="547" y="108"/>
                    </a:lnTo>
                    <a:lnTo>
                      <a:pt x="545" y="108"/>
                    </a:lnTo>
                    <a:lnTo>
                      <a:pt x="543" y="108"/>
                    </a:lnTo>
                    <a:lnTo>
                      <a:pt x="541" y="110"/>
                    </a:lnTo>
                    <a:lnTo>
                      <a:pt x="540" y="112"/>
                    </a:lnTo>
                    <a:lnTo>
                      <a:pt x="539" y="112"/>
                    </a:lnTo>
                    <a:lnTo>
                      <a:pt x="539" y="112"/>
                    </a:lnTo>
                    <a:lnTo>
                      <a:pt x="540" y="110"/>
                    </a:lnTo>
                    <a:lnTo>
                      <a:pt x="542" y="108"/>
                    </a:lnTo>
                    <a:lnTo>
                      <a:pt x="543" y="106"/>
                    </a:lnTo>
                    <a:lnTo>
                      <a:pt x="545" y="106"/>
                    </a:lnTo>
                    <a:lnTo>
                      <a:pt x="545" y="106"/>
                    </a:lnTo>
                    <a:lnTo>
                      <a:pt x="545" y="105"/>
                    </a:lnTo>
                    <a:lnTo>
                      <a:pt x="546" y="106"/>
                    </a:lnTo>
                    <a:lnTo>
                      <a:pt x="547" y="106"/>
                    </a:lnTo>
                    <a:lnTo>
                      <a:pt x="548" y="106"/>
                    </a:lnTo>
                    <a:lnTo>
                      <a:pt x="548" y="106"/>
                    </a:lnTo>
                    <a:lnTo>
                      <a:pt x="551" y="106"/>
                    </a:lnTo>
                    <a:lnTo>
                      <a:pt x="552" y="106"/>
                    </a:lnTo>
                    <a:lnTo>
                      <a:pt x="551" y="106"/>
                    </a:lnTo>
                    <a:lnTo>
                      <a:pt x="551" y="105"/>
                    </a:lnTo>
                    <a:lnTo>
                      <a:pt x="552" y="105"/>
                    </a:lnTo>
                    <a:lnTo>
                      <a:pt x="552" y="103"/>
                    </a:lnTo>
                    <a:lnTo>
                      <a:pt x="553" y="103"/>
                    </a:lnTo>
                    <a:lnTo>
                      <a:pt x="555" y="102"/>
                    </a:lnTo>
                    <a:lnTo>
                      <a:pt x="556" y="102"/>
                    </a:lnTo>
                    <a:lnTo>
                      <a:pt x="557" y="100"/>
                    </a:lnTo>
                    <a:lnTo>
                      <a:pt x="561" y="98"/>
                    </a:lnTo>
                    <a:lnTo>
                      <a:pt x="562" y="98"/>
                    </a:lnTo>
                    <a:lnTo>
                      <a:pt x="563" y="98"/>
                    </a:lnTo>
                    <a:lnTo>
                      <a:pt x="565" y="98"/>
                    </a:lnTo>
                    <a:lnTo>
                      <a:pt x="565" y="98"/>
                    </a:lnTo>
                    <a:lnTo>
                      <a:pt x="565" y="97"/>
                    </a:lnTo>
                    <a:lnTo>
                      <a:pt x="563" y="96"/>
                    </a:lnTo>
                    <a:lnTo>
                      <a:pt x="562" y="96"/>
                    </a:lnTo>
                    <a:lnTo>
                      <a:pt x="562" y="96"/>
                    </a:lnTo>
                    <a:lnTo>
                      <a:pt x="561" y="95"/>
                    </a:lnTo>
                    <a:lnTo>
                      <a:pt x="560" y="96"/>
                    </a:lnTo>
                    <a:lnTo>
                      <a:pt x="557" y="96"/>
                    </a:lnTo>
                    <a:lnTo>
                      <a:pt x="557" y="96"/>
                    </a:lnTo>
                    <a:lnTo>
                      <a:pt x="556" y="96"/>
                    </a:lnTo>
                    <a:lnTo>
                      <a:pt x="556" y="96"/>
                    </a:lnTo>
                    <a:lnTo>
                      <a:pt x="555" y="95"/>
                    </a:lnTo>
                    <a:lnTo>
                      <a:pt x="553" y="95"/>
                    </a:lnTo>
                    <a:lnTo>
                      <a:pt x="553" y="95"/>
                    </a:lnTo>
                    <a:lnTo>
                      <a:pt x="552" y="95"/>
                    </a:lnTo>
                    <a:lnTo>
                      <a:pt x="553" y="95"/>
                    </a:lnTo>
                    <a:lnTo>
                      <a:pt x="553" y="93"/>
                    </a:lnTo>
                    <a:lnTo>
                      <a:pt x="555" y="93"/>
                    </a:lnTo>
                    <a:lnTo>
                      <a:pt x="556" y="92"/>
                    </a:lnTo>
                    <a:lnTo>
                      <a:pt x="553" y="93"/>
                    </a:lnTo>
                    <a:lnTo>
                      <a:pt x="552" y="95"/>
                    </a:lnTo>
                    <a:lnTo>
                      <a:pt x="551" y="95"/>
                    </a:lnTo>
                    <a:lnTo>
                      <a:pt x="550" y="95"/>
                    </a:lnTo>
                    <a:lnTo>
                      <a:pt x="548" y="96"/>
                    </a:lnTo>
                    <a:lnTo>
                      <a:pt x="548" y="96"/>
                    </a:lnTo>
                    <a:lnTo>
                      <a:pt x="546" y="96"/>
                    </a:lnTo>
                    <a:lnTo>
                      <a:pt x="545" y="96"/>
                    </a:lnTo>
                    <a:lnTo>
                      <a:pt x="542" y="96"/>
                    </a:lnTo>
                    <a:lnTo>
                      <a:pt x="541" y="96"/>
                    </a:lnTo>
                    <a:lnTo>
                      <a:pt x="539" y="95"/>
                    </a:lnTo>
                    <a:lnTo>
                      <a:pt x="539" y="95"/>
                    </a:lnTo>
                    <a:lnTo>
                      <a:pt x="536" y="95"/>
                    </a:lnTo>
                    <a:lnTo>
                      <a:pt x="536" y="93"/>
                    </a:lnTo>
                    <a:lnTo>
                      <a:pt x="536" y="93"/>
                    </a:lnTo>
                    <a:lnTo>
                      <a:pt x="535" y="93"/>
                    </a:lnTo>
                    <a:lnTo>
                      <a:pt x="535" y="92"/>
                    </a:lnTo>
                    <a:lnTo>
                      <a:pt x="535" y="92"/>
                    </a:lnTo>
                    <a:lnTo>
                      <a:pt x="535" y="91"/>
                    </a:lnTo>
                    <a:lnTo>
                      <a:pt x="536" y="91"/>
                    </a:lnTo>
                    <a:lnTo>
                      <a:pt x="536" y="90"/>
                    </a:lnTo>
                    <a:lnTo>
                      <a:pt x="539" y="90"/>
                    </a:lnTo>
                    <a:lnTo>
                      <a:pt x="539" y="88"/>
                    </a:lnTo>
                    <a:lnTo>
                      <a:pt x="540" y="88"/>
                    </a:lnTo>
                    <a:lnTo>
                      <a:pt x="541" y="86"/>
                    </a:lnTo>
                    <a:lnTo>
                      <a:pt x="541" y="83"/>
                    </a:lnTo>
                    <a:lnTo>
                      <a:pt x="541" y="81"/>
                    </a:lnTo>
                    <a:lnTo>
                      <a:pt x="541" y="78"/>
                    </a:lnTo>
                    <a:lnTo>
                      <a:pt x="540" y="77"/>
                    </a:lnTo>
                    <a:lnTo>
                      <a:pt x="539" y="76"/>
                    </a:lnTo>
                    <a:lnTo>
                      <a:pt x="536" y="75"/>
                    </a:lnTo>
                    <a:lnTo>
                      <a:pt x="536" y="73"/>
                    </a:lnTo>
                    <a:lnTo>
                      <a:pt x="535" y="72"/>
                    </a:lnTo>
                    <a:lnTo>
                      <a:pt x="534" y="72"/>
                    </a:lnTo>
                    <a:lnTo>
                      <a:pt x="532" y="72"/>
                    </a:lnTo>
                    <a:lnTo>
                      <a:pt x="531" y="72"/>
                    </a:lnTo>
                    <a:lnTo>
                      <a:pt x="531" y="72"/>
                    </a:lnTo>
                    <a:lnTo>
                      <a:pt x="531" y="71"/>
                    </a:lnTo>
                    <a:lnTo>
                      <a:pt x="529" y="71"/>
                    </a:lnTo>
                    <a:lnTo>
                      <a:pt x="529" y="70"/>
                    </a:lnTo>
                    <a:lnTo>
                      <a:pt x="529" y="70"/>
                    </a:lnTo>
                    <a:lnTo>
                      <a:pt x="529" y="67"/>
                    </a:lnTo>
                    <a:lnTo>
                      <a:pt x="529" y="66"/>
                    </a:lnTo>
                    <a:lnTo>
                      <a:pt x="527" y="66"/>
                    </a:lnTo>
                    <a:lnTo>
                      <a:pt x="526" y="66"/>
                    </a:lnTo>
                    <a:lnTo>
                      <a:pt x="526" y="66"/>
                    </a:lnTo>
                    <a:lnTo>
                      <a:pt x="524" y="66"/>
                    </a:lnTo>
                    <a:lnTo>
                      <a:pt x="527" y="66"/>
                    </a:lnTo>
                    <a:lnTo>
                      <a:pt x="529" y="64"/>
                    </a:lnTo>
                    <a:lnTo>
                      <a:pt x="531" y="64"/>
                    </a:lnTo>
                    <a:lnTo>
                      <a:pt x="535" y="64"/>
                    </a:lnTo>
                    <a:lnTo>
                      <a:pt x="540" y="61"/>
                    </a:lnTo>
                    <a:lnTo>
                      <a:pt x="542" y="60"/>
                    </a:lnTo>
                    <a:lnTo>
                      <a:pt x="545" y="60"/>
                    </a:lnTo>
                    <a:lnTo>
                      <a:pt x="548" y="56"/>
                    </a:lnTo>
                    <a:lnTo>
                      <a:pt x="550" y="56"/>
                    </a:lnTo>
                    <a:lnTo>
                      <a:pt x="552" y="54"/>
                    </a:lnTo>
                    <a:lnTo>
                      <a:pt x="556" y="54"/>
                    </a:lnTo>
                    <a:lnTo>
                      <a:pt x="557" y="54"/>
                    </a:lnTo>
                    <a:lnTo>
                      <a:pt x="561" y="54"/>
                    </a:lnTo>
                    <a:lnTo>
                      <a:pt x="563" y="54"/>
                    </a:lnTo>
                    <a:lnTo>
                      <a:pt x="567" y="54"/>
                    </a:lnTo>
                    <a:lnTo>
                      <a:pt x="573" y="54"/>
                    </a:lnTo>
                    <a:lnTo>
                      <a:pt x="581" y="52"/>
                    </a:lnTo>
                    <a:lnTo>
                      <a:pt x="586" y="51"/>
                    </a:lnTo>
                    <a:lnTo>
                      <a:pt x="592" y="50"/>
                    </a:lnTo>
                    <a:lnTo>
                      <a:pt x="599" y="49"/>
                    </a:lnTo>
                    <a:lnTo>
                      <a:pt x="606" y="46"/>
                    </a:lnTo>
                    <a:lnTo>
                      <a:pt x="612" y="45"/>
                    </a:lnTo>
                    <a:lnTo>
                      <a:pt x="618" y="41"/>
                    </a:lnTo>
                    <a:lnTo>
                      <a:pt x="618" y="42"/>
                    </a:lnTo>
                    <a:lnTo>
                      <a:pt x="618" y="42"/>
                    </a:lnTo>
                    <a:lnTo>
                      <a:pt x="618" y="42"/>
                    </a:lnTo>
                    <a:lnTo>
                      <a:pt x="621" y="41"/>
                    </a:lnTo>
                    <a:lnTo>
                      <a:pt x="623" y="40"/>
                    </a:lnTo>
                    <a:lnTo>
                      <a:pt x="626" y="39"/>
                    </a:lnTo>
                    <a:lnTo>
                      <a:pt x="633" y="35"/>
                    </a:lnTo>
                    <a:lnTo>
                      <a:pt x="637" y="32"/>
                    </a:lnTo>
                    <a:lnTo>
                      <a:pt x="638" y="31"/>
                    </a:lnTo>
                    <a:lnTo>
                      <a:pt x="644" y="31"/>
                    </a:lnTo>
                    <a:lnTo>
                      <a:pt x="647" y="30"/>
                    </a:lnTo>
                    <a:lnTo>
                      <a:pt x="654" y="27"/>
                    </a:lnTo>
                    <a:lnTo>
                      <a:pt x="658" y="25"/>
                    </a:lnTo>
                    <a:lnTo>
                      <a:pt x="663" y="25"/>
                    </a:lnTo>
                    <a:lnTo>
                      <a:pt x="667" y="24"/>
                    </a:lnTo>
                    <a:lnTo>
                      <a:pt x="672" y="21"/>
                    </a:lnTo>
                    <a:lnTo>
                      <a:pt x="670" y="24"/>
                    </a:lnTo>
                    <a:lnTo>
                      <a:pt x="669" y="24"/>
                    </a:lnTo>
                    <a:lnTo>
                      <a:pt x="669" y="25"/>
                    </a:lnTo>
                    <a:lnTo>
                      <a:pt x="669" y="25"/>
                    </a:lnTo>
                    <a:lnTo>
                      <a:pt x="668" y="25"/>
                    </a:lnTo>
                    <a:lnTo>
                      <a:pt x="672" y="25"/>
                    </a:lnTo>
                    <a:lnTo>
                      <a:pt x="679" y="25"/>
                    </a:lnTo>
                    <a:lnTo>
                      <a:pt x="680" y="25"/>
                    </a:lnTo>
                    <a:lnTo>
                      <a:pt x="683" y="24"/>
                    </a:lnTo>
                    <a:lnTo>
                      <a:pt x="687" y="24"/>
                    </a:lnTo>
                    <a:lnTo>
                      <a:pt x="688" y="21"/>
                    </a:lnTo>
                    <a:lnTo>
                      <a:pt x="694" y="20"/>
                    </a:lnTo>
                    <a:lnTo>
                      <a:pt x="699" y="19"/>
                    </a:lnTo>
                    <a:lnTo>
                      <a:pt x="701" y="17"/>
                    </a:lnTo>
                    <a:lnTo>
                      <a:pt x="705" y="17"/>
                    </a:lnTo>
                    <a:lnTo>
                      <a:pt x="708" y="17"/>
                    </a:lnTo>
                    <a:lnTo>
                      <a:pt x="711" y="16"/>
                    </a:lnTo>
                    <a:lnTo>
                      <a:pt x="709" y="17"/>
                    </a:lnTo>
                    <a:lnTo>
                      <a:pt x="708" y="17"/>
                    </a:lnTo>
                    <a:lnTo>
                      <a:pt x="705" y="19"/>
                    </a:lnTo>
                    <a:lnTo>
                      <a:pt x="705" y="19"/>
                    </a:lnTo>
                    <a:lnTo>
                      <a:pt x="705" y="19"/>
                    </a:lnTo>
                    <a:lnTo>
                      <a:pt x="705" y="19"/>
                    </a:lnTo>
                    <a:lnTo>
                      <a:pt x="705" y="20"/>
                    </a:lnTo>
                    <a:lnTo>
                      <a:pt x="705" y="20"/>
                    </a:lnTo>
                    <a:lnTo>
                      <a:pt x="705" y="21"/>
                    </a:lnTo>
                    <a:lnTo>
                      <a:pt x="701" y="21"/>
                    </a:lnTo>
                    <a:lnTo>
                      <a:pt x="701" y="21"/>
                    </a:lnTo>
                    <a:lnTo>
                      <a:pt x="700" y="21"/>
                    </a:lnTo>
                    <a:lnTo>
                      <a:pt x="701" y="21"/>
                    </a:lnTo>
                    <a:lnTo>
                      <a:pt x="701" y="21"/>
                    </a:lnTo>
                    <a:lnTo>
                      <a:pt x="701" y="21"/>
                    </a:lnTo>
                    <a:lnTo>
                      <a:pt x="701" y="24"/>
                    </a:lnTo>
                    <a:lnTo>
                      <a:pt x="701" y="24"/>
                    </a:lnTo>
                    <a:lnTo>
                      <a:pt x="701" y="25"/>
                    </a:lnTo>
                    <a:lnTo>
                      <a:pt x="701" y="24"/>
                    </a:lnTo>
                    <a:lnTo>
                      <a:pt x="704" y="21"/>
                    </a:lnTo>
                    <a:lnTo>
                      <a:pt x="705" y="21"/>
                    </a:lnTo>
                    <a:lnTo>
                      <a:pt x="705" y="20"/>
                    </a:lnTo>
                    <a:lnTo>
                      <a:pt x="708" y="20"/>
                    </a:lnTo>
                    <a:lnTo>
                      <a:pt x="708" y="20"/>
                    </a:lnTo>
                    <a:lnTo>
                      <a:pt x="709" y="19"/>
                    </a:lnTo>
                    <a:lnTo>
                      <a:pt x="711" y="19"/>
                    </a:lnTo>
                    <a:lnTo>
                      <a:pt x="711" y="19"/>
                    </a:lnTo>
                    <a:lnTo>
                      <a:pt x="711" y="17"/>
                    </a:lnTo>
                    <a:lnTo>
                      <a:pt x="711" y="16"/>
                    </a:lnTo>
                    <a:lnTo>
                      <a:pt x="711" y="16"/>
                    </a:lnTo>
                    <a:lnTo>
                      <a:pt x="711" y="16"/>
                    </a:lnTo>
                    <a:lnTo>
                      <a:pt x="711" y="16"/>
                    </a:lnTo>
                    <a:lnTo>
                      <a:pt x="711" y="16"/>
                    </a:lnTo>
                    <a:lnTo>
                      <a:pt x="711" y="15"/>
                    </a:lnTo>
                    <a:lnTo>
                      <a:pt x="715" y="15"/>
                    </a:lnTo>
                    <a:lnTo>
                      <a:pt x="718" y="14"/>
                    </a:lnTo>
                    <a:lnTo>
                      <a:pt x="720" y="11"/>
                    </a:lnTo>
                    <a:lnTo>
                      <a:pt x="726" y="11"/>
                    </a:lnTo>
                    <a:lnTo>
                      <a:pt x="729" y="11"/>
                    </a:lnTo>
                    <a:lnTo>
                      <a:pt x="731" y="10"/>
                    </a:lnTo>
                    <a:lnTo>
                      <a:pt x="731" y="11"/>
                    </a:lnTo>
                    <a:lnTo>
                      <a:pt x="730" y="11"/>
                    </a:lnTo>
                    <a:lnTo>
                      <a:pt x="730" y="11"/>
                    </a:lnTo>
                    <a:lnTo>
                      <a:pt x="729" y="11"/>
                    </a:lnTo>
                    <a:lnTo>
                      <a:pt x="728" y="11"/>
                    </a:lnTo>
                    <a:lnTo>
                      <a:pt x="728" y="11"/>
                    </a:lnTo>
                    <a:lnTo>
                      <a:pt x="726" y="11"/>
                    </a:lnTo>
                    <a:lnTo>
                      <a:pt x="731" y="14"/>
                    </a:lnTo>
                    <a:lnTo>
                      <a:pt x="735" y="14"/>
                    </a:lnTo>
                    <a:lnTo>
                      <a:pt x="740" y="14"/>
                    </a:lnTo>
                    <a:lnTo>
                      <a:pt x="744" y="11"/>
                    </a:lnTo>
                    <a:lnTo>
                      <a:pt x="747" y="11"/>
                    </a:lnTo>
                    <a:lnTo>
                      <a:pt x="752" y="11"/>
                    </a:lnTo>
                    <a:lnTo>
                      <a:pt x="756" y="11"/>
                    </a:lnTo>
                    <a:lnTo>
                      <a:pt x="760" y="10"/>
                    </a:lnTo>
                    <a:lnTo>
                      <a:pt x="765" y="9"/>
                    </a:lnTo>
                    <a:lnTo>
                      <a:pt x="769" y="7"/>
                    </a:lnTo>
                    <a:lnTo>
                      <a:pt x="779" y="6"/>
                    </a:lnTo>
                    <a:lnTo>
                      <a:pt x="786" y="2"/>
                    </a:lnTo>
                    <a:lnTo>
                      <a:pt x="790" y="0"/>
                    </a:lnTo>
                    <a:lnTo>
                      <a:pt x="792" y="0"/>
                    </a:lnTo>
                    <a:lnTo>
                      <a:pt x="792" y="0"/>
                    </a:lnTo>
                    <a:lnTo>
                      <a:pt x="792" y="0"/>
                    </a:lnTo>
                    <a:lnTo>
                      <a:pt x="790" y="2"/>
                    </a:lnTo>
                    <a:lnTo>
                      <a:pt x="790" y="2"/>
                    </a:lnTo>
                    <a:lnTo>
                      <a:pt x="790" y="2"/>
                    </a:lnTo>
                    <a:lnTo>
                      <a:pt x="792" y="2"/>
                    </a:lnTo>
                    <a:lnTo>
                      <a:pt x="792" y="2"/>
                    </a:lnTo>
                    <a:lnTo>
                      <a:pt x="795" y="2"/>
                    </a:lnTo>
                    <a:lnTo>
                      <a:pt x="797" y="2"/>
                    </a:lnTo>
                    <a:lnTo>
                      <a:pt x="798" y="2"/>
                    </a:lnTo>
                    <a:lnTo>
                      <a:pt x="798" y="2"/>
                    </a:lnTo>
                    <a:lnTo>
                      <a:pt x="800" y="2"/>
                    </a:lnTo>
                    <a:lnTo>
                      <a:pt x="800" y="4"/>
                    </a:lnTo>
                    <a:lnTo>
                      <a:pt x="800" y="4"/>
                    </a:lnTo>
                    <a:lnTo>
                      <a:pt x="800" y="6"/>
                    </a:lnTo>
                    <a:lnTo>
                      <a:pt x="800" y="6"/>
                    </a:lnTo>
                    <a:lnTo>
                      <a:pt x="798" y="6"/>
                    </a:lnTo>
                    <a:lnTo>
                      <a:pt x="797" y="7"/>
                    </a:lnTo>
                    <a:lnTo>
                      <a:pt x="795" y="9"/>
                    </a:lnTo>
                    <a:lnTo>
                      <a:pt x="792" y="10"/>
                    </a:lnTo>
                    <a:lnTo>
                      <a:pt x="790" y="10"/>
                    </a:lnTo>
                    <a:lnTo>
                      <a:pt x="788" y="10"/>
                    </a:lnTo>
                    <a:lnTo>
                      <a:pt x="786" y="10"/>
                    </a:lnTo>
                    <a:lnTo>
                      <a:pt x="785" y="10"/>
                    </a:lnTo>
                    <a:lnTo>
                      <a:pt x="785" y="10"/>
                    </a:lnTo>
                    <a:lnTo>
                      <a:pt x="785" y="11"/>
                    </a:lnTo>
                    <a:lnTo>
                      <a:pt x="785" y="11"/>
                    </a:lnTo>
                    <a:lnTo>
                      <a:pt x="785" y="11"/>
                    </a:lnTo>
                    <a:lnTo>
                      <a:pt x="784" y="11"/>
                    </a:lnTo>
                    <a:lnTo>
                      <a:pt x="785" y="11"/>
                    </a:lnTo>
                    <a:lnTo>
                      <a:pt x="786" y="11"/>
                    </a:lnTo>
                    <a:lnTo>
                      <a:pt x="788" y="11"/>
                    </a:lnTo>
                    <a:lnTo>
                      <a:pt x="792" y="10"/>
                    </a:lnTo>
                    <a:lnTo>
                      <a:pt x="792" y="10"/>
                    </a:lnTo>
                    <a:lnTo>
                      <a:pt x="795" y="10"/>
                    </a:lnTo>
                    <a:lnTo>
                      <a:pt x="796" y="9"/>
                    </a:lnTo>
                    <a:lnTo>
                      <a:pt x="797" y="9"/>
                    </a:lnTo>
                    <a:lnTo>
                      <a:pt x="798" y="7"/>
                    </a:lnTo>
                    <a:lnTo>
                      <a:pt x="800" y="6"/>
                    </a:lnTo>
                    <a:lnTo>
                      <a:pt x="801" y="6"/>
                    </a:lnTo>
                    <a:lnTo>
                      <a:pt x="802" y="6"/>
                    </a:lnTo>
                    <a:lnTo>
                      <a:pt x="805" y="6"/>
                    </a:lnTo>
                    <a:lnTo>
                      <a:pt x="805" y="4"/>
                    </a:lnTo>
                    <a:lnTo>
                      <a:pt x="806" y="4"/>
                    </a:lnTo>
                    <a:lnTo>
                      <a:pt x="807" y="4"/>
                    </a:lnTo>
                    <a:lnTo>
                      <a:pt x="807" y="4"/>
                    </a:lnTo>
                    <a:lnTo>
                      <a:pt x="807" y="4"/>
                    </a:lnTo>
                    <a:lnTo>
                      <a:pt x="807" y="6"/>
                    </a:lnTo>
                    <a:lnTo>
                      <a:pt x="807" y="6"/>
                    </a:lnTo>
                    <a:lnTo>
                      <a:pt x="810" y="6"/>
                    </a:lnTo>
                    <a:lnTo>
                      <a:pt x="811" y="6"/>
                    </a:lnTo>
                    <a:lnTo>
                      <a:pt x="811" y="6"/>
                    </a:lnTo>
                    <a:lnTo>
                      <a:pt x="811" y="6"/>
                    </a:lnTo>
                    <a:lnTo>
                      <a:pt x="811" y="7"/>
                    </a:lnTo>
                    <a:lnTo>
                      <a:pt x="811" y="7"/>
                    </a:lnTo>
                    <a:lnTo>
                      <a:pt x="811" y="9"/>
                    </a:lnTo>
                    <a:lnTo>
                      <a:pt x="811" y="9"/>
                    </a:lnTo>
                    <a:lnTo>
                      <a:pt x="811" y="9"/>
                    </a:lnTo>
                    <a:lnTo>
                      <a:pt x="811" y="10"/>
                    </a:lnTo>
                    <a:lnTo>
                      <a:pt x="811" y="10"/>
                    </a:lnTo>
                    <a:lnTo>
                      <a:pt x="807" y="10"/>
                    </a:lnTo>
                    <a:lnTo>
                      <a:pt x="807" y="10"/>
                    </a:lnTo>
                    <a:lnTo>
                      <a:pt x="806" y="10"/>
                    </a:lnTo>
                    <a:lnTo>
                      <a:pt x="805" y="10"/>
                    </a:lnTo>
                    <a:lnTo>
                      <a:pt x="806" y="11"/>
                    </a:lnTo>
                    <a:lnTo>
                      <a:pt x="806" y="11"/>
                    </a:lnTo>
                    <a:lnTo>
                      <a:pt x="807" y="11"/>
                    </a:lnTo>
                    <a:lnTo>
                      <a:pt x="807" y="11"/>
                    </a:lnTo>
                    <a:lnTo>
                      <a:pt x="811" y="11"/>
                    </a:lnTo>
                    <a:lnTo>
                      <a:pt x="813" y="11"/>
                    </a:lnTo>
                    <a:lnTo>
                      <a:pt x="815" y="11"/>
                    </a:lnTo>
                    <a:lnTo>
                      <a:pt x="817" y="11"/>
                    </a:lnTo>
                    <a:lnTo>
                      <a:pt x="820" y="11"/>
                    </a:lnTo>
                    <a:lnTo>
                      <a:pt x="821" y="10"/>
                    </a:lnTo>
                    <a:lnTo>
                      <a:pt x="842" y="10"/>
                    </a:lnTo>
                    <a:lnTo>
                      <a:pt x="842" y="11"/>
                    </a:lnTo>
                    <a:lnTo>
                      <a:pt x="839" y="14"/>
                    </a:lnTo>
                    <a:lnTo>
                      <a:pt x="838" y="14"/>
                    </a:lnTo>
                    <a:lnTo>
                      <a:pt x="838" y="15"/>
                    </a:lnTo>
                    <a:lnTo>
                      <a:pt x="837" y="15"/>
                    </a:lnTo>
                    <a:lnTo>
                      <a:pt x="836" y="15"/>
                    </a:lnTo>
                    <a:lnTo>
                      <a:pt x="836" y="15"/>
                    </a:lnTo>
                    <a:lnTo>
                      <a:pt x="836" y="15"/>
                    </a:lnTo>
                    <a:lnTo>
                      <a:pt x="837" y="16"/>
                    </a:lnTo>
                    <a:lnTo>
                      <a:pt x="837" y="16"/>
                    </a:lnTo>
                    <a:lnTo>
                      <a:pt x="838" y="16"/>
                    </a:lnTo>
                    <a:lnTo>
                      <a:pt x="839" y="16"/>
                    </a:lnTo>
                    <a:lnTo>
                      <a:pt x="842" y="16"/>
                    </a:lnTo>
                    <a:lnTo>
                      <a:pt x="842" y="17"/>
                    </a:lnTo>
                    <a:lnTo>
                      <a:pt x="842" y="17"/>
                    </a:lnTo>
                    <a:lnTo>
                      <a:pt x="842" y="17"/>
                    </a:lnTo>
                    <a:lnTo>
                      <a:pt x="842" y="19"/>
                    </a:lnTo>
                    <a:lnTo>
                      <a:pt x="841" y="19"/>
                    </a:lnTo>
                    <a:lnTo>
                      <a:pt x="839" y="20"/>
                    </a:lnTo>
                    <a:lnTo>
                      <a:pt x="838" y="20"/>
                    </a:lnTo>
                    <a:lnTo>
                      <a:pt x="841" y="20"/>
                    </a:lnTo>
                    <a:lnTo>
                      <a:pt x="842" y="21"/>
                    </a:lnTo>
                    <a:lnTo>
                      <a:pt x="843" y="21"/>
                    </a:lnTo>
                    <a:lnTo>
                      <a:pt x="846" y="21"/>
                    </a:lnTo>
                    <a:lnTo>
                      <a:pt x="847" y="20"/>
                    </a:lnTo>
                    <a:lnTo>
                      <a:pt x="848" y="20"/>
                    </a:lnTo>
                    <a:lnTo>
                      <a:pt x="849" y="20"/>
                    </a:lnTo>
                    <a:lnTo>
                      <a:pt x="849" y="20"/>
                    </a:lnTo>
                    <a:lnTo>
                      <a:pt x="852" y="20"/>
                    </a:lnTo>
                    <a:lnTo>
                      <a:pt x="853" y="20"/>
                    </a:lnTo>
                    <a:lnTo>
                      <a:pt x="856" y="20"/>
                    </a:lnTo>
                    <a:lnTo>
                      <a:pt x="856" y="20"/>
                    </a:lnTo>
                    <a:lnTo>
                      <a:pt x="858" y="20"/>
                    </a:lnTo>
                    <a:lnTo>
                      <a:pt x="861" y="20"/>
                    </a:lnTo>
                    <a:lnTo>
                      <a:pt x="861" y="20"/>
                    </a:lnTo>
                    <a:lnTo>
                      <a:pt x="862" y="19"/>
                    </a:lnTo>
                    <a:lnTo>
                      <a:pt x="862" y="19"/>
                    </a:lnTo>
                    <a:lnTo>
                      <a:pt x="863" y="19"/>
                    </a:lnTo>
                    <a:lnTo>
                      <a:pt x="863" y="19"/>
                    </a:lnTo>
                    <a:lnTo>
                      <a:pt x="864" y="19"/>
                    </a:lnTo>
                    <a:lnTo>
                      <a:pt x="863" y="19"/>
                    </a:lnTo>
                    <a:lnTo>
                      <a:pt x="863" y="19"/>
                    </a:lnTo>
                    <a:lnTo>
                      <a:pt x="862" y="20"/>
                    </a:lnTo>
                    <a:lnTo>
                      <a:pt x="864" y="20"/>
                    </a:lnTo>
                    <a:lnTo>
                      <a:pt x="868" y="19"/>
                    </a:lnTo>
                    <a:lnTo>
                      <a:pt x="874" y="19"/>
                    </a:lnTo>
                    <a:lnTo>
                      <a:pt x="876" y="19"/>
                    </a:lnTo>
                    <a:lnTo>
                      <a:pt x="878" y="19"/>
                    </a:lnTo>
                    <a:lnTo>
                      <a:pt x="882" y="19"/>
                    </a:lnTo>
                    <a:lnTo>
                      <a:pt x="884" y="20"/>
                    </a:lnTo>
                    <a:lnTo>
                      <a:pt x="885" y="20"/>
                    </a:lnTo>
                    <a:lnTo>
                      <a:pt x="888" y="20"/>
                    </a:lnTo>
                    <a:lnTo>
                      <a:pt x="889" y="20"/>
                    </a:lnTo>
                    <a:lnTo>
                      <a:pt x="890" y="21"/>
                    </a:lnTo>
                    <a:lnTo>
                      <a:pt x="890" y="21"/>
                    </a:lnTo>
                    <a:lnTo>
                      <a:pt x="892" y="21"/>
                    </a:lnTo>
                    <a:lnTo>
                      <a:pt x="899" y="21"/>
                    </a:lnTo>
                    <a:lnTo>
                      <a:pt x="900" y="24"/>
                    </a:lnTo>
                    <a:lnTo>
                      <a:pt x="902" y="24"/>
                    </a:lnTo>
                    <a:lnTo>
                      <a:pt x="903" y="25"/>
                    </a:lnTo>
                    <a:lnTo>
                      <a:pt x="905" y="25"/>
                    </a:lnTo>
                    <a:lnTo>
                      <a:pt x="907" y="25"/>
                    </a:lnTo>
                    <a:lnTo>
                      <a:pt x="909" y="25"/>
                    </a:lnTo>
                    <a:lnTo>
                      <a:pt x="913" y="25"/>
                    </a:lnTo>
                    <a:lnTo>
                      <a:pt x="915" y="25"/>
                    </a:lnTo>
                    <a:lnTo>
                      <a:pt x="919" y="25"/>
                    </a:lnTo>
                    <a:lnTo>
                      <a:pt x="920" y="27"/>
                    </a:lnTo>
                    <a:lnTo>
                      <a:pt x="922" y="27"/>
                    </a:lnTo>
                    <a:lnTo>
                      <a:pt x="923" y="27"/>
                    </a:lnTo>
                    <a:lnTo>
                      <a:pt x="927" y="25"/>
                    </a:lnTo>
                    <a:lnTo>
                      <a:pt x="927" y="25"/>
                    </a:lnTo>
                    <a:lnTo>
                      <a:pt x="928" y="25"/>
                    </a:lnTo>
                    <a:lnTo>
                      <a:pt x="929" y="25"/>
                    </a:lnTo>
                    <a:lnTo>
                      <a:pt x="930" y="27"/>
                    </a:lnTo>
                    <a:lnTo>
                      <a:pt x="930" y="27"/>
                    </a:lnTo>
                    <a:lnTo>
                      <a:pt x="932" y="27"/>
                    </a:lnTo>
                    <a:lnTo>
                      <a:pt x="932" y="27"/>
                    </a:lnTo>
                    <a:lnTo>
                      <a:pt x="933" y="27"/>
                    </a:lnTo>
                    <a:lnTo>
                      <a:pt x="933" y="27"/>
                    </a:lnTo>
                    <a:lnTo>
                      <a:pt x="933" y="29"/>
                    </a:lnTo>
                    <a:lnTo>
                      <a:pt x="933" y="29"/>
                    </a:lnTo>
                    <a:lnTo>
                      <a:pt x="934" y="29"/>
                    </a:lnTo>
                    <a:lnTo>
                      <a:pt x="936" y="29"/>
                    </a:lnTo>
                    <a:lnTo>
                      <a:pt x="939" y="29"/>
                    </a:lnTo>
                    <a:lnTo>
                      <a:pt x="941" y="29"/>
                    </a:lnTo>
                    <a:lnTo>
                      <a:pt x="944" y="29"/>
                    </a:lnTo>
                    <a:lnTo>
                      <a:pt x="945" y="29"/>
                    </a:lnTo>
                    <a:lnTo>
                      <a:pt x="951" y="29"/>
                    </a:lnTo>
                    <a:lnTo>
                      <a:pt x="953" y="29"/>
                    </a:lnTo>
                    <a:lnTo>
                      <a:pt x="954" y="27"/>
                    </a:lnTo>
                    <a:lnTo>
                      <a:pt x="955" y="27"/>
                    </a:lnTo>
                    <a:lnTo>
                      <a:pt x="958" y="27"/>
                    </a:lnTo>
                    <a:lnTo>
                      <a:pt x="959" y="27"/>
                    </a:lnTo>
                    <a:lnTo>
                      <a:pt x="963" y="25"/>
                    </a:lnTo>
                    <a:lnTo>
                      <a:pt x="965" y="27"/>
                    </a:lnTo>
                    <a:lnTo>
                      <a:pt x="969" y="27"/>
                    </a:lnTo>
                    <a:lnTo>
                      <a:pt x="971" y="27"/>
                    </a:lnTo>
                    <a:lnTo>
                      <a:pt x="973" y="27"/>
                    </a:lnTo>
                    <a:lnTo>
                      <a:pt x="974" y="27"/>
                    </a:lnTo>
                    <a:lnTo>
                      <a:pt x="975" y="27"/>
                    </a:lnTo>
                    <a:lnTo>
                      <a:pt x="978" y="29"/>
                    </a:lnTo>
                    <a:lnTo>
                      <a:pt x="978" y="30"/>
                    </a:lnTo>
                    <a:lnTo>
                      <a:pt x="979" y="30"/>
                    </a:lnTo>
                    <a:lnTo>
                      <a:pt x="980" y="31"/>
                    </a:lnTo>
                    <a:lnTo>
                      <a:pt x="980" y="32"/>
                    </a:lnTo>
                    <a:lnTo>
                      <a:pt x="981" y="35"/>
                    </a:lnTo>
                    <a:lnTo>
                      <a:pt x="982" y="35"/>
                    </a:lnTo>
                    <a:lnTo>
                      <a:pt x="984" y="35"/>
                    </a:lnTo>
                    <a:lnTo>
                      <a:pt x="985" y="35"/>
                    </a:lnTo>
                    <a:lnTo>
                      <a:pt x="985" y="35"/>
                    </a:lnTo>
                    <a:lnTo>
                      <a:pt x="986" y="35"/>
                    </a:lnTo>
                    <a:lnTo>
                      <a:pt x="986" y="35"/>
                    </a:lnTo>
                    <a:lnTo>
                      <a:pt x="986" y="35"/>
                    </a:lnTo>
                    <a:lnTo>
                      <a:pt x="986" y="36"/>
                    </a:lnTo>
                    <a:lnTo>
                      <a:pt x="987" y="37"/>
                    </a:lnTo>
                    <a:lnTo>
                      <a:pt x="987" y="37"/>
                    </a:lnTo>
                    <a:lnTo>
                      <a:pt x="987" y="37"/>
                    </a:lnTo>
                    <a:lnTo>
                      <a:pt x="990" y="37"/>
                    </a:lnTo>
                    <a:lnTo>
                      <a:pt x="991" y="36"/>
                    </a:lnTo>
                    <a:lnTo>
                      <a:pt x="992" y="36"/>
                    </a:lnTo>
                    <a:lnTo>
                      <a:pt x="994" y="36"/>
                    </a:lnTo>
                    <a:lnTo>
                      <a:pt x="981" y="46"/>
                    </a:lnTo>
                    <a:lnTo>
                      <a:pt x="970" y="56"/>
                    </a:lnTo>
                    <a:lnTo>
                      <a:pt x="958" y="64"/>
                    </a:lnTo>
                    <a:lnTo>
                      <a:pt x="948" y="75"/>
                    </a:lnTo>
                    <a:lnTo>
                      <a:pt x="936" y="82"/>
                    </a:lnTo>
                    <a:lnTo>
                      <a:pt x="928" y="91"/>
                    </a:lnTo>
                    <a:lnTo>
                      <a:pt x="919" y="98"/>
                    </a:lnTo>
                    <a:lnTo>
                      <a:pt x="908" y="106"/>
                    </a:lnTo>
                    <a:lnTo>
                      <a:pt x="899" y="115"/>
                    </a:lnTo>
                    <a:lnTo>
                      <a:pt x="890" y="122"/>
                    </a:lnTo>
                    <a:lnTo>
                      <a:pt x="883" y="130"/>
                    </a:lnTo>
                    <a:lnTo>
                      <a:pt x="874" y="136"/>
                    </a:lnTo>
                    <a:lnTo>
                      <a:pt x="866" y="142"/>
                    </a:lnTo>
                    <a:lnTo>
                      <a:pt x="859" y="148"/>
                    </a:lnTo>
                    <a:lnTo>
                      <a:pt x="852" y="154"/>
                    </a:lnTo>
                    <a:lnTo>
                      <a:pt x="846" y="161"/>
                    </a:lnTo>
                    <a:lnTo>
                      <a:pt x="838" y="166"/>
                    </a:lnTo>
                    <a:lnTo>
                      <a:pt x="831" y="169"/>
                    </a:lnTo>
                    <a:lnTo>
                      <a:pt x="826" y="176"/>
                    </a:lnTo>
                    <a:lnTo>
                      <a:pt x="821" y="182"/>
                    </a:lnTo>
                    <a:lnTo>
                      <a:pt x="813" y="186"/>
                    </a:lnTo>
                    <a:lnTo>
                      <a:pt x="810" y="191"/>
                    </a:lnTo>
                    <a:lnTo>
                      <a:pt x="803" y="194"/>
                    </a:lnTo>
                    <a:lnTo>
                      <a:pt x="800" y="198"/>
                    </a:lnTo>
                    <a:lnTo>
                      <a:pt x="795" y="202"/>
                    </a:lnTo>
                    <a:lnTo>
                      <a:pt x="790" y="207"/>
                    </a:lnTo>
                    <a:lnTo>
                      <a:pt x="786" y="209"/>
                    </a:lnTo>
                    <a:lnTo>
                      <a:pt x="782" y="212"/>
                    </a:lnTo>
                    <a:lnTo>
                      <a:pt x="779" y="214"/>
                    </a:lnTo>
                    <a:lnTo>
                      <a:pt x="775" y="218"/>
                    </a:lnTo>
                    <a:lnTo>
                      <a:pt x="771" y="222"/>
                    </a:lnTo>
                    <a:lnTo>
                      <a:pt x="769" y="224"/>
                    </a:lnTo>
                    <a:lnTo>
                      <a:pt x="766" y="225"/>
                    </a:lnTo>
                    <a:lnTo>
                      <a:pt x="762" y="228"/>
                    </a:lnTo>
                    <a:lnTo>
                      <a:pt x="760" y="230"/>
                    </a:lnTo>
                    <a:lnTo>
                      <a:pt x="757" y="233"/>
                    </a:lnTo>
                    <a:lnTo>
                      <a:pt x="756" y="235"/>
                    </a:lnTo>
                    <a:lnTo>
                      <a:pt x="754" y="237"/>
                    </a:lnTo>
                    <a:lnTo>
                      <a:pt x="751" y="237"/>
                    </a:lnTo>
                    <a:lnTo>
                      <a:pt x="750" y="239"/>
                    </a:lnTo>
                    <a:lnTo>
                      <a:pt x="747" y="240"/>
                    </a:lnTo>
                    <a:lnTo>
                      <a:pt x="747" y="242"/>
                    </a:lnTo>
                    <a:lnTo>
                      <a:pt x="744" y="243"/>
                    </a:lnTo>
                    <a:lnTo>
                      <a:pt x="742" y="247"/>
                    </a:lnTo>
                    <a:lnTo>
                      <a:pt x="740" y="247"/>
                    </a:lnTo>
                    <a:lnTo>
                      <a:pt x="740" y="249"/>
                    </a:lnTo>
                    <a:lnTo>
                      <a:pt x="739" y="249"/>
                    </a:lnTo>
                    <a:lnTo>
                      <a:pt x="737" y="249"/>
                    </a:lnTo>
                    <a:lnTo>
                      <a:pt x="737" y="249"/>
                    </a:lnTo>
                    <a:lnTo>
                      <a:pt x="737" y="249"/>
                    </a:lnTo>
                    <a:lnTo>
                      <a:pt x="737" y="250"/>
                    </a:lnTo>
                    <a:lnTo>
                      <a:pt x="737" y="250"/>
                    </a:lnTo>
                    <a:lnTo>
                      <a:pt x="739" y="252"/>
                    </a:lnTo>
                    <a:lnTo>
                      <a:pt x="740" y="252"/>
                    </a:lnTo>
                    <a:lnTo>
                      <a:pt x="740" y="253"/>
                    </a:lnTo>
                    <a:lnTo>
                      <a:pt x="742" y="253"/>
                    </a:lnTo>
                    <a:lnTo>
                      <a:pt x="744" y="253"/>
                    </a:lnTo>
                    <a:lnTo>
                      <a:pt x="744" y="252"/>
                    </a:lnTo>
                    <a:lnTo>
                      <a:pt x="746" y="252"/>
                    </a:lnTo>
                    <a:lnTo>
                      <a:pt x="746" y="252"/>
                    </a:lnTo>
                    <a:lnTo>
                      <a:pt x="747" y="252"/>
                    </a:lnTo>
                    <a:lnTo>
                      <a:pt x="750" y="253"/>
                    </a:lnTo>
                    <a:lnTo>
                      <a:pt x="750" y="253"/>
                    </a:lnTo>
                    <a:lnTo>
                      <a:pt x="751" y="253"/>
                    </a:lnTo>
                    <a:lnTo>
                      <a:pt x="752" y="253"/>
                    </a:lnTo>
                    <a:lnTo>
                      <a:pt x="752" y="253"/>
                    </a:lnTo>
                    <a:lnTo>
                      <a:pt x="755" y="252"/>
                    </a:lnTo>
                    <a:lnTo>
                      <a:pt x="756" y="250"/>
                    </a:lnTo>
                    <a:lnTo>
                      <a:pt x="757" y="250"/>
                    </a:lnTo>
                    <a:lnTo>
                      <a:pt x="760" y="250"/>
                    </a:lnTo>
                    <a:lnTo>
                      <a:pt x="760" y="250"/>
                    </a:lnTo>
                    <a:lnTo>
                      <a:pt x="762" y="250"/>
                    </a:lnTo>
                    <a:lnTo>
                      <a:pt x="765" y="250"/>
                    </a:lnTo>
                    <a:lnTo>
                      <a:pt x="766" y="250"/>
                    </a:lnTo>
                    <a:lnTo>
                      <a:pt x="767" y="250"/>
                    </a:lnTo>
                    <a:lnTo>
                      <a:pt x="769" y="250"/>
                    </a:lnTo>
                    <a:lnTo>
                      <a:pt x="771" y="250"/>
                    </a:lnTo>
                    <a:lnTo>
                      <a:pt x="769" y="250"/>
                    </a:lnTo>
                    <a:lnTo>
                      <a:pt x="769" y="252"/>
                    </a:lnTo>
                    <a:lnTo>
                      <a:pt x="766" y="253"/>
                    </a:lnTo>
                    <a:lnTo>
                      <a:pt x="765" y="253"/>
                    </a:lnTo>
                    <a:lnTo>
                      <a:pt x="764" y="253"/>
                    </a:lnTo>
                    <a:lnTo>
                      <a:pt x="764" y="254"/>
                    </a:lnTo>
                    <a:lnTo>
                      <a:pt x="764" y="254"/>
                    </a:lnTo>
                    <a:lnTo>
                      <a:pt x="762" y="257"/>
                    </a:lnTo>
                    <a:lnTo>
                      <a:pt x="762" y="257"/>
                    </a:lnTo>
                    <a:lnTo>
                      <a:pt x="762" y="257"/>
                    </a:lnTo>
                    <a:lnTo>
                      <a:pt x="762" y="258"/>
                    </a:lnTo>
                    <a:lnTo>
                      <a:pt x="762" y="259"/>
                    </a:lnTo>
                    <a:lnTo>
                      <a:pt x="764" y="260"/>
                    </a:lnTo>
                    <a:lnTo>
                      <a:pt x="765" y="260"/>
                    </a:lnTo>
                    <a:lnTo>
                      <a:pt x="765" y="262"/>
                    </a:lnTo>
                    <a:lnTo>
                      <a:pt x="766" y="262"/>
                    </a:lnTo>
                    <a:lnTo>
                      <a:pt x="766" y="263"/>
                    </a:lnTo>
                    <a:lnTo>
                      <a:pt x="765" y="263"/>
                    </a:lnTo>
                    <a:lnTo>
                      <a:pt x="765" y="264"/>
                    </a:lnTo>
                    <a:lnTo>
                      <a:pt x="765" y="265"/>
                    </a:lnTo>
                    <a:lnTo>
                      <a:pt x="765" y="267"/>
                    </a:lnTo>
                    <a:lnTo>
                      <a:pt x="766" y="268"/>
                    </a:lnTo>
                    <a:lnTo>
                      <a:pt x="766" y="268"/>
                    </a:lnTo>
                    <a:lnTo>
                      <a:pt x="767" y="270"/>
                    </a:lnTo>
                    <a:lnTo>
                      <a:pt x="767" y="271"/>
                    </a:lnTo>
                    <a:lnTo>
                      <a:pt x="769" y="273"/>
                    </a:lnTo>
                    <a:lnTo>
                      <a:pt x="769" y="275"/>
                    </a:lnTo>
                    <a:lnTo>
                      <a:pt x="769" y="275"/>
                    </a:lnTo>
                    <a:lnTo>
                      <a:pt x="769" y="275"/>
                    </a:lnTo>
                    <a:lnTo>
                      <a:pt x="769" y="275"/>
                    </a:lnTo>
                    <a:lnTo>
                      <a:pt x="769" y="275"/>
                    </a:lnTo>
                    <a:lnTo>
                      <a:pt x="769" y="278"/>
                    </a:lnTo>
                    <a:lnTo>
                      <a:pt x="769" y="279"/>
                    </a:lnTo>
                    <a:lnTo>
                      <a:pt x="767" y="281"/>
                    </a:lnTo>
                    <a:lnTo>
                      <a:pt x="766" y="281"/>
                    </a:lnTo>
                    <a:lnTo>
                      <a:pt x="765" y="284"/>
                    </a:lnTo>
                    <a:lnTo>
                      <a:pt x="764" y="285"/>
                    </a:lnTo>
                    <a:lnTo>
                      <a:pt x="766" y="284"/>
                    </a:lnTo>
                    <a:lnTo>
                      <a:pt x="769" y="283"/>
                    </a:lnTo>
                    <a:lnTo>
                      <a:pt x="775" y="281"/>
                    </a:lnTo>
                    <a:lnTo>
                      <a:pt x="782" y="278"/>
                    </a:lnTo>
                    <a:lnTo>
                      <a:pt x="785" y="278"/>
                    </a:lnTo>
                    <a:lnTo>
                      <a:pt x="786" y="278"/>
                    </a:lnTo>
                    <a:lnTo>
                      <a:pt x="788" y="275"/>
                    </a:lnTo>
                    <a:lnTo>
                      <a:pt x="788" y="275"/>
                    </a:lnTo>
                    <a:lnTo>
                      <a:pt x="792" y="275"/>
                    </a:lnTo>
                    <a:lnTo>
                      <a:pt x="792" y="274"/>
                    </a:lnTo>
                    <a:lnTo>
                      <a:pt x="793" y="273"/>
                    </a:lnTo>
                    <a:lnTo>
                      <a:pt x="795" y="273"/>
                    </a:lnTo>
                    <a:lnTo>
                      <a:pt x="796" y="273"/>
                    </a:lnTo>
                    <a:lnTo>
                      <a:pt x="796" y="271"/>
                    </a:lnTo>
                    <a:lnTo>
                      <a:pt x="797" y="271"/>
                    </a:lnTo>
                    <a:lnTo>
                      <a:pt x="798" y="270"/>
                    </a:lnTo>
                    <a:lnTo>
                      <a:pt x="798" y="269"/>
                    </a:lnTo>
                    <a:lnTo>
                      <a:pt x="800" y="269"/>
                    </a:lnTo>
                    <a:lnTo>
                      <a:pt x="800" y="268"/>
                    </a:lnTo>
                    <a:lnTo>
                      <a:pt x="801" y="268"/>
                    </a:lnTo>
                    <a:lnTo>
                      <a:pt x="801" y="268"/>
                    </a:lnTo>
                    <a:lnTo>
                      <a:pt x="801" y="268"/>
                    </a:lnTo>
                    <a:lnTo>
                      <a:pt x="801" y="268"/>
                    </a:lnTo>
                    <a:lnTo>
                      <a:pt x="810" y="268"/>
                    </a:lnTo>
                    <a:lnTo>
                      <a:pt x="811" y="267"/>
                    </a:lnTo>
                    <a:lnTo>
                      <a:pt x="811" y="265"/>
                    </a:lnTo>
                    <a:lnTo>
                      <a:pt x="813" y="265"/>
                    </a:lnTo>
                    <a:lnTo>
                      <a:pt x="815" y="264"/>
                    </a:lnTo>
                    <a:lnTo>
                      <a:pt x="817" y="263"/>
                    </a:lnTo>
                    <a:lnTo>
                      <a:pt x="820" y="263"/>
                    </a:lnTo>
                    <a:lnTo>
                      <a:pt x="821" y="263"/>
                    </a:lnTo>
                    <a:lnTo>
                      <a:pt x="821" y="263"/>
                    </a:lnTo>
                    <a:lnTo>
                      <a:pt x="822" y="263"/>
                    </a:lnTo>
                    <a:lnTo>
                      <a:pt x="822" y="263"/>
                    </a:lnTo>
                    <a:lnTo>
                      <a:pt x="823" y="264"/>
                    </a:lnTo>
                    <a:lnTo>
                      <a:pt x="825" y="265"/>
                    </a:lnTo>
                    <a:lnTo>
                      <a:pt x="825" y="267"/>
                    </a:lnTo>
                    <a:lnTo>
                      <a:pt x="825" y="268"/>
                    </a:lnTo>
                    <a:lnTo>
                      <a:pt x="825" y="268"/>
                    </a:lnTo>
                    <a:lnTo>
                      <a:pt x="823" y="269"/>
                    </a:lnTo>
                    <a:lnTo>
                      <a:pt x="823" y="269"/>
                    </a:lnTo>
                    <a:lnTo>
                      <a:pt x="821" y="271"/>
                    </a:lnTo>
                    <a:lnTo>
                      <a:pt x="821" y="273"/>
                    </a:lnTo>
                    <a:lnTo>
                      <a:pt x="821" y="274"/>
                    </a:lnTo>
                    <a:lnTo>
                      <a:pt x="821" y="275"/>
                    </a:lnTo>
                    <a:lnTo>
                      <a:pt x="821" y="275"/>
                    </a:lnTo>
                    <a:lnTo>
                      <a:pt x="821" y="275"/>
                    </a:lnTo>
                    <a:lnTo>
                      <a:pt x="821" y="278"/>
                    </a:lnTo>
                    <a:lnTo>
                      <a:pt x="822" y="278"/>
                    </a:lnTo>
                    <a:lnTo>
                      <a:pt x="823" y="278"/>
                    </a:lnTo>
                    <a:lnTo>
                      <a:pt x="823" y="278"/>
                    </a:lnTo>
                    <a:lnTo>
                      <a:pt x="823" y="278"/>
                    </a:lnTo>
                    <a:lnTo>
                      <a:pt x="823" y="279"/>
                    </a:lnTo>
                    <a:lnTo>
                      <a:pt x="823" y="281"/>
                    </a:lnTo>
                    <a:lnTo>
                      <a:pt x="822" y="281"/>
                    </a:lnTo>
                    <a:lnTo>
                      <a:pt x="822" y="283"/>
                    </a:lnTo>
                    <a:lnTo>
                      <a:pt x="822" y="283"/>
                    </a:lnTo>
                    <a:lnTo>
                      <a:pt x="822" y="284"/>
                    </a:lnTo>
                    <a:lnTo>
                      <a:pt x="822" y="285"/>
                    </a:lnTo>
                    <a:lnTo>
                      <a:pt x="823" y="285"/>
                    </a:lnTo>
                    <a:lnTo>
                      <a:pt x="823" y="288"/>
                    </a:lnTo>
                    <a:lnTo>
                      <a:pt x="825" y="288"/>
                    </a:lnTo>
                    <a:lnTo>
                      <a:pt x="825" y="288"/>
                    </a:lnTo>
                    <a:lnTo>
                      <a:pt x="826" y="289"/>
                    </a:lnTo>
                    <a:lnTo>
                      <a:pt x="826" y="289"/>
                    </a:lnTo>
                    <a:lnTo>
                      <a:pt x="826" y="291"/>
                    </a:lnTo>
                    <a:lnTo>
                      <a:pt x="826" y="293"/>
                    </a:lnTo>
                    <a:lnTo>
                      <a:pt x="826" y="294"/>
                    </a:lnTo>
                    <a:lnTo>
                      <a:pt x="825" y="296"/>
                    </a:lnTo>
                    <a:lnTo>
                      <a:pt x="825" y="298"/>
                    </a:lnTo>
                    <a:lnTo>
                      <a:pt x="823" y="299"/>
                    </a:lnTo>
                    <a:lnTo>
                      <a:pt x="823" y="300"/>
                    </a:lnTo>
                    <a:lnTo>
                      <a:pt x="823" y="303"/>
                    </a:lnTo>
                    <a:lnTo>
                      <a:pt x="822" y="306"/>
                    </a:lnTo>
                    <a:lnTo>
                      <a:pt x="821" y="310"/>
                    </a:lnTo>
                    <a:lnTo>
                      <a:pt x="821" y="313"/>
                    </a:lnTo>
                    <a:lnTo>
                      <a:pt x="821" y="314"/>
                    </a:lnTo>
                    <a:lnTo>
                      <a:pt x="821" y="318"/>
                    </a:lnTo>
                    <a:lnTo>
                      <a:pt x="821" y="320"/>
                    </a:lnTo>
                    <a:lnTo>
                      <a:pt x="821" y="321"/>
                    </a:lnTo>
                    <a:lnTo>
                      <a:pt x="821" y="324"/>
                    </a:lnTo>
                    <a:lnTo>
                      <a:pt x="820" y="325"/>
                    </a:lnTo>
                    <a:lnTo>
                      <a:pt x="820" y="326"/>
                    </a:lnTo>
                    <a:lnTo>
                      <a:pt x="817" y="326"/>
                    </a:lnTo>
                    <a:lnTo>
                      <a:pt x="817" y="326"/>
                    </a:lnTo>
                    <a:lnTo>
                      <a:pt x="817" y="328"/>
                    </a:lnTo>
                    <a:lnTo>
                      <a:pt x="816" y="328"/>
                    </a:lnTo>
                    <a:lnTo>
                      <a:pt x="816" y="328"/>
                    </a:lnTo>
                    <a:lnTo>
                      <a:pt x="816" y="330"/>
                    </a:lnTo>
                    <a:lnTo>
                      <a:pt x="817" y="330"/>
                    </a:lnTo>
                    <a:lnTo>
                      <a:pt x="817" y="330"/>
                    </a:lnTo>
                    <a:lnTo>
                      <a:pt x="817" y="330"/>
                    </a:lnTo>
                    <a:lnTo>
                      <a:pt x="820" y="330"/>
                    </a:lnTo>
                    <a:lnTo>
                      <a:pt x="817" y="331"/>
                    </a:lnTo>
                    <a:lnTo>
                      <a:pt x="816" y="333"/>
                    </a:lnTo>
                    <a:lnTo>
                      <a:pt x="815" y="334"/>
                    </a:lnTo>
                    <a:lnTo>
                      <a:pt x="815" y="335"/>
                    </a:lnTo>
                    <a:lnTo>
                      <a:pt x="813" y="338"/>
                    </a:lnTo>
                    <a:lnTo>
                      <a:pt x="813" y="339"/>
                    </a:lnTo>
                    <a:lnTo>
                      <a:pt x="813" y="339"/>
                    </a:lnTo>
                    <a:lnTo>
                      <a:pt x="813" y="341"/>
                    </a:lnTo>
                    <a:lnTo>
                      <a:pt x="815" y="341"/>
                    </a:lnTo>
                    <a:lnTo>
                      <a:pt x="817" y="342"/>
                    </a:lnTo>
                    <a:lnTo>
                      <a:pt x="817" y="342"/>
                    </a:lnTo>
                    <a:lnTo>
                      <a:pt x="821" y="342"/>
                    </a:lnTo>
                    <a:lnTo>
                      <a:pt x="822" y="344"/>
                    </a:lnTo>
                    <a:lnTo>
                      <a:pt x="823" y="345"/>
                    </a:lnTo>
                    <a:lnTo>
                      <a:pt x="825" y="346"/>
                    </a:lnTo>
                    <a:lnTo>
                      <a:pt x="826" y="347"/>
                    </a:lnTo>
                    <a:lnTo>
                      <a:pt x="827" y="349"/>
                    </a:lnTo>
                    <a:lnTo>
                      <a:pt x="827" y="349"/>
                    </a:lnTo>
                    <a:lnTo>
                      <a:pt x="828" y="349"/>
                    </a:lnTo>
                    <a:lnTo>
                      <a:pt x="830" y="351"/>
                    </a:lnTo>
                    <a:lnTo>
                      <a:pt x="830" y="351"/>
                    </a:lnTo>
                    <a:lnTo>
                      <a:pt x="831" y="352"/>
                    </a:lnTo>
                    <a:lnTo>
                      <a:pt x="831" y="352"/>
                    </a:lnTo>
                    <a:lnTo>
                      <a:pt x="831" y="352"/>
                    </a:lnTo>
                    <a:lnTo>
                      <a:pt x="832" y="352"/>
                    </a:lnTo>
                    <a:lnTo>
                      <a:pt x="833" y="352"/>
                    </a:lnTo>
                    <a:lnTo>
                      <a:pt x="833" y="355"/>
                    </a:lnTo>
                    <a:lnTo>
                      <a:pt x="832" y="355"/>
                    </a:lnTo>
                    <a:lnTo>
                      <a:pt x="831" y="356"/>
                    </a:lnTo>
                    <a:lnTo>
                      <a:pt x="831" y="356"/>
                    </a:lnTo>
                    <a:lnTo>
                      <a:pt x="828" y="359"/>
                    </a:lnTo>
                    <a:lnTo>
                      <a:pt x="827" y="359"/>
                    </a:lnTo>
                    <a:lnTo>
                      <a:pt x="826" y="359"/>
                    </a:lnTo>
                    <a:lnTo>
                      <a:pt x="825" y="360"/>
                    </a:lnTo>
                    <a:lnTo>
                      <a:pt x="823" y="362"/>
                    </a:lnTo>
                    <a:lnTo>
                      <a:pt x="822" y="362"/>
                    </a:lnTo>
                    <a:lnTo>
                      <a:pt x="821" y="365"/>
                    </a:lnTo>
                    <a:lnTo>
                      <a:pt x="821" y="367"/>
                    </a:lnTo>
                    <a:lnTo>
                      <a:pt x="820" y="369"/>
                    </a:lnTo>
                    <a:lnTo>
                      <a:pt x="820" y="370"/>
                    </a:lnTo>
                    <a:lnTo>
                      <a:pt x="816" y="372"/>
                    </a:lnTo>
                    <a:lnTo>
                      <a:pt x="813" y="374"/>
                    </a:lnTo>
                    <a:lnTo>
                      <a:pt x="810" y="376"/>
                    </a:lnTo>
                    <a:lnTo>
                      <a:pt x="806" y="379"/>
                    </a:lnTo>
                    <a:lnTo>
                      <a:pt x="801" y="381"/>
                    </a:lnTo>
                    <a:lnTo>
                      <a:pt x="798" y="384"/>
                    </a:lnTo>
                    <a:lnTo>
                      <a:pt x="796" y="384"/>
                    </a:lnTo>
                    <a:lnTo>
                      <a:pt x="792" y="387"/>
                    </a:lnTo>
                    <a:lnTo>
                      <a:pt x="792" y="385"/>
                    </a:lnTo>
                    <a:lnTo>
                      <a:pt x="792" y="384"/>
                    </a:lnTo>
                    <a:lnTo>
                      <a:pt x="792" y="384"/>
                    </a:lnTo>
                    <a:lnTo>
                      <a:pt x="792" y="385"/>
                    </a:lnTo>
                    <a:lnTo>
                      <a:pt x="790" y="385"/>
                    </a:lnTo>
                    <a:lnTo>
                      <a:pt x="790" y="387"/>
                    </a:lnTo>
                    <a:lnTo>
                      <a:pt x="790" y="385"/>
                    </a:lnTo>
                    <a:lnTo>
                      <a:pt x="790" y="384"/>
                    </a:lnTo>
                    <a:lnTo>
                      <a:pt x="792" y="384"/>
                    </a:lnTo>
                    <a:lnTo>
                      <a:pt x="792" y="381"/>
                    </a:lnTo>
                    <a:lnTo>
                      <a:pt x="792" y="381"/>
                    </a:lnTo>
                    <a:lnTo>
                      <a:pt x="793" y="380"/>
                    </a:lnTo>
                    <a:lnTo>
                      <a:pt x="796" y="379"/>
                    </a:lnTo>
                    <a:lnTo>
                      <a:pt x="797" y="377"/>
                    </a:lnTo>
                    <a:lnTo>
                      <a:pt x="800" y="375"/>
                    </a:lnTo>
                    <a:lnTo>
                      <a:pt x="802" y="374"/>
                    </a:lnTo>
                    <a:lnTo>
                      <a:pt x="806" y="372"/>
                    </a:lnTo>
                    <a:lnTo>
                      <a:pt x="810" y="372"/>
                    </a:lnTo>
                    <a:lnTo>
                      <a:pt x="810" y="372"/>
                    </a:lnTo>
                    <a:lnTo>
                      <a:pt x="807" y="372"/>
                    </a:lnTo>
                    <a:lnTo>
                      <a:pt x="807" y="372"/>
                    </a:lnTo>
                    <a:lnTo>
                      <a:pt x="806" y="372"/>
                    </a:lnTo>
                    <a:lnTo>
                      <a:pt x="803" y="374"/>
                    </a:lnTo>
                    <a:lnTo>
                      <a:pt x="801" y="375"/>
                    </a:lnTo>
                    <a:lnTo>
                      <a:pt x="798" y="375"/>
                    </a:lnTo>
                    <a:lnTo>
                      <a:pt x="798" y="376"/>
                    </a:lnTo>
                    <a:lnTo>
                      <a:pt x="797" y="376"/>
                    </a:lnTo>
                    <a:lnTo>
                      <a:pt x="796" y="376"/>
                    </a:lnTo>
                    <a:lnTo>
                      <a:pt x="796" y="375"/>
                    </a:lnTo>
                    <a:lnTo>
                      <a:pt x="795" y="375"/>
                    </a:lnTo>
                    <a:lnTo>
                      <a:pt x="795" y="374"/>
                    </a:lnTo>
                    <a:lnTo>
                      <a:pt x="795" y="374"/>
                    </a:lnTo>
                    <a:lnTo>
                      <a:pt x="795" y="372"/>
                    </a:lnTo>
                    <a:lnTo>
                      <a:pt x="796" y="372"/>
                    </a:lnTo>
                    <a:lnTo>
                      <a:pt x="796" y="372"/>
                    </a:lnTo>
                    <a:lnTo>
                      <a:pt x="798" y="372"/>
                    </a:lnTo>
                    <a:lnTo>
                      <a:pt x="800" y="372"/>
                    </a:lnTo>
                    <a:lnTo>
                      <a:pt x="801" y="372"/>
                    </a:lnTo>
                    <a:lnTo>
                      <a:pt x="803" y="372"/>
                    </a:lnTo>
                    <a:lnTo>
                      <a:pt x="803" y="372"/>
                    </a:lnTo>
                    <a:lnTo>
                      <a:pt x="802" y="372"/>
                    </a:lnTo>
                    <a:lnTo>
                      <a:pt x="802" y="372"/>
                    </a:lnTo>
                    <a:lnTo>
                      <a:pt x="801" y="372"/>
                    </a:lnTo>
                    <a:lnTo>
                      <a:pt x="802" y="371"/>
                    </a:lnTo>
                    <a:lnTo>
                      <a:pt x="803" y="370"/>
                    </a:lnTo>
                    <a:lnTo>
                      <a:pt x="805" y="369"/>
                    </a:lnTo>
                    <a:lnTo>
                      <a:pt x="807" y="367"/>
                    </a:lnTo>
                    <a:lnTo>
                      <a:pt x="807" y="365"/>
                    </a:lnTo>
                    <a:lnTo>
                      <a:pt x="807" y="362"/>
                    </a:lnTo>
                    <a:lnTo>
                      <a:pt x="810" y="362"/>
                    </a:lnTo>
                    <a:lnTo>
                      <a:pt x="810" y="359"/>
                    </a:lnTo>
                    <a:lnTo>
                      <a:pt x="811" y="359"/>
                    </a:lnTo>
                    <a:lnTo>
                      <a:pt x="811" y="356"/>
                    </a:lnTo>
                    <a:lnTo>
                      <a:pt x="811" y="356"/>
                    </a:lnTo>
                    <a:lnTo>
                      <a:pt x="813" y="355"/>
                    </a:lnTo>
                    <a:lnTo>
                      <a:pt x="815" y="355"/>
                    </a:lnTo>
                    <a:lnTo>
                      <a:pt x="816" y="352"/>
                    </a:lnTo>
                    <a:lnTo>
                      <a:pt x="816" y="352"/>
                    </a:lnTo>
                    <a:lnTo>
                      <a:pt x="813" y="355"/>
                    </a:lnTo>
                    <a:lnTo>
                      <a:pt x="810" y="356"/>
                    </a:lnTo>
                    <a:lnTo>
                      <a:pt x="807" y="356"/>
                    </a:lnTo>
                    <a:lnTo>
                      <a:pt x="806" y="356"/>
                    </a:lnTo>
                    <a:lnTo>
                      <a:pt x="803" y="357"/>
                    </a:lnTo>
                    <a:lnTo>
                      <a:pt x="801" y="357"/>
                    </a:lnTo>
                    <a:lnTo>
                      <a:pt x="802" y="356"/>
                    </a:lnTo>
                    <a:lnTo>
                      <a:pt x="802" y="356"/>
                    </a:lnTo>
                    <a:lnTo>
                      <a:pt x="803" y="356"/>
                    </a:lnTo>
                    <a:lnTo>
                      <a:pt x="805" y="355"/>
                    </a:lnTo>
                    <a:lnTo>
                      <a:pt x="803" y="355"/>
                    </a:lnTo>
                    <a:lnTo>
                      <a:pt x="801" y="356"/>
                    </a:lnTo>
                    <a:lnTo>
                      <a:pt x="800" y="356"/>
                    </a:lnTo>
                    <a:lnTo>
                      <a:pt x="798" y="357"/>
                    </a:lnTo>
                    <a:lnTo>
                      <a:pt x="796" y="357"/>
                    </a:lnTo>
                    <a:lnTo>
                      <a:pt x="796" y="359"/>
                    </a:lnTo>
                    <a:lnTo>
                      <a:pt x="795" y="359"/>
                    </a:lnTo>
                    <a:lnTo>
                      <a:pt x="795" y="359"/>
                    </a:lnTo>
                    <a:lnTo>
                      <a:pt x="795" y="359"/>
                    </a:lnTo>
                    <a:lnTo>
                      <a:pt x="795" y="360"/>
                    </a:lnTo>
                    <a:lnTo>
                      <a:pt x="795" y="360"/>
                    </a:lnTo>
                    <a:lnTo>
                      <a:pt x="793" y="362"/>
                    </a:lnTo>
                    <a:lnTo>
                      <a:pt x="793" y="362"/>
                    </a:lnTo>
                    <a:lnTo>
                      <a:pt x="792" y="362"/>
                    </a:lnTo>
                    <a:lnTo>
                      <a:pt x="792" y="362"/>
                    </a:lnTo>
                    <a:lnTo>
                      <a:pt x="792" y="362"/>
                    </a:lnTo>
                    <a:lnTo>
                      <a:pt x="790" y="362"/>
                    </a:lnTo>
                    <a:lnTo>
                      <a:pt x="790" y="362"/>
                    </a:lnTo>
                    <a:lnTo>
                      <a:pt x="788" y="362"/>
                    </a:lnTo>
                    <a:lnTo>
                      <a:pt x="788" y="364"/>
                    </a:lnTo>
                    <a:lnTo>
                      <a:pt x="788" y="364"/>
                    </a:lnTo>
                    <a:lnTo>
                      <a:pt x="786" y="365"/>
                    </a:lnTo>
                    <a:lnTo>
                      <a:pt x="786" y="365"/>
                    </a:lnTo>
                    <a:lnTo>
                      <a:pt x="786" y="366"/>
                    </a:lnTo>
                    <a:lnTo>
                      <a:pt x="785" y="366"/>
                    </a:lnTo>
                    <a:lnTo>
                      <a:pt x="785" y="366"/>
                    </a:lnTo>
                    <a:lnTo>
                      <a:pt x="784" y="366"/>
                    </a:lnTo>
                    <a:lnTo>
                      <a:pt x="784" y="366"/>
                    </a:lnTo>
                    <a:lnTo>
                      <a:pt x="782" y="365"/>
                    </a:lnTo>
                    <a:lnTo>
                      <a:pt x="782" y="365"/>
                    </a:lnTo>
                    <a:lnTo>
                      <a:pt x="790" y="357"/>
                    </a:lnTo>
                    <a:lnTo>
                      <a:pt x="792" y="357"/>
                    </a:lnTo>
                    <a:lnTo>
                      <a:pt x="793" y="356"/>
                    </a:lnTo>
                    <a:lnTo>
                      <a:pt x="795" y="356"/>
                    </a:lnTo>
                    <a:lnTo>
                      <a:pt x="796" y="356"/>
                    </a:lnTo>
                    <a:lnTo>
                      <a:pt x="798" y="355"/>
                    </a:lnTo>
                    <a:lnTo>
                      <a:pt x="800" y="352"/>
                    </a:lnTo>
                    <a:lnTo>
                      <a:pt x="801" y="352"/>
                    </a:lnTo>
                    <a:lnTo>
                      <a:pt x="801" y="351"/>
                    </a:lnTo>
                    <a:lnTo>
                      <a:pt x="802" y="351"/>
                    </a:lnTo>
                    <a:lnTo>
                      <a:pt x="803" y="351"/>
                    </a:lnTo>
                    <a:lnTo>
                      <a:pt x="805" y="351"/>
                    </a:lnTo>
                    <a:lnTo>
                      <a:pt x="806" y="349"/>
                    </a:lnTo>
                    <a:lnTo>
                      <a:pt x="805" y="349"/>
                    </a:lnTo>
                    <a:lnTo>
                      <a:pt x="803" y="349"/>
                    </a:lnTo>
                    <a:lnTo>
                      <a:pt x="802" y="349"/>
                    </a:lnTo>
                    <a:lnTo>
                      <a:pt x="802" y="349"/>
                    </a:lnTo>
                    <a:lnTo>
                      <a:pt x="801" y="347"/>
                    </a:lnTo>
                    <a:lnTo>
                      <a:pt x="801" y="349"/>
                    </a:lnTo>
                    <a:lnTo>
                      <a:pt x="801" y="349"/>
                    </a:lnTo>
                    <a:lnTo>
                      <a:pt x="801" y="351"/>
                    </a:lnTo>
                    <a:lnTo>
                      <a:pt x="801" y="351"/>
                    </a:lnTo>
                    <a:lnTo>
                      <a:pt x="800" y="352"/>
                    </a:lnTo>
                    <a:lnTo>
                      <a:pt x="798" y="352"/>
                    </a:lnTo>
                    <a:lnTo>
                      <a:pt x="798" y="352"/>
                    </a:lnTo>
                    <a:lnTo>
                      <a:pt x="797" y="352"/>
                    </a:lnTo>
                    <a:lnTo>
                      <a:pt x="797" y="352"/>
                    </a:lnTo>
                    <a:lnTo>
                      <a:pt x="796" y="352"/>
                    </a:lnTo>
                    <a:lnTo>
                      <a:pt x="796" y="351"/>
                    </a:lnTo>
                    <a:lnTo>
                      <a:pt x="796" y="351"/>
                    </a:lnTo>
                    <a:lnTo>
                      <a:pt x="796" y="349"/>
                    </a:lnTo>
                    <a:lnTo>
                      <a:pt x="796" y="349"/>
                    </a:lnTo>
                    <a:lnTo>
                      <a:pt x="797" y="347"/>
                    </a:lnTo>
                    <a:lnTo>
                      <a:pt x="798" y="346"/>
                    </a:lnTo>
                    <a:lnTo>
                      <a:pt x="798" y="345"/>
                    </a:lnTo>
                    <a:lnTo>
                      <a:pt x="800" y="344"/>
                    </a:lnTo>
                    <a:lnTo>
                      <a:pt x="800" y="342"/>
                    </a:lnTo>
                    <a:lnTo>
                      <a:pt x="800" y="342"/>
                    </a:lnTo>
                    <a:lnTo>
                      <a:pt x="800" y="342"/>
                    </a:lnTo>
                    <a:lnTo>
                      <a:pt x="800" y="344"/>
                    </a:lnTo>
                    <a:lnTo>
                      <a:pt x="800" y="344"/>
                    </a:lnTo>
                    <a:lnTo>
                      <a:pt x="800" y="345"/>
                    </a:lnTo>
                    <a:lnTo>
                      <a:pt x="801" y="345"/>
                    </a:lnTo>
                    <a:lnTo>
                      <a:pt x="801" y="345"/>
                    </a:lnTo>
                    <a:lnTo>
                      <a:pt x="801" y="345"/>
                    </a:lnTo>
                    <a:lnTo>
                      <a:pt x="801" y="345"/>
                    </a:lnTo>
                    <a:lnTo>
                      <a:pt x="801" y="344"/>
                    </a:lnTo>
                    <a:lnTo>
                      <a:pt x="801" y="342"/>
                    </a:lnTo>
                    <a:lnTo>
                      <a:pt x="801" y="342"/>
                    </a:lnTo>
                    <a:lnTo>
                      <a:pt x="801" y="341"/>
                    </a:lnTo>
                    <a:lnTo>
                      <a:pt x="801" y="341"/>
                    </a:lnTo>
                    <a:lnTo>
                      <a:pt x="801" y="341"/>
                    </a:lnTo>
                    <a:lnTo>
                      <a:pt x="801" y="341"/>
                    </a:lnTo>
                    <a:lnTo>
                      <a:pt x="801" y="339"/>
                    </a:lnTo>
                    <a:lnTo>
                      <a:pt x="802" y="339"/>
                    </a:lnTo>
                    <a:lnTo>
                      <a:pt x="802" y="339"/>
                    </a:lnTo>
                    <a:lnTo>
                      <a:pt x="803" y="338"/>
                    </a:lnTo>
                    <a:lnTo>
                      <a:pt x="805" y="336"/>
                    </a:lnTo>
                    <a:lnTo>
                      <a:pt x="806" y="336"/>
                    </a:lnTo>
                    <a:lnTo>
                      <a:pt x="807" y="335"/>
                    </a:lnTo>
                    <a:lnTo>
                      <a:pt x="806" y="335"/>
                    </a:lnTo>
                    <a:lnTo>
                      <a:pt x="805" y="336"/>
                    </a:lnTo>
                    <a:lnTo>
                      <a:pt x="803" y="336"/>
                    </a:lnTo>
                    <a:lnTo>
                      <a:pt x="802" y="336"/>
                    </a:lnTo>
                    <a:lnTo>
                      <a:pt x="802" y="336"/>
                    </a:lnTo>
                    <a:lnTo>
                      <a:pt x="801" y="336"/>
                    </a:lnTo>
                    <a:lnTo>
                      <a:pt x="801" y="335"/>
                    </a:lnTo>
                    <a:lnTo>
                      <a:pt x="801" y="335"/>
                    </a:lnTo>
                    <a:lnTo>
                      <a:pt x="801" y="334"/>
                    </a:lnTo>
                    <a:lnTo>
                      <a:pt x="801" y="333"/>
                    </a:lnTo>
                    <a:lnTo>
                      <a:pt x="801" y="331"/>
                    </a:lnTo>
                    <a:lnTo>
                      <a:pt x="802" y="331"/>
                    </a:lnTo>
                    <a:lnTo>
                      <a:pt x="802" y="331"/>
                    </a:lnTo>
                    <a:lnTo>
                      <a:pt x="803" y="331"/>
                    </a:lnTo>
                    <a:lnTo>
                      <a:pt x="803" y="330"/>
                    </a:lnTo>
                    <a:lnTo>
                      <a:pt x="805" y="330"/>
                    </a:lnTo>
                    <a:lnTo>
                      <a:pt x="803" y="330"/>
                    </a:lnTo>
                    <a:lnTo>
                      <a:pt x="802" y="330"/>
                    </a:lnTo>
                    <a:lnTo>
                      <a:pt x="801" y="330"/>
                    </a:lnTo>
                    <a:lnTo>
                      <a:pt x="801" y="330"/>
                    </a:lnTo>
                    <a:lnTo>
                      <a:pt x="801" y="328"/>
                    </a:lnTo>
                    <a:lnTo>
                      <a:pt x="800" y="328"/>
                    </a:lnTo>
                    <a:lnTo>
                      <a:pt x="800" y="328"/>
                    </a:lnTo>
                    <a:lnTo>
                      <a:pt x="800" y="326"/>
                    </a:lnTo>
                    <a:lnTo>
                      <a:pt x="800" y="326"/>
                    </a:lnTo>
                    <a:lnTo>
                      <a:pt x="798" y="328"/>
                    </a:lnTo>
                    <a:lnTo>
                      <a:pt x="798" y="328"/>
                    </a:lnTo>
                    <a:lnTo>
                      <a:pt x="798" y="328"/>
                    </a:lnTo>
                    <a:lnTo>
                      <a:pt x="797" y="328"/>
                    </a:lnTo>
                    <a:lnTo>
                      <a:pt x="797" y="328"/>
                    </a:lnTo>
                    <a:lnTo>
                      <a:pt x="796" y="326"/>
                    </a:lnTo>
                    <a:lnTo>
                      <a:pt x="796" y="325"/>
                    </a:lnTo>
                    <a:lnTo>
                      <a:pt x="797" y="324"/>
                    </a:lnTo>
                    <a:lnTo>
                      <a:pt x="797" y="323"/>
                    </a:lnTo>
                    <a:lnTo>
                      <a:pt x="798" y="323"/>
                    </a:lnTo>
                    <a:lnTo>
                      <a:pt x="800" y="323"/>
                    </a:lnTo>
                    <a:lnTo>
                      <a:pt x="800" y="323"/>
                    </a:lnTo>
                    <a:lnTo>
                      <a:pt x="801" y="323"/>
                    </a:lnTo>
                    <a:lnTo>
                      <a:pt x="801" y="321"/>
                    </a:lnTo>
                    <a:lnTo>
                      <a:pt x="801" y="320"/>
                    </a:lnTo>
                    <a:lnTo>
                      <a:pt x="802" y="320"/>
                    </a:lnTo>
                    <a:lnTo>
                      <a:pt x="802" y="318"/>
                    </a:lnTo>
                    <a:lnTo>
                      <a:pt x="803" y="318"/>
                    </a:lnTo>
                    <a:lnTo>
                      <a:pt x="805" y="316"/>
                    </a:lnTo>
                    <a:lnTo>
                      <a:pt x="805" y="316"/>
                    </a:lnTo>
                    <a:lnTo>
                      <a:pt x="805" y="316"/>
                    </a:lnTo>
                    <a:lnTo>
                      <a:pt x="803" y="316"/>
                    </a:lnTo>
                    <a:lnTo>
                      <a:pt x="803" y="315"/>
                    </a:lnTo>
                    <a:lnTo>
                      <a:pt x="803" y="315"/>
                    </a:lnTo>
                    <a:lnTo>
                      <a:pt x="803" y="314"/>
                    </a:lnTo>
                    <a:lnTo>
                      <a:pt x="805" y="314"/>
                    </a:lnTo>
                    <a:lnTo>
                      <a:pt x="805" y="314"/>
                    </a:lnTo>
                    <a:lnTo>
                      <a:pt x="806" y="314"/>
                    </a:lnTo>
                    <a:lnTo>
                      <a:pt x="807" y="315"/>
                    </a:lnTo>
                    <a:lnTo>
                      <a:pt x="807" y="315"/>
                    </a:lnTo>
                    <a:lnTo>
                      <a:pt x="811" y="316"/>
                    </a:lnTo>
                    <a:lnTo>
                      <a:pt x="811" y="318"/>
                    </a:lnTo>
                    <a:lnTo>
                      <a:pt x="811" y="316"/>
                    </a:lnTo>
                    <a:lnTo>
                      <a:pt x="811" y="316"/>
                    </a:lnTo>
                    <a:lnTo>
                      <a:pt x="811" y="315"/>
                    </a:lnTo>
                    <a:lnTo>
                      <a:pt x="810" y="314"/>
                    </a:lnTo>
                    <a:lnTo>
                      <a:pt x="810" y="314"/>
                    </a:lnTo>
                    <a:lnTo>
                      <a:pt x="810" y="313"/>
                    </a:lnTo>
                    <a:lnTo>
                      <a:pt x="810" y="313"/>
                    </a:lnTo>
                    <a:lnTo>
                      <a:pt x="810" y="313"/>
                    </a:lnTo>
                    <a:lnTo>
                      <a:pt x="810" y="313"/>
                    </a:lnTo>
                    <a:lnTo>
                      <a:pt x="810" y="310"/>
                    </a:lnTo>
                    <a:lnTo>
                      <a:pt x="811" y="310"/>
                    </a:lnTo>
                    <a:lnTo>
                      <a:pt x="811" y="310"/>
                    </a:lnTo>
                    <a:lnTo>
                      <a:pt x="811" y="310"/>
                    </a:lnTo>
                    <a:lnTo>
                      <a:pt x="813" y="309"/>
                    </a:lnTo>
                    <a:lnTo>
                      <a:pt x="815" y="309"/>
                    </a:lnTo>
                    <a:lnTo>
                      <a:pt x="820" y="309"/>
                    </a:lnTo>
                    <a:lnTo>
                      <a:pt x="817" y="309"/>
                    </a:lnTo>
                    <a:lnTo>
                      <a:pt x="815" y="308"/>
                    </a:lnTo>
                    <a:lnTo>
                      <a:pt x="813" y="308"/>
                    </a:lnTo>
                    <a:lnTo>
                      <a:pt x="811" y="309"/>
                    </a:lnTo>
                    <a:lnTo>
                      <a:pt x="811" y="309"/>
                    </a:lnTo>
                    <a:lnTo>
                      <a:pt x="810" y="310"/>
                    </a:lnTo>
                    <a:lnTo>
                      <a:pt x="807" y="310"/>
                    </a:lnTo>
                    <a:lnTo>
                      <a:pt x="807" y="313"/>
                    </a:lnTo>
                    <a:lnTo>
                      <a:pt x="807" y="310"/>
                    </a:lnTo>
                    <a:lnTo>
                      <a:pt x="806" y="310"/>
                    </a:lnTo>
                    <a:lnTo>
                      <a:pt x="806" y="310"/>
                    </a:lnTo>
                    <a:lnTo>
                      <a:pt x="807" y="310"/>
                    </a:lnTo>
                    <a:lnTo>
                      <a:pt x="807" y="309"/>
                    </a:lnTo>
                    <a:lnTo>
                      <a:pt x="807" y="308"/>
                    </a:lnTo>
                    <a:lnTo>
                      <a:pt x="810" y="306"/>
                    </a:lnTo>
                    <a:lnTo>
                      <a:pt x="810" y="306"/>
                    </a:lnTo>
                    <a:lnTo>
                      <a:pt x="807" y="306"/>
                    </a:lnTo>
                    <a:lnTo>
                      <a:pt x="807" y="308"/>
                    </a:lnTo>
                    <a:lnTo>
                      <a:pt x="807" y="308"/>
                    </a:lnTo>
                    <a:lnTo>
                      <a:pt x="807" y="306"/>
                    </a:lnTo>
                    <a:lnTo>
                      <a:pt x="807" y="304"/>
                    </a:lnTo>
                    <a:lnTo>
                      <a:pt x="807" y="303"/>
                    </a:lnTo>
                    <a:lnTo>
                      <a:pt x="807" y="303"/>
                    </a:lnTo>
                    <a:lnTo>
                      <a:pt x="807" y="301"/>
                    </a:lnTo>
                    <a:lnTo>
                      <a:pt x="807" y="301"/>
                    </a:lnTo>
                    <a:lnTo>
                      <a:pt x="810" y="301"/>
                    </a:lnTo>
                    <a:lnTo>
                      <a:pt x="811" y="300"/>
                    </a:lnTo>
                    <a:lnTo>
                      <a:pt x="811" y="299"/>
                    </a:lnTo>
                    <a:lnTo>
                      <a:pt x="813" y="298"/>
                    </a:lnTo>
                    <a:lnTo>
                      <a:pt x="813" y="298"/>
                    </a:lnTo>
                    <a:lnTo>
                      <a:pt x="816" y="296"/>
                    </a:lnTo>
                    <a:lnTo>
                      <a:pt x="817" y="295"/>
                    </a:lnTo>
                    <a:lnTo>
                      <a:pt x="817" y="295"/>
                    </a:lnTo>
                    <a:lnTo>
                      <a:pt x="815" y="296"/>
                    </a:lnTo>
                    <a:lnTo>
                      <a:pt x="813" y="298"/>
                    </a:lnTo>
                    <a:lnTo>
                      <a:pt x="811" y="298"/>
                    </a:lnTo>
                    <a:lnTo>
                      <a:pt x="810" y="299"/>
                    </a:lnTo>
                    <a:lnTo>
                      <a:pt x="810" y="299"/>
                    </a:lnTo>
                    <a:lnTo>
                      <a:pt x="807" y="300"/>
                    </a:lnTo>
                    <a:lnTo>
                      <a:pt x="807" y="300"/>
                    </a:lnTo>
                    <a:lnTo>
                      <a:pt x="807" y="301"/>
                    </a:lnTo>
                    <a:lnTo>
                      <a:pt x="807" y="301"/>
                    </a:lnTo>
                    <a:lnTo>
                      <a:pt x="806" y="301"/>
                    </a:lnTo>
                    <a:lnTo>
                      <a:pt x="805" y="300"/>
                    </a:lnTo>
                    <a:lnTo>
                      <a:pt x="803" y="299"/>
                    </a:lnTo>
                    <a:lnTo>
                      <a:pt x="802" y="298"/>
                    </a:lnTo>
                    <a:lnTo>
                      <a:pt x="801" y="298"/>
                    </a:lnTo>
                    <a:lnTo>
                      <a:pt x="800" y="296"/>
                    </a:lnTo>
                    <a:lnTo>
                      <a:pt x="801" y="296"/>
                    </a:lnTo>
                    <a:lnTo>
                      <a:pt x="801" y="296"/>
                    </a:lnTo>
                    <a:lnTo>
                      <a:pt x="801" y="296"/>
                    </a:lnTo>
                    <a:lnTo>
                      <a:pt x="801" y="295"/>
                    </a:lnTo>
                    <a:lnTo>
                      <a:pt x="801" y="294"/>
                    </a:lnTo>
                    <a:lnTo>
                      <a:pt x="801" y="291"/>
                    </a:lnTo>
                    <a:lnTo>
                      <a:pt x="802" y="291"/>
                    </a:lnTo>
                    <a:lnTo>
                      <a:pt x="803" y="291"/>
                    </a:lnTo>
                    <a:lnTo>
                      <a:pt x="805" y="289"/>
                    </a:lnTo>
                    <a:lnTo>
                      <a:pt x="806" y="289"/>
                    </a:lnTo>
                    <a:lnTo>
                      <a:pt x="806" y="288"/>
                    </a:lnTo>
                    <a:lnTo>
                      <a:pt x="807" y="288"/>
                    </a:lnTo>
                    <a:lnTo>
                      <a:pt x="807" y="288"/>
                    </a:lnTo>
                    <a:lnTo>
                      <a:pt x="806" y="288"/>
                    </a:lnTo>
                    <a:lnTo>
                      <a:pt x="806" y="288"/>
                    </a:lnTo>
                    <a:lnTo>
                      <a:pt x="805" y="288"/>
                    </a:lnTo>
                    <a:lnTo>
                      <a:pt x="805" y="288"/>
                    </a:lnTo>
                    <a:lnTo>
                      <a:pt x="805" y="288"/>
                    </a:lnTo>
                    <a:lnTo>
                      <a:pt x="805" y="288"/>
                    </a:lnTo>
                    <a:lnTo>
                      <a:pt x="805" y="285"/>
                    </a:lnTo>
                    <a:lnTo>
                      <a:pt x="806" y="284"/>
                    </a:lnTo>
                    <a:lnTo>
                      <a:pt x="807" y="283"/>
                    </a:lnTo>
                    <a:lnTo>
                      <a:pt x="807" y="281"/>
                    </a:lnTo>
                    <a:lnTo>
                      <a:pt x="810" y="281"/>
                    </a:lnTo>
                    <a:lnTo>
                      <a:pt x="810" y="279"/>
                    </a:lnTo>
                    <a:lnTo>
                      <a:pt x="816" y="273"/>
                    </a:lnTo>
                    <a:lnTo>
                      <a:pt x="816" y="273"/>
                    </a:lnTo>
                    <a:lnTo>
                      <a:pt x="815" y="273"/>
                    </a:lnTo>
                    <a:lnTo>
                      <a:pt x="813" y="274"/>
                    </a:lnTo>
                    <a:lnTo>
                      <a:pt x="813" y="275"/>
                    </a:lnTo>
                    <a:lnTo>
                      <a:pt x="813" y="275"/>
                    </a:lnTo>
                    <a:lnTo>
                      <a:pt x="811" y="275"/>
                    </a:lnTo>
                    <a:lnTo>
                      <a:pt x="811" y="275"/>
                    </a:lnTo>
                    <a:lnTo>
                      <a:pt x="811" y="275"/>
                    </a:lnTo>
                    <a:lnTo>
                      <a:pt x="811" y="275"/>
                    </a:lnTo>
                    <a:lnTo>
                      <a:pt x="811" y="275"/>
                    </a:lnTo>
                    <a:lnTo>
                      <a:pt x="811" y="278"/>
                    </a:lnTo>
                    <a:lnTo>
                      <a:pt x="811" y="278"/>
                    </a:lnTo>
                    <a:lnTo>
                      <a:pt x="811" y="278"/>
                    </a:lnTo>
                    <a:lnTo>
                      <a:pt x="810" y="279"/>
                    </a:lnTo>
                    <a:lnTo>
                      <a:pt x="810" y="278"/>
                    </a:lnTo>
                    <a:lnTo>
                      <a:pt x="807" y="278"/>
                    </a:lnTo>
                    <a:lnTo>
                      <a:pt x="807" y="278"/>
                    </a:lnTo>
                    <a:lnTo>
                      <a:pt x="807" y="278"/>
                    </a:lnTo>
                    <a:lnTo>
                      <a:pt x="807" y="278"/>
                    </a:lnTo>
                    <a:lnTo>
                      <a:pt x="807" y="278"/>
                    </a:lnTo>
                    <a:lnTo>
                      <a:pt x="806" y="278"/>
                    </a:lnTo>
                    <a:lnTo>
                      <a:pt x="806" y="279"/>
                    </a:lnTo>
                    <a:lnTo>
                      <a:pt x="805" y="281"/>
                    </a:lnTo>
                    <a:lnTo>
                      <a:pt x="803" y="281"/>
                    </a:lnTo>
                    <a:lnTo>
                      <a:pt x="802" y="284"/>
                    </a:lnTo>
                    <a:lnTo>
                      <a:pt x="801" y="285"/>
                    </a:lnTo>
                    <a:lnTo>
                      <a:pt x="801" y="285"/>
                    </a:lnTo>
                    <a:lnTo>
                      <a:pt x="801" y="285"/>
                    </a:lnTo>
                    <a:lnTo>
                      <a:pt x="801" y="288"/>
                    </a:lnTo>
                    <a:lnTo>
                      <a:pt x="800" y="288"/>
                    </a:lnTo>
                    <a:lnTo>
                      <a:pt x="798" y="289"/>
                    </a:lnTo>
                    <a:lnTo>
                      <a:pt x="798" y="289"/>
                    </a:lnTo>
                    <a:lnTo>
                      <a:pt x="798" y="291"/>
                    </a:lnTo>
                    <a:lnTo>
                      <a:pt x="797" y="291"/>
                    </a:lnTo>
                    <a:lnTo>
                      <a:pt x="796" y="293"/>
                    </a:lnTo>
                    <a:lnTo>
                      <a:pt x="796" y="295"/>
                    </a:lnTo>
                    <a:lnTo>
                      <a:pt x="795" y="296"/>
                    </a:lnTo>
                    <a:lnTo>
                      <a:pt x="793" y="298"/>
                    </a:lnTo>
                    <a:lnTo>
                      <a:pt x="792" y="299"/>
                    </a:lnTo>
                    <a:lnTo>
                      <a:pt x="790" y="301"/>
                    </a:lnTo>
                    <a:lnTo>
                      <a:pt x="788" y="301"/>
                    </a:lnTo>
                    <a:lnTo>
                      <a:pt x="788" y="301"/>
                    </a:lnTo>
                    <a:lnTo>
                      <a:pt x="788" y="301"/>
                    </a:lnTo>
                    <a:lnTo>
                      <a:pt x="786" y="300"/>
                    </a:lnTo>
                    <a:lnTo>
                      <a:pt x="786" y="300"/>
                    </a:lnTo>
                    <a:lnTo>
                      <a:pt x="786" y="299"/>
                    </a:lnTo>
                    <a:lnTo>
                      <a:pt x="786" y="298"/>
                    </a:lnTo>
                    <a:lnTo>
                      <a:pt x="786" y="298"/>
                    </a:lnTo>
                    <a:lnTo>
                      <a:pt x="786" y="298"/>
                    </a:lnTo>
                    <a:lnTo>
                      <a:pt x="785" y="298"/>
                    </a:lnTo>
                    <a:lnTo>
                      <a:pt x="782" y="298"/>
                    </a:lnTo>
                    <a:lnTo>
                      <a:pt x="782" y="298"/>
                    </a:lnTo>
                    <a:lnTo>
                      <a:pt x="781" y="296"/>
                    </a:lnTo>
                    <a:lnTo>
                      <a:pt x="782" y="295"/>
                    </a:lnTo>
                    <a:lnTo>
                      <a:pt x="782" y="293"/>
                    </a:lnTo>
                    <a:lnTo>
                      <a:pt x="784" y="291"/>
                    </a:lnTo>
                    <a:lnTo>
                      <a:pt x="786" y="289"/>
                    </a:lnTo>
                    <a:lnTo>
                      <a:pt x="786" y="288"/>
                    </a:lnTo>
                    <a:lnTo>
                      <a:pt x="788" y="288"/>
                    </a:lnTo>
                    <a:lnTo>
                      <a:pt x="792" y="285"/>
                    </a:lnTo>
                    <a:lnTo>
                      <a:pt x="795" y="285"/>
                    </a:lnTo>
                    <a:lnTo>
                      <a:pt x="792" y="285"/>
                    </a:lnTo>
                    <a:lnTo>
                      <a:pt x="792" y="285"/>
                    </a:lnTo>
                    <a:lnTo>
                      <a:pt x="790" y="285"/>
                    </a:lnTo>
                    <a:lnTo>
                      <a:pt x="790" y="285"/>
                    </a:lnTo>
                    <a:lnTo>
                      <a:pt x="790" y="285"/>
                    </a:lnTo>
                    <a:lnTo>
                      <a:pt x="790" y="284"/>
                    </a:lnTo>
                    <a:lnTo>
                      <a:pt x="790" y="284"/>
                    </a:lnTo>
                    <a:lnTo>
                      <a:pt x="788" y="284"/>
                    </a:lnTo>
                    <a:lnTo>
                      <a:pt x="788" y="284"/>
                    </a:lnTo>
                    <a:lnTo>
                      <a:pt x="788" y="284"/>
                    </a:lnTo>
                    <a:lnTo>
                      <a:pt x="788" y="285"/>
                    </a:lnTo>
                    <a:lnTo>
                      <a:pt x="786" y="285"/>
                    </a:lnTo>
                    <a:lnTo>
                      <a:pt x="785" y="288"/>
                    </a:lnTo>
                    <a:lnTo>
                      <a:pt x="784" y="288"/>
                    </a:lnTo>
                    <a:lnTo>
                      <a:pt x="782" y="289"/>
                    </a:lnTo>
                    <a:lnTo>
                      <a:pt x="782" y="289"/>
                    </a:lnTo>
                    <a:lnTo>
                      <a:pt x="782" y="288"/>
                    </a:lnTo>
                    <a:lnTo>
                      <a:pt x="781" y="288"/>
                    </a:lnTo>
                    <a:lnTo>
                      <a:pt x="781" y="288"/>
                    </a:lnTo>
                    <a:lnTo>
                      <a:pt x="781" y="284"/>
                    </a:lnTo>
                    <a:lnTo>
                      <a:pt x="781" y="283"/>
                    </a:lnTo>
                    <a:lnTo>
                      <a:pt x="779" y="284"/>
                    </a:lnTo>
                    <a:lnTo>
                      <a:pt x="779" y="284"/>
                    </a:lnTo>
                    <a:lnTo>
                      <a:pt x="779" y="284"/>
                    </a:lnTo>
                    <a:lnTo>
                      <a:pt x="777" y="284"/>
                    </a:lnTo>
                    <a:lnTo>
                      <a:pt x="776" y="284"/>
                    </a:lnTo>
                    <a:lnTo>
                      <a:pt x="776" y="283"/>
                    </a:lnTo>
                    <a:lnTo>
                      <a:pt x="775" y="281"/>
                    </a:lnTo>
                    <a:lnTo>
                      <a:pt x="775" y="283"/>
                    </a:lnTo>
                    <a:lnTo>
                      <a:pt x="775" y="284"/>
                    </a:lnTo>
                    <a:lnTo>
                      <a:pt x="774" y="284"/>
                    </a:lnTo>
                    <a:lnTo>
                      <a:pt x="772" y="285"/>
                    </a:lnTo>
                    <a:lnTo>
                      <a:pt x="771" y="285"/>
                    </a:lnTo>
                    <a:lnTo>
                      <a:pt x="771" y="285"/>
                    </a:lnTo>
                    <a:lnTo>
                      <a:pt x="771" y="285"/>
                    </a:lnTo>
                    <a:lnTo>
                      <a:pt x="771" y="285"/>
                    </a:lnTo>
                    <a:lnTo>
                      <a:pt x="771" y="285"/>
                    </a:lnTo>
                    <a:lnTo>
                      <a:pt x="774" y="288"/>
                    </a:lnTo>
                    <a:lnTo>
                      <a:pt x="775" y="288"/>
                    </a:lnTo>
                    <a:lnTo>
                      <a:pt x="775" y="288"/>
                    </a:lnTo>
                    <a:lnTo>
                      <a:pt x="775" y="288"/>
                    </a:lnTo>
                    <a:lnTo>
                      <a:pt x="776" y="288"/>
                    </a:lnTo>
                    <a:lnTo>
                      <a:pt x="776" y="289"/>
                    </a:lnTo>
                    <a:lnTo>
                      <a:pt x="776" y="289"/>
                    </a:lnTo>
                    <a:lnTo>
                      <a:pt x="776" y="289"/>
                    </a:lnTo>
                    <a:lnTo>
                      <a:pt x="777" y="289"/>
                    </a:lnTo>
                    <a:lnTo>
                      <a:pt x="776" y="291"/>
                    </a:lnTo>
                    <a:lnTo>
                      <a:pt x="775" y="291"/>
                    </a:lnTo>
                    <a:lnTo>
                      <a:pt x="776" y="291"/>
                    </a:lnTo>
                    <a:lnTo>
                      <a:pt x="777" y="291"/>
                    </a:lnTo>
                    <a:lnTo>
                      <a:pt x="777" y="291"/>
                    </a:lnTo>
                    <a:lnTo>
                      <a:pt x="779" y="291"/>
                    </a:lnTo>
                    <a:lnTo>
                      <a:pt x="779" y="291"/>
                    </a:lnTo>
                    <a:lnTo>
                      <a:pt x="779" y="293"/>
                    </a:lnTo>
                    <a:lnTo>
                      <a:pt x="781" y="293"/>
                    </a:lnTo>
                    <a:lnTo>
                      <a:pt x="781" y="294"/>
                    </a:lnTo>
                    <a:lnTo>
                      <a:pt x="779" y="294"/>
                    </a:lnTo>
                    <a:lnTo>
                      <a:pt x="779" y="294"/>
                    </a:lnTo>
                    <a:lnTo>
                      <a:pt x="779" y="294"/>
                    </a:lnTo>
                    <a:lnTo>
                      <a:pt x="779" y="294"/>
                    </a:lnTo>
                    <a:lnTo>
                      <a:pt x="779" y="295"/>
                    </a:lnTo>
                    <a:lnTo>
                      <a:pt x="779" y="295"/>
                    </a:lnTo>
                    <a:lnTo>
                      <a:pt x="779" y="296"/>
                    </a:lnTo>
                    <a:lnTo>
                      <a:pt x="779" y="296"/>
                    </a:lnTo>
                    <a:lnTo>
                      <a:pt x="777" y="298"/>
                    </a:lnTo>
                    <a:lnTo>
                      <a:pt x="777" y="298"/>
                    </a:lnTo>
                    <a:lnTo>
                      <a:pt x="776" y="298"/>
                    </a:lnTo>
                    <a:lnTo>
                      <a:pt x="775" y="298"/>
                    </a:lnTo>
                    <a:lnTo>
                      <a:pt x="772" y="299"/>
                    </a:lnTo>
                    <a:lnTo>
                      <a:pt x="771" y="299"/>
                    </a:lnTo>
                    <a:lnTo>
                      <a:pt x="771" y="299"/>
                    </a:lnTo>
                    <a:lnTo>
                      <a:pt x="771" y="298"/>
                    </a:lnTo>
                    <a:lnTo>
                      <a:pt x="771" y="298"/>
                    </a:lnTo>
                    <a:lnTo>
                      <a:pt x="771" y="298"/>
                    </a:lnTo>
                    <a:lnTo>
                      <a:pt x="771" y="296"/>
                    </a:lnTo>
                    <a:lnTo>
                      <a:pt x="771" y="296"/>
                    </a:lnTo>
                    <a:lnTo>
                      <a:pt x="771" y="296"/>
                    </a:lnTo>
                    <a:lnTo>
                      <a:pt x="769" y="296"/>
                    </a:lnTo>
                    <a:lnTo>
                      <a:pt x="769" y="296"/>
                    </a:lnTo>
                    <a:lnTo>
                      <a:pt x="769" y="298"/>
                    </a:lnTo>
                    <a:lnTo>
                      <a:pt x="771" y="298"/>
                    </a:lnTo>
                    <a:lnTo>
                      <a:pt x="769" y="298"/>
                    </a:lnTo>
                    <a:lnTo>
                      <a:pt x="769" y="298"/>
                    </a:lnTo>
                    <a:lnTo>
                      <a:pt x="769" y="298"/>
                    </a:lnTo>
                    <a:lnTo>
                      <a:pt x="767" y="298"/>
                    </a:lnTo>
                    <a:lnTo>
                      <a:pt x="766" y="299"/>
                    </a:lnTo>
                    <a:lnTo>
                      <a:pt x="766" y="299"/>
                    </a:lnTo>
                    <a:lnTo>
                      <a:pt x="765" y="299"/>
                    </a:lnTo>
                    <a:lnTo>
                      <a:pt x="764" y="299"/>
                    </a:lnTo>
                    <a:lnTo>
                      <a:pt x="764" y="300"/>
                    </a:lnTo>
                    <a:lnTo>
                      <a:pt x="762" y="301"/>
                    </a:lnTo>
                    <a:lnTo>
                      <a:pt x="761" y="301"/>
                    </a:lnTo>
                    <a:lnTo>
                      <a:pt x="761" y="301"/>
                    </a:lnTo>
                    <a:lnTo>
                      <a:pt x="760" y="300"/>
                    </a:lnTo>
                    <a:lnTo>
                      <a:pt x="760" y="299"/>
                    </a:lnTo>
                    <a:lnTo>
                      <a:pt x="760" y="299"/>
                    </a:lnTo>
                    <a:lnTo>
                      <a:pt x="760" y="298"/>
                    </a:lnTo>
                    <a:lnTo>
                      <a:pt x="757" y="298"/>
                    </a:lnTo>
                    <a:lnTo>
                      <a:pt x="756" y="296"/>
                    </a:lnTo>
                    <a:lnTo>
                      <a:pt x="756" y="296"/>
                    </a:lnTo>
                    <a:lnTo>
                      <a:pt x="755" y="295"/>
                    </a:lnTo>
                    <a:lnTo>
                      <a:pt x="755" y="295"/>
                    </a:lnTo>
                    <a:lnTo>
                      <a:pt x="754" y="294"/>
                    </a:lnTo>
                    <a:lnTo>
                      <a:pt x="754" y="293"/>
                    </a:lnTo>
                    <a:lnTo>
                      <a:pt x="755" y="293"/>
                    </a:lnTo>
                    <a:lnTo>
                      <a:pt x="755" y="291"/>
                    </a:lnTo>
                    <a:lnTo>
                      <a:pt x="756" y="291"/>
                    </a:lnTo>
                    <a:lnTo>
                      <a:pt x="755" y="291"/>
                    </a:lnTo>
                    <a:lnTo>
                      <a:pt x="755" y="291"/>
                    </a:lnTo>
                    <a:lnTo>
                      <a:pt x="754" y="291"/>
                    </a:lnTo>
                    <a:lnTo>
                      <a:pt x="752" y="289"/>
                    </a:lnTo>
                    <a:lnTo>
                      <a:pt x="752" y="289"/>
                    </a:lnTo>
                    <a:lnTo>
                      <a:pt x="752" y="288"/>
                    </a:lnTo>
                    <a:lnTo>
                      <a:pt x="752" y="288"/>
                    </a:lnTo>
                    <a:lnTo>
                      <a:pt x="754" y="288"/>
                    </a:lnTo>
                    <a:lnTo>
                      <a:pt x="754" y="285"/>
                    </a:lnTo>
                    <a:lnTo>
                      <a:pt x="754" y="284"/>
                    </a:lnTo>
                    <a:lnTo>
                      <a:pt x="752" y="283"/>
                    </a:lnTo>
                    <a:lnTo>
                      <a:pt x="752" y="281"/>
                    </a:lnTo>
                    <a:lnTo>
                      <a:pt x="751" y="281"/>
                    </a:lnTo>
                    <a:lnTo>
                      <a:pt x="750" y="279"/>
                    </a:lnTo>
                    <a:lnTo>
                      <a:pt x="750" y="279"/>
                    </a:lnTo>
                    <a:lnTo>
                      <a:pt x="747" y="279"/>
                    </a:lnTo>
                    <a:lnTo>
                      <a:pt x="750" y="279"/>
                    </a:lnTo>
                    <a:lnTo>
                      <a:pt x="750" y="278"/>
                    </a:lnTo>
                    <a:lnTo>
                      <a:pt x="750" y="278"/>
                    </a:lnTo>
                    <a:lnTo>
                      <a:pt x="751" y="278"/>
                    </a:lnTo>
                    <a:lnTo>
                      <a:pt x="750" y="278"/>
                    </a:lnTo>
                    <a:lnTo>
                      <a:pt x="747" y="278"/>
                    </a:lnTo>
                    <a:lnTo>
                      <a:pt x="747" y="278"/>
                    </a:lnTo>
                    <a:lnTo>
                      <a:pt x="744" y="278"/>
                    </a:lnTo>
                    <a:lnTo>
                      <a:pt x="744" y="278"/>
                    </a:lnTo>
                    <a:lnTo>
                      <a:pt x="744" y="275"/>
                    </a:lnTo>
                    <a:lnTo>
                      <a:pt x="742" y="275"/>
                    </a:lnTo>
                    <a:lnTo>
                      <a:pt x="742" y="275"/>
                    </a:lnTo>
                    <a:lnTo>
                      <a:pt x="741" y="275"/>
                    </a:lnTo>
                    <a:lnTo>
                      <a:pt x="741" y="274"/>
                    </a:lnTo>
                    <a:lnTo>
                      <a:pt x="741" y="273"/>
                    </a:lnTo>
                    <a:lnTo>
                      <a:pt x="740" y="273"/>
                    </a:lnTo>
                    <a:lnTo>
                      <a:pt x="740" y="274"/>
                    </a:lnTo>
                    <a:lnTo>
                      <a:pt x="740" y="274"/>
                    </a:lnTo>
                    <a:lnTo>
                      <a:pt x="740" y="273"/>
                    </a:lnTo>
                    <a:lnTo>
                      <a:pt x="739" y="273"/>
                    </a:lnTo>
                    <a:lnTo>
                      <a:pt x="739" y="271"/>
                    </a:lnTo>
                    <a:lnTo>
                      <a:pt x="737" y="270"/>
                    </a:lnTo>
                    <a:lnTo>
                      <a:pt x="737" y="269"/>
                    </a:lnTo>
                    <a:lnTo>
                      <a:pt x="737" y="269"/>
                    </a:lnTo>
                    <a:lnTo>
                      <a:pt x="739" y="268"/>
                    </a:lnTo>
                    <a:lnTo>
                      <a:pt x="740" y="268"/>
                    </a:lnTo>
                    <a:lnTo>
                      <a:pt x="742" y="267"/>
                    </a:lnTo>
                    <a:lnTo>
                      <a:pt x="744" y="267"/>
                    </a:lnTo>
                    <a:lnTo>
                      <a:pt x="744" y="265"/>
                    </a:lnTo>
                    <a:lnTo>
                      <a:pt x="746" y="263"/>
                    </a:lnTo>
                    <a:lnTo>
                      <a:pt x="747" y="262"/>
                    </a:lnTo>
                    <a:lnTo>
                      <a:pt x="747" y="262"/>
                    </a:lnTo>
                    <a:lnTo>
                      <a:pt x="750" y="260"/>
                    </a:lnTo>
                    <a:lnTo>
                      <a:pt x="750" y="260"/>
                    </a:lnTo>
                    <a:lnTo>
                      <a:pt x="751" y="260"/>
                    </a:lnTo>
                    <a:lnTo>
                      <a:pt x="752" y="260"/>
                    </a:lnTo>
                    <a:lnTo>
                      <a:pt x="754" y="259"/>
                    </a:lnTo>
                    <a:lnTo>
                      <a:pt x="754" y="260"/>
                    </a:lnTo>
                    <a:lnTo>
                      <a:pt x="754" y="260"/>
                    </a:lnTo>
                    <a:lnTo>
                      <a:pt x="754" y="262"/>
                    </a:lnTo>
                    <a:lnTo>
                      <a:pt x="754" y="263"/>
                    </a:lnTo>
                    <a:lnTo>
                      <a:pt x="752" y="263"/>
                    </a:lnTo>
                    <a:lnTo>
                      <a:pt x="751" y="264"/>
                    </a:lnTo>
                    <a:lnTo>
                      <a:pt x="750" y="267"/>
                    </a:lnTo>
                    <a:lnTo>
                      <a:pt x="750" y="265"/>
                    </a:lnTo>
                    <a:lnTo>
                      <a:pt x="752" y="264"/>
                    </a:lnTo>
                    <a:lnTo>
                      <a:pt x="754" y="263"/>
                    </a:lnTo>
                    <a:lnTo>
                      <a:pt x="755" y="263"/>
                    </a:lnTo>
                    <a:lnTo>
                      <a:pt x="756" y="263"/>
                    </a:lnTo>
                    <a:lnTo>
                      <a:pt x="756" y="262"/>
                    </a:lnTo>
                    <a:lnTo>
                      <a:pt x="757" y="263"/>
                    </a:lnTo>
                    <a:lnTo>
                      <a:pt x="757" y="263"/>
                    </a:lnTo>
                    <a:lnTo>
                      <a:pt x="757" y="262"/>
                    </a:lnTo>
                    <a:lnTo>
                      <a:pt x="757" y="262"/>
                    </a:lnTo>
                    <a:lnTo>
                      <a:pt x="756" y="260"/>
                    </a:lnTo>
                    <a:lnTo>
                      <a:pt x="756" y="259"/>
                    </a:lnTo>
                    <a:lnTo>
                      <a:pt x="756" y="258"/>
                    </a:lnTo>
                    <a:lnTo>
                      <a:pt x="755" y="258"/>
                    </a:lnTo>
                    <a:lnTo>
                      <a:pt x="754" y="258"/>
                    </a:lnTo>
                    <a:lnTo>
                      <a:pt x="751" y="258"/>
                    </a:lnTo>
                    <a:lnTo>
                      <a:pt x="750" y="259"/>
                    </a:lnTo>
                    <a:lnTo>
                      <a:pt x="747" y="262"/>
                    </a:lnTo>
                    <a:lnTo>
                      <a:pt x="746" y="262"/>
                    </a:lnTo>
                    <a:lnTo>
                      <a:pt x="744" y="263"/>
                    </a:lnTo>
                    <a:lnTo>
                      <a:pt x="744" y="263"/>
                    </a:lnTo>
                    <a:lnTo>
                      <a:pt x="741" y="263"/>
                    </a:lnTo>
                    <a:lnTo>
                      <a:pt x="739" y="263"/>
                    </a:lnTo>
                    <a:lnTo>
                      <a:pt x="735" y="264"/>
                    </a:lnTo>
                    <a:lnTo>
                      <a:pt x="731" y="264"/>
                    </a:lnTo>
                    <a:lnTo>
                      <a:pt x="728" y="264"/>
                    </a:lnTo>
                    <a:lnTo>
                      <a:pt x="726" y="264"/>
                    </a:lnTo>
                    <a:lnTo>
                      <a:pt x="723" y="264"/>
                    </a:lnTo>
                    <a:lnTo>
                      <a:pt x="720" y="263"/>
                    </a:lnTo>
                    <a:lnTo>
                      <a:pt x="718" y="263"/>
                    </a:lnTo>
                    <a:lnTo>
                      <a:pt x="718" y="262"/>
                    </a:lnTo>
                    <a:lnTo>
                      <a:pt x="718" y="262"/>
                    </a:lnTo>
                    <a:lnTo>
                      <a:pt x="718" y="260"/>
                    </a:lnTo>
                    <a:lnTo>
                      <a:pt x="719" y="260"/>
                    </a:lnTo>
                    <a:lnTo>
                      <a:pt x="720" y="259"/>
                    </a:lnTo>
                    <a:lnTo>
                      <a:pt x="721" y="258"/>
                    </a:lnTo>
                    <a:lnTo>
                      <a:pt x="721" y="257"/>
                    </a:lnTo>
                    <a:lnTo>
                      <a:pt x="723" y="254"/>
                    </a:lnTo>
                    <a:lnTo>
                      <a:pt x="721" y="254"/>
                    </a:lnTo>
                    <a:lnTo>
                      <a:pt x="720" y="257"/>
                    </a:lnTo>
                    <a:lnTo>
                      <a:pt x="719" y="257"/>
                    </a:lnTo>
                    <a:lnTo>
                      <a:pt x="718" y="257"/>
                    </a:lnTo>
                    <a:lnTo>
                      <a:pt x="718" y="258"/>
                    </a:lnTo>
                    <a:lnTo>
                      <a:pt x="715" y="258"/>
                    </a:lnTo>
                    <a:lnTo>
                      <a:pt x="715" y="258"/>
                    </a:lnTo>
                    <a:lnTo>
                      <a:pt x="714" y="258"/>
                    </a:lnTo>
                    <a:lnTo>
                      <a:pt x="714" y="258"/>
                    </a:lnTo>
                    <a:lnTo>
                      <a:pt x="711" y="258"/>
                    </a:lnTo>
                    <a:lnTo>
                      <a:pt x="709" y="257"/>
                    </a:lnTo>
                    <a:lnTo>
                      <a:pt x="705" y="257"/>
                    </a:lnTo>
                    <a:lnTo>
                      <a:pt x="704" y="257"/>
                    </a:lnTo>
                    <a:lnTo>
                      <a:pt x="701" y="257"/>
                    </a:lnTo>
                    <a:lnTo>
                      <a:pt x="700" y="257"/>
                    </a:lnTo>
                    <a:lnTo>
                      <a:pt x="698" y="254"/>
                    </a:lnTo>
                    <a:lnTo>
                      <a:pt x="694" y="254"/>
                    </a:lnTo>
                    <a:lnTo>
                      <a:pt x="691" y="257"/>
                    </a:lnTo>
                    <a:lnTo>
                      <a:pt x="687" y="257"/>
                    </a:lnTo>
                    <a:lnTo>
                      <a:pt x="683" y="257"/>
                    </a:lnTo>
                    <a:lnTo>
                      <a:pt x="680" y="258"/>
                    </a:lnTo>
                    <a:lnTo>
                      <a:pt x="677" y="258"/>
                    </a:lnTo>
                    <a:lnTo>
                      <a:pt x="677" y="258"/>
                    </a:lnTo>
                    <a:lnTo>
                      <a:pt x="673" y="258"/>
                    </a:lnTo>
                    <a:lnTo>
                      <a:pt x="673" y="258"/>
                    </a:lnTo>
                    <a:lnTo>
                      <a:pt x="672" y="258"/>
                    </a:lnTo>
                    <a:lnTo>
                      <a:pt x="673" y="257"/>
                    </a:lnTo>
                    <a:lnTo>
                      <a:pt x="673" y="257"/>
                    </a:lnTo>
                    <a:lnTo>
                      <a:pt x="673" y="257"/>
                    </a:lnTo>
                    <a:lnTo>
                      <a:pt x="673" y="257"/>
                    </a:lnTo>
                    <a:lnTo>
                      <a:pt x="672" y="254"/>
                    </a:lnTo>
                    <a:lnTo>
                      <a:pt x="672" y="254"/>
                    </a:lnTo>
                    <a:lnTo>
                      <a:pt x="670" y="253"/>
                    </a:lnTo>
                    <a:lnTo>
                      <a:pt x="668" y="253"/>
                    </a:lnTo>
                    <a:lnTo>
                      <a:pt x="667" y="252"/>
                    </a:lnTo>
                    <a:lnTo>
                      <a:pt x="665" y="250"/>
                    </a:lnTo>
                    <a:lnTo>
                      <a:pt x="665" y="250"/>
                    </a:lnTo>
                    <a:lnTo>
                      <a:pt x="665" y="250"/>
                    </a:lnTo>
                    <a:lnTo>
                      <a:pt x="665" y="249"/>
                    </a:lnTo>
                    <a:lnTo>
                      <a:pt x="667" y="249"/>
                    </a:lnTo>
                    <a:lnTo>
                      <a:pt x="668" y="247"/>
                    </a:lnTo>
                    <a:lnTo>
                      <a:pt x="670" y="247"/>
                    </a:lnTo>
                    <a:lnTo>
                      <a:pt x="673" y="245"/>
                    </a:lnTo>
                    <a:lnTo>
                      <a:pt x="675" y="243"/>
                    </a:lnTo>
                    <a:lnTo>
                      <a:pt x="677" y="243"/>
                    </a:lnTo>
                    <a:lnTo>
                      <a:pt x="679" y="240"/>
                    </a:lnTo>
                    <a:lnTo>
                      <a:pt x="675" y="243"/>
                    </a:lnTo>
                    <a:lnTo>
                      <a:pt x="672" y="245"/>
                    </a:lnTo>
                    <a:lnTo>
                      <a:pt x="669" y="245"/>
                    </a:lnTo>
                    <a:lnTo>
                      <a:pt x="667" y="247"/>
                    </a:lnTo>
                    <a:lnTo>
                      <a:pt x="665" y="247"/>
                    </a:lnTo>
                    <a:lnTo>
                      <a:pt x="662" y="249"/>
                    </a:lnTo>
                    <a:lnTo>
                      <a:pt x="662" y="249"/>
                    </a:lnTo>
                    <a:lnTo>
                      <a:pt x="662" y="249"/>
                    </a:lnTo>
                    <a:lnTo>
                      <a:pt x="660" y="249"/>
                    </a:lnTo>
                    <a:lnTo>
                      <a:pt x="659" y="249"/>
                    </a:lnTo>
                    <a:lnTo>
                      <a:pt x="658" y="249"/>
                    </a:lnTo>
                    <a:lnTo>
                      <a:pt x="657" y="249"/>
                    </a:lnTo>
                    <a:lnTo>
                      <a:pt x="657" y="250"/>
                    </a:lnTo>
                    <a:lnTo>
                      <a:pt x="654" y="249"/>
                    </a:lnTo>
                    <a:lnTo>
                      <a:pt x="654" y="249"/>
                    </a:lnTo>
                    <a:lnTo>
                      <a:pt x="652" y="247"/>
                    </a:lnTo>
                    <a:lnTo>
                      <a:pt x="652" y="247"/>
                    </a:lnTo>
                    <a:close/>
                    <a:moveTo>
                      <a:pt x="714" y="19"/>
                    </a:moveTo>
                    <a:lnTo>
                      <a:pt x="714" y="19"/>
                    </a:lnTo>
                    <a:lnTo>
                      <a:pt x="715" y="19"/>
                    </a:lnTo>
                    <a:lnTo>
                      <a:pt x="718" y="17"/>
                    </a:lnTo>
                    <a:lnTo>
                      <a:pt x="718" y="17"/>
                    </a:lnTo>
                    <a:lnTo>
                      <a:pt x="719" y="16"/>
                    </a:lnTo>
                    <a:lnTo>
                      <a:pt x="718" y="16"/>
                    </a:lnTo>
                    <a:lnTo>
                      <a:pt x="715" y="17"/>
                    </a:lnTo>
                    <a:lnTo>
                      <a:pt x="715" y="17"/>
                    </a:lnTo>
                    <a:lnTo>
                      <a:pt x="715" y="17"/>
                    </a:lnTo>
                    <a:lnTo>
                      <a:pt x="714" y="19"/>
                    </a:lnTo>
                    <a:lnTo>
                      <a:pt x="714" y="19"/>
                    </a:lnTo>
                    <a:close/>
                    <a:moveTo>
                      <a:pt x="363" y="240"/>
                    </a:moveTo>
                    <a:lnTo>
                      <a:pt x="362" y="242"/>
                    </a:lnTo>
                    <a:lnTo>
                      <a:pt x="362" y="242"/>
                    </a:lnTo>
                    <a:lnTo>
                      <a:pt x="363" y="240"/>
                    </a:lnTo>
                    <a:lnTo>
                      <a:pt x="363" y="240"/>
                    </a:lnTo>
                    <a:close/>
                    <a:moveTo>
                      <a:pt x="378" y="194"/>
                    </a:moveTo>
                    <a:lnTo>
                      <a:pt x="378" y="194"/>
                    </a:lnTo>
                    <a:lnTo>
                      <a:pt x="376" y="196"/>
                    </a:lnTo>
                    <a:lnTo>
                      <a:pt x="376" y="196"/>
                    </a:lnTo>
                    <a:lnTo>
                      <a:pt x="377" y="196"/>
                    </a:lnTo>
                    <a:lnTo>
                      <a:pt x="378" y="194"/>
                    </a:lnTo>
                    <a:lnTo>
                      <a:pt x="378" y="194"/>
                    </a:lnTo>
                    <a:close/>
                    <a:moveTo>
                      <a:pt x="400" y="187"/>
                    </a:moveTo>
                    <a:lnTo>
                      <a:pt x="400" y="187"/>
                    </a:lnTo>
                    <a:lnTo>
                      <a:pt x="400" y="187"/>
                    </a:lnTo>
                    <a:lnTo>
                      <a:pt x="400" y="187"/>
                    </a:lnTo>
                    <a:lnTo>
                      <a:pt x="400" y="187"/>
                    </a:lnTo>
                    <a:lnTo>
                      <a:pt x="400" y="187"/>
                    </a:lnTo>
                    <a:close/>
                    <a:moveTo>
                      <a:pt x="413" y="279"/>
                    </a:moveTo>
                    <a:lnTo>
                      <a:pt x="412" y="279"/>
                    </a:lnTo>
                    <a:lnTo>
                      <a:pt x="409" y="281"/>
                    </a:lnTo>
                    <a:lnTo>
                      <a:pt x="408" y="281"/>
                    </a:lnTo>
                    <a:lnTo>
                      <a:pt x="405" y="281"/>
                    </a:lnTo>
                    <a:lnTo>
                      <a:pt x="404" y="283"/>
                    </a:lnTo>
                    <a:lnTo>
                      <a:pt x="407" y="281"/>
                    </a:lnTo>
                    <a:lnTo>
                      <a:pt x="410" y="281"/>
                    </a:lnTo>
                    <a:lnTo>
                      <a:pt x="413" y="279"/>
                    </a:lnTo>
                    <a:lnTo>
                      <a:pt x="413" y="279"/>
                    </a:lnTo>
                    <a:close/>
                    <a:moveTo>
                      <a:pt x="577" y="105"/>
                    </a:moveTo>
                    <a:lnTo>
                      <a:pt x="575" y="105"/>
                    </a:lnTo>
                    <a:lnTo>
                      <a:pt x="573" y="105"/>
                    </a:lnTo>
                    <a:lnTo>
                      <a:pt x="573" y="105"/>
                    </a:lnTo>
                    <a:lnTo>
                      <a:pt x="573" y="105"/>
                    </a:lnTo>
                    <a:lnTo>
                      <a:pt x="571" y="105"/>
                    </a:lnTo>
                    <a:lnTo>
                      <a:pt x="571" y="105"/>
                    </a:lnTo>
                    <a:lnTo>
                      <a:pt x="571" y="103"/>
                    </a:lnTo>
                    <a:lnTo>
                      <a:pt x="567" y="103"/>
                    </a:lnTo>
                    <a:lnTo>
                      <a:pt x="567" y="103"/>
                    </a:lnTo>
                    <a:lnTo>
                      <a:pt x="567" y="103"/>
                    </a:lnTo>
                    <a:lnTo>
                      <a:pt x="566" y="103"/>
                    </a:lnTo>
                    <a:lnTo>
                      <a:pt x="565" y="105"/>
                    </a:lnTo>
                    <a:lnTo>
                      <a:pt x="562" y="105"/>
                    </a:lnTo>
                    <a:lnTo>
                      <a:pt x="561" y="105"/>
                    </a:lnTo>
                    <a:lnTo>
                      <a:pt x="557" y="106"/>
                    </a:lnTo>
                    <a:lnTo>
                      <a:pt x="556" y="106"/>
                    </a:lnTo>
                    <a:lnTo>
                      <a:pt x="555" y="106"/>
                    </a:lnTo>
                    <a:lnTo>
                      <a:pt x="556" y="106"/>
                    </a:lnTo>
                    <a:lnTo>
                      <a:pt x="557" y="106"/>
                    </a:lnTo>
                    <a:lnTo>
                      <a:pt x="557" y="106"/>
                    </a:lnTo>
                    <a:lnTo>
                      <a:pt x="560" y="108"/>
                    </a:lnTo>
                    <a:lnTo>
                      <a:pt x="561" y="110"/>
                    </a:lnTo>
                    <a:lnTo>
                      <a:pt x="563" y="110"/>
                    </a:lnTo>
                    <a:lnTo>
                      <a:pt x="565" y="110"/>
                    </a:lnTo>
                    <a:lnTo>
                      <a:pt x="566" y="110"/>
                    </a:lnTo>
                    <a:lnTo>
                      <a:pt x="567" y="110"/>
                    </a:lnTo>
                    <a:lnTo>
                      <a:pt x="570" y="110"/>
                    </a:lnTo>
                    <a:lnTo>
                      <a:pt x="571" y="110"/>
                    </a:lnTo>
                    <a:lnTo>
                      <a:pt x="571" y="108"/>
                    </a:lnTo>
                    <a:lnTo>
                      <a:pt x="573" y="108"/>
                    </a:lnTo>
                    <a:lnTo>
                      <a:pt x="573" y="108"/>
                    </a:lnTo>
                    <a:lnTo>
                      <a:pt x="575" y="106"/>
                    </a:lnTo>
                    <a:lnTo>
                      <a:pt x="577" y="106"/>
                    </a:lnTo>
                    <a:lnTo>
                      <a:pt x="577" y="105"/>
                    </a:lnTo>
                    <a:lnTo>
                      <a:pt x="577" y="105"/>
                    </a:lnTo>
                    <a:close/>
                    <a:moveTo>
                      <a:pt x="622" y="233"/>
                    </a:moveTo>
                    <a:lnTo>
                      <a:pt x="622" y="233"/>
                    </a:lnTo>
                    <a:lnTo>
                      <a:pt x="621" y="233"/>
                    </a:lnTo>
                    <a:lnTo>
                      <a:pt x="619" y="233"/>
                    </a:lnTo>
                    <a:lnTo>
                      <a:pt x="618" y="233"/>
                    </a:lnTo>
                    <a:lnTo>
                      <a:pt x="618" y="233"/>
                    </a:lnTo>
                    <a:lnTo>
                      <a:pt x="622" y="233"/>
                    </a:lnTo>
                    <a:lnTo>
                      <a:pt x="622" y="233"/>
                    </a:lnTo>
                    <a:close/>
                    <a:moveTo>
                      <a:pt x="637" y="228"/>
                    </a:moveTo>
                    <a:lnTo>
                      <a:pt x="637" y="228"/>
                    </a:lnTo>
                    <a:lnTo>
                      <a:pt x="637" y="229"/>
                    </a:lnTo>
                    <a:lnTo>
                      <a:pt x="634" y="229"/>
                    </a:lnTo>
                    <a:lnTo>
                      <a:pt x="633" y="230"/>
                    </a:lnTo>
                    <a:lnTo>
                      <a:pt x="631" y="232"/>
                    </a:lnTo>
                    <a:lnTo>
                      <a:pt x="628" y="233"/>
                    </a:lnTo>
                    <a:lnTo>
                      <a:pt x="628" y="233"/>
                    </a:lnTo>
                    <a:lnTo>
                      <a:pt x="629" y="233"/>
                    </a:lnTo>
                    <a:lnTo>
                      <a:pt x="633" y="232"/>
                    </a:lnTo>
                    <a:lnTo>
                      <a:pt x="634" y="230"/>
                    </a:lnTo>
                    <a:lnTo>
                      <a:pt x="634" y="229"/>
                    </a:lnTo>
                    <a:lnTo>
                      <a:pt x="637" y="229"/>
                    </a:lnTo>
                    <a:lnTo>
                      <a:pt x="637" y="229"/>
                    </a:lnTo>
                    <a:lnTo>
                      <a:pt x="637" y="228"/>
                    </a:lnTo>
                    <a:lnTo>
                      <a:pt x="637" y="228"/>
                    </a:lnTo>
                    <a:close/>
                    <a:moveTo>
                      <a:pt x="638" y="232"/>
                    </a:moveTo>
                    <a:lnTo>
                      <a:pt x="638" y="232"/>
                    </a:lnTo>
                    <a:lnTo>
                      <a:pt x="638" y="233"/>
                    </a:lnTo>
                    <a:lnTo>
                      <a:pt x="638" y="232"/>
                    </a:lnTo>
                    <a:lnTo>
                      <a:pt x="638" y="232"/>
                    </a:lnTo>
                    <a:lnTo>
                      <a:pt x="638" y="232"/>
                    </a:lnTo>
                    <a:close/>
                    <a:moveTo>
                      <a:pt x="657" y="238"/>
                    </a:moveTo>
                    <a:lnTo>
                      <a:pt x="655" y="237"/>
                    </a:lnTo>
                    <a:lnTo>
                      <a:pt x="655" y="237"/>
                    </a:lnTo>
                    <a:lnTo>
                      <a:pt x="654" y="237"/>
                    </a:lnTo>
                    <a:lnTo>
                      <a:pt x="652" y="237"/>
                    </a:lnTo>
                    <a:lnTo>
                      <a:pt x="652" y="238"/>
                    </a:lnTo>
                    <a:lnTo>
                      <a:pt x="652" y="238"/>
                    </a:lnTo>
                    <a:lnTo>
                      <a:pt x="652" y="238"/>
                    </a:lnTo>
                    <a:lnTo>
                      <a:pt x="657" y="238"/>
                    </a:lnTo>
                    <a:lnTo>
                      <a:pt x="657" y="238"/>
                    </a:lnTo>
                    <a:close/>
                    <a:moveTo>
                      <a:pt x="238" y="355"/>
                    </a:moveTo>
                    <a:lnTo>
                      <a:pt x="236" y="355"/>
                    </a:lnTo>
                    <a:lnTo>
                      <a:pt x="238" y="355"/>
                    </a:lnTo>
                    <a:lnTo>
                      <a:pt x="238" y="355"/>
                    </a:lnTo>
                    <a:lnTo>
                      <a:pt x="238" y="355"/>
                    </a:lnTo>
                    <a:close/>
                    <a:moveTo>
                      <a:pt x="486" y="148"/>
                    </a:moveTo>
                    <a:lnTo>
                      <a:pt x="489" y="148"/>
                    </a:lnTo>
                    <a:lnTo>
                      <a:pt x="489" y="148"/>
                    </a:lnTo>
                    <a:lnTo>
                      <a:pt x="486" y="148"/>
                    </a:lnTo>
                    <a:lnTo>
                      <a:pt x="486" y="148"/>
                    </a:lnTo>
                    <a:close/>
                    <a:moveTo>
                      <a:pt x="548" y="98"/>
                    </a:moveTo>
                    <a:lnTo>
                      <a:pt x="548" y="98"/>
                    </a:lnTo>
                    <a:lnTo>
                      <a:pt x="547" y="98"/>
                    </a:lnTo>
                    <a:lnTo>
                      <a:pt x="546" y="98"/>
                    </a:lnTo>
                    <a:lnTo>
                      <a:pt x="546" y="98"/>
                    </a:lnTo>
                    <a:lnTo>
                      <a:pt x="545" y="98"/>
                    </a:lnTo>
                    <a:lnTo>
                      <a:pt x="543" y="98"/>
                    </a:lnTo>
                    <a:lnTo>
                      <a:pt x="543" y="100"/>
                    </a:lnTo>
                    <a:lnTo>
                      <a:pt x="543" y="102"/>
                    </a:lnTo>
                    <a:lnTo>
                      <a:pt x="543" y="102"/>
                    </a:lnTo>
                    <a:lnTo>
                      <a:pt x="545" y="102"/>
                    </a:lnTo>
                    <a:lnTo>
                      <a:pt x="545" y="103"/>
                    </a:lnTo>
                    <a:lnTo>
                      <a:pt x="545" y="103"/>
                    </a:lnTo>
                    <a:lnTo>
                      <a:pt x="546" y="103"/>
                    </a:lnTo>
                    <a:lnTo>
                      <a:pt x="546" y="103"/>
                    </a:lnTo>
                    <a:lnTo>
                      <a:pt x="547" y="102"/>
                    </a:lnTo>
                    <a:lnTo>
                      <a:pt x="548" y="102"/>
                    </a:lnTo>
                    <a:lnTo>
                      <a:pt x="548" y="102"/>
                    </a:lnTo>
                    <a:lnTo>
                      <a:pt x="548" y="102"/>
                    </a:lnTo>
                    <a:lnTo>
                      <a:pt x="548" y="102"/>
                    </a:lnTo>
                    <a:lnTo>
                      <a:pt x="550" y="100"/>
                    </a:lnTo>
                    <a:lnTo>
                      <a:pt x="550" y="100"/>
                    </a:lnTo>
                    <a:lnTo>
                      <a:pt x="548" y="98"/>
                    </a:lnTo>
                    <a:lnTo>
                      <a:pt x="548" y="98"/>
                    </a:lnTo>
                    <a:lnTo>
                      <a:pt x="548" y="98"/>
                    </a:lnTo>
                    <a:lnTo>
                      <a:pt x="548" y="98"/>
                    </a:lnTo>
                    <a:close/>
                    <a:moveTo>
                      <a:pt x="190" y="372"/>
                    </a:moveTo>
                    <a:lnTo>
                      <a:pt x="190" y="372"/>
                    </a:lnTo>
                    <a:lnTo>
                      <a:pt x="189" y="372"/>
                    </a:lnTo>
                    <a:lnTo>
                      <a:pt x="189" y="374"/>
                    </a:lnTo>
                    <a:lnTo>
                      <a:pt x="189" y="374"/>
                    </a:lnTo>
                    <a:lnTo>
                      <a:pt x="187" y="374"/>
                    </a:lnTo>
                    <a:lnTo>
                      <a:pt x="185" y="374"/>
                    </a:lnTo>
                    <a:lnTo>
                      <a:pt x="185" y="374"/>
                    </a:lnTo>
                    <a:lnTo>
                      <a:pt x="185" y="374"/>
                    </a:lnTo>
                    <a:lnTo>
                      <a:pt x="183" y="375"/>
                    </a:lnTo>
                    <a:lnTo>
                      <a:pt x="180" y="376"/>
                    </a:lnTo>
                    <a:lnTo>
                      <a:pt x="178" y="377"/>
                    </a:lnTo>
                    <a:lnTo>
                      <a:pt x="175" y="379"/>
                    </a:lnTo>
                    <a:lnTo>
                      <a:pt x="173" y="380"/>
                    </a:lnTo>
                    <a:lnTo>
                      <a:pt x="172" y="381"/>
                    </a:lnTo>
                    <a:lnTo>
                      <a:pt x="170" y="384"/>
                    </a:lnTo>
                    <a:lnTo>
                      <a:pt x="168" y="384"/>
                    </a:lnTo>
                    <a:lnTo>
                      <a:pt x="169" y="384"/>
                    </a:lnTo>
                    <a:lnTo>
                      <a:pt x="170" y="384"/>
                    </a:lnTo>
                    <a:lnTo>
                      <a:pt x="173" y="384"/>
                    </a:lnTo>
                    <a:lnTo>
                      <a:pt x="173" y="384"/>
                    </a:lnTo>
                    <a:lnTo>
                      <a:pt x="175" y="381"/>
                    </a:lnTo>
                    <a:lnTo>
                      <a:pt x="177" y="381"/>
                    </a:lnTo>
                    <a:lnTo>
                      <a:pt x="177" y="381"/>
                    </a:lnTo>
                    <a:lnTo>
                      <a:pt x="177" y="381"/>
                    </a:lnTo>
                    <a:lnTo>
                      <a:pt x="178" y="380"/>
                    </a:lnTo>
                    <a:lnTo>
                      <a:pt x="178" y="380"/>
                    </a:lnTo>
                    <a:lnTo>
                      <a:pt x="178" y="379"/>
                    </a:lnTo>
                    <a:lnTo>
                      <a:pt x="178" y="379"/>
                    </a:lnTo>
                    <a:lnTo>
                      <a:pt x="179" y="379"/>
                    </a:lnTo>
                    <a:lnTo>
                      <a:pt x="180" y="379"/>
                    </a:lnTo>
                    <a:lnTo>
                      <a:pt x="180" y="380"/>
                    </a:lnTo>
                    <a:lnTo>
                      <a:pt x="180" y="380"/>
                    </a:lnTo>
                    <a:lnTo>
                      <a:pt x="182" y="381"/>
                    </a:lnTo>
                    <a:lnTo>
                      <a:pt x="180" y="381"/>
                    </a:lnTo>
                    <a:lnTo>
                      <a:pt x="180" y="381"/>
                    </a:lnTo>
                    <a:lnTo>
                      <a:pt x="180" y="381"/>
                    </a:lnTo>
                    <a:lnTo>
                      <a:pt x="182" y="381"/>
                    </a:lnTo>
                    <a:lnTo>
                      <a:pt x="182" y="381"/>
                    </a:lnTo>
                    <a:lnTo>
                      <a:pt x="183" y="381"/>
                    </a:lnTo>
                    <a:lnTo>
                      <a:pt x="183" y="381"/>
                    </a:lnTo>
                    <a:lnTo>
                      <a:pt x="183" y="381"/>
                    </a:lnTo>
                    <a:lnTo>
                      <a:pt x="185" y="380"/>
                    </a:lnTo>
                    <a:lnTo>
                      <a:pt x="185" y="380"/>
                    </a:lnTo>
                    <a:lnTo>
                      <a:pt x="185" y="380"/>
                    </a:lnTo>
                    <a:lnTo>
                      <a:pt x="185" y="380"/>
                    </a:lnTo>
                    <a:lnTo>
                      <a:pt x="187" y="380"/>
                    </a:lnTo>
                    <a:lnTo>
                      <a:pt x="189" y="380"/>
                    </a:lnTo>
                    <a:lnTo>
                      <a:pt x="189" y="379"/>
                    </a:lnTo>
                    <a:lnTo>
                      <a:pt x="189" y="379"/>
                    </a:lnTo>
                    <a:lnTo>
                      <a:pt x="189" y="376"/>
                    </a:lnTo>
                    <a:lnTo>
                      <a:pt x="190" y="375"/>
                    </a:lnTo>
                    <a:lnTo>
                      <a:pt x="190" y="372"/>
                    </a:lnTo>
                    <a:lnTo>
                      <a:pt x="193" y="372"/>
                    </a:lnTo>
                    <a:lnTo>
                      <a:pt x="193" y="372"/>
                    </a:lnTo>
                    <a:lnTo>
                      <a:pt x="193" y="372"/>
                    </a:lnTo>
                    <a:lnTo>
                      <a:pt x="193" y="372"/>
                    </a:lnTo>
                    <a:lnTo>
                      <a:pt x="190" y="372"/>
                    </a:lnTo>
                    <a:lnTo>
                      <a:pt x="190" y="372"/>
                    </a:lnTo>
                    <a:close/>
                    <a:moveTo>
                      <a:pt x="486" y="154"/>
                    </a:moveTo>
                    <a:lnTo>
                      <a:pt x="486" y="154"/>
                    </a:lnTo>
                    <a:lnTo>
                      <a:pt x="486" y="156"/>
                    </a:lnTo>
                    <a:lnTo>
                      <a:pt x="486" y="156"/>
                    </a:lnTo>
                    <a:lnTo>
                      <a:pt x="486" y="154"/>
                    </a:lnTo>
                    <a:lnTo>
                      <a:pt x="488" y="154"/>
                    </a:lnTo>
                    <a:lnTo>
                      <a:pt x="488" y="154"/>
                    </a:lnTo>
                    <a:lnTo>
                      <a:pt x="486" y="154"/>
                    </a:lnTo>
                    <a:lnTo>
                      <a:pt x="486" y="154"/>
                    </a:lnTo>
                    <a:close/>
                    <a:moveTo>
                      <a:pt x="443" y="173"/>
                    </a:moveTo>
                    <a:lnTo>
                      <a:pt x="443" y="172"/>
                    </a:lnTo>
                    <a:lnTo>
                      <a:pt x="442" y="172"/>
                    </a:lnTo>
                    <a:lnTo>
                      <a:pt x="440" y="172"/>
                    </a:lnTo>
                    <a:lnTo>
                      <a:pt x="439" y="172"/>
                    </a:lnTo>
                    <a:lnTo>
                      <a:pt x="438" y="173"/>
                    </a:lnTo>
                    <a:lnTo>
                      <a:pt x="438" y="176"/>
                    </a:lnTo>
                    <a:lnTo>
                      <a:pt x="437" y="176"/>
                    </a:lnTo>
                    <a:lnTo>
                      <a:pt x="443" y="176"/>
                    </a:lnTo>
                    <a:lnTo>
                      <a:pt x="443" y="176"/>
                    </a:lnTo>
                    <a:lnTo>
                      <a:pt x="443" y="173"/>
                    </a:lnTo>
                    <a:lnTo>
                      <a:pt x="443" y="173"/>
                    </a:lnTo>
                    <a:lnTo>
                      <a:pt x="443" y="173"/>
                    </a:lnTo>
                    <a:close/>
                    <a:moveTo>
                      <a:pt x="298" y="188"/>
                    </a:moveTo>
                    <a:lnTo>
                      <a:pt x="298" y="187"/>
                    </a:lnTo>
                    <a:lnTo>
                      <a:pt x="301" y="186"/>
                    </a:lnTo>
                    <a:lnTo>
                      <a:pt x="302" y="186"/>
                    </a:lnTo>
                    <a:lnTo>
                      <a:pt x="303" y="186"/>
                    </a:lnTo>
                    <a:lnTo>
                      <a:pt x="303" y="186"/>
                    </a:lnTo>
                    <a:lnTo>
                      <a:pt x="305" y="186"/>
                    </a:lnTo>
                    <a:lnTo>
                      <a:pt x="306" y="183"/>
                    </a:lnTo>
                    <a:lnTo>
                      <a:pt x="308" y="183"/>
                    </a:lnTo>
                    <a:lnTo>
                      <a:pt x="308" y="183"/>
                    </a:lnTo>
                    <a:lnTo>
                      <a:pt x="310" y="183"/>
                    </a:lnTo>
                    <a:lnTo>
                      <a:pt x="310" y="183"/>
                    </a:lnTo>
                    <a:lnTo>
                      <a:pt x="310" y="183"/>
                    </a:lnTo>
                    <a:lnTo>
                      <a:pt x="311" y="183"/>
                    </a:lnTo>
                    <a:lnTo>
                      <a:pt x="313" y="183"/>
                    </a:lnTo>
                    <a:lnTo>
                      <a:pt x="316" y="183"/>
                    </a:lnTo>
                    <a:lnTo>
                      <a:pt x="317" y="183"/>
                    </a:lnTo>
                    <a:lnTo>
                      <a:pt x="320" y="182"/>
                    </a:lnTo>
                    <a:lnTo>
                      <a:pt x="321" y="182"/>
                    </a:lnTo>
                    <a:lnTo>
                      <a:pt x="321" y="182"/>
                    </a:lnTo>
                    <a:lnTo>
                      <a:pt x="323" y="179"/>
                    </a:lnTo>
                    <a:lnTo>
                      <a:pt x="316" y="179"/>
                    </a:lnTo>
                    <a:lnTo>
                      <a:pt x="315" y="179"/>
                    </a:lnTo>
                    <a:lnTo>
                      <a:pt x="313" y="179"/>
                    </a:lnTo>
                    <a:lnTo>
                      <a:pt x="312" y="179"/>
                    </a:lnTo>
                    <a:lnTo>
                      <a:pt x="311" y="178"/>
                    </a:lnTo>
                    <a:lnTo>
                      <a:pt x="311" y="178"/>
                    </a:lnTo>
                    <a:lnTo>
                      <a:pt x="310" y="178"/>
                    </a:lnTo>
                    <a:lnTo>
                      <a:pt x="308" y="177"/>
                    </a:lnTo>
                    <a:lnTo>
                      <a:pt x="308" y="177"/>
                    </a:lnTo>
                    <a:lnTo>
                      <a:pt x="307" y="177"/>
                    </a:lnTo>
                    <a:lnTo>
                      <a:pt x="306" y="177"/>
                    </a:lnTo>
                    <a:lnTo>
                      <a:pt x="305" y="178"/>
                    </a:lnTo>
                    <a:lnTo>
                      <a:pt x="302" y="179"/>
                    </a:lnTo>
                    <a:lnTo>
                      <a:pt x="301" y="179"/>
                    </a:lnTo>
                    <a:lnTo>
                      <a:pt x="298" y="182"/>
                    </a:lnTo>
                    <a:lnTo>
                      <a:pt x="298" y="183"/>
                    </a:lnTo>
                    <a:lnTo>
                      <a:pt x="296" y="186"/>
                    </a:lnTo>
                    <a:lnTo>
                      <a:pt x="296" y="186"/>
                    </a:lnTo>
                    <a:lnTo>
                      <a:pt x="296" y="186"/>
                    </a:lnTo>
                    <a:lnTo>
                      <a:pt x="296" y="186"/>
                    </a:lnTo>
                    <a:lnTo>
                      <a:pt x="296" y="187"/>
                    </a:lnTo>
                    <a:lnTo>
                      <a:pt x="296" y="188"/>
                    </a:lnTo>
                    <a:lnTo>
                      <a:pt x="296" y="188"/>
                    </a:lnTo>
                    <a:lnTo>
                      <a:pt x="296" y="189"/>
                    </a:lnTo>
                    <a:lnTo>
                      <a:pt x="296" y="188"/>
                    </a:lnTo>
                    <a:lnTo>
                      <a:pt x="298" y="188"/>
                    </a:lnTo>
                    <a:lnTo>
                      <a:pt x="298" y="188"/>
                    </a:lnTo>
                    <a:close/>
                    <a:moveTo>
                      <a:pt x="308" y="186"/>
                    </a:moveTo>
                    <a:lnTo>
                      <a:pt x="310" y="183"/>
                    </a:lnTo>
                    <a:lnTo>
                      <a:pt x="308" y="183"/>
                    </a:lnTo>
                    <a:lnTo>
                      <a:pt x="308" y="186"/>
                    </a:lnTo>
                    <a:lnTo>
                      <a:pt x="308" y="186"/>
                    </a:lnTo>
                    <a:close/>
                    <a:moveTo>
                      <a:pt x="391" y="118"/>
                    </a:moveTo>
                    <a:lnTo>
                      <a:pt x="393" y="118"/>
                    </a:lnTo>
                    <a:lnTo>
                      <a:pt x="394" y="118"/>
                    </a:lnTo>
                    <a:lnTo>
                      <a:pt x="394" y="117"/>
                    </a:lnTo>
                    <a:lnTo>
                      <a:pt x="394" y="117"/>
                    </a:lnTo>
                    <a:lnTo>
                      <a:pt x="395" y="117"/>
                    </a:lnTo>
                    <a:lnTo>
                      <a:pt x="395" y="116"/>
                    </a:lnTo>
                    <a:lnTo>
                      <a:pt x="395" y="116"/>
                    </a:lnTo>
                    <a:lnTo>
                      <a:pt x="395" y="115"/>
                    </a:lnTo>
                    <a:lnTo>
                      <a:pt x="394" y="115"/>
                    </a:lnTo>
                    <a:lnTo>
                      <a:pt x="394" y="115"/>
                    </a:lnTo>
                    <a:lnTo>
                      <a:pt x="393" y="115"/>
                    </a:lnTo>
                    <a:lnTo>
                      <a:pt x="391" y="116"/>
                    </a:lnTo>
                    <a:lnTo>
                      <a:pt x="391" y="117"/>
                    </a:lnTo>
                    <a:lnTo>
                      <a:pt x="391" y="117"/>
                    </a:lnTo>
                    <a:lnTo>
                      <a:pt x="391" y="118"/>
                    </a:lnTo>
                    <a:lnTo>
                      <a:pt x="391" y="118"/>
                    </a:lnTo>
                    <a:close/>
                    <a:moveTo>
                      <a:pt x="599" y="257"/>
                    </a:moveTo>
                    <a:lnTo>
                      <a:pt x="602" y="257"/>
                    </a:lnTo>
                    <a:lnTo>
                      <a:pt x="602" y="257"/>
                    </a:lnTo>
                    <a:lnTo>
                      <a:pt x="602" y="257"/>
                    </a:lnTo>
                    <a:lnTo>
                      <a:pt x="602" y="257"/>
                    </a:lnTo>
                    <a:lnTo>
                      <a:pt x="602" y="257"/>
                    </a:lnTo>
                    <a:lnTo>
                      <a:pt x="599" y="257"/>
                    </a:lnTo>
                    <a:lnTo>
                      <a:pt x="598" y="258"/>
                    </a:lnTo>
                    <a:lnTo>
                      <a:pt x="599" y="258"/>
                    </a:lnTo>
                    <a:lnTo>
                      <a:pt x="599" y="257"/>
                    </a:lnTo>
                    <a:lnTo>
                      <a:pt x="599" y="257"/>
                    </a:lnTo>
                    <a:close/>
                    <a:moveTo>
                      <a:pt x="598" y="258"/>
                    </a:moveTo>
                    <a:lnTo>
                      <a:pt x="598" y="258"/>
                    </a:lnTo>
                    <a:lnTo>
                      <a:pt x="598" y="258"/>
                    </a:lnTo>
                    <a:lnTo>
                      <a:pt x="598" y="257"/>
                    </a:lnTo>
                    <a:lnTo>
                      <a:pt x="598" y="257"/>
                    </a:lnTo>
                    <a:lnTo>
                      <a:pt x="599" y="257"/>
                    </a:lnTo>
                    <a:lnTo>
                      <a:pt x="599" y="257"/>
                    </a:lnTo>
                    <a:lnTo>
                      <a:pt x="599" y="257"/>
                    </a:lnTo>
                    <a:lnTo>
                      <a:pt x="598" y="257"/>
                    </a:lnTo>
                    <a:lnTo>
                      <a:pt x="597" y="257"/>
                    </a:lnTo>
                    <a:lnTo>
                      <a:pt x="596" y="258"/>
                    </a:lnTo>
                    <a:lnTo>
                      <a:pt x="594" y="258"/>
                    </a:lnTo>
                    <a:lnTo>
                      <a:pt x="594" y="258"/>
                    </a:lnTo>
                    <a:lnTo>
                      <a:pt x="594" y="258"/>
                    </a:lnTo>
                    <a:lnTo>
                      <a:pt x="596" y="258"/>
                    </a:lnTo>
                    <a:lnTo>
                      <a:pt x="596" y="258"/>
                    </a:lnTo>
                    <a:lnTo>
                      <a:pt x="597" y="258"/>
                    </a:lnTo>
                    <a:lnTo>
                      <a:pt x="598" y="258"/>
                    </a:lnTo>
                    <a:lnTo>
                      <a:pt x="598" y="258"/>
                    </a:lnTo>
                    <a:close/>
                    <a:moveTo>
                      <a:pt x="1494" y="578"/>
                    </a:moveTo>
                    <a:lnTo>
                      <a:pt x="1495" y="577"/>
                    </a:lnTo>
                    <a:lnTo>
                      <a:pt x="1495" y="577"/>
                    </a:lnTo>
                    <a:lnTo>
                      <a:pt x="1496" y="577"/>
                    </a:lnTo>
                    <a:lnTo>
                      <a:pt x="1496" y="577"/>
                    </a:lnTo>
                    <a:lnTo>
                      <a:pt x="1495" y="577"/>
                    </a:lnTo>
                    <a:lnTo>
                      <a:pt x="1495" y="578"/>
                    </a:lnTo>
                    <a:lnTo>
                      <a:pt x="1494" y="578"/>
                    </a:lnTo>
                    <a:lnTo>
                      <a:pt x="1494" y="579"/>
                    </a:lnTo>
                    <a:lnTo>
                      <a:pt x="1494" y="580"/>
                    </a:lnTo>
                    <a:lnTo>
                      <a:pt x="1494" y="582"/>
                    </a:lnTo>
                    <a:lnTo>
                      <a:pt x="1495" y="579"/>
                    </a:lnTo>
                    <a:lnTo>
                      <a:pt x="1496" y="578"/>
                    </a:lnTo>
                    <a:lnTo>
                      <a:pt x="1499" y="577"/>
                    </a:lnTo>
                    <a:lnTo>
                      <a:pt x="1499" y="574"/>
                    </a:lnTo>
                    <a:lnTo>
                      <a:pt x="1502" y="573"/>
                    </a:lnTo>
                    <a:lnTo>
                      <a:pt x="1506" y="570"/>
                    </a:lnTo>
                    <a:lnTo>
                      <a:pt x="1509" y="570"/>
                    </a:lnTo>
                    <a:lnTo>
                      <a:pt x="1511" y="570"/>
                    </a:lnTo>
                    <a:lnTo>
                      <a:pt x="1512" y="570"/>
                    </a:lnTo>
                    <a:lnTo>
                      <a:pt x="1512" y="569"/>
                    </a:lnTo>
                    <a:lnTo>
                      <a:pt x="1515" y="569"/>
                    </a:lnTo>
                    <a:lnTo>
                      <a:pt x="1515" y="569"/>
                    </a:lnTo>
                    <a:lnTo>
                      <a:pt x="1512" y="569"/>
                    </a:lnTo>
                    <a:lnTo>
                      <a:pt x="1511" y="569"/>
                    </a:lnTo>
                    <a:lnTo>
                      <a:pt x="1505" y="569"/>
                    </a:lnTo>
                    <a:lnTo>
                      <a:pt x="1504" y="569"/>
                    </a:lnTo>
                    <a:lnTo>
                      <a:pt x="1501" y="569"/>
                    </a:lnTo>
                    <a:lnTo>
                      <a:pt x="1501" y="570"/>
                    </a:lnTo>
                    <a:lnTo>
                      <a:pt x="1499" y="570"/>
                    </a:lnTo>
                    <a:lnTo>
                      <a:pt x="1499" y="570"/>
                    </a:lnTo>
                    <a:lnTo>
                      <a:pt x="1497" y="570"/>
                    </a:lnTo>
                    <a:lnTo>
                      <a:pt x="1496" y="570"/>
                    </a:lnTo>
                    <a:lnTo>
                      <a:pt x="1495" y="573"/>
                    </a:lnTo>
                    <a:lnTo>
                      <a:pt x="1495" y="574"/>
                    </a:lnTo>
                    <a:lnTo>
                      <a:pt x="1494" y="574"/>
                    </a:lnTo>
                    <a:lnTo>
                      <a:pt x="1494" y="574"/>
                    </a:lnTo>
                    <a:lnTo>
                      <a:pt x="1494" y="577"/>
                    </a:lnTo>
                    <a:lnTo>
                      <a:pt x="1494" y="577"/>
                    </a:lnTo>
                    <a:lnTo>
                      <a:pt x="1494" y="577"/>
                    </a:lnTo>
                    <a:lnTo>
                      <a:pt x="1494" y="578"/>
                    </a:lnTo>
                    <a:lnTo>
                      <a:pt x="1494" y="578"/>
                    </a:lnTo>
                    <a:lnTo>
                      <a:pt x="1494" y="578"/>
                    </a:lnTo>
                    <a:close/>
                    <a:moveTo>
                      <a:pt x="1536" y="613"/>
                    </a:moveTo>
                    <a:lnTo>
                      <a:pt x="1536" y="613"/>
                    </a:lnTo>
                    <a:lnTo>
                      <a:pt x="1536" y="615"/>
                    </a:lnTo>
                    <a:lnTo>
                      <a:pt x="1536" y="615"/>
                    </a:lnTo>
                    <a:lnTo>
                      <a:pt x="1537" y="615"/>
                    </a:lnTo>
                    <a:lnTo>
                      <a:pt x="1538" y="613"/>
                    </a:lnTo>
                    <a:lnTo>
                      <a:pt x="1538" y="613"/>
                    </a:lnTo>
                    <a:lnTo>
                      <a:pt x="1538" y="613"/>
                    </a:lnTo>
                    <a:lnTo>
                      <a:pt x="1537" y="613"/>
                    </a:lnTo>
                    <a:lnTo>
                      <a:pt x="1537" y="613"/>
                    </a:lnTo>
                    <a:lnTo>
                      <a:pt x="1536" y="613"/>
                    </a:lnTo>
                    <a:lnTo>
                      <a:pt x="1536" y="613"/>
                    </a:lnTo>
                    <a:close/>
                    <a:moveTo>
                      <a:pt x="813" y="563"/>
                    </a:moveTo>
                    <a:lnTo>
                      <a:pt x="813" y="564"/>
                    </a:lnTo>
                    <a:lnTo>
                      <a:pt x="813" y="564"/>
                    </a:lnTo>
                    <a:lnTo>
                      <a:pt x="813" y="564"/>
                    </a:lnTo>
                    <a:lnTo>
                      <a:pt x="813" y="564"/>
                    </a:lnTo>
                    <a:lnTo>
                      <a:pt x="813" y="564"/>
                    </a:lnTo>
                    <a:lnTo>
                      <a:pt x="813" y="563"/>
                    </a:lnTo>
                    <a:lnTo>
                      <a:pt x="815" y="563"/>
                    </a:lnTo>
                    <a:lnTo>
                      <a:pt x="813" y="563"/>
                    </a:lnTo>
                    <a:lnTo>
                      <a:pt x="813" y="563"/>
                    </a:lnTo>
                    <a:lnTo>
                      <a:pt x="813" y="563"/>
                    </a:lnTo>
                    <a:lnTo>
                      <a:pt x="813" y="563"/>
                    </a:lnTo>
                    <a:close/>
                    <a:moveTo>
                      <a:pt x="811" y="564"/>
                    </a:moveTo>
                    <a:lnTo>
                      <a:pt x="813" y="564"/>
                    </a:lnTo>
                    <a:lnTo>
                      <a:pt x="811" y="564"/>
                    </a:lnTo>
                    <a:lnTo>
                      <a:pt x="811" y="564"/>
                    </a:lnTo>
                    <a:lnTo>
                      <a:pt x="811" y="564"/>
                    </a:lnTo>
                    <a:close/>
                    <a:moveTo>
                      <a:pt x="1788" y="719"/>
                    </a:moveTo>
                    <a:lnTo>
                      <a:pt x="1787" y="719"/>
                    </a:lnTo>
                    <a:lnTo>
                      <a:pt x="1787" y="721"/>
                    </a:lnTo>
                    <a:lnTo>
                      <a:pt x="1787" y="721"/>
                    </a:lnTo>
                    <a:lnTo>
                      <a:pt x="1787" y="721"/>
                    </a:lnTo>
                    <a:lnTo>
                      <a:pt x="1787" y="721"/>
                    </a:lnTo>
                    <a:lnTo>
                      <a:pt x="1788" y="721"/>
                    </a:lnTo>
                    <a:lnTo>
                      <a:pt x="1788" y="721"/>
                    </a:lnTo>
                    <a:lnTo>
                      <a:pt x="1790" y="721"/>
                    </a:lnTo>
                    <a:lnTo>
                      <a:pt x="1790" y="719"/>
                    </a:lnTo>
                    <a:lnTo>
                      <a:pt x="1788" y="719"/>
                    </a:lnTo>
                    <a:lnTo>
                      <a:pt x="1788" y="719"/>
                    </a:lnTo>
                    <a:lnTo>
                      <a:pt x="1788" y="719"/>
                    </a:lnTo>
                    <a:close/>
                    <a:moveTo>
                      <a:pt x="1802" y="721"/>
                    </a:moveTo>
                    <a:lnTo>
                      <a:pt x="1801" y="721"/>
                    </a:lnTo>
                    <a:lnTo>
                      <a:pt x="1801" y="721"/>
                    </a:lnTo>
                    <a:lnTo>
                      <a:pt x="1800" y="722"/>
                    </a:lnTo>
                    <a:lnTo>
                      <a:pt x="1800" y="725"/>
                    </a:lnTo>
                    <a:lnTo>
                      <a:pt x="1798" y="725"/>
                    </a:lnTo>
                    <a:lnTo>
                      <a:pt x="1797" y="726"/>
                    </a:lnTo>
                    <a:lnTo>
                      <a:pt x="1797" y="727"/>
                    </a:lnTo>
                    <a:lnTo>
                      <a:pt x="1798" y="727"/>
                    </a:lnTo>
                    <a:lnTo>
                      <a:pt x="1800" y="727"/>
                    </a:lnTo>
                    <a:lnTo>
                      <a:pt x="1801" y="726"/>
                    </a:lnTo>
                    <a:lnTo>
                      <a:pt x="1801" y="726"/>
                    </a:lnTo>
                    <a:lnTo>
                      <a:pt x="1801" y="725"/>
                    </a:lnTo>
                    <a:lnTo>
                      <a:pt x="1802" y="725"/>
                    </a:lnTo>
                    <a:lnTo>
                      <a:pt x="1802" y="725"/>
                    </a:lnTo>
                    <a:lnTo>
                      <a:pt x="1802" y="725"/>
                    </a:lnTo>
                    <a:lnTo>
                      <a:pt x="1802" y="722"/>
                    </a:lnTo>
                    <a:lnTo>
                      <a:pt x="1802" y="721"/>
                    </a:lnTo>
                    <a:lnTo>
                      <a:pt x="1802" y="721"/>
                    </a:lnTo>
                    <a:close/>
                    <a:moveTo>
                      <a:pt x="1813" y="726"/>
                    </a:moveTo>
                    <a:lnTo>
                      <a:pt x="1812" y="726"/>
                    </a:lnTo>
                    <a:lnTo>
                      <a:pt x="1811" y="726"/>
                    </a:lnTo>
                    <a:lnTo>
                      <a:pt x="1810" y="726"/>
                    </a:lnTo>
                    <a:lnTo>
                      <a:pt x="1808" y="726"/>
                    </a:lnTo>
                    <a:lnTo>
                      <a:pt x="1807" y="726"/>
                    </a:lnTo>
                    <a:lnTo>
                      <a:pt x="1808" y="727"/>
                    </a:lnTo>
                    <a:lnTo>
                      <a:pt x="1808" y="727"/>
                    </a:lnTo>
                    <a:lnTo>
                      <a:pt x="1811" y="729"/>
                    </a:lnTo>
                    <a:lnTo>
                      <a:pt x="1811" y="729"/>
                    </a:lnTo>
                    <a:lnTo>
                      <a:pt x="1811" y="729"/>
                    </a:lnTo>
                    <a:lnTo>
                      <a:pt x="1811" y="729"/>
                    </a:lnTo>
                    <a:lnTo>
                      <a:pt x="1812" y="729"/>
                    </a:lnTo>
                    <a:lnTo>
                      <a:pt x="1812" y="727"/>
                    </a:lnTo>
                    <a:lnTo>
                      <a:pt x="1813" y="727"/>
                    </a:lnTo>
                    <a:lnTo>
                      <a:pt x="1813" y="727"/>
                    </a:lnTo>
                    <a:lnTo>
                      <a:pt x="1813" y="726"/>
                    </a:lnTo>
                    <a:lnTo>
                      <a:pt x="1813" y="726"/>
                    </a:lnTo>
                    <a:lnTo>
                      <a:pt x="1815" y="725"/>
                    </a:lnTo>
                    <a:lnTo>
                      <a:pt x="1815" y="725"/>
                    </a:lnTo>
                    <a:lnTo>
                      <a:pt x="1813" y="725"/>
                    </a:lnTo>
                    <a:lnTo>
                      <a:pt x="1813" y="726"/>
                    </a:lnTo>
                    <a:lnTo>
                      <a:pt x="1813" y="726"/>
                    </a:lnTo>
                    <a:close/>
                    <a:moveTo>
                      <a:pt x="1868" y="650"/>
                    </a:moveTo>
                    <a:lnTo>
                      <a:pt x="1868" y="650"/>
                    </a:lnTo>
                    <a:lnTo>
                      <a:pt x="1868" y="650"/>
                    </a:lnTo>
                    <a:lnTo>
                      <a:pt x="1868" y="651"/>
                    </a:lnTo>
                    <a:lnTo>
                      <a:pt x="1868" y="651"/>
                    </a:lnTo>
                    <a:lnTo>
                      <a:pt x="1868" y="653"/>
                    </a:lnTo>
                    <a:lnTo>
                      <a:pt x="1868" y="654"/>
                    </a:lnTo>
                    <a:lnTo>
                      <a:pt x="1868" y="653"/>
                    </a:lnTo>
                    <a:lnTo>
                      <a:pt x="1868" y="653"/>
                    </a:lnTo>
                    <a:lnTo>
                      <a:pt x="1868" y="653"/>
                    </a:lnTo>
                    <a:lnTo>
                      <a:pt x="1869" y="651"/>
                    </a:lnTo>
                    <a:lnTo>
                      <a:pt x="1869" y="650"/>
                    </a:lnTo>
                    <a:lnTo>
                      <a:pt x="1868" y="650"/>
                    </a:lnTo>
                    <a:lnTo>
                      <a:pt x="1868" y="650"/>
                    </a:lnTo>
                    <a:lnTo>
                      <a:pt x="1868" y="650"/>
                    </a:lnTo>
                    <a:close/>
                    <a:moveTo>
                      <a:pt x="1879" y="645"/>
                    </a:moveTo>
                    <a:lnTo>
                      <a:pt x="1878" y="645"/>
                    </a:lnTo>
                    <a:lnTo>
                      <a:pt x="1878" y="645"/>
                    </a:lnTo>
                    <a:lnTo>
                      <a:pt x="1875" y="645"/>
                    </a:lnTo>
                    <a:lnTo>
                      <a:pt x="1874" y="648"/>
                    </a:lnTo>
                    <a:lnTo>
                      <a:pt x="1874" y="648"/>
                    </a:lnTo>
                    <a:lnTo>
                      <a:pt x="1874" y="648"/>
                    </a:lnTo>
                    <a:lnTo>
                      <a:pt x="1874" y="649"/>
                    </a:lnTo>
                    <a:lnTo>
                      <a:pt x="1874" y="649"/>
                    </a:lnTo>
                    <a:lnTo>
                      <a:pt x="1874" y="650"/>
                    </a:lnTo>
                    <a:lnTo>
                      <a:pt x="1874" y="650"/>
                    </a:lnTo>
                    <a:lnTo>
                      <a:pt x="1875" y="649"/>
                    </a:lnTo>
                    <a:lnTo>
                      <a:pt x="1878" y="649"/>
                    </a:lnTo>
                    <a:lnTo>
                      <a:pt x="1878" y="648"/>
                    </a:lnTo>
                    <a:lnTo>
                      <a:pt x="1879" y="648"/>
                    </a:lnTo>
                    <a:lnTo>
                      <a:pt x="1879" y="648"/>
                    </a:lnTo>
                    <a:lnTo>
                      <a:pt x="1880" y="648"/>
                    </a:lnTo>
                    <a:lnTo>
                      <a:pt x="1880" y="648"/>
                    </a:lnTo>
                    <a:lnTo>
                      <a:pt x="1879" y="648"/>
                    </a:lnTo>
                    <a:lnTo>
                      <a:pt x="1879" y="645"/>
                    </a:lnTo>
                    <a:lnTo>
                      <a:pt x="1879" y="645"/>
                    </a:lnTo>
                    <a:close/>
                    <a:moveTo>
                      <a:pt x="1297" y="1049"/>
                    </a:moveTo>
                    <a:lnTo>
                      <a:pt x="1297" y="1049"/>
                    </a:lnTo>
                    <a:lnTo>
                      <a:pt x="1296" y="1049"/>
                    </a:lnTo>
                    <a:lnTo>
                      <a:pt x="1297" y="1049"/>
                    </a:lnTo>
                    <a:lnTo>
                      <a:pt x="1297" y="1049"/>
                    </a:lnTo>
                    <a:close/>
                    <a:moveTo>
                      <a:pt x="1349" y="1013"/>
                    </a:moveTo>
                    <a:lnTo>
                      <a:pt x="1349" y="1013"/>
                    </a:lnTo>
                    <a:lnTo>
                      <a:pt x="1349" y="1013"/>
                    </a:lnTo>
                    <a:lnTo>
                      <a:pt x="1351" y="1013"/>
                    </a:lnTo>
                    <a:lnTo>
                      <a:pt x="1351" y="1013"/>
                    </a:lnTo>
                    <a:lnTo>
                      <a:pt x="1349" y="1013"/>
                    </a:lnTo>
                    <a:lnTo>
                      <a:pt x="1349" y="1013"/>
                    </a:lnTo>
                    <a:lnTo>
                      <a:pt x="1349" y="1013"/>
                    </a:lnTo>
                    <a:close/>
                    <a:moveTo>
                      <a:pt x="1338" y="1014"/>
                    </a:moveTo>
                    <a:lnTo>
                      <a:pt x="1339" y="1014"/>
                    </a:lnTo>
                    <a:lnTo>
                      <a:pt x="1339" y="1014"/>
                    </a:lnTo>
                    <a:lnTo>
                      <a:pt x="1338" y="1013"/>
                    </a:lnTo>
                    <a:lnTo>
                      <a:pt x="1338" y="1014"/>
                    </a:lnTo>
                    <a:lnTo>
                      <a:pt x="1338" y="1014"/>
                    </a:lnTo>
                    <a:close/>
                    <a:moveTo>
                      <a:pt x="1490" y="1074"/>
                    </a:moveTo>
                    <a:lnTo>
                      <a:pt x="1490" y="1074"/>
                    </a:lnTo>
                    <a:lnTo>
                      <a:pt x="1487" y="1071"/>
                    </a:lnTo>
                    <a:lnTo>
                      <a:pt x="1487" y="1071"/>
                    </a:lnTo>
                    <a:lnTo>
                      <a:pt x="1490" y="1074"/>
                    </a:lnTo>
                    <a:lnTo>
                      <a:pt x="1490" y="1074"/>
                    </a:lnTo>
                    <a:lnTo>
                      <a:pt x="1490" y="1074"/>
                    </a:lnTo>
                    <a:close/>
                    <a:moveTo>
                      <a:pt x="1497" y="582"/>
                    </a:moveTo>
                    <a:lnTo>
                      <a:pt x="1499" y="582"/>
                    </a:lnTo>
                    <a:lnTo>
                      <a:pt x="1497" y="582"/>
                    </a:lnTo>
                    <a:lnTo>
                      <a:pt x="1497" y="582"/>
                    </a:lnTo>
                    <a:lnTo>
                      <a:pt x="1497" y="582"/>
                    </a:lnTo>
                    <a:lnTo>
                      <a:pt x="1497" y="582"/>
                    </a:lnTo>
                    <a:close/>
                    <a:moveTo>
                      <a:pt x="761" y="595"/>
                    </a:moveTo>
                    <a:lnTo>
                      <a:pt x="762" y="595"/>
                    </a:lnTo>
                    <a:lnTo>
                      <a:pt x="762" y="595"/>
                    </a:lnTo>
                    <a:lnTo>
                      <a:pt x="761" y="595"/>
                    </a:lnTo>
                    <a:lnTo>
                      <a:pt x="761" y="595"/>
                    </a:lnTo>
                    <a:close/>
                    <a:moveTo>
                      <a:pt x="1914" y="577"/>
                    </a:moveTo>
                    <a:lnTo>
                      <a:pt x="1914" y="578"/>
                    </a:lnTo>
                    <a:lnTo>
                      <a:pt x="1914" y="582"/>
                    </a:lnTo>
                    <a:lnTo>
                      <a:pt x="1913" y="584"/>
                    </a:lnTo>
                    <a:lnTo>
                      <a:pt x="1912" y="588"/>
                    </a:lnTo>
                    <a:lnTo>
                      <a:pt x="1912" y="589"/>
                    </a:lnTo>
                    <a:lnTo>
                      <a:pt x="1912" y="592"/>
                    </a:lnTo>
                    <a:lnTo>
                      <a:pt x="1910" y="594"/>
                    </a:lnTo>
                    <a:lnTo>
                      <a:pt x="1910" y="595"/>
                    </a:lnTo>
                    <a:lnTo>
                      <a:pt x="1908" y="598"/>
                    </a:lnTo>
                    <a:lnTo>
                      <a:pt x="1907" y="603"/>
                    </a:lnTo>
                    <a:lnTo>
                      <a:pt x="1907" y="603"/>
                    </a:lnTo>
                    <a:lnTo>
                      <a:pt x="1907" y="605"/>
                    </a:lnTo>
                    <a:lnTo>
                      <a:pt x="1904" y="605"/>
                    </a:lnTo>
                    <a:lnTo>
                      <a:pt x="1904" y="607"/>
                    </a:lnTo>
                    <a:lnTo>
                      <a:pt x="1904" y="609"/>
                    </a:lnTo>
                    <a:lnTo>
                      <a:pt x="1903" y="610"/>
                    </a:lnTo>
                    <a:lnTo>
                      <a:pt x="1903" y="613"/>
                    </a:lnTo>
                    <a:lnTo>
                      <a:pt x="1903" y="615"/>
                    </a:lnTo>
                    <a:lnTo>
                      <a:pt x="1903" y="615"/>
                    </a:lnTo>
                    <a:lnTo>
                      <a:pt x="1904" y="615"/>
                    </a:lnTo>
                    <a:lnTo>
                      <a:pt x="1904" y="615"/>
                    </a:lnTo>
                    <a:lnTo>
                      <a:pt x="1907" y="615"/>
                    </a:lnTo>
                    <a:lnTo>
                      <a:pt x="1907" y="615"/>
                    </a:lnTo>
                    <a:lnTo>
                      <a:pt x="1907" y="616"/>
                    </a:lnTo>
                    <a:lnTo>
                      <a:pt x="1907" y="616"/>
                    </a:lnTo>
                    <a:lnTo>
                      <a:pt x="1907" y="619"/>
                    </a:lnTo>
                    <a:lnTo>
                      <a:pt x="1907" y="619"/>
                    </a:lnTo>
                    <a:lnTo>
                      <a:pt x="1907" y="619"/>
                    </a:lnTo>
                    <a:lnTo>
                      <a:pt x="1907" y="620"/>
                    </a:lnTo>
                    <a:lnTo>
                      <a:pt x="1904" y="621"/>
                    </a:lnTo>
                    <a:lnTo>
                      <a:pt x="1904" y="621"/>
                    </a:lnTo>
                    <a:lnTo>
                      <a:pt x="1904" y="623"/>
                    </a:lnTo>
                    <a:lnTo>
                      <a:pt x="1904" y="624"/>
                    </a:lnTo>
                    <a:lnTo>
                      <a:pt x="1904" y="626"/>
                    </a:lnTo>
                    <a:lnTo>
                      <a:pt x="1907" y="626"/>
                    </a:lnTo>
                    <a:lnTo>
                      <a:pt x="1907" y="626"/>
                    </a:lnTo>
                    <a:lnTo>
                      <a:pt x="1908" y="626"/>
                    </a:lnTo>
                    <a:lnTo>
                      <a:pt x="1908" y="626"/>
                    </a:lnTo>
                    <a:lnTo>
                      <a:pt x="1910" y="628"/>
                    </a:lnTo>
                    <a:lnTo>
                      <a:pt x="1910" y="629"/>
                    </a:lnTo>
                    <a:lnTo>
                      <a:pt x="1910" y="629"/>
                    </a:lnTo>
                    <a:lnTo>
                      <a:pt x="1908" y="630"/>
                    </a:lnTo>
                    <a:lnTo>
                      <a:pt x="1908" y="631"/>
                    </a:lnTo>
                    <a:lnTo>
                      <a:pt x="1907" y="633"/>
                    </a:lnTo>
                    <a:lnTo>
                      <a:pt x="1907" y="633"/>
                    </a:lnTo>
                    <a:lnTo>
                      <a:pt x="1907" y="634"/>
                    </a:lnTo>
                    <a:lnTo>
                      <a:pt x="1907" y="634"/>
                    </a:lnTo>
                    <a:lnTo>
                      <a:pt x="1908" y="634"/>
                    </a:lnTo>
                    <a:lnTo>
                      <a:pt x="1908" y="634"/>
                    </a:lnTo>
                    <a:lnTo>
                      <a:pt x="1910" y="634"/>
                    </a:lnTo>
                    <a:lnTo>
                      <a:pt x="1910" y="634"/>
                    </a:lnTo>
                    <a:lnTo>
                      <a:pt x="1910" y="634"/>
                    </a:lnTo>
                    <a:lnTo>
                      <a:pt x="1910" y="636"/>
                    </a:lnTo>
                    <a:lnTo>
                      <a:pt x="1908" y="638"/>
                    </a:lnTo>
                    <a:lnTo>
                      <a:pt x="1907" y="638"/>
                    </a:lnTo>
                    <a:lnTo>
                      <a:pt x="1907" y="638"/>
                    </a:lnTo>
                    <a:lnTo>
                      <a:pt x="1904" y="638"/>
                    </a:lnTo>
                    <a:lnTo>
                      <a:pt x="1904" y="638"/>
                    </a:lnTo>
                    <a:lnTo>
                      <a:pt x="1903" y="638"/>
                    </a:lnTo>
                    <a:lnTo>
                      <a:pt x="1903" y="638"/>
                    </a:lnTo>
                    <a:lnTo>
                      <a:pt x="1900" y="638"/>
                    </a:lnTo>
                    <a:lnTo>
                      <a:pt x="1900" y="640"/>
                    </a:lnTo>
                    <a:lnTo>
                      <a:pt x="1900" y="640"/>
                    </a:lnTo>
                    <a:lnTo>
                      <a:pt x="1899" y="640"/>
                    </a:lnTo>
                    <a:lnTo>
                      <a:pt x="1899" y="640"/>
                    </a:lnTo>
                    <a:lnTo>
                      <a:pt x="1897" y="641"/>
                    </a:lnTo>
                    <a:lnTo>
                      <a:pt x="1897" y="641"/>
                    </a:lnTo>
                    <a:lnTo>
                      <a:pt x="1895" y="641"/>
                    </a:lnTo>
                    <a:lnTo>
                      <a:pt x="1894" y="641"/>
                    </a:lnTo>
                    <a:lnTo>
                      <a:pt x="1893" y="641"/>
                    </a:lnTo>
                    <a:lnTo>
                      <a:pt x="1892" y="641"/>
                    </a:lnTo>
                    <a:lnTo>
                      <a:pt x="1892" y="644"/>
                    </a:lnTo>
                    <a:lnTo>
                      <a:pt x="1892" y="641"/>
                    </a:lnTo>
                    <a:lnTo>
                      <a:pt x="1892" y="641"/>
                    </a:lnTo>
                    <a:lnTo>
                      <a:pt x="1892" y="641"/>
                    </a:lnTo>
                    <a:lnTo>
                      <a:pt x="1892" y="641"/>
                    </a:lnTo>
                    <a:lnTo>
                      <a:pt x="1892" y="641"/>
                    </a:lnTo>
                    <a:lnTo>
                      <a:pt x="1890" y="641"/>
                    </a:lnTo>
                    <a:lnTo>
                      <a:pt x="1889" y="641"/>
                    </a:lnTo>
                    <a:lnTo>
                      <a:pt x="1887" y="641"/>
                    </a:lnTo>
                    <a:lnTo>
                      <a:pt x="1887" y="644"/>
                    </a:lnTo>
                    <a:lnTo>
                      <a:pt x="1885" y="644"/>
                    </a:lnTo>
                    <a:lnTo>
                      <a:pt x="1885" y="644"/>
                    </a:lnTo>
                    <a:lnTo>
                      <a:pt x="1885" y="644"/>
                    </a:lnTo>
                    <a:lnTo>
                      <a:pt x="1885" y="645"/>
                    </a:lnTo>
                    <a:lnTo>
                      <a:pt x="1884" y="648"/>
                    </a:lnTo>
                    <a:lnTo>
                      <a:pt x="1884" y="648"/>
                    </a:lnTo>
                    <a:lnTo>
                      <a:pt x="1884" y="648"/>
                    </a:lnTo>
                    <a:lnTo>
                      <a:pt x="1883" y="648"/>
                    </a:lnTo>
                    <a:lnTo>
                      <a:pt x="1883" y="648"/>
                    </a:lnTo>
                    <a:lnTo>
                      <a:pt x="1882" y="644"/>
                    </a:lnTo>
                    <a:lnTo>
                      <a:pt x="1882" y="644"/>
                    </a:lnTo>
                    <a:lnTo>
                      <a:pt x="1882" y="644"/>
                    </a:lnTo>
                    <a:lnTo>
                      <a:pt x="1880" y="644"/>
                    </a:lnTo>
                    <a:lnTo>
                      <a:pt x="1880" y="644"/>
                    </a:lnTo>
                    <a:lnTo>
                      <a:pt x="1879" y="644"/>
                    </a:lnTo>
                    <a:lnTo>
                      <a:pt x="1878" y="644"/>
                    </a:lnTo>
                    <a:lnTo>
                      <a:pt x="1878" y="644"/>
                    </a:lnTo>
                    <a:lnTo>
                      <a:pt x="1878" y="644"/>
                    </a:lnTo>
                    <a:lnTo>
                      <a:pt x="1875" y="645"/>
                    </a:lnTo>
                    <a:lnTo>
                      <a:pt x="1875" y="645"/>
                    </a:lnTo>
                    <a:lnTo>
                      <a:pt x="1875" y="644"/>
                    </a:lnTo>
                    <a:lnTo>
                      <a:pt x="1875" y="644"/>
                    </a:lnTo>
                    <a:lnTo>
                      <a:pt x="1874" y="644"/>
                    </a:lnTo>
                    <a:lnTo>
                      <a:pt x="1874" y="645"/>
                    </a:lnTo>
                    <a:lnTo>
                      <a:pt x="1874" y="645"/>
                    </a:lnTo>
                    <a:lnTo>
                      <a:pt x="1874" y="645"/>
                    </a:lnTo>
                    <a:lnTo>
                      <a:pt x="1873" y="645"/>
                    </a:lnTo>
                    <a:lnTo>
                      <a:pt x="1873" y="648"/>
                    </a:lnTo>
                    <a:lnTo>
                      <a:pt x="1873" y="648"/>
                    </a:lnTo>
                    <a:lnTo>
                      <a:pt x="1873" y="648"/>
                    </a:lnTo>
                    <a:lnTo>
                      <a:pt x="1873" y="649"/>
                    </a:lnTo>
                    <a:lnTo>
                      <a:pt x="1873" y="649"/>
                    </a:lnTo>
                    <a:lnTo>
                      <a:pt x="1873" y="650"/>
                    </a:lnTo>
                    <a:lnTo>
                      <a:pt x="1873" y="650"/>
                    </a:lnTo>
                    <a:lnTo>
                      <a:pt x="1872" y="649"/>
                    </a:lnTo>
                    <a:lnTo>
                      <a:pt x="1870" y="648"/>
                    </a:lnTo>
                    <a:lnTo>
                      <a:pt x="1869" y="648"/>
                    </a:lnTo>
                    <a:lnTo>
                      <a:pt x="1868" y="648"/>
                    </a:lnTo>
                    <a:lnTo>
                      <a:pt x="1868" y="645"/>
                    </a:lnTo>
                    <a:lnTo>
                      <a:pt x="1869" y="644"/>
                    </a:lnTo>
                    <a:lnTo>
                      <a:pt x="1869" y="641"/>
                    </a:lnTo>
                    <a:lnTo>
                      <a:pt x="1870" y="641"/>
                    </a:lnTo>
                    <a:lnTo>
                      <a:pt x="1869" y="641"/>
                    </a:lnTo>
                    <a:lnTo>
                      <a:pt x="1868" y="641"/>
                    </a:lnTo>
                    <a:lnTo>
                      <a:pt x="1868" y="644"/>
                    </a:lnTo>
                    <a:lnTo>
                      <a:pt x="1865" y="644"/>
                    </a:lnTo>
                    <a:lnTo>
                      <a:pt x="1864" y="644"/>
                    </a:lnTo>
                    <a:lnTo>
                      <a:pt x="1864" y="645"/>
                    </a:lnTo>
                    <a:lnTo>
                      <a:pt x="1864" y="648"/>
                    </a:lnTo>
                    <a:lnTo>
                      <a:pt x="1863" y="648"/>
                    </a:lnTo>
                    <a:lnTo>
                      <a:pt x="1863" y="649"/>
                    </a:lnTo>
                    <a:lnTo>
                      <a:pt x="1862" y="651"/>
                    </a:lnTo>
                    <a:lnTo>
                      <a:pt x="1861" y="653"/>
                    </a:lnTo>
                    <a:lnTo>
                      <a:pt x="1861" y="653"/>
                    </a:lnTo>
                    <a:lnTo>
                      <a:pt x="1861" y="654"/>
                    </a:lnTo>
                    <a:lnTo>
                      <a:pt x="1859" y="655"/>
                    </a:lnTo>
                    <a:lnTo>
                      <a:pt x="1858" y="655"/>
                    </a:lnTo>
                    <a:lnTo>
                      <a:pt x="1856" y="655"/>
                    </a:lnTo>
                    <a:lnTo>
                      <a:pt x="1854" y="658"/>
                    </a:lnTo>
                    <a:lnTo>
                      <a:pt x="1852" y="658"/>
                    </a:lnTo>
                    <a:lnTo>
                      <a:pt x="1851" y="658"/>
                    </a:lnTo>
                    <a:lnTo>
                      <a:pt x="1849" y="659"/>
                    </a:lnTo>
                    <a:lnTo>
                      <a:pt x="1849" y="659"/>
                    </a:lnTo>
                    <a:lnTo>
                      <a:pt x="1849" y="660"/>
                    </a:lnTo>
                    <a:lnTo>
                      <a:pt x="1848" y="659"/>
                    </a:lnTo>
                    <a:lnTo>
                      <a:pt x="1847" y="659"/>
                    </a:lnTo>
                    <a:lnTo>
                      <a:pt x="1847" y="659"/>
                    </a:lnTo>
                    <a:lnTo>
                      <a:pt x="1847" y="660"/>
                    </a:lnTo>
                    <a:lnTo>
                      <a:pt x="1846" y="660"/>
                    </a:lnTo>
                    <a:lnTo>
                      <a:pt x="1846" y="659"/>
                    </a:lnTo>
                    <a:lnTo>
                      <a:pt x="1846" y="658"/>
                    </a:lnTo>
                    <a:lnTo>
                      <a:pt x="1846" y="658"/>
                    </a:lnTo>
                    <a:lnTo>
                      <a:pt x="1846" y="658"/>
                    </a:lnTo>
                    <a:lnTo>
                      <a:pt x="1844" y="658"/>
                    </a:lnTo>
                    <a:lnTo>
                      <a:pt x="1844" y="658"/>
                    </a:lnTo>
                    <a:lnTo>
                      <a:pt x="1844" y="658"/>
                    </a:lnTo>
                    <a:lnTo>
                      <a:pt x="1843" y="659"/>
                    </a:lnTo>
                    <a:lnTo>
                      <a:pt x="1843" y="660"/>
                    </a:lnTo>
                    <a:lnTo>
                      <a:pt x="1842" y="660"/>
                    </a:lnTo>
                    <a:lnTo>
                      <a:pt x="1842" y="661"/>
                    </a:lnTo>
                    <a:lnTo>
                      <a:pt x="1841" y="661"/>
                    </a:lnTo>
                    <a:lnTo>
                      <a:pt x="1839" y="663"/>
                    </a:lnTo>
                    <a:lnTo>
                      <a:pt x="1839" y="663"/>
                    </a:lnTo>
                    <a:lnTo>
                      <a:pt x="1839" y="663"/>
                    </a:lnTo>
                    <a:lnTo>
                      <a:pt x="1839" y="661"/>
                    </a:lnTo>
                    <a:lnTo>
                      <a:pt x="1839" y="661"/>
                    </a:lnTo>
                    <a:lnTo>
                      <a:pt x="1839" y="661"/>
                    </a:lnTo>
                    <a:lnTo>
                      <a:pt x="1837" y="663"/>
                    </a:lnTo>
                    <a:lnTo>
                      <a:pt x="1837" y="663"/>
                    </a:lnTo>
                    <a:lnTo>
                      <a:pt x="1837" y="663"/>
                    </a:lnTo>
                    <a:lnTo>
                      <a:pt x="1837" y="663"/>
                    </a:lnTo>
                    <a:lnTo>
                      <a:pt x="1837" y="663"/>
                    </a:lnTo>
                    <a:lnTo>
                      <a:pt x="1837" y="661"/>
                    </a:lnTo>
                    <a:lnTo>
                      <a:pt x="1839" y="661"/>
                    </a:lnTo>
                    <a:lnTo>
                      <a:pt x="1837" y="661"/>
                    </a:lnTo>
                    <a:lnTo>
                      <a:pt x="1837" y="661"/>
                    </a:lnTo>
                    <a:lnTo>
                      <a:pt x="1837" y="663"/>
                    </a:lnTo>
                    <a:lnTo>
                      <a:pt x="1836" y="663"/>
                    </a:lnTo>
                    <a:lnTo>
                      <a:pt x="1836" y="661"/>
                    </a:lnTo>
                    <a:lnTo>
                      <a:pt x="1837" y="661"/>
                    </a:lnTo>
                    <a:lnTo>
                      <a:pt x="1837" y="661"/>
                    </a:lnTo>
                    <a:lnTo>
                      <a:pt x="1839" y="660"/>
                    </a:lnTo>
                    <a:lnTo>
                      <a:pt x="1837" y="660"/>
                    </a:lnTo>
                    <a:lnTo>
                      <a:pt x="1837" y="661"/>
                    </a:lnTo>
                    <a:lnTo>
                      <a:pt x="1836" y="661"/>
                    </a:lnTo>
                    <a:lnTo>
                      <a:pt x="1833" y="661"/>
                    </a:lnTo>
                    <a:lnTo>
                      <a:pt x="1832" y="664"/>
                    </a:lnTo>
                    <a:lnTo>
                      <a:pt x="1829" y="664"/>
                    </a:lnTo>
                    <a:lnTo>
                      <a:pt x="1829" y="665"/>
                    </a:lnTo>
                    <a:lnTo>
                      <a:pt x="1829" y="666"/>
                    </a:lnTo>
                    <a:lnTo>
                      <a:pt x="1829" y="666"/>
                    </a:lnTo>
                    <a:lnTo>
                      <a:pt x="1827" y="669"/>
                    </a:lnTo>
                    <a:lnTo>
                      <a:pt x="1827" y="670"/>
                    </a:lnTo>
                    <a:lnTo>
                      <a:pt x="1826" y="670"/>
                    </a:lnTo>
                    <a:lnTo>
                      <a:pt x="1826" y="671"/>
                    </a:lnTo>
                    <a:lnTo>
                      <a:pt x="1823" y="673"/>
                    </a:lnTo>
                    <a:lnTo>
                      <a:pt x="1823" y="673"/>
                    </a:lnTo>
                    <a:lnTo>
                      <a:pt x="1823" y="674"/>
                    </a:lnTo>
                    <a:lnTo>
                      <a:pt x="1823" y="674"/>
                    </a:lnTo>
                    <a:lnTo>
                      <a:pt x="1821" y="675"/>
                    </a:lnTo>
                    <a:lnTo>
                      <a:pt x="1819" y="676"/>
                    </a:lnTo>
                    <a:lnTo>
                      <a:pt x="1816" y="679"/>
                    </a:lnTo>
                    <a:lnTo>
                      <a:pt x="1815" y="680"/>
                    </a:lnTo>
                    <a:lnTo>
                      <a:pt x="1815" y="682"/>
                    </a:lnTo>
                    <a:lnTo>
                      <a:pt x="1813" y="682"/>
                    </a:lnTo>
                    <a:lnTo>
                      <a:pt x="1812" y="685"/>
                    </a:lnTo>
                    <a:lnTo>
                      <a:pt x="1811" y="686"/>
                    </a:lnTo>
                    <a:lnTo>
                      <a:pt x="1811" y="686"/>
                    </a:lnTo>
                    <a:lnTo>
                      <a:pt x="1811" y="687"/>
                    </a:lnTo>
                    <a:lnTo>
                      <a:pt x="1811" y="690"/>
                    </a:lnTo>
                    <a:lnTo>
                      <a:pt x="1811" y="690"/>
                    </a:lnTo>
                    <a:lnTo>
                      <a:pt x="1813" y="691"/>
                    </a:lnTo>
                    <a:lnTo>
                      <a:pt x="1811" y="692"/>
                    </a:lnTo>
                    <a:lnTo>
                      <a:pt x="1811" y="694"/>
                    </a:lnTo>
                    <a:lnTo>
                      <a:pt x="1808" y="695"/>
                    </a:lnTo>
                    <a:lnTo>
                      <a:pt x="1807" y="696"/>
                    </a:lnTo>
                    <a:lnTo>
                      <a:pt x="1805" y="696"/>
                    </a:lnTo>
                    <a:lnTo>
                      <a:pt x="1805" y="697"/>
                    </a:lnTo>
                    <a:lnTo>
                      <a:pt x="1805" y="699"/>
                    </a:lnTo>
                    <a:lnTo>
                      <a:pt x="1802" y="699"/>
                    </a:lnTo>
                    <a:lnTo>
                      <a:pt x="1802" y="700"/>
                    </a:lnTo>
                    <a:lnTo>
                      <a:pt x="1802" y="700"/>
                    </a:lnTo>
                    <a:lnTo>
                      <a:pt x="1802" y="700"/>
                    </a:lnTo>
                    <a:lnTo>
                      <a:pt x="1802" y="700"/>
                    </a:lnTo>
                    <a:lnTo>
                      <a:pt x="1805" y="701"/>
                    </a:lnTo>
                    <a:lnTo>
                      <a:pt x="1805" y="701"/>
                    </a:lnTo>
                    <a:lnTo>
                      <a:pt x="1806" y="702"/>
                    </a:lnTo>
                    <a:lnTo>
                      <a:pt x="1807" y="702"/>
                    </a:lnTo>
                    <a:lnTo>
                      <a:pt x="1807" y="704"/>
                    </a:lnTo>
                    <a:lnTo>
                      <a:pt x="1808" y="705"/>
                    </a:lnTo>
                    <a:lnTo>
                      <a:pt x="1808" y="705"/>
                    </a:lnTo>
                    <a:lnTo>
                      <a:pt x="1808" y="706"/>
                    </a:lnTo>
                    <a:lnTo>
                      <a:pt x="1808" y="707"/>
                    </a:lnTo>
                    <a:lnTo>
                      <a:pt x="1808" y="709"/>
                    </a:lnTo>
                    <a:lnTo>
                      <a:pt x="1808" y="711"/>
                    </a:lnTo>
                    <a:lnTo>
                      <a:pt x="1808" y="711"/>
                    </a:lnTo>
                    <a:lnTo>
                      <a:pt x="1808" y="712"/>
                    </a:lnTo>
                    <a:lnTo>
                      <a:pt x="1808" y="712"/>
                    </a:lnTo>
                    <a:lnTo>
                      <a:pt x="1810" y="715"/>
                    </a:lnTo>
                    <a:lnTo>
                      <a:pt x="1811" y="715"/>
                    </a:lnTo>
                    <a:lnTo>
                      <a:pt x="1811" y="715"/>
                    </a:lnTo>
                    <a:lnTo>
                      <a:pt x="1813" y="715"/>
                    </a:lnTo>
                    <a:lnTo>
                      <a:pt x="1815" y="715"/>
                    </a:lnTo>
                    <a:lnTo>
                      <a:pt x="1816" y="715"/>
                    </a:lnTo>
                    <a:lnTo>
                      <a:pt x="1817" y="715"/>
                    </a:lnTo>
                    <a:lnTo>
                      <a:pt x="1818" y="715"/>
                    </a:lnTo>
                    <a:lnTo>
                      <a:pt x="1819" y="712"/>
                    </a:lnTo>
                    <a:lnTo>
                      <a:pt x="1819" y="712"/>
                    </a:lnTo>
                    <a:lnTo>
                      <a:pt x="1819" y="711"/>
                    </a:lnTo>
                    <a:lnTo>
                      <a:pt x="1819" y="711"/>
                    </a:lnTo>
                    <a:lnTo>
                      <a:pt x="1819" y="711"/>
                    </a:lnTo>
                    <a:lnTo>
                      <a:pt x="1818" y="711"/>
                    </a:lnTo>
                    <a:lnTo>
                      <a:pt x="1818" y="709"/>
                    </a:lnTo>
                    <a:lnTo>
                      <a:pt x="1818" y="709"/>
                    </a:lnTo>
                    <a:lnTo>
                      <a:pt x="1818" y="709"/>
                    </a:lnTo>
                    <a:lnTo>
                      <a:pt x="1818" y="707"/>
                    </a:lnTo>
                    <a:lnTo>
                      <a:pt x="1818" y="707"/>
                    </a:lnTo>
                    <a:lnTo>
                      <a:pt x="1817" y="706"/>
                    </a:lnTo>
                    <a:lnTo>
                      <a:pt x="1818" y="706"/>
                    </a:lnTo>
                    <a:lnTo>
                      <a:pt x="1818" y="707"/>
                    </a:lnTo>
                    <a:lnTo>
                      <a:pt x="1819" y="707"/>
                    </a:lnTo>
                    <a:lnTo>
                      <a:pt x="1819" y="707"/>
                    </a:lnTo>
                    <a:lnTo>
                      <a:pt x="1821" y="709"/>
                    </a:lnTo>
                    <a:lnTo>
                      <a:pt x="1821" y="709"/>
                    </a:lnTo>
                    <a:lnTo>
                      <a:pt x="1821" y="711"/>
                    </a:lnTo>
                    <a:lnTo>
                      <a:pt x="1821" y="711"/>
                    </a:lnTo>
                    <a:lnTo>
                      <a:pt x="1819" y="712"/>
                    </a:lnTo>
                    <a:lnTo>
                      <a:pt x="1819" y="715"/>
                    </a:lnTo>
                    <a:lnTo>
                      <a:pt x="1819" y="715"/>
                    </a:lnTo>
                    <a:lnTo>
                      <a:pt x="1818" y="715"/>
                    </a:lnTo>
                    <a:lnTo>
                      <a:pt x="1817" y="715"/>
                    </a:lnTo>
                    <a:lnTo>
                      <a:pt x="1816" y="717"/>
                    </a:lnTo>
                    <a:lnTo>
                      <a:pt x="1815" y="719"/>
                    </a:lnTo>
                    <a:lnTo>
                      <a:pt x="1811" y="719"/>
                    </a:lnTo>
                    <a:lnTo>
                      <a:pt x="1808" y="719"/>
                    </a:lnTo>
                    <a:lnTo>
                      <a:pt x="1806" y="719"/>
                    </a:lnTo>
                    <a:lnTo>
                      <a:pt x="1805" y="719"/>
                    </a:lnTo>
                    <a:lnTo>
                      <a:pt x="1805" y="719"/>
                    </a:lnTo>
                    <a:lnTo>
                      <a:pt x="1802" y="719"/>
                    </a:lnTo>
                    <a:lnTo>
                      <a:pt x="1802" y="719"/>
                    </a:lnTo>
                    <a:lnTo>
                      <a:pt x="1802" y="719"/>
                    </a:lnTo>
                    <a:lnTo>
                      <a:pt x="1805" y="717"/>
                    </a:lnTo>
                    <a:lnTo>
                      <a:pt x="1805" y="717"/>
                    </a:lnTo>
                    <a:lnTo>
                      <a:pt x="1805" y="715"/>
                    </a:lnTo>
                    <a:lnTo>
                      <a:pt x="1805" y="715"/>
                    </a:lnTo>
                    <a:lnTo>
                      <a:pt x="1805" y="715"/>
                    </a:lnTo>
                    <a:lnTo>
                      <a:pt x="1802" y="715"/>
                    </a:lnTo>
                    <a:lnTo>
                      <a:pt x="1801" y="715"/>
                    </a:lnTo>
                    <a:lnTo>
                      <a:pt x="1797" y="719"/>
                    </a:lnTo>
                    <a:lnTo>
                      <a:pt x="1797" y="719"/>
                    </a:lnTo>
                    <a:lnTo>
                      <a:pt x="1795" y="721"/>
                    </a:lnTo>
                    <a:lnTo>
                      <a:pt x="1793" y="721"/>
                    </a:lnTo>
                    <a:lnTo>
                      <a:pt x="1791" y="721"/>
                    </a:lnTo>
                    <a:lnTo>
                      <a:pt x="1791" y="721"/>
                    </a:lnTo>
                    <a:lnTo>
                      <a:pt x="1791" y="719"/>
                    </a:lnTo>
                    <a:lnTo>
                      <a:pt x="1791" y="717"/>
                    </a:lnTo>
                    <a:lnTo>
                      <a:pt x="1793" y="715"/>
                    </a:lnTo>
                    <a:lnTo>
                      <a:pt x="1793" y="715"/>
                    </a:lnTo>
                    <a:lnTo>
                      <a:pt x="1793" y="715"/>
                    </a:lnTo>
                    <a:lnTo>
                      <a:pt x="1791" y="715"/>
                    </a:lnTo>
                    <a:lnTo>
                      <a:pt x="1791" y="715"/>
                    </a:lnTo>
                    <a:lnTo>
                      <a:pt x="1791" y="715"/>
                    </a:lnTo>
                    <a:lnTo>
                      <a:pt x="1790" y="715"/>
                    </a:lnTo>
                    <a:lnTo>
                      <a:pt x="1790" y="715"/>
                    </a:lnTo>
                    <a:lnTo>
                      <a:pt x="1788" y="715"/>
                    </a:lnTo>
                    <a:lnTo>
                      <a:pt x="1788" y="715"/>
                    </a:lnTo>
                    <a:lnTo>
                      <a:pt x="1788" y="715"/>
                    </a:lnTo>
                    <a:lnTo>
                      <a:pt x="1788" y="715"/>
                    </a:lnTo>
                    <a:lnTo>
                      <a:pt x="1788" y="715"/>
                    </a:lnTo>
                    <a:lnTo>
                      <a:pt x="1787" y="715"/>
                    </a:lnTo>
                    <a:lnTo>
                      <a:pt x="1786" y="717"/>
                    </a:lnTo>
                    <a:lnTo>
                      <a:pt x="1786" y="719"/>
                    </a:lnTo>
                    <a:lnTo>
                      <a:pt x="1785" y="721"/>
                    </a:lnTo>
                    <a:lnTo>
                      <a:pt x="1785" y="722"/>
                    </a:lnTo>
                    <a:lnTo>
                      <a:pt x="1783" y="725"/>
                    </a:lnTo>
                    <a:lnTo>
                      <a:pt x="1781" y="725"/>
                    </a:lnTo>
                    <a:lnTo>
                      <a:pt x="1781" y="725"/>
                    </a:lnTo>
                    <a:lnTo>
                      <a:pt x="1780" y="726"/>
                    </a:lnTo>
                    <a:lnTo>
                      <a:pt x="1778" y="726"/>
                    </a:lnTo>
                    <a:lnTo>
                      <a:pt x="1778" y="726"/>
                    </a:lnTo>
                    <a:lnTo>
                      <a:pt x="1777" y="726"/>
                    </a:lnTo>
                    <a:lnTo>
                      <a:pt x="1776" y="726"/>
                    </a:lnTo>
                    <a:lnTo>
                      <a:pt x="1775" y="726"/>
                    </a:lnTo>
                    <a:lnTo>
                      <a:pt x="1772" y="727"/>
                    </a:lnTo>
                    <a:lnTo>
                      <a:pt x="1770" y="727"/>
                    </a:lnTo>
                    <a:lnTo>
                      <a:pt x="1768" y="727"/>
                    </a:lnTo>
                    <a:lnTo>
                      <a:pt x="1767" y="726"/>
                    </a:lnTo>
                    <a:lnTo>
                      <a:pt x="1766" y="726"/>
                    </a:lnTo>
                    <a:lnTo>
                      <a:pt x="1765" y="726"/>
                    </a:lnTo>
                    <a:lnTo>
                      <a:pt x="1765" y="725"/>
                    </a:lnTo>
                    <a:lnTo>
                      <a:pt x="1764" y="725"/>
                    </a:lnTo>
                    <a:lnTo>
                      <a:pt x="1764" y="725"/>
                    </a:lnTo>
                    <a:lnTo>
                      <a:pt x="1764" y="725"/>
                    </a:lnTo>
                    <a:lnTo>
                      <a:pt x="1762" y="726"/>
                    </a:lnTo>
                    <a:lnTo>
                      <a:pt x="1762" y="727"/>
                    </a:lnTo>
                    <a:lnTo>
                      <a:pt x="1762" y="729"/>
                    </a:lnTo>
                    <a:lnTo>
                      <a:pt x="1761" y="729"/>
                    </a:lnTo>
                    <a:lnTo>
                      <a:pt x="1760" y="729"/>
                    </a:lnTo>
                    <a:lnTo>
                      <a:pt x="1760" y="729"/>
                    </a:lnTo>
                    <a:lnTo>
                      <a:pt x="1757" y="729"/>
                    </a:lnTo>
                    <a:lnTo>
                      <a:pt x="1756" y="729"/>
                    </a:lnTo>
                    <a:lnTo>
                      <a:pt x="1752" y="729"/>
                    </a:lnTo>
                    <a:lnTo>
                      <a:pt x="1751" y="729"/>
                    </a:lnTo>
                    <a:lnTo>
                      <a:pt x="1749" y="729"/>
                    </a:lnTo>
                    <a:lnTo>
                      <a:pt x="1747" y="729"/>
                    </a:lnTo>
                    <a:lnTo>
                      <a:pt x="1744" y="730"/>
                    </a:lnTo>
                    <a:lnTo>
                      <a:pt x="1741" y="731"/>
                    </a:lnTo>
                    <a:lnTo>
                      <a:pt x="1736" y="735"/>
                    </a:lnTo>
                    <a:lnTo>
                      <a:pt x="1730" y="737"/>
                    </a:lnTo>
                    <a:lnTo>
                      <a:pt x="1727" y="740"/>
                    </a:lnTo>
                    <a:lnTo>
                      <a:pt x="1727" y="740"/>
                    </a:lnTo>
                    <a:lnTo>
                      <a:pt x="1727" y="740"/>
                    </a:lnTo>
                    <a:lnTo>
                      <a:pt x="1727" y="740"/>
                    </a:lnTo>
                    <a:lnTo>
                      <a:pt x="1727" y="740"/>
                    </a:lnTo>
                    <a:lnTo>
                      <a:pt x="1730" y="739"/>
                    </a:lnTo>
                    <a:lnTo>
                      <a:pt x="1730" y="739"/>
                    </a:lnTo>
                    <a:lnTo>
                      <a:pt x="1730" y="739"/>
                    </a:lnTo>
                    <a:lnTo>
                      <a:pt x="1734" y="737"/>
                    </a:lnTo>
                    <a:lnTo>
                      <a:pt x="1735" y="736"/>
                    </a:lnTo>
                    <a:lnTo>
                      <a:pt x="1736" y="736"/>
                    </a:lnTo>
                    <a:lnTo>
                      <a:pt x="1737" y="736"/>
                    </a:lnTo>
                    <a:lnTo>
                      <a:pt x="1737" y="736"/>
                    </a:lnTo>
                    <a:lnTo>
                      <a:pt x="1739" y="736"/>
                    </a:lnTo>
                    <a:lnTo>
                      <a:pt x="1740" y="736"/>
                    </a:lnTo>
                    <a:lnTo>
                      <a:pt x="1740" y="736"/>
                    </a:lnTo>
                    <a:lnTo>
                      <a:pt x="1740" y="736"/>
                    </a:lnTo>
                    <a:lnTo>
                      <a:pt x="1741" y="736"/>
                    </a:lnTo>
                    <a:lnTo>
                      <a:pt x="1742" y="736"/>
                    </a:lnTo>
                    <a:lnTo>
                      <a:pt x="1744" y="736"/>
                    </a:lnTo>
                    <a:lnTo>
                      <a:pt x="1746" y="736"/>
                    </a:lnTo>
                    <a:lnTo>
                      <a:pt x="1749" y="736"/>
                    </a:lnTo>
                    <a:lnTo>
                      <a:pt x="1751" y="736"/>
                    </a:lnTo>
                    <a:lnTo>
                      <a:pt x="1752" y="736"/>
                    </a:lnTo>
                    <a:lnTo>
                      <a:pt x="1755" y="734"/>
                    </a:lnTo>
                    <a:lnTo>
                      <a:pt x="1757" y="731"/>
                    </a:lnTo>
                    <a:lnTo>
                      <a:pt x="1760" y="731"/>
                    </a:lnTo>
                    <a:lnTo>
                      <a:pt x="1761" y="730"/>
                    </a:lnTo>
                    <a:lnTo>
                      <a:pt x="1762" y="730"/>
                    </a:lnTo>
                    <a:lnTo>
                      <a:pt x="1761" y="731"/>
                    </a:lnTo>
                    <a:lnTo>
                      <a:pt x="1760" y="731"/>
                    </a:lnTo>
                    <a:lnTo>
                      <a:pt x="1757" y="734"/>
                    </a:lnTo>
                    <a:lnTo>
                      <a:pt x="1756" y="736"/>
                    </a:lnTo>
                    <a:lnTo>
                      <a:pt x="1756" y="736"/>
                    </a:lnTo>
                    <a:lnTo>
                      <a:pt x="1757" y="736"/>
                    </a:lnTo>
                    <a:lnTo>
                      <a:pt x="1757" y="736"/>
                    </a:lnTo>
                    <a:lnTo>
                      <a:pt x="1757" y="736"/>
                    </a:lnTo>
                    <a:lnTo>
                      <a:pt x="1759" y="735"/>
                    </a:lnTo>
                    <a:lnTo>
                      <a:pt x="1759" y="735"/>
                    </a:lnTo>
                    <a:lnTo>
                      <a:pt x="1760" y="734"/>
                    </a:lnTo>
                    <a:lnTo>
                      <a:pt x="1760" y="734"/>
                    </a:lnTo>
                    <a:lnTo>
                      <a:pt x="1761" y="732"/>
                    </a:lnTo>
                    <a:lnTo>
                      <a:pt x="1762" y="732"/>
                    </a:lnTo>
                    <a:lnTo>
                      <a:pt x="1762" y="731"/>
                    </a:lnTo>
                    <a:lnTo>
                      <a:pt x="1764" y="731"/>
                    </a:lnTo>
                    <a:lnTo>
                      <a:pt x="1766" y="731"/>
                    </a:lnTo>
                    <a:lnTo>
                      <a:pt x="1767" y="731"/>
                    </a:lnTo>
                    <a:lnTo>
                      <a:pt x="1768" y="731"/>
                    </a:lnTo>
                    <a:lnTo>
                      <a:pt x="1770" y="731"/>
                    </a:lnTo>
                    <a:lnTo>
                      <a:pt x="1770" y="730"/>
                    </a:lnTo>
                    <a:lnTo>
                      <a:pt x="1768" y="732"/>
                    </a:lnTo>
                    <a:lnTo>
                      <a:pt x="1766" y="734"/>
                    </a:lnTo>
                    <a:lnTo>
                      <a:pt x="1765" y="735"/>
                    </a:lnTo>
                    <a:lnTo>
                      <a:pt x="1762" y="736"/>
                    </a:lnTo>
                    <a:lnTo>
                      <a:pt x="1761" y="737"/>
                    </a:lnTo>
                    <a:lnTo>
                      <a:pt x="1757" y="739"/>
                    </a:lnTo>
                    <a:lnTo>
                      <a:pt x="1755" y="740"/>
                    </a:lnTo>
                    <a:lnTo>
                      <a:pt x="1750" y="740"/>
                    </a:lnTo>
                    <a:lnTo>
                      <a:pt x="1744" y="742"/>
                    </a:lnTo>
                    <a:lnTo>
                      <a:pt x="1740" y="742"/>
                    </a:lnTo>
                    <a:lnTo>
                      <a:pt x="1737" y="744"/>
                    </a:lnTo>
                    <a:lnTo>
                      <a:pt x="1736" y="744"/>
                    </a:lnTo>
                    <a:lnTo>
                      <a:pt x="1735" y="744"/>
                    </a:lnTo>
                    <a:lnTo>
                      <a:pt x="1734" y="744"/>
                    </a:lnTo>
                    <a:lnTo>
                      <a:pt x="1731" y="744"/>
                    </a:lnTo>
                    <a:lnTo>
                      <a:pt x="1730" y="744"/>
                    </a:lnTo>
                    <a:lnTo>
                      <a:pt x="1730" y="745"/>
                    </a:lnTo>
                    <a:lnTo>
                      <a:pt x="1730" y="745"/>
                    </a:lnTo>
                    <a:lnTo>
                      <a:pt x="1727" y="745"/>
                    </a:lnTo>
                    <a:lnTo>
                      <a:pt x="1726" y="745"/>
                    </a:lnTo>
                    <a:lnTo>
                      <a:pt x="1725" y="746"/>
                    </a:lnTo>
                    <a:lnTo>
                      <a:pt x="1726" y="745"/>
                    </a:lnTo>
                    <a:lnTo>
                      <a:pt x="1726" y="745"/>
                    </a:lnTo>
                    <a:lnTo>
                      <a:pt x="1727" y="745"/>
                    </a:lnTo>
                    <a:lnTo>
                      <a:pt x="1727" y="744"/>
                    </a:lnTo>
                    <a:lnTo>
                      <a:pt x="1726" y="744"/>
                    </a:lnTo>
                    <a:lnTo>
                      <a:pt x="1725" y="744"/>
                    </a:lnTo>
                    <a:lnTo>
                      <a:pt x="1724" y="744"/>
                    </a:lnTo>
                    <a:lnTo>
                      <a:pt x="1724" y="744"/>
                    </a:lnTo>
                    <a:lnTo>
                      <a:pt x="1724" y="744"/>
                    </a:lnTo>
                    <a:lnTo>
                      <a:pt x="1720" y="744"/>
                    </a:lnTo>
                    <a:lnTo>
                      <a:pt x="1720" y="744"/>
                    </a:lnTo>
                    <a:lnTo>
                      <a:pt x="1719" y="744"/>
                    </a:lnTo>
                    <a:lnTo>
                      <a:pt x="1719" y="745"/>
                    </a:lnTo>
                    <a:lnTo>
                      <a:pt x="1719" y="745"/>
                    </a:lnTo>
                    <a:lnTo>
                      <a:pt x="1720" y="744"/>
                    </a:lnTo>
                    <a:lnTo>
                      <a:pt x="1721" y="744"/>
                    </a:lnTo>
                    <a:lnTo>
                      <a:pt x="1724" y="744"/>
                    </a:lnTo>
                    <a:lnTo>
                      <a:pt x="1721" y="744"/>
                    </a:lnTo>
                    <a:lnTo>
                      <a:pt x="1720" y="745"/>
                    </a:lnTo>
                    <a:lnTo>
                      <a:pt x="1720" y="745"/>
                    </a:lnTo>
                    <a:lnTo>
                      <a:pt x="1720" y="745"/>
                    </a:lnTo>
                    <a:lnTo>
                      <a:pt x="1719" y="745"/>
                    </a:lnTo>
                    <a:lnTo>
                      <a:pt x="1719" y="746"/>
                    </a:lnTo>
                    <a:lnTo>
                      <a:pt x="1719" y="746"/>
                    </a:lnTo>
                    <a:lnTo>
                      <a:pt x="1719" y="746"/>
                    </a:lnTo>
                    <a:lnTo>
                      <a:pt x="1719" y="747"/>
                    </a:lnTo>
                    <a:lnTo>
                      <a:pt x="1720" y="747"/>
                    </a:lnTo>
                    <a:lnTo>
                      <a:pt x="1720" y="747"/>
                    </a:lnTo>
                    <a:lnTo>
                      <a:pt x="1721" y="747"/>
                    </a:lnTo>
                    <a:lnTo>
                      <a:pt x="1724" y="748"/>
                    </a:lnTo>
                    <a:lnTo>
                      <a:pt x="1721" y="750"/>
                    </a:lnTo>
                    <a:lnTo>
                      <a:pt x="1720" y="753"/>
                    </a:lnTo>
                    <a:lnTo>
                      <a:pt x="1720" y="755"/>
                    </a:lnTo>
                    <a:lnTo>
                      <a:pt x="1720" y="757"/>
                    </a:lnTo>
                    <a:lnTo>
                      <a:pt x="1718" y="760"/>
                    </a:lnTo>
                    <a:lnTo>
                      <a:pt x="1718" y="760"/>
                    </a:lnTo>
                    <a:lnTo>
                      <a:pt x="1718" y="760"/>
                    </a:lnTo>
                    <a:lnTo>
                      <a:pt x="1716" y="760"/>
                    </a:lnTo>
                    <a:lnTo>
                      <a:pt x="1716" y="760"/>
                    </a:lnTo>
                    <a:lnTo>
                      <a:pt x="1715" y="761"/>
                    </a:lnTo>
                    <a:lnTo>
                      <a:pt x="1714" y="763"/>
                    </a:lnTo>
                    <a:lnTo>
                      <a:pt x="1714" y="763"/>
                    </a:lnTo>
                    <a:lnTo>
                      <a:pt x="1711" y="766"/>
                    </a:lnTo>
                    <a:lnTo>
                      <a:pt x="1710" y="768"/>
                    </a:lnTo>
                    <a:lnTo>
                      <a:pt x="1710" y="770"/>
                    </a:lnTo>
                    <a:lnTo>
                      <a:pt x="1710" y="770"/>
                    </a:lnTo>
                    <a:lnTo>
                      <a:pt x="1709" y="771"/>
                    </a:lnTo>
                    <a:lnTo>
                      <a:pt x="1708" y="772"/>
                    </a:lnTo>
                    <a:lnTo>
                      <a:pt x="1706" y="772"/>
                    </a:lnTo>
                    <a:lnTo>
                      <a:pt x="1706" y="772"/>
                    </a:lnTo>
                    <a:lnTo>
                      <a:pt x="1705" y="772"/>
                    </a:lnTo>
                    <a:lnTo>
                      <a:pt x="1705" y="773"/>
                    </a:lnTo>
                    <a:lnTo>
                      <a:pt x="1704" y="773"/>
                    </a:lnTo>
                    <a:lnTo>
                      <a:pt x="1704" y="773"/>
                    </a:lnTo>
                    <a:lnTo>
                      <a:pt x="1703" y="775"/>
                    </a:lnTo>
                    <a:lnTo>
                      <a:pt x="1701" y="776"/>
                    </a:lnTo>
                    <a:lnTo>
                      <a:pt x="1700" y="777"/>
                    </a:lnTo>
                    <a:lnTo>
                      <a:pt x="1699" y="780"/>
                    </a:lnTo>
                    <a:lnTo>
                      <a:pt x="1699" y="781"/>
                    </a:lnTo>
                    <a:lnTo>
                      <a:pt x="1699" y="782"/>
                    </a:lnTo>
                    <a:lnTo>
                      <a:pt x="1698" y="782"/>
                    </a:lnTo>
                    <a:lnTo>
                      <a:pt x="1695" y="785"/>
                    </a:lnTo>
                    <a:lnTo>
                      <a:pt x="1695" y="785"/>
                    </a:lnTo>
                    <a:lnTo>
                      <a:pt x="1691" y="786"/>
                    </a:lnTo>
                    <a:lnTo>
                      <a:pt x="1691" y="786"/>
                    </a:lnTo>
                    <a:lnTo>
                      <a:pt x="1691" y="786"/>
                    </a:lnTo>
                    <a:lnTo>
                      <a:pt x="1689" y="786"/>
                    </a:lnTo>
                    <a:lnTo>
                      <a:pt x="1689" y="786"/>
                    </a:lnTo>
                    <a:lnTo>
                      <a:pt x="1689" y="785"/>
                    </a:lnTo>
                    <a:lnTo>
                      <a:pt x="1691" y="785"/>
                    </a:lnTo>
                    <a:lnTo>
                      <a:pt x="1691" y="782"/>
                    </a:lnTo>
                    <a:lnTo>
                      <a:pt x="1691" y="782"/>
                    </a:lnTo>
                    <a:lnTo>
                      <a:pt x="1691" y="782"/>
                    </a:lnTo>
                    <a:lnTo>
                      <a:pt x="1691" y="782"/>
                    </a:lnTo>
                    <a:lnTo>
                      <a:pt x="1689" y="781"/>
                    </a:lnTo>
                    <a:lnTo>
                      <a:pt x="1689" y="781"/>
                    </a:lnTo>
                    <a:lnTo>
                      <a:pt x="1688" y="780"/>
                    </a:lnTo>
                    <a:lnTo>
                      <a:pt x="1685" y="780"/>
                    </a:lnTo>
                    <a:lnTo>
                      <a:pt x="1685" y="778"/>
                    </a:lnTo>
                    <a:lnTo>
                      <a:pt x="1684" y="777"/>
                    </a:lnTo>
                    <a:lnTo>
                      <a:pt x="1683" y="776"/>
                    </a:lnTo>
                    <a:lnTo>
                      <a:pt x="1681" y="775"/>
                    </a:lnTo>
                    <a:lnTo>
                      <a:pt x="1681" y="782"/>
                    </a:lnTo>
                    <a:lnTo>
                      <a:pt x="1681" y="790"/>
                    </a:lnTo>
                    <a:lnTo>
                      <a:pt x="1683" y="791"/>
                    </a:lnTo>
                    <a:lnTo>
                      <a:pt x="1683" y="792"/>
                    </a:lnTo>
                    <a:lnTo>
                      <a:pt x="1683" y="792"/>
                    </a:lnTo>
                    <a:lnTo>
                      <a:pt x="1684" y="795"/>
                    </a:lnTo>
                    <a:lnTo>
                      <a:pt x="1683" y="795"/>
                    </a:lnTo>
                    <a:lnTo>
                      <a:pt x="1683" y="795"/>
                    </a:lnTo>
                    <a:lnTo>
                      <a:pt x="1683" y="796"/>
                    </a:lnTo>
                    <a:lnTo>
                      <a:pt x="1681" y="796"/>
                    </a:lnTo>
                    <a:lnTo>
                      <a:pt x="1683" y="796"/>
                    </a:lnTo>
                    <a:lnTo>
                      <a:pt x="1683" y="797"/>
                    </a:lnTo>
                    <a:lnTo>
                      <a:pt x="1683" y="797"/>
                    </a:lnTo>
                    <a:lnTo>
                      <a:pt x="1683" y="798"/>
                    </a:lnTo>
                    <a:lnTo>
                      <a:pt x="1681" y="800"/>
                    </a:lnTo>
                    <a:lnTo>
                      <a:pt x="1681" y="801"/>
                    </a:lnTo>
                    <a:lnTo>
                      <a:pt x="1680" y="802"/>
                    </a:lnTo>
                    <a:lnTo>
                      <a:pt x="1679" y="803"/>
                    </a:lnTo>
                    <a:lnTo>
                      <a:pt x="1679" y="805"/>
                    </a:lnTo>
                    <a:lnTo>
                      <a:pt x="1679" y="805"/>
                    </a:lnTo>
                    <a:lnTo>
                      <a:pt x="1679" y="805"/>
                    </a:lnTo>
                    <a:lnTo>
                      <a:pt x="1678" y="805"/>
                    </a:lnTo>
                    <a:lnTo>
                      <a:pt x="1676" y="806"/>
                    </a:lnTo>
                    <a:lnTo>
                      <a:pt x="1675" y="806"/>
                    </a:lnTo>
                    <a:lnTo>
                      <a:pt x="1675" y="806"/>
                    </a:lnTo>
                    <a:lnTo>
                      <a:pt x="1674" y="807"/>
                    </a:lnTo>
                    <a:lnTo>
                      <a:pt x="1673" y="810"/>
                    </a:lnTo>
                    <a:lnTo>
                      <a:pt x="1670" y="812"/>
                    </a:lnTo>
                    <a:lnTo>
                      <a:pt x="1668" y="816"/>
                    </a:lnTo>
                    <a:lnTo>
                      <a:pt x="1668" y="817"/>
                    </a:lnTo>
                    <a:lnTo>
                      <a:pt x="1667" y="818"/>
                    </a:lnTo>
                    <a:lnTo>
                      <a:pt x="1667" y="819"/>
                    </a:lnTo>
                    <a:lnTo>
                      <a:pt x="1665" y="821"/>
                    </a:lnTo>
                    <a:lnTo>
                      <a:pt x="1663" y="821"/>
                    </a:lnTo>
                    <a:lnTo>
                      <a:pt x="1659" y="824"/>
                    </a:lnTo>
                    <a:lnTo>
                      <a:pt x="1659" y="824"/>
                    </a:lnTo>
                    <a:lnTo>
                      <a:pt x="1657" y="824"/>
                    </a:lnTo>
                    <a:lnTo>
                      <a:pt x="1657" y="827"/>
                    </a:lnTo>
                    <a:lnTo>
                      <a:pt x="1657" y="827"/>
                    </a:lnTo>
                    <a:lnTo>
                      <a:pt x="1657" y="828"/>
                    </a:lnTo>
                    <a:lnTo>
                      <a:pt x="1657" y="831"/>
                    </a:lnTo>
                    <a:lnTo>
                      <a:pt x="1655" y="831"/>
                    </a:lnTo>
                    <a:lnTo>
                      <a:pt x="1654" y="832"/>
                    </a:lnTo>
                    <a:lnTo>
                      <a:pt x="1653" y="833"/>
                    </a:lnTo>
                    <a:lnTo>
                      <a:pt x="1653" y="833"/>
                    </a:lnTo>
                    <a:lnTo>
                      <a:pt x="1652" y="832"/>
                    </a:lnTo>
                    <a:lnTo>
                      <a:pt x="1652" y="831"/>
                    </a:lnTo>
                    <a:lnTo>
                      <a:pt x="1652" y="831"/>
                    </a:lnTo>
                    <a:lnTo>
                      <a:pt x="1652" y="831"/>
                    </a:lnTo>
                    <a:lnTo>
                      <a:pt x="1652" y="827"/>
                    </a:lnTo>
                    <a:lnTo>
                      <a:pt x="1653" y="827"/>
                    </a:lnTo>
                    <a:lnTo>
                      <a:pt x="1654" y="824"/>
                    </a:lnTo>
                    <a:lnTo>
                      <a:pt x="1655" y="823"/>
                    </a:lnTo>
                    <a:lnTo>
                      <a:pt x="1657" y="821"/>
                    </a:lnTo>
                    <a:lnTo>
                      <a:pt x="1657" y="821"/>
                    </a:lnTo>
                    <a:lnTo>
                      <a:pt x="1659" y="819"/>
                    </a:lnTo>
                    <a:lnTo>
                      <a:pt x="1659" y="818"/>
                    </a:lnTo>
                    <a:lnTo>
                      <a:pt x="1662" y="817"/>
                    </a:lnTo>
                    <a:lnTo>
                      <a:pt x="1662" y="816"/>
                    </a:lnTo>
                    <a:lnTo>
                      <a:pt x="1663" y="814"/>
                    </a:lnTo>
                    <a:lnTo>
                      <a:pt x="1664" y="814"/>
                    </a:lnTo>
                    <a:lnTo>
                      <a:pt x="1665" y="813"/>
                    </a:lnTo>
                    <a:lnTo>
                      <a:pt x="1664" y="813"/>
                    </a:lnTo>
                    <a:lnTo>
                      <a:pt x="1664" y="812"/>
                    </a:lnTo>
                    <a:lnTo>
                      <a:pt x="1664" y="812"/>
                    </a:lnTo>
                    <a:lnTo>
                      <a:pt x="1664" y="813"/>
                    </a:lnTo>
                    <a:lnTo>
                      <a:pt x="1662" y="813"/>
                    </a:lnTo>
                    <a:lnTo>
                      <a:pt x="1660" y="813"/>
                    </a:lnTo>
                    <a:lnTo>
                      <a:pt x="1659" y="813"/>
                    </a:lnTo>
                    <a:lnTo>
                      <a:pt x="1659" y="813"/>
                    </a:lnTo>
                    <a:lnTo>
                      <a:pt x="1660" y="812"/>
                    </a:lnTo>
                    <a:lnTo>
                      <a:pt x="1660" y="811"/>
                    </a:lnTo>
                    <a:lnTo>
                      <a:pt x="1662" y="810"/>
                    </a:lnTo>
                    <a:lnTo>
                      <a:pt x="1663" y="808"/>
                    </a:lnTo>
                    <a:lnTo>
                      <a:pt x="1663" y="808"/>
                    </a:lnTo>
                    <a:lnTo>
                      <a:pt x="1663" y="807"/>
                    </a:lnTo>
                    <a:lnTo>
                      <a:pt x="1663" y="807"/>
                    </a:lnTo>
                    <a:lnTo>
                      <a:pt x="1663" y="807"/>
                    </a:lnTo>
                    <a:lnTo>
                      <a:pt x="1663" y="806"/>
                    </a:lnTo>
                    <a:lnTo>
                      <a:pt x="1662" y="806"/>
                    </a:lnTo>
                    <a:lnTo>
                      <a:pt x="1662" y="806"/>
                    </a:lnTo>
                    <a:lnTo>
                      <a:pt x="1659" y="806"/>
                    </a:lnTo>
                    <a:lnTo>
                      <a:pt x="1660" y="806"/>
                    </a:lnTo>
                    <a:lnTo>
                      <a:pt x="1662" y="806"/>
                    </a:lnTo>
                    <a:lnTo>
                      <a:pt x="1662" y="805"/>
                    </a:lnTo>
                    <a:lnTo>
                      <a:pt x="1662" y="805"/>
                    </a:lnTo>
                    <a:lnTo>
                      <a:pt x="1663" y="805"/>
                    </a:lnTo>
                    <a:lnTo>
                      <a:pt x="1662" y="805"/>
                    </a:lnTo>
                    <a:lnTo>
                      <a:pt x="1662" y="805"/>
                    </a:lnTo>
                    <a:lnTo>
                      <a:pt x="1660" y="805"/>
                    </a:lnTo>
                    <a:lnTo>
                      <a:pt x="1660" y="805"/>
                    </a:lnTo>
                    <a:lnTo>
                      <a:pt x="1659" y="805"/>
                    </a:lnTo>
                    <a:lnTo>
                      <a:pt x="1659" y="805"/>
                    </a:lnTo>
                    <a:lnTo>
                      <a:pt x="1659" y="805"/>
                    </a:lnTo>
                    <a:lnTo>
                      <a:pt x="1659" y="805"/>
                    </a:lnTo>
                    <a:lnTo>
                      <a:pt x="1657" y="805"/>
                    </a:lnTo>
                    <a:lnTo>
                      <a:pt x="1657" y="803"/>
                    </a:lnTo>
                    <a:lnTo>
                      <a:pt x="1657" y="803"/>
                    </a:lnTo>
                    <a:lnTo>
                      <a:pt x="1655" y="802"/>
                    </a:lnTo>
                    <a:lnTo>
                      <a:pt x="1655" y="802"/>
                    </a:lnTo>
                    <a:lnTo>
                      <a:pt x="1657" y="801"/>
                    </a:lnTo>
                    <a:lnTo>
                      <a:pt x="1657" y="800"/>
                    </a:lnTo>
                    <a:lnTo>
                      <a:pt x="1657" y="800"/>
                    </a:lnTo>
                    <a:lnTo>
                      <a:pt x="1659" y="798"/>
                    </a:lnTo>
                    <a:lnTo>
                      <a:pt x="1659" y="798"/>
                    </a:lnTo>
                    <a:lnTo>
                      <a:pt x="1659" y="797"/>
                    </a:lnTo>
                    <a:lnTo>
                      <a:pt x="1659" y="797"/>
                    </a:lnTo>
                    <a:lnTo>
                      <a:pt x="1657" y="796"/>
                    </a:lnTo>
                    <a:lnTo>
                      <a:pt x="1659" y="796"/>
                    </a:lnTo>
                    <a:lnTo>
                      <a:pt x="1659" y="796"/>
                    </a:lnTo>
                    <a:lnTo>
                      <a:pt x="1659" y="796"/>
                    </a:lnTo>
                    <a:lnTo>
                      <a:pt x="1660" y="796"/>
                    </a:lnTo>
                    <a:lnTo>
                      <a:pt x="1662" y="796"/>
                    </a:lnTo>
                    <a:lnTo>
                      <a:pt x="1663" y="796"/>
                    </a:lnTo>
                    <a:lnTo>
                      <a:pt x="1663" y="795"/>
                    </a:lnTo>
                    <a:lnTo>
                      <a:pt x="1662" y="795"/>
                    </a:lnTo>
                    <a:lnTo>
                      <a:pt x="1662" y="795"/>
                    </a:lnTo>
                    <a:lnTo>
                      <a:pt x="1660" y="792"/>
                    </a:lnTo>
                    <a:lnTo>
                      <a:pt x="1660" y="792"/>
                    </a:lnTo>
                    <a:lnTo>
                      <a:pt x="1659" y="792"/>
                    </a:lnTo>
                    <a:lnTo>
                      <a:pt x="1659" y="792"/>
                    </a:lnTo>
                    <a:lnTo>
                      <a:pt x="1657" y="792"/>
                    </a:lnTo>
                    <a:lnTo>
                      <a:pt x="1657" y="791"/>
                    </a:lnTo>
                    <a:lnTo>
                      <a:pt x="1659" y="791"/>
                    </a:lnTo>
                    <a:lnTo>
                      <a:pt x="1659" y="791"/>
                    </a:lnTo>
                    <a:lnTo>
                      <a:pt x="1660" y="792"/>
                    </a:lnTo>
                    <a:lnTo>
                      <a:pt x="1662" y="792"/>
                    </a:lnTo>
                    <a:lnTo>
                      <a:pt x="1663" y="792"/>
                    </a:lnTo>
                    <a:lnTo>
                      <a:pt x="1663" y="791"/>
                    </a:lnTo>
                    <a:lnTo>
                      <a:pt x="1663" y="791"/>
                    </a:lnTo>
                    <a:lnTo>
                      <a:pt x="1663" y="790"/>
                    </a:lnTo>
                    <a:lnTo>
                      <a:pt x="1663" y="790"/>
                    </a:lnTo>
                    <a:lnTo>
                      <a:pt x="1662" y="788"/>
                    </a:lnTo>
                    <a:lnTo>
                      <a:pt x="1660" y="788"/>
                    </a:lnTo>
                    <a:lnTo>
                      <a:pt x="1659" y="788"/>
                    </a:lnTo>
                    <a:lnTo>
                      <a:pt x="1659" y="788"/>
                    </a:lnTo>
                    <a:lnTo>
                      <a:pt x="1657" y="790"/>
                    </a:lnTo>
                    <a:lnTo>
                      <a:pt x="1659" y="788"/>
                    </a:lnTo>
                    <a:lnTo>
                      <a:pt x="1659" y="788"/>
                    </a:lnTo>
                    <a:lnTo>
                      <a:pt x="1659" y="786"/>
                    </a:lnTo>
                    <a:lnTo>
                      <a:pt x="1660" y="786"/>
                    </a:lnTo>
                    <a:lnTo>
                      <a:pt x="1662" y="785"/>
                    </a:lnTo>
                    <a:lnTo>
                      <a:pt x="1663" y="785"/>
                    </a:lnTo>
                    <a:lnTo>
                      <a:pt x="1664" y="785"/>
                    </a:lnTo>
                    <a:lnTo>
                      <a:pt x="1664" y="782"/>
                    </a:lnTo>
                    <a:lnTo>
                      <a:pt x="1664" y="782"/>
                    </a:lnTo>
                    <a:lnTo>
                      <a:pt x="1665" y="782"/>
                    </a:lnTo>
                    <a:lnTo>
                      <a:pt x="1664" y="782"/>
                    </a:lnTo>
                    <a:lnTo>
                      <a:pt x="1664" y="782"/>
                    </a:lnTo>
                    <a:lnTo>
                      <a:pt x="1663" y="785"/>
                    </a:lnTo>
                    <a:lnTo>
                      <a:pt x="1663" y="785"/>
                    </a:lnTo>
                    <a:lnTo>
                      <a:pt x="1662" y="782"/>
                    </a:lnTo>
                    <a:lnTo>
                      <a:pt x="1662" y="782"/>
                    </a:lnTo>
                    <a:lnTo>
                      <a:pt x="1663" y="781"/>
                    </a:lnTo>
                    <a:lnTo>
                      <a:pt x="1663" y="781"/>
                    </a:lnTo>
                    <a:lnTo>
                      <a:pt x="1663" y="780"/>
                    </a:lnTo>
                    <a:lnTo>
                      <a:pt x="1664" y="778"/>
                    </a:lnTo>
                    <a:lnTo>
                      <a:pt x="1664" y="778"/>
                    </a:lnTo>
                    <a:lnTo>
                      <a:pt x="1665" y="778"/>
                    </a:lnTo>
                    <a:lnTo>
                      <a:pt x="1667" y="777"/>
                    </a:lnTo>
                    <a:lnTo>
                      <a:pt x="1670" y="777"/>
                    </a:lnTo>
                    <a:lnTo>
                      <a:pt x="1673" y="777"/>
                    </a:lnTo>
                    <a:lnTo>
                      <a:pt x="1675" y="777"/>
                    </a:lnTo>
                    <a:lnTo>
                      <a:pt x="1674" y="776"/>
                    </a:lnTo>
                    <a:lnTo>
                      <a:pt x="1673" y="775"/>
                    </a:lnTo>
                    <a:lnTo>
                      <a:pt x="1673" y="775"/>
                    </a:lnTo>
                    <a:lnTo>
                      <a:pt x="1673" y="775"/>
                    </a:lnTo>
                    <a:lnTo>
                      <a:pt x="1671" y="775"/>
                    </a:lnTo>
                    <a:lnTo>
                      <a:pt x="1671" y="775"/>
                    </a:lnTo>
                    <a:lnTo>
                      <a:pt x="1673" y="775"/>
                    </a:lnTo>
                    <a:lnTo>
                      <a:pt x="1673" y="775"/>
                    </a:lnTo>
                    <a:lnTo>
                      <a:pt x="1673" y="773"/>
                    </a:lnTo>
                    <a:lnTo>
                      <a:pt x="1674" y="772"/>
                    </a:lnTo>
                    <a:lnTo>
                      <a:pt x="1674" y="771"/>
                    </a:lnTo>
                    <a:lnTo>
                      <a:pt x="1673" y="772"/>
                    </a:lnTo>
                    <a:lnTo>
                      <a:pt x="1673" y="773"/>
                    </a:lnTo>
                    <a:lnTo>
                      <a:pt x="1671" y="775"/>
                    </a:lnTo>
                    <a:lnTo>
                      <a:pt x="1671" y="773"/>
                    </a:lnTo>
                    <a:lnTo>
                      <a:pt x="1671" y="773"/>
                    </a:lnTo>
                    <a:lnTo>
                      <a:pt x="1671" y="772"/>
                    </a:lnTo>
                    <a:lnTo>
                      <a:pt x="1671" y="772"/>
                    </a:lnTo>
                    <a:lnTo>
                      <a:pt x="1670" y="771"/>
                    </a:lnTo>
                    <a:lnTo>
                      <a:pt x="1669" y="772"/>
                    </a:lnTo>
                    <a:lnTo>
                      <a:pt x="1669" y="772"/>
                    </a:lnTo>
                    <a:lnTo>
                      <a:pt x="1669" y="773"/>
                    </a:lnTo>
                    <a:lnTo>
                      <a:pt x="1669" y="775"/>
                    </a:lnTo>
                    <a:lnTo>
                      <a:pt x="1668" y="775"/>
                    </a:lnTo>
                    <a:lnTo>
                      <a:pt x="1667" y="775"/>
                    </a:lnTo>
                    <a:lnTo>
                      <a:pt x="1667" y="776"/>
                    </a:lnTo>
                    <a:lnTo>
                      <a:pt x="1665" y="776"/>
                    </a:lnTo>
                    <a:lnTo>
                      <a:pt x="1665" y="776"/>
                    </a:lnTo>
                    <a:lnTo>
                      <a:pt x="1667" y="775"/>
                    </a:lnTo>
                    <a:lnTo>
                      <a:pt x="1667" y="775"/>
                    </a:lnTo>
                    <a:lnTo>
                      <a:pt x="1667" y="775"/>
                    </a:lnTo>
                    <a:lnTo>
                      <a:pt x="1665" y="775"/>
                    </a:lnTo>
                    <a:lnTo>
                      <a:pt x="1665" y="775"/>
                    </a:lnTo>
                    <a:lnTo>
                      <a:pt x="1665" y="776"/>
                    </a:lnTo>
                    <a:lnTo>
                      <a:pt x="1665" y="776"/>
                    </a:lnTo>
                    <a:lnTo>
                      <a:pt x="1665" y="777"/>
                    </a:lnTo>
                    <a:lnTo>
                      <a:pt x="1664" y="776"/>
                    </a:lnTo>
                    <a:lnTo>
                      <a:pt x="1663" y="776"/>
                    </a:lnTo>
                    <a:lnTo>
                      <a:pt x="1663" y="776"/>
                    </a:lnTo>
                    <a:lnTo>
                      <a:pt x="1662" y="776"/>
                    </a:lnTo>
                    <a:lnTo>
                      <a:pt x="1660" y="777"/>
                    </a:lnTo>
                    <a:lnTo>
                      <a:pt x="1660" y="777"/>
                    </a:lnTo>
                    <a:lnTo>
                      <a:pt x="1659" y="778"/>
                    </a:lnTo>
                    <a:lnTo>
                      <a:pt x="1659" y="780"/>
                    </a:lnTo>
                    <a:lnTo>
                      <a:pt x="1659" y="780"/>
                    </a:lnTo>
                    <a:lnTo>
                      <a:pt x="1659" y="780"/>
                    </a:lnTo>
                    <a:lnTo>
                      <a:pt x="1659" y="780"/>
                    </a:lnTo>
                    <a:lnTo>
                      <a:pt x="1657" y="780"/>
                    </a:lnTo>
                    <a:lnTo>
                      <a:pt x="1657" y="781"/>
                    </a:lnTo>
                    <a:lnTo>
                      <a:pt x="1657" y="781"/>
                    </a:lnTo>
                    <a:lnTo>
                      <a:pt x="1657" y="782"/>
                    </a:lnTo>
                    <a:lnTo>
                      <a:pt x="1659" y="782"/>
                    </a:lnTo>
                    <a:lnTo>
                      <a:pt x="1659" y="782"/>
                    </a:lnTo>
                    <a:lnTo>
                      <a:pt x="1659" y="782"/>
                    </a:lnTo>
                    <a:lnTo>
                      <a:pt x="1659" y="785"/>
                    </a:lnTo>
                    <a:lnTo>
                      <a:pt x="1659" y="785"/>
                    </a:lnTo>
                    <a:lnTo>
                      <a:pt x="1659" y="785"/>
                    </a:lnTo>
                    <a:lnTo>
                      <a:pt x="1657" y="785"/>
                    </a:lnTo>
                    <a:lnTo>
                      <a:pt x="1657" y="785"/>
                    </a:lnTo>
                    <a:lnTo>
                      <a:pt x="1657" y="785"/>
                    </a:lnTo>
                    <a:lnTo>
                      <a:pt x="1657" y="785"/>
                    </a:lnTo>
                    <a:lnTo>
                      <a:pt x="1657" y="786"/>
                    </a:lnTo>
                    <a:lnTo>
                      <a:pt x="1657" y="786"/>
                    </a:lnTo>
                    <a:lnTo>
                      <a:pt x="1657" y="786"/>
                    </a:lnTo>
                    <a:lnTo>
                      <a:pt x="1657" y="786"/>
                    </a:lnTo>
                    <a:lnTo>
                      <a:pt x="1657" y="786"/>
                    </a:lnTo>
                    <a:lnTo>
                      <a:pt x="1655" y="786"/>
                    </a:lnTo>
                    <a:lnTo>
                      <a:pt x="1655" y="788"/>
                    </a:lnTo>
                    <a:lnTo>
                      <a:pt x="1654" y="788"/>
                    </a:lnTo>
                    <a:lnTo>
                      <a:pt x="1654" y="790"/>
                    </a:lnTo>
                    <a:lnTo>
                      <a:pt x="1653" y="791"/>
                    </a:lnTo>
                    <a:lnTo>
                      <a:pt x="1653" y="792"/>
                    </a:lnTo>
                    <a:lnTo>
                      <a:pt x="1653" y="796"/>
                    </a:lnTo>
                    <a:lnTo>
                      <a:pt x="1653" y="797"/>
                    </a:lnTo>
                    <a:lnTo>
                      <a:pt x="1653" y="800"/>
                    </a:lnTo>
                    <a:lnTo>
                      <a:pt x="1653" y="801"/>
                    </a:lnTo>
                    <a:lnTo>
                      <a:pt x="1653" y="802"/>
                    </a:lnTo>
                    <a:lnTo>
                      <a:pt x="1653" y="803"/>
                    </a:lnTo>
                    <a:lnTo>
                      <a:pt x="1653" y="805"/>
                    </a:lnTo>
                    <a:lnTo>
                      <a:pt x="1652" y="803"/>
                    </a:lnTo>
                    <a:lnTo>
                      <a:pt x="1652" y="803"/>
                    </a:lnTo>
                    <a:lnTo>
                      <a:pt x="1652" y="805"/>
                    </a:lnTo>
                    <a:lnTo>
                      <a:pt x="1652" y="805"/>
                    </a:lnTo>
                    <a:lnTo>
                      <a:pt x="1652" y="806"/>
                    </a:lnTo>
                    <a:lnTo>
                      <a:pt x="1652" y="807"/>
                    </a:lnTo>
                    <a:lnTo>
                      <a:pt x="1650" y="807"/>
                    </a:lnTo>
                    <a:lnTo>
                      <a:pt x="1650" y="808"/>
                    </a:lnTo>
                    <a:lnTo>
                      <a:pt x="1650" y="807"/>
                    </a:lnTo>
                    <a:lnTo>
                      <a:pt x="1649" y="807"/>
                    </a:lnTo>
                    <a:lnTo>
                      <a:pt x="1649" y="806"/>
                    </a:lnTo>
                    <a:lnTo>
                      <a:pt x="1647" y="806"/>
                    </a:lnTo>
                    <a:lnTo>
                      <a:pt x="1645" y="805"/>
                    </a:lnTo>
                    <a:lnTo>
                      <a:pt x="1644" y="805"/>
                    </a:lnTo>
                    <a:lnTo>
                      <a:pt x="1643" y="803"/>
                    </a:lnTo>
                    <a:lnTo>
                      <a:pt x="1643" y="805"/>
                    </a:lnTo>
                    <a:lnTo>
                      <a:pt x="1642" y="805"/>
                    </a:lnTo>
                    <a:lnTo>
                      <a:pt x="1642" y="803"/>
                    </a:lnTo>
                    <a:lnTo>
                      <a:pt x="1640" y="803"/>
                    </a:lnTo>
                    <a:lnTo>
                      <a:pt x="1640" y="803"/>
                    </a:lnTo>
                    <a:lnTo>
                      <a:pt x="1640" y="802"/>
                    </a:lnTo>
                    <a:lnTo>
                      <a:pt x="1639" y="802"/>
                    </a:lnTo>
                    <a:lnTo>
                      <a:pt x="1638" y="802"/>
                    </a:lnTo>
                    <a:lnTo>
                      <a:pt x="1638" y="802"/>
                    </a:lnTo>
                    <a:lnTo>
                      <a:pt x="1638" y="802"/>
                    </a:lnTo>
                    <a:lnTo>
                      <a:pt x="1635" y="802"/>
                    </a:lnTo>
                    <a:lnTo>
                      <a:pt x="1635" y="801"/>
                    </a:lnTo>
                    <a:lnTo>
                      <a:pt x="1635" y="800"/>
                    </a:lnTo>
                    <a:lnTo>
                      <a:pt x="1635" y="800"/>
                    </a:lnTo>
                    <a:lnTo>
                      <a:pt x="1635" y="798"/>
                    </a:lnTo>
                    <a:lnTo>
                      <a:pt x="1635" y="797"/>
                    </a:lnTo>
                    <a:lnTo>
                      <a:pt x="1638" y="797"/>
                    </a:lnTo>
                    <a:lnTo>
                      <a:pt x="1638" y="796"/>
                    </a:lnTo>
                    <a:lnTo>
                      <a:pt x="1638" y="796"/>
                    </a:lnTo>
                    <a:lnTo>
                      <a:pt x="1638" y="795"/>
                    </a:lnTo>
                    <a:lnTo>
                      <a:pt x="1639" y="795"/>
                    </a:lnTo>
                    <a:lnTo>
                      <a:pt x="1642" y="795"/>
                    </a:lnTo>
                    <a:lnTo>
                      <a:pt x="1642" y="792"/>
                    </a:lnTo>
                    <a:lnTo>
                      <a:pt x="1643" y="792"/>
                    </a:lnTo>
                    <a:lnTo>
                      <a:pt x="1644" y="791"/>
                    </a:lnTo>
                    <a:lnTo>
                      <a:pt x="1644" y="791"/>
                    </a:lnTo>
                    <a:lnTo>
                      <a:pt x="1644" y="790"/>
                    </a:lnTo>
                    <a:lnTo>
                      <a:pt x="1643" y="790"/>
                    </a:lnTo>
                    <a:lnTo>
                      <a:pt x="1643" y="790"/>
                    </a:lnTo>
                    <a:lnTo>
                      <a:pt x="1643" y="790"/>
                    </a:lnTo>
                    <a:lnTo>
                      <a:pt x="1643" y="791"/>
                    </a:lnTo>
                    <a:lnTo>
                      <a:pt x="1642" y="792"/>
                    </a:lnTo>
                    <a:lnTo>
                      <a:pt x="1640" y="792"/>
                    </a:lnTo>
                    <a:lnTo>
                      <a:pt x="1639" y="795"/>
                    </a:lnTo>
                    <a:lnTo>
                      <a:pt x="1638" y="796"/>
                    </a:lnTo>
                    <a:lnTo>
                      <a:pt x="1635" y="798"/>
                    </a:lnTo>
                    <a:lnTo>
                      <a:pt x="1635" y="798"/>
                    </a:lnTo>
                    <a:lnTo>
                      <a:pt x="1634" y="800"/>
                    </a:lnTo>
                    <a:lnTo>
                      <a:pt x="1633" y="801"/>
                    </a:lnTo>
                    <a:lnTo>
                      <a:pt x="1633" y="801"/>
                    </a:lnTo>
                    <a:lnTo>
                      <a:pt x="1634" y="802"/>
                    </a:lnTo>
                    <a:lnTo>
                      <a:pt x="1634" y="802"/>
                    </a:lnTo>
                    <a:lnTo>
                      <a:pt x="1635" y="802"/>
                    </a:lnTo>
                    <a:lnTo>
                      <a:pt x="1635" y="803"/>
                    </a:lnTo>
                    <a:lnTo>
                      <a:pt x="1638" y="803"/>
                    </a:lnTo>
                    <a:lnTo>
                      <a:pt x="1638" y="803"/>
                    </a:lnTo>
                    <a:lnTo>
                      <a:pt x="1638" y="803"/>
                    </a:lnTo>
                    <a:lnTo>
                      <a:pt x="1638" y="803"/>
                    </a:lnTo>
                    <a:lnTo>
                      <a:pt x="1638" y="805"/>
                    </a:lnTo>
                    <a:lnTo>
                      <a:pt x="1638" y="805"/>
                    </a:lnTo>
                    <a:lnTo>
                      <a:pt x="1638" y="805"/>
                    </a:lnTo>
                    <a:lnTo>
                      <a:pt x="1639" y="806"/>
                    </a:lnTo>
                    <a:lnTo>
                      <a:pt x="1639" y="806"/>
                    </a:lnTo>
                    <a:lnTo>
                      <a:pt x="1640" y="807"/>
                    </a:lnTo>
                    <a:lnTo>
                      <a:pt x="1642" y="807"/>
                    </a:lnTo>
                    <a:lnTo>
                      <a:pt x="1643" y="807"/>
                    </a:lnTo>
                    <a:lnTo>
                      <a:pt x="1644" y="807"/>
                    </a:lnTo>
                    <a:lnTo>
                      <a:pt x="1644" y="807"/>
                    </a:lnTo>
                    <a:lnTo>
                      <a:pt x="1645" y="808"/>
                    </a:lnTo>
                    <a:lnTo>
                      <a:pt x="1647" y="808"/>
                    </a:lnTo>
                    <a:lnTo>
                      <a:pt x="1647" y="808"/>
                    </a:lnTo>
                    <a:lnTo>
                      <a:pt x="1647" y="810"/>
                    </a:lnTo>
                    <a:lnTo>
                      <a:pt x="1649" y="810"/>
                    </a:lnTo>
                    <a:lnTo>
                      <a:pt x="1649" y="812"/>
                    </a:lnTo>
                    <a:lnTo>
                      <a:pt x="1649" y="813"/>
                    </a:lnTo>
                    <a:lnTo>
                      <a:pt x="1650" y="813"/>
                    </a:lnTo>
                    <a:lnTo>
                      <a:pt x="1650" y="814"/>
                    </a:lnTo>
                    <a:lnTo>
                      <a:pt x="1652" y="816"/>
                    </a:lnTo>
                    <a:lnTo>
                      <a:pt x="1652" y="816"/>
                    </a:lnTo>
                    <a:lnTo>
                      <a:pt x="1652" y="817"/>
                    </a:lnTo>
                    <a:lnTo>
                      <a:pt x="1652" y="817"/>
                    </a:lnTo>
                    <a:lnTo>
                      <a:pt x="1652" y="817"/>
                    </a:lnTo>
                    <a:lnTo>
                      <a:pt x="1650" y="817"/>
                    </a:lnTo>
                    <a:lnTo>
                      <a:pt x="1650" y="818"/>
                    </a:lnTo>
                    <a:lnTo>
                      <a:pt x="1649" y="819"/>
                    </a:lnTo>
                    <a:lnTo>
                      <a:pt x="1649" y="819"/>
                    </a:lnTo>
                    <a:lnTo>
                      <a:pt x="1647" y="819"/>
                    </a:lnTo>
                    <a:lnTo>
                      <a:pt x="1647" y="819"/>
                    </a:lnTo>
                    <a:lnTo>
                      <a:pt x="1647" y="819"/>
                    </a:lnTo>
                    <a:lnTo>
                      <a:pt x="1645" y="819"/>
                    </a:lnTo>
                    <a:lnTo>
                      <a:pt x="1644" y="819"/>
                    </a:lnTo>
                    <a:lnTo>
                      <a:pt x="1643" y="818"/>
                    </a:lnTo>
                    <a:lnTo>
                      <a:pt x="1642" y="817"/>
                    </a:lnTo>
                    <a:lnTo>
                      <a:pt x="1640" y="816"/>
                    </a:lnTo>
                    <a:lnTo>
                      <a:pt x="1638" y="813"/>
                    </a:lnTo>
                    <a:lnTo>
                      <a:pt x="1638" y="811"/>
                    </a:lnTo>
                    <a:lnTo>
                      <a:pt x="1638" y="812"/>
                    </a:lnTo>
                    <a:lnTo>
                      <a:pt x="1638" y="814"/>
                    </a:lnTo>
                    <a:lnTo>
                      <a:pt x="1639" y="816"/>
                    </a:lnTo>
                    <a:lnTo>
                      <a:pt x="1640" y="817"/>
                    </a:lnTo>
                    <a:lnTo>
                      <a:pt x="1642" y="819"/>
                    </a:lnTo>
                    <a:lnTo>
                      <a:pt x="1643" y="821"/>
                    </a:lnTo>
                    <a:lnTo>
                      <a:pt x="1644" y="821"/>
                    </a:lnTo>
                    <a:lnTo>
                      <a:pt x="1645" y="823"/>
                    </a:lnTo>
                    <a:lnTo>
                      <a:pt x="1647" y="823"/>
                    </a:lnTo>
                    <a:lnTo>
                      <a:pt x="1647" y="824"/>
                    </a:lnTo>
                    <a:lnTo>
                      <a:pt x="1647" y="824"/>
                    </a:lnTo>
                    <a:lnTo>
                      <a:pt x="1649" y="824"/>
                    </a:lnTo>
                    <a:lnTo>
                      <a:pt x="1649" y="824"/>
                    </a:lnTo>
                    <a:lnTo>
                      <a:pt x="1649" y="827"/>
                    </a:lnTo>
                    <a:lnTo>
                      <a:pt x="1647" y="827"/>
                    </a:lnTo>
                    <a:lnTo>
                      <a:pt x="1647" y="827"/>
                    </a:lnTo>
                    <a:lnTo>
                      <a:pt x="1645" y="827"/>
                    </a:lnTo>
                    <a:lnTo>
                      <a:pt x="1643" y="828"/>
                    </a:lnTo>
                    <a:lnTo>
                      <a:pt x="1644" y="828"/>
                    </a:lnTo>
                    <a:lnTo>
                      <a:pt x="1644" y="831"/>
                    </a:lnTo>
                    <a:lnTo>
                      <a:pt x="1645" y="831"/>
                    </a:lnTo>
                    <a:lnTo>
                      <a:pt x="1645" y="831"/>
                    </a:lnTo>
                    <a:lnTo>
                      <a:pt x="1644" y="831"/>
                    </a:lnTo>
                    <a:lnTo>
                      <a:pt x="1644" y="831"/>
                    </a:lnTo>
                    <a:lnTo>
                      <a:pt x="1643" y="831"/>
                    </a:lnTo>
                    <a:lnTo>
                      <a:pt x="1642" y="831"/>
                    </a:lnTo>
                    <a:lnTo>
                      <a:pt x="1643" y="833"/>
                    </a:lnTo>
                    <a:lnTo>
                      <a:pt x="1643" y="834"/>
                    </a:lnTo>
                    <a:lnTo>
                      <a:pt x="1644" y="834"/>
                    </a:lnTo>
                    <a:lnTo>
                      <a:pt x="1644" y="834"/>
                    </a:lnTo>
                    <a:lnTo>
                      <a:pt x="1644" y="834"/>
                    </a:lnTo>
                    <a:lnTo>
                      <a:pt x="1643" y="837"/>
                    </a:lnTo>
                    <a:lnTo>
                      <a:pt x="1643" y="837"/>
                    </a:lnTo>
                    <a:lnTo>
                      <a:pt x="1642" y="837"/>
                    </a:lnTo>
                    <a:lnTo>
                      <a:pt x="1640" y="837"/>
                    </a:lnTo>
                    <a:lnTo>
                      <a:pt x="1639" y="837"/>
                    </a:lnTo>
                    <a:lnTo>
                      <a:pt x="1639" y="834"/>
                    </a:lnTo>
                    <a:lnTo>
                      <a:pt x="1638" y="834"/>
                    </a:lnTo>
                    <a:lnTo>
                      <a:pt x="1638" y="834"/>
                    </a:lnTo>
                    <a:lnTo>
                      <a:pt x="1638" y="832"/>
                    </a:lnTo>
                    <a:lnTo>
                      <a:pt x="1635" y="831"/>
                    </a:lnTo>
                    <a:lnTo>
                      <a:pt x="1633" y="831"/>
                    </a:lnTo>
                    <a:lnTo>
                      <a:pt x="1630" y="831"/>
                    </a:lnTo>
                    <a:lnTo>
                      <a:pt x="1628" y="828"/>
                    </a:lnTo>
                    <a:lnTo>
                      <a:pt x="1625" y="828"/>
                    </a:lnTo>
                    <a:lnTo>
                      <a:pt x="1625" y="828"/>
                    </a:lnTo>
                    <a:lnTo>
                      <a:pt x="1625" y="831"/>
                    </a:lnTo>
                    <a:lnTo>
                      <a:pt x="1628" y="831"/>
                    </a:lnTo>
                    <a:lnTo>
                      <a:pt x="1628" y="831"/>
                    </a:lnTo>
                    <a:lnTo>
                      <a:pt x="1630" y="832"/>
                    </a:lnTo>
                    <a:lnTo>
                      <a:pt x="1633" y="832"/>
                    </a:lnTo>
                    <a:lnTo>
                      <a:pt x="1634" y="833"/>
                    </a:lnTo>
                    <a:lnTo>
                      <a:pt x="1634" y="833"/>
                    </a:lnTo>
                    <a:lnTo>
                      <a:pt x="1635" y="834"/>
                    </a:lnTo>
                    <a:lnTo>
                      <a:pt x="1638" y="834"/>
                    </a:lnTo>
                    <a:lnTo>
                      <a:pt x="1638" y="834"/>
                    </a:lnTo>
                    <a:lnTo>
                      <a:pt x="1638" y="837"/>
                    </a:lnTo>
                    <a:lnTo>
                      <a:pt x="1638" y="838"/>
                    </a:lnTo>
                    <a:lnTo>
                      <a:pt x="1638" y="839"/>
                    </a:lnTo>
                    <a:lnTo>
                      <a:pt x="1638" y="841"/>
                    </a:lnTo>
                    <a:lnTo>
                      <a:pt x="1638" y="841"/>
                    </a:lnTo>
                    <a:lnTo>
                      <a:pt x="1638" y="841"/>
                    </a:lnTo>
                    <a:lnTo>
                      <a:pt x="1639" y="841"/>
                    </a:lnTo>
                    <a:lnTo>
                      <a:pt x="1640" y="841"/>
                    </a:lnTo>
                    <a:lnTo>
                      <a:pt x="1640" y="841"/>
                    </a:lnTo>
                    <a:lnTo>
                      <a:pt x="1642" y="842"/>
                    </a:lnTo>
                    <a:lnTo>
                      <a:pt x="1643" y="843"/>
                    </a:lnTo>
                    <a:lnTo>
                      <a:pt x="1643" y="842"/>
                    </a:lnTo>
                    <a:lnTo>
                      <a:pt x="1643" y="841"/>
                    </a:lnTo>
                    <a:lnTo>
                      <a:pt x="1643" y="841"/>
                    </a:lnTo>
                    <a:lnTo>
                      <a:pt x="1643" y="839"/>
                    </a:lnTo>
                    <a:lnTo>
                      <a:pt x="1644" y="839"/>
                    </a:lnTo>
                    <a:lnTo>
                      <a:pt x="1644" y="839"/>
                    </a:lnTo>
                    <a:lnTo>
                      <a:pt x="1645" y="839"/>
                    </a:lnTo>
                    <a:lnTo>
                      <a:pt x="1647" y="839"/>
                    </a:lnTo>
                    <a:lnTo>
                      <a:pt x="1647" y="839"/>
                    </a:lnTo>
                    <a:lnTo>
                      <a:pt x="1649" y="839"/>
                    </a:lnTo>
                    <a:lnTo>
                      <a:pt x="1649" y="839"/>
                    </a:lnTo>
                    <a:lnTo>
                      <a:pt x="1649" y="841"/>
                    </a:lnTo>
                    <a:lnTo>
                      <a:pt x="1649" y="841"/>
                    </a:lnTo>
                    <a:lnTo>
                      <a:pt x="1650" y="842"/>
                    </a:lnTo>
                    <a:lnTo>
                      <a:pt x="1650" y="843"/>
                    </a:lnTo>
                    <a:lnTo>
                      <a:pt x="1650" y="846"/>
                    </a:lnTo>
                    <a:lnTo>
                      <a:pt x="1650" y="846"/>
                    </a:lnTo>
                    <a:lnTo>
                      <a:pt x="1650" y="848"/>
                    </a:lnTo>
                    <a:lnTo>
                      <a:pt x="1650" y="849"/>
                    </a:lnTo>
                    <a:lnTo>
                      <a:pt x="1649" y="851"/>
                    </a:lnTo>
                    <a:lnTo>
                      <a:pt x="1649" y="852"/>
                    </a:lnTo>
                    <a:lnTo>
                      <a:pt x="1649" y="854"/>
                    </a:lnTo>
                    <a:lnTo>
                      <a:pt x="1649" y="856"/>
                    </a:lnTo>
                    <a:lnTo>
                      <a:pt x="1649" y="852"/>
                    </a:lnTo>
                    <a:lnTo>
                      <a:pt x="1649" y="851"/>
                    </a:lnTo>
                    <a:lnTo>
                      <a:pt x="1649" y="849"/>
                    </a:lnTo>
                    <a:lnTo>
                      <a:pt x="1649" y="849"/>
                    </a:lnTo>
                    <a:lnTo>
                      <a:pt x="1649" y="848"/>
                    </a:lnTo>
                    <a:lnTo>
                      <a:pt x="1649" y="848"/>
                    </a:lnTo>
                    <a:lnTo>
                      <a:pt x="1647" y="849"/>
                    </a:lnTo>
                    <a:lnTo>
                      <a:pt x="1647" y="849"/>
                    </a:lnTo>
                    <a:lnTo>
                      <a:pt x="1647" y="848"/>
                    </a:lnTo>
                    <a:lnTo>
                      <a:pt x="1645" y="848"/>
                    </a:lnTo>
                    <a:lnTo>
                      <a:pt x="1645" y="849"/>
                    </a:lnTo>
                    <a:lnTo>
                      <a:pt x="1647" y="851"/>
                    </a:lnTo>
                    <a:lnTo>
                      <a:pt x="1647" y="856"/>
                    </a:lnTo>
                    <a:lnTo>
                      <a:pt x="1647" y="856"/>
                    </a:lnTo>
                    <a:lnTo>
                      <a:pt x="1647" y="859"/>
                    </a:lnTo>
                    <a:lnTo>
                      <a:pt x="1647" y="861"/>
                    </a:lnTo>
                    <a:lnTo>
                      <a:pt x="1645" y="862"/>
                    </a:lnTo>
                    <a:lnTo>
                      <a:pt x="1645" y="861"/>
                    </a:lnTo>
                    <a:lnTo>
                      <a:pt x="1645" y="859"/>
                    </a:lnTo>
                    <a:lnTo>
                      <a:pt x="1645" y="859"/>
                    </a:lnTo>
                    <a:lnTo>
                      <a:pt x="1645" y="858"/>
                    </a:lnTo>
                    <a:lnTo>
                      <a:pt x="1645" y="858"/>
                    </a:lnTo>
                    <a:lnTo>
                      <a:pt x="1645" y="858"/>
                    </a:lnTo>
                    <a:lnTo>
                      <a:pt x="1644" y="859"/>
                    </a:lnTo>
                    <a:lnTo>
                      <a:pt x="1643" y="859"/>
                    </a:lnTo>
                    <a:lnTo>
                      <a:pt x="1643" y="859"/>
                    </a:lnTo>
                    <a:lnTo>
                      <a:pt x="1642" y="859"/>
                    </a:lnTo>
                    <a:lnTo>
                      <a:pt x="1642" y="858"/>
                    </a:lnTo>
                    <a:lnTo>
                      <a:pt x="1640" y="858"/>
                    </a:lnTo>
                    <a:lnTo>
                      <a:pt x="1640" y="859"/>
                    </a:lnTo>
                    <a:lnTo>
                      <a:pt x="1640" y="859"/>
                    </a:lnTo>
                    <a:lnTo>
                      <a:pt x="1640" y="859"/>
                    </a:lnTo>
                    <a:lnTo>
                      <a:pt x="1640" y="859"/>
                    </a:lnTo>
                    <a:lnTo>
                      <a:pt x="1639" y="859"/>
                    </a:lnTo>
                    <a:lnTo>
                      <a:pt x="1639" y="859"/>
                    </a:lnTo>
                    <a:lnTo>
                      <a:pt x="1638" y="859"/>
                    </a:lnTo>
                    <a:lnTo>
                      <a:pt x="1638" y="861"/>
                    </a:lnTo>
                    <a:lnTo>
                      <a:pt x="1638" y="861"/>
                    </a:lnTo>
                    <a:lnTo>
                      <a:pt x="1638" y="861"/>
                    </a:lnTo>
                    <a:lnTo>
                      <a:pt x="1638" y="862"/>
                    </a:lnTo>
                    <a:lnTo>
                      <a:pt x="1638" y="861"/>
                    </a:lnTo>
                    <a:lnTo>
                      <a:pt x="1635" y="861"/>
                    </a:lnTo>
                    <a:lnTo>
                      <a:pt x="1635" y="861"/>
                    </a:lnTo>
                    <a:lnTo>
                      <a:pt x="1634" y="859"/>
                    </a:lnTo>
                    <a:lnTo>
                      <a:pt x="1634" y="859"/>
                    </a:lnTo>
                    <a:lnTo>
                      <a:pt x="1634" y="861"/>
                    </a:lnTo>
                    <a:lnTo>
                      <a:pt x="1635" y="861"/>
                    </a:lnTo>
                    <a:lnTo>
                      <a:pt x="1635" y="861"/>
                    </a:lnTo>
                    <a:lnTo>
                      <a:pt x="1635" y="862"/>
                    </a:lnTo>
                    <a:lnTo>
                      <a:pt x="1635" y="862"/>
                    </a:lnTo>
                    <a:lnTo>
                      <a:pt x="1634" y="862"/>
                    </a:lnTo>
                    <a:lnTo>
                      <a:pt x="1632" y="863"/>
                    </a:lnTo>
                    <a:lnTo>
                      <a:pt x="1630" y="863"/>
                    </a:lnTo>
                    <a:lnTo>
                      <a:pt x="1630" y="863"/>
                    </a:lnTo>
                    <a:lnTo>
                      <a:pt x="1629" y="863"/>
                    </a:lnTo>
                    <a:lnTo>
                      <a:pt x="1628" y="862"/>
                    </a:lnTo>
                    <a:lnTo>
                      <a:pt x="1628" y="862"/>
                    </a:lnTo>
                    <a:lnTo>
                      <a:pt x="1628" y="861"/>
                    </a:lnTo>
                    <a:lnTo>
                      <a:pt x="1628" y="861"/>
                    </a:lnTo>
                    <a:lnTo>
                      <a:pt x="1625" y="862"/>
                    </a:lnTo>
                    <a:lnTo>
                      <a:pt x="1625" y="863"/>
                    </a:lnTo>
                    <a:lnTo>
                      <a:pt x="1625" y="864"/>
                    </a:lnTo>
                    <a:lnTo>
                      <a:pt x="1625" y="864"/>
                    </a:lnTo>
                    <a:lnTo>
                      <a:pt x="1625" y="866"/>
                    </a:lnTo>
                    <a:lnTo>
                      <a:pt x="1628" y="866"/>
                    </a:lnTo>
                    <a:lnTo>
                      <a:pt x="1628" y="866"/>
                    </a:lnTo>
                    <a:lnTo>
                      <a:pt x="1629" y="866"/>
                    </a:lnTo>
                    <a:lnTo>
                      <a:pt x="1632" y="864"/>
                    </a:lnTo>
                    <a:lnTo>
                      <a:pt x="1633" y="864"/>
                    </a:lnTo>
                    <a:lnTo>
                      <a:pt x="1634" y="864"/>
                    </a:lnTo>
                    <a:lnTo>
                      <a:pt x="1635" y="864"/>
                    </a:lnTo>
                    <a:lnTo>
                      <a:pt x="1635" y="864"/>
                    </a:lnTo>
                    <a:lnTo>
                      <a:pt x="1638" y="864"/>
                    </a:lnTo>
                    <a:lnTo>
                      <a:pt x="1638" y="864"/>
                    </a:lnTo>
                    <a:lnTo>
                      <a:pt x="1639" y="864"/>
                    </a:lnTo>
                    <a:lnTo>
                      <a:pt x="1639" y="866"/>
                    </a:lnTo>
                    <a:lnTo>
                      <a:pt x="1640" y="866"/>
                    </a:lnTo>
                    <a:lnTo>
                      <a:pt x="1640" y="866"/>
                    </a:lnTo>
                    <a:lnTo>
                      <a:pt x="1640" y="867"/>
                    </a:lnTo>
                    <a:lnTo>
                      <a:pt x="1639" y="869"/>
                    </a:lnTo>
                    <a:lnTo>
                      <a:pt x="1639" y="869"/>
                    </a:lnTo>
                    <a:lnTo>
                      <a:pt x="1638" y="871"/>
                    </a:lnTo>
                    <a:lnTo>
                      <a:pt x="1639" y="871"/>
                    </a:lnTo>
                    <a:lnTo>
                      <a:pt x="1639" y="869"/>
                    </a:lnTo>
                    <a:lnTo>
                      <a:pt x="1640" y="869"/>
                    </a:lnTo>
                    <a:lnTo>
                      <a:pt x="1640" y="869"/>
                    </a:lnTo>
                    <a:lnTo>
                      <a:pt x="1640" y="867"/>
                    </a:lnTo>
                    <a:lnTo>
                      <a:pt x="1642" y="867"/>
                    </a:lnTo>
                    <a:lnTo>
                      <a:pt x="1642" y="866"/>
                    </a:lnTo>
                    <a:lnTo>
                      <a:pt x="1644" y="866"/>
                    </a:lnTo>
                    <a:lnTo>
                      <a:pt x="1644" y="866"/>
                    </a:lnTo>
                    <a:lnTo>
                      <a:pt x="1645" y="864"/>
                    </a:lnTo>
                    <a:lnTo>
                      <a:pt x="1647" y="866"/>
                    </a:lnTo>
                    <a:lnTo>
                      <a:pt x="1647" y="866"/>
                    </a:lnTo>
                    <a:lnTo>
                      <a:pt x="1647" y="866"/>
                    </a:lnTo>
                    <a:lnTo>
                      <a:pt x="1647" y="867"/>
                    </a:lnTo>
                    <a:lnTo>
                      <a:pt x="1647" y="869"/>
                    </a:lnTo>
                    <a:lnTo>
                      <a:pt x="1645" y="869"/>
                    </a:lnTo>
                    <a:lnTo>
                      <a:pt x="1644" y="872"/>
                    </a:lnTo>
                    <a:lnTo>
                      <a:pt x="1644" y="872"/>
                    </a:lnTo>
                    <a:lnTo>
                      <a:pt x="1643" y="873"/>
                    </a:lnTo>
                    <a:lnTo>
                      <a:pt x="1643" y="874"/>
                    </a:lnTo>
                    <a:lnTo>
                      <a:pt x="1643" y="874"/>
                    </a:lnTo>
                    <a:lnTo>
                      <a:pt x="1642" y="874"/>
                    </a:lnTo>
                    <a:lnTo>
                      <a:pt x="1642" y="874"/>
                    </a:lnTo>
                    <a:lnTo>
                      <a:pt x="1640" y="874"/>
                    </a:lnTo>
                    <a:lnTo>
                      <a:pt x="1639" y="874"/>
                    </a:lnTo>
                    <a:lnTo>
                      <a:pt x="1639" y="874"/>
                    </a:lnTo>
                    <a:lnTo>
                      <a:pt x="1638" y="876"/>
                    </a:lnTo>
                    <a:lnTo>
                      <a:pt x="1638" y="877"/>
                    </a:lnTo>
                    <a:lnTo>
                      <a:pt x="1638" y="878"/>
                    </a:lnTo>
                    <a:lnTo>
                      <a:pt x="1635" y="879"/>
                    </a:lnTo>
                    <a:lnTo>
                      <a:pt x="1635" y="879"/>
                    </a:lnTo>
                    <a:lnTo>
                      <a:pt x="1634" y="879"/>
                    </a:lnTo>
                    <a:lnTo>
                      <a:pt x="1632" y="879"/>
                    </a:lnTo>
                    <a:lnTo>
                      <a:pt x="1630" y="879"/>
                    </a:lnTo>
                    <a:lnTo>
                      <a:pt x="1628" y="879"/>
                    </a:lnTo>
                    <a:lnTo>
                      <a:pt x="1628" y="879"/>
                    </a:lnTo>
                    <a:lnTo>
                      <a:pt x="1625" y="879"/>
                    </a:lnTo>
                    <a:lnTo>
                      <a:pt x="1625" y="879"/>
                    </a:lnTo>
                    <a:lnTo>
                      <a:pt x="1625" y="878"/>
                    </a:lnTo>
                    <a:lnTo>
                      <a:pt x="1625" y="877"/>
                    </a:lnTo>
                    <a:lnTo>
                      <a:pt x="1624" y="877"/>
                    </a:lnTo>
                    <a:lnTo>
                      <a:pt x="1624" y="877"/>
                    </a:lnTo>
                    <a:lnTo>
                      <a:pt x="1624" y="878"/>
                    </a:lnTo>
                    <a:lnTo>
                      <a:pt x="1624" y="878"/>
                    </a:lnTo>
                    <a:lnTo>
                      <a:pt x="1624" y="879"/>
                    </a:lnTo>
                    <a:lnTo>
                      <a:pt x="1624" y="879"/>
                    </a:lnTo>
                    <a:lnTo>
                      <a:pt x="1622" y="879"/>
                    </a:lnTo>
                    <a:lnTo>
                      <a:pt x="1620" y="879"/>
                    </a:lnTo>
                    <a:lnTo>
                      <a:pt x="1619" y="879"/>
                    </a:lnTo>
                    <a:lnTo>
                      <a:pt x="1618" y="878"/>
                    </a:lnTo>
                    <a:lnTo>
                      <a:pt x="1618" y="878"/>
                    </a:lnTo>
                    <a:lnTo>
                      <a:pt x="1618" y="878"/>
                    </a:lnTo>
                    <a:lnTo>
                      <a:pt x="1618" y="879"/>
                    </a:lnTo>
                    <a:lnTo>
                      <a:pt x="1619" y="879"/>
                    </a:lnTo>
                    <a:lnTo>
                      <a:pt x="1622" y="879"/>
                    </a:lnTo>
                    <a:lnTo>
                      <a:pt x="1622" y="881"/>
                    </a:lnTo>
                    <a:lnTo>
                      <a:pt x="1624" y="881"/>
                    </a:lnTo>
                    <a:lnTo>
                      <a:pt x="1624" y="882"/>
                    </a:lnTo>
                    <a:lnTo>
                      <a:pt x="1624" y="882"/>
                    </a:lnTo>
                    <a:lnTo>
                      <a:pt x="1624" y="883"/>
                    </a:lnTo>
                    <a:lnTo>
                      <a:pt x="1624" y="883"/>
                    </a:lnTo>
                    <a:lnTo>
                      <a:pt x="1624" y="884"/>
                    </a:lnTo>
                    <a:lnTo>
                      <a:pt x="1622" y="884"/>
                    </a:lnTo>
                    <a:lnTo>
                      <a:pt x="1622" y="884"/>
                    </a:lnTo>
                    <a:lnTo>
                      <a:pt x="1622" y="885"/>
                    </a:lnTo>
                    <a:lnTo>
                      <a:pt x="1622" y="885"/>
                    </a:lnTo>
                    <a:lnTo>
                      <a:pt x="1622" y="887"/>
                    </a:lnTo>
                    <a:lnTo>
                      <a:pt x="1622" y="888"/>
                    </a:lnTo>
                    <a:lnTo>
                      <a:pt x="1622" y="888"/>
                    </a:lnTo>
                    <a:lnTo>
                      <a:pt x="1622" y="888"/>
                    </a:lnTo>
                    <a:lnTo>
                      <a:pt x="1620" y="890"/>
                    </a:lnTo>
                    <a:lnTo>
                      <a:pt x="1619" y="890"/>
                    </a:lnTo>
                    <a:lnTo>
                      <a:pt x="1618" y="890"/>
                    </a:lnTo>
                    <a:lnTo>
                      <a:pt x="1618" y="890"/>
                    </a:lnTo>
                    <a:lnTo>
                      <a:pt x="1617" y="890"/>
                    </a:lnTo>
                    <a:lnTo>
                      <a:pt x="1614" y="888"/>
                    </a:lnTo>
                    <a:lnTo>
                      <a:pt x="1613" y="888"/>
                    </a:lnTo>
                    <a:lnTo>
                      <a:pt x="1612" y="887"/>
                    </a:lnTo>
                    <a:lnTo>
                      <a:pt x="1612" y="888"/>
                    </a:lnTo>
                    <a:lnTo>
                      <a:pt x="1612" y="888"/>
                    </a:lnTo>
                    <a:lnTo>
                      <a:pt x="1612" y="890"/>
                    </a:lnTo>
                    <a:lnTo>
                      <a:pt x="1613" y="890"/>
                    </a:lnTo>
                    <a:lnTo>
                      <a:pt x="1614" y="890"/>
                    </a:lnTo>
                    <a:lnTo>
                      <a:pt x="1614" y="890"/>
                    </a:lnTo>
                    <a:lnTo>
                      <a:pt x="1617" y="890"/>
                    </a:lnTo>
                    <a:lnTo>
                      <a:pt x="1618" y="890"/>
                    </a:lnTo>
                    <a:lnTo>
                      <a:pt x="1618" y="890"/>
                    </a:lnTo>
                    <a:lnTo>
                      <a:pt x="1620" y="890"/>
                    </a:lnTo>
                    <a:lnTo>
                      <a:pt x="1622" y="890"/>
                    </a:lnTo>
                    <a:lnTo>
                      <a:pt x="1622" y="890"/>
                    </a:lnTo>
                    <a:lnTo>
                      <a:pt x="1624" y="890"/>
                    </a:lnTo>
                    <a:lnTo>
                      <a:pt x="1624" y="890"/>
                    </a:lnTo>
                    <a:lnTo>
                      <a:pt x="1624" y="890"/>
                    </a:lnTo>
                    <a:lnTo>
                      <a:pt x="1624" y="890"/>
                    </a:lnTo>
                    <a:lnTo>
                      <a:pt x="1624" y="890"/>
                    </a:lnTo>
                    <a:lnTo>
                      <a:pt x="1624" y="890"/>
                    </a:lnTo>
                    <a:lnTo>
                      <a:pt x="1625" y="890"/>
                    </a:lnTo>
                    <a:lnTo>
                      <a:pt x="1625" y="890"/>
                    </a:lnTo>
                    <a:lnTo>
                      <a:pt x="1622" y="897"/>
                    </a:lnTo>
                    <a:lnTo>
                      <a:pt x="1620" y="897"/>
                    </a:lnTo>
                    <a:lnTo>
                      <a:pt x="1620" y="897"/>
                    </a:lnTo>
                    <a:lnTo>
                      <a:pt x="1619" y="897"/>
                    </a:lnTo>
                    <a:lnTo>
                      <a:pt x="1618" y="897"/>
                    </a:lnTo>
                    <a:lnTo>
                      <a:pt x="1618" y="897"/>
                    </a:lnTo>
                    <a:lnTo>
                      <a:pt x="1617" y="897"/>
                    </a:lnTo>
                    <a:lnTo>
                      <a:pt x="1617" y="897"/>
                    </a:lnTo>
                    <a:lnTo>
                      <a:pt x="1614" y="897"/>
                    </a:lnTo>
                    <a:lnTo>
                      <a:pt x="1614" y="897"/>
                    </a:lnTo>
                    <a:lnTo>
                      <a:pt x="1612" y="897"/>
                    </a:lnTo>
                    <a:lnTo>
                      <a:pt x="1611" y="897"/>
                    </a:lnTo>
                    <a:lnTo>
                      <a:pt x="1609" y="898"/>
                    </a:lnTo>
                    <a:lnTo>
                      <a:pt x="1607" y="898"/>
                    </a:lnTo>
                    <a:lnTo>
                      <a:pt x="1607" y="898"/>
                    </a:lnTo>
                    <a:lnTo>
                      <a:pt x="1606" y="900"/>
                    </a:lnTo>
                    <a:lnTo>
                      <a:pt x="1604" y="900"/>
                    </a:lnTo>
                    <a:lnTo>
                      <a:pt x="1603" y="900"/>
                    </a:lnTo>
                    <a:lnTo>
                      <a:pt x="1603" y="900"/>
                    </a:lnTo>
                    <a:lnTo>
                      <a:pt x="1602" y="900"/>
                    </a:lnTo>
                    <a:lnTo>
                      <a:pt x="1601" y="900"/>
                    </a:lnTo>
                    <a:lnTo>
                      <a:pt x="1601" y="900"/>
                    </a:lnTo>
                    <a:lnTo>
                      <a:pt x="1601" y="900"/>
                    </a:lnTo>
                    <a:lnTo>
                      <a:pt x="1602" y="900"/>
                    </a:lnTo>
                    <a:lnTo>
                      <a:pt x="1602" y="898"/>
                    </a:lnTo>
                    <a:lnTo>
                      <a:pt x="1601" y="898"/>
                    </a:lnTo>
                    <a:lnTo>
                      <a:pt x="1601" y="898"/>
                    </a:lnTo>
                    <a:lnTo>
                      <a:pt x="1599" y="900"/>
                    </a:lnTo>
                    <a:lnTo>
                      <a:pt x="1599" y="900"/>
                    </a:lnTo>
                    <a:lnTo>
                      <a:pt x="1599" y="900"/>
                    </a:lnTo>
                    <a:lnTo>
                      <a:pt x="1599" y="900"/>
                    </a:lnTo>
                    <a:lnTo>
                      <a:pt x="1599" y="902"/>
                    </a:lnTo>
                    <a:lnTo>
                      <a:pt x="1598" y="902"/>
                    </a:lnTo>
                    <a:lnTo>
                      <a:pt x="1598" y="902"/>
                    </a:lnTo>
                    <a:lnTo>
                      <a:pt x="1597" y="904"/>
                    </a:lnTo>
                    <a:lnTo>
                      <a:pt x="1596" y="904"/>
                    </a:lnTo>
                    <a:lnTo>
                      <a:pt x="1596" y="904"/>
                    </a:lnTo>
                    <a:lnTo>
                      <a:pt x="1593" y="905"/>
                    </a:lnTo>
                    <a:lnTo>
                      <a:pt x="1592" y="907"/>
                    </a:lnTo>
                    <a:lnTo>
                      <a:pt x="1589" y="909"/>
                    </a:lnTo>
                    <a:lnTo>
                      <a:pt x="1589" y="910"/>
                    </a:lnTo>
                    <a:lnTo>
                      <a:pt x="1587" y="912"/>
                    </a:lnTo>
                    <a:lnTo>
                      <a:pt x="1586" y="913"/>
                    </a:lnTo>
                    <a:lnTo>
                      <a:pt x="1586" y="914"/>
                    </a:lnTo>
                    <a:lnTo>
                      <a:pt x="1586" y="915"/>
                    </a:lnTo>
                    <a:lnTo>
                      <a:pt x="1586" y="914"/>
                    </a:lnTo>
                    <a:lnTo>
                      <a:pt x="1586" y="913"/>
                    </a:lnTo>
                    <a:lnTo>
                      <a:pt x="1583" y="914"/>
                    </a:lnTo>
                    <a:lnTo>
                      <a:pt x="1583" y="915"/>
                    </a:lnTo>
                    <a:lnTo>
                      <a:pt x="1583" y="917"/>
                    </a:lnTo>
                    <a:lnTo>
                      <a:pt x="1583" y="917"/>
                    </a:lnTo>
                    <a:lnTo>
                      <a:pt x="1582" y="918"/>
                    </a:lnTo>
                    <a:lnTo>
                      <a:pt x="1579" y="918"/>
                    </a:lnTo>
                    <a:lnTo>
                      <a:pt x="1578" y="919"/>
                    </a:lnTo>
                    <a:lnTo>
                      <a:pt x="1576" y="919"/>
                    </a:lnTo>
                    <a:lnTo>
                      <a:pt x="1573" y="919"/>
                    </a:lnTo>
                    <a:lnTo>
                      <a:pt x="1571" y="920"/>
                    </a:lnTo>
                    <a:lnTo>
                      <a:pt x="1568" y="920"/>
                    </a:lnTo>
                    <a:lnTo>
                      <a:pt x="1565" y="922"/>
                    </a:lnTo>
                    <a:lnTo>
                      <a:pt x="1562" y="923"/>
                    </a:lnTo>
                    <a:lnTo>
                      <a:pt x="1561" y="924"/>
                    </a:lnTo>
                    <a:lnTo>
                      <a:pt x="1558" y="927"/>
                    </a:lnTo>
                    <a:lnTo>
                      <a:pt x="1555" y="930"/>
                    </a:lnTo>
                    <a:lnTo>
                      <a:pt x="1553" y="933"/>
                    </a:lnTo>
                    <a:lnTo>
                      <a:pt x="1551" y="935"/>
                    </a:lnTo>
                    <a:lnTo>
                      <a:pt x="1551" y="934"/>
                    </a:lnTo>
                    <a:lnTo>
                      <a:pt x="1551" y="934"/>
                    </a:lnTo>
                    <a:lnTo>
                      <a:pt x="1551" y="933"/>
                    </a:lnTo>
                    <a:lnTo>
                      <a:pt x="1551" y="933"/>
                    </a:lnTo>
                    <a:lnTo>
                      <a:pt x="1551" y="933"/>
                    </a:lnTo>
                    <a:lnTo>
                      <a:pt x="1553" y="930"/>
                    </a:lnTo>
                    <a:lnTo>
                      <a:pt x="1555" y="930"/>
                    </a:lnTo>
                    <a:lnTo>
                      <a:pt x="1553" y="930"/>
                    </a:lnTo>
                    <a:lnTo>
                      <a:pt x="1551" y="930"/>
                    </a:lnTo>
                    <a:lnTo>
                      <a:pt x="1551" y="930"/>
                    </a:lnTo>
                    <a:lnTo>
                      <a:pt x="1551" y="933"/>
                    </a:lnTo>
                    <a:lnTo>
                      <a:pt x="1551" y="933"/>
                    </a:lnTo>
                    <a:lnTo>
                      <a:pt x="1550" y="934"/>
                    </a:lnTo>
                    <a:lnTo>
                      <a:pt x="1550" y="935"/>
                    </a:lnTo>
                    <a:lnTo>
                      <a:pt x="1550" y="937"/>
                    </a:lnTo>
                    <a:lnTo>
                      <a:pt x="1550" y="938"/>
                    </a:lnTo>
                    <a:lnTo>
                      <a:pt x="1548" y="938"/>
                    </a:lnTo>
                    <a:lnTo>
                      <a:pt x="1547" y="938"/>
                    </a:lnTo>
                    <a:lnTo>
                      <a:pt x="1547" y="938"/>
                    </a:lnTo>
                    <a:lnTo>
                      <a:pt x="1547" y="939"/>
                    </a:lnTo>
                    <a:lnTo>
                      <a:pt x="1547" y="939"/>
                    </a:lnTo>
                    <a:lnTo>
                      <a:pt x="1547" y="940"/>
                    </a:lnTo>
                    <a:lnTo>
                      <a:pt x="1546" y="940"/>
                    </a:lnTo>
                    <a:lnTo>
                      <a:pt x="1546" y="940"/>
                    </a:lnTo>
                    <a:lnTo>
                      <a:pt x="1546" y="940"/>
                    </a:lnTo>
                    <a:lnTo>
                      <a:pt x="1545" y="940"/>
                    </a:lnTo>
                    <a:lnTo>
                      <a:pt x="1545" y="940"/>
                    </a:lnTo>
                    <a:lnTo>
                      <a:pt x="1545" y="940"/>
                    </a:lnTo>
                    <a:lnTo>
                      <a:pt x="1545" y="940"/>
                    </a:lnTo>
                    <a:lnTo>
                      <a:pt x="1545" y="940"/>
                    </a:lnTo>
                    <a:lnTo>
                      <a:pt x="1545" y="943"/>
                    </a:lnTo>
                    <a:lnTo>
                      <a:pt x="1545" y="943"/>
                    </a:lnTo>
                    <a:lnTo>
                      <a:pt x="1543" y="943"/>
                    </a:lnTo>
                    <a:lnTo>
                      <a:pt x="1541" y="943"/>
                    </a:lnTo>
                    <a:lnTo>
                      <a:pt x="1541" y="943"/>
                    </a:lnTo>
                    <a:lnTo>
                      <a:pt x="1540" y="945"/>
                    </a:lnTo>
                    <a:lnTo>
                      <a:pt x="1537" y="947"/>
                    </a:lnTo>
                    <a:lnTo>
                      <a:pt x="1536" y="948"/>
                    </a:lnTo>
                    <a:lnTo>
                      <a:pt x="1535" y="948"/>
                    </a:lnTo>
                    <a:lnTo>
                      <a:pt x="1533" y="949"/>
                    </a:lnTo>
                    <a:lnTo>
                      <a:pt x="1532" y="949"/>
                    </a:lnTo>
                    <a:lnTo>
                      <a:pt x="1532" y="949"/>
                    </a:lnTo>
                    <a:lnTo>
                      <a:pt x="1532" y="948"/>
                    </a:lnTo>
                    <a:lnTo>
                      <a:pt x="1532" y="947"/>
                    </a:lnTo>
                    <a:lnTo>
                      <a:pt x="1532" y="948"/>
                    </a:lnTo>
                    <a:lnTo>
                      <a:pt x="1532" y="949"/>
                    </a:lnTo>
                    <a:lnTo>
                      <a:pt x="1532" y="950"/>
                    </a:lnTo>
                    <a:lnTo>
                      <a:pt x="1532" y="950"/>
                    </a:lnTo>
                    <a:lnTo>
                      <a:pt x="1532" y="951"/>
                    </a:lnTo>
                    <a:lnTo>
                      <a:pt x="1531" y="951"/>
                    </a:lnTo>
                    <a:lnTo>
                      <a:pt x="1531" y="951"/>
                    </a:lnTo>
                    <a:lnTo>
                      <a:pt x="1530" y="954"/>
                    </a:lnTo>
                    <a:lnTo>
                      <a:pt x="1528" y="954"/>
                    </a:lnTo>
                    <a:lnTo>
                      <a:pt x="1527" y="954"/>
                    </a:lnTo>
                    <a:lnTo>
                      <a:pt x="1522" y="954"/>
                    </a:lnTo>
                    <a:lnTo>
                      <a:pt x="1519" y="954"/>
                    </a:lnTo>
                    <a:lnTo>
                      <a:pt x="1519" y="954"/>
                    </a:lnTo>
                    <a:lnTo>
                      <a:pt x="1519" y="954"/>
                    </a:lnTo>
                    <a:lnTo>
                      <a:pt x="1516" y="954"/>
                    </a:lnTo>
                    <a:lnTo>
                      <a:pt x="1516" y="954"/>
                    </a:lnTo>
                    <a:lnTo>
                      <a:pt x="1516" y="954"/>
                    </a:lnTo>
                    <a:lnTo>
                      <a:pt x="1515" y="955"/>
                    </a:lnTo>
                    <a:lnTo>
                      <a:pt x="1516" y="955"/>
                    </a:lnTo>
                    <a:lnTo>
                      <a:pt x="1516" y="955"/>
                    </a:lnTo>
                    <a:lnTo>
                      <a:pt x="1516" y="956"/>
                    </a:lnTo>
                    <a:lnTo>
                      <a:pt x="1516" y="956"/>
                    </a:lnTo>
                    <a:lnTo>
                      <a:pt x="1516" y="956"/>
                    </a:lnTo>
                    <a:lnTo>
                      <a:pt x="1516" y="958"/>
                    </a:lnTo>
                    <a:lnTo>
                      <a:pt x="1516" y="958"/>
                    </a:lnTo>
                    <a:lnTo>
                      <a:pt x="1516" y="959"/>
                    </a:lnTo>
                    <a:lnTo>
                      <a:pt x="1516" y="959"/>
                    </a:lnTo>
                    <a:lnTo>
                      <a:pt x="1515" y="959"/>
                    </a:lnTo>
                    <a:lnTo>
                      <a:pt x="1515" y="959"/>
                    </a:lnTo>
                    <a:lnTo>
                      <a:pt x="1516" y="959"/>
                    </a:lnTo>
                    <a:lnTo>
                      <a:pt x="1516" y="960"/>
                    </a:lnTo>
                    <a:lnTo>
                      <a:pt x="1516" y="960"/>
                    </a:lnTo>
                    <a:lnTo>
                      <a:pt x="1515" y="961"/>
                    </a:lnTo>
                    <a:lnTo>
                      <a:pt x="1515" y="961"/>
                    </a:lnTo>
                    <a:lnTo>
                      <a:pt x="1515" y="961"/>
                    </a:lnTo>
                    <a:lnTo>
                      <a:pt x="1515" y="961"/>
                    </a:lnTo>
                    <a:lnTo>
                      <a:pt x="1512" y="960"/>
                    </a:lnTo>
                    <a:lnTo>
                      <a:pt x="1512" y="960"/>
                    </a:lnTo>
                    <a:lnTo>
                      <a:pt x="1512" y="959"/>
                    </a:lnTo>
                    <a:lnTo>
                      <a:pt x="1512" y="958"/>
                    </a:lnTo>
                    <a:lnTo>
                      <a:pt x="1512" y="956"/>
                    </a:lnTo>
                    <a:lnTo>
                      <a:pt x="1512" y="958"/>
                    </a:lnTo>
                    <a:lnTo>
                      <a:pt x="1512" y="959"/>
                    </a:lnTo>
                    <a:lnTo>
                      <a:pt x="1512" y="960"/>
                    </a:lnTo>
                    <a:lnTo>
                      <a:pt x="1512" y="960"/>
                    </a:lnTo>
                    <a:lnTo>
                      <a:pt x="1512" y="960"/>
                    </a:lnTo>
                    <a:lnTo>
                      <a:pt x="1511" y="960"/>
                    </a:lnTo>
                    <a:lnTo>
                      <a:pt x="1511" y="959"/>
                    </a:lnTo>
                    <a:lnTo>
                      <a:pt x="1511" y="958"/>
                    </a:lnTo>
                    <a:lnTo>
                      <a:pt x="1509" y="956"/>
                    </a:lnTo>
                    <a:lnTo>
                      <a:pt x="1509" y="958"/>
                    </a:lnTo>
                    <a:lnTo>
                      <a:pt x="1509" y="958"/>
                    </a:lnTo>
                    <a:lnTo>
                      <a:pt x="1511" y="959"/>
                    </a:lnTo>
                    <a:lnTo>
                      <a:pt x="1511" y="960"/>
                    </a:lnTo>
                    <a:lnTo>
                      <a:pt x="1512" y="961"/>
                    </a:lnTo>
                    <a:lnTo>
                      <a:pt x="1512" y="961"/>
                    </a:lnTo>
                    <a:lnTo>
                      <a:pt x="1512" y="961"/>
                    </a:lnTo>
                    <a:lnTo>
                      <a:pt x="1512" y="961"/>
                    </a:lnTo>
                    <a:lnTo>
                      <a:pt x="1512" y="964"/>
                    </a:lnTo>
                    <a:lnTo>
                      <a:pt x="1511" y="965"/>
                    </a:lnTo>
                    <a:lnTo>
                      <a:pt x="1509" y="965"/>
                    </a:lnTo>
                    <a:lnTo>
                      <a:pt x="1509" y="965"/>
                    </a:lnTo>
                    <a:lnTo>
                      <a:pt x="1509" y="965"/>
                    </a:lnTo>
                    <a:lnTo>
                      <a:pt x="1506" y="968"/>
                    </a:lnTo>
                    <a:lnTo>
                      <a:pt x="1505" y="968"/>
                    </a:lnTo>
                    <a:lnTo>
                      <a:pt x="1505" y="969"/>
                    </a:lnTo>
                    <a:lnTo>
                      <a:pt x="1504" y="969"/>
                    </a:lnTo>
                    <a:lnTo>
                      <a:pt x="1502" y="969"/>
                    </a:lnTo>
                    <a:lnTo>
                      <a:pt x="1501" y="969"/>
                    </a:lnTo>
                    <a:lnTo>
                      <a:pt x="1501" y="971"/>
                    </a:lnTo>
                    <a:lnTo>
                      <a:pt x="1501" y="971"/>
                    </a:lnTo>
                    <a:lnTo>
                      <a:pt x="1501" y="971"/>
                    </a:lnTo>
                    <a:lnTo>
                      <a:pt x="1501" y="973"/>
                    </a:lnTo>
                    <a:lnTo>
                      <a:pt x="1501" y="973"/>
                    </a:lnTo>
                    <a:lnTo>
                      <a:pt x="1499" y="973"/>
                    </a:lnTo>
                    <a:lnTo>
                      <a:pt x="1499" y="975"/>
                    </a:lnTo>
                    <a:lnTo>
                      <a:pt x="1497" y="975"/>
                    </a:lnTo>
                    <a:lnTo>
                      <a:pt x="1497" y="975"/>
                    </a:lnTo>
                    <a:lnTo>
                      <a:pt x="1496" y="975"/>
                    </a:lnTo>
                    <a:lnTo>
                      <a:pt x="1496" y="975"/>
                    </a:lnTo>
                    <a:lnTo>
                      <a:pt x="1495" y="973"/>
                    </a:lnTo>
                    <a:lnTo>
                      <a:pt x="1495" y="975"/>
                    </a:lnTo>
                    <a:lnTo>
                      <a:pt x="1495" y="975"/>
                    </a:lnTo>
                    <a:lnTo>
                      <a:pt x="1495" y="975"/>
                    </a:lnTo>
                    <a:lnTo>
                      <a:pt x="1495" y="976"/>
                    </a:lnTo>
                    <a:lnTo>
                      <a:pt x="1496" y="976"/>
                    </a:lnTo>
                    <a:lnTo>
                      <a:pt x="1496" y="976"/>
                    </a:lnTo>
                    <a:lnTo>
                      <a:pt x="1497" y="976"/>
                    </a:lnTo>
                    <a:lnTo>
                      <a:pt x="1497" y="976"/>
                    </a:lnTo>
                    <a:lnTo>
                      <a:pt x="1497" y="976"/>
                    </a:lnTo>
                    <a:lnTo>
                      <a:pt x="1497" y="978"/>
                    </a:lnTo>
                    <a:lnTo>
                      <a:pt x="1496" y="979"/>
                    </a:lnTo>
                    <a:lnTo>
                      <a:pt x="1494" y="979"/>
                    </a:lnTo>
                    <a:lnTo>
                      <a:pt x="1494" y="979"/>
                    </a:lnTo>
                    <a:lnTo>
                      <a:pt x="1494" y="980"/>
                    </a:lnTo>
                    <a:lnTo>
                      <a:pt x="1494" y="980"/>
                    </a:lnTo>
                    <a:lnTo>
                      <a:pt x="1494" y="983"/>
                    </a:lnTo>
                    <a:lnTo>
                      <a:pt x="1494" y="983"/>
                    </a:lnTo>
                    <a:lnTo>
                      <a:pt x="1494" y="984"/>
                    </a:lnTo>
                    <a:lnTo>
                      <a:pt x="1494" y="985"/>
                    </a:lnTo>
                    <a:lnTo>
                      <a:pt x="1494" y="985"/>
                    </a:lnTo>
                    <a:lnTo>
                      <a:pt x="1491" y="985"/>
                    </a:lnTo>
                    <a:lnTo>
                      <a:pt x="1491" y="985"/>
                    </a:lnTo>
                    <a:lnTo>
                      <a:pt x="1490" y="985"/>
                    </a:lnTo>
                    <a:lnTo>
                      <a:pt x="1490" y="985"/>
                    </a:lnTo>
                    <a:lnTo>
                      <a:pt x="1490" y="985"/>
                    </a:lnTo>
                    <a:lnTo>
                      <a:pt x="1490" y="985"/>
                    </a:lnTo>
                    <a:lnTo>
                      <a:pt x="1490" y="986"/>
                    </a:lnTo>
                    <a:lnTo>
                      <a:pt x="1491" y="988"/>
                    </a:lnTo>
                    <a:lnTo>
                      <a:pt x="1494" y="989"/>
                    </a:lnTo>
                    <a:lnTo>
                      <a:pt x="1491" y="989"/>
                    </a:lnTo>
                    <a:lnTo>
                      <a:pt x="1490" y="990"/>
                    </a:lnTo>
                    <a:lnTo>
                      <a:pt x="1490" y="990"/>
                    </a:lnTo>
                    <a:lnTo>
                      <a:pt x="1490" y="990"/>
                    </a:lnTo>
                    <a:lnTo>
                      <a:pt x="1487" y="990"/>
                    </a:lnTo>
                    <a:lnTo>
                      <a:pt x="1487" y="991"/>
                    </a:lnTo>
                    <a:lnTo>
                      <a:pt x="1487" y="991"/>
                    </a:lnTo>
                    <a:lnTo>
                      <a:pt x="1486" y="993"/>
                    </a:lnTo>
                    <a:lnTo>
                      <a:pt x="1486" y="993"/>
                    </a:lnTo>
                    <a:lnTo>
                      <a:pt x="1486" y="994"/>
                    </a:lnTo>
                    <a:lnTo>
                      <a:pt x="1485" y="994"/>
                    </a:lnTo>
                    <a:lnTo>
                      <a:pt x="1485" y="996"/>
                    </a:lnTo>
                    <a:lnTo>
                      <a:pt x="1484" y="998"/>
                    </a:lnTo>
                    <a:lnTo>
                      <a:pt x="1484" y="1001"/>
                    </a:lnTo>
                    <a:lnTo>
                      <a:pt x="1484" y="1003"/>
                    </a:lnTo>
                    <a:lnTo>
                      <a:pt x="1484" y="1004"/>
                    </a:lnTo>
                    <a:lnTo>
                      <a:pt x="1484" y="1004"/>
                    </a:lnTo>
                    <a:lnTo>
                      <a:pt x="1485" y="1004"/>
                    </a:lnTo>
                    <a:lnTo>
                      <a:pt x="1485" y="1004"/>
                    </a:lnTo>
                    <a:lnTo>
                      <a:pt x="1485" y="1004"/>
                    </a:lnTo>
                    <a:lnTo>
                      <a:pt x="1484" y="1004"/>
                    </a:lnTo>
                    <a:lnTo>
                      <a:pt x="1484" y="1006"/>
                    </a:lnTo>
                    <a:lnTo>
                      <a:pt x="1484" y="1006"/>
                    </a:lnTo>
                    <a:lnTo>
                      <a:pt x="1481" y="1006"/>
                    </a:lnTo>
                    <a:lnTo>
                      <a:pt x="1484" y="1006"/>
                    </a:lnTo>
                    <a:lnTo>
                      <a:pt x="1484" y="1006"/>
                    </a:lnTo>
                    <a:lnTo>
                      <a:pt x="1484" y="1008"/>
                    </a:lnTo>
                    <a:lnTo>
                      <a:pt x="1484" y="1015"/>
                    </a:lnTo>
                    <a:lnTo>
                      <a:pt x="1484" y="1022"/>
                    </a:lnTo>
                    <a:lnTo>
                      <a:pt x="1484" y="1027"/>
                    </a:lnTo>
                    <a:lnTo>
                      <a:pt x="1484" y="1031"/>
                    </a:lnTo>
                    <a:lnTo>
                      <a:pt x="1484" y="1035"/>
                    </a:lnTo>
                    <a:lnTo>
                      <a:pt x="1485" y="1039"/>
                    </a:lnTo>
                    <a:lnTo>
                      <a:pt x="1486" y="1046"/>
                    </a:lnTo>
                    <a:lnTo>
                      <a:pt x="1487" y="1054"/>
                    </a:lnTo>
                    <a:lnTo>
                      <a:pt x="1487" y="1056"/>
                    </a:lnTo>
                    <a:lnTo>
                      <a:pt x="1490" y="1057"/>
                    </a:lnTo>
                    <a:lnTo>
                      <a:pt x="1490" y="1057"/>
                    </a:lnTo>
                    <a:lnTo>
                      <a:pt x="1490" y="1059"/>
                    </a:lnTo>
                    <a:lnTo>
                      <a:pt x="1490" y="1060"/>
                    </a:lnTo>
                    <a:lnTo>
                      <a:pt x="1490" y="1060"/>
                    </a:lnTo>
                    <a:lnTo>
                      <a:pt x="1487" y="1062"/>
                    </a:lnTo>
                    <a:lnTo>
                      <a:pt x="1487" y="1064"/>
                    </a:lnTo>
                    <a:lnTo>
                      <a:pt x="1487" y="1061"/>
                    </a:lnTo>
                    <a:lnTo>
                      <a:pt x="1487" y="1060"/>
                    </a:lnTo>
                    <a:lnTo>
                      <a:pt x="1487" y="1060"/>
                    </a:lnTo>
                    <a:lnTo>
                      <a:pt x="1487" y="1059"/>
                    </a:lnTo>
                    <a:lnTo>
                      <a:pt x="1487" y="1059"/>
                    </a:lnTo>
                    <a:lnTo>
                      <a:pt x="1487" y="1057"/>
                    </a:lnTo>
                    <a:lnTo>
                      <a:pt x="1487" y="1057"/>
                    </a:lnTo>
                    <a:lnTo>
                      <a:pt x="1487" y="1059"/>
                    </a:lnTo>
                    <a:lnTo>
                      <a:pt x="1487" y="1060"/>
                    </a:lnTo>
                    <a:lnTo>
                      <a:pt x="1487" y="1061"/>
                    </a:lnTo>
                    <a:lnTo>
                      <a:pt x="1487" y="1062"/>
                    </a:lnTo>
                    <a:lnTo>
                      <a:pt x="1487" y="1064"/>
                    </a:lnTo>
                    <a:lnTo>
                      <a:pt x="1487" y="1064"/>
                    </a:lnTo>
                    <a:lnTo>
                      <a:pt x="1487" y="1065"/>
                    </a:lnTo>
                    <a:lnTo>
                      <a:pt x="1487" y="1066"/>
                    </a:lnTo>
                    <a:lnTo>
                      <a:pt x="1487" y="1066"/>
                    </a:lnTo>
                    <a:lnTo>
                      <a:pt x="1487" y="1065"/>
                    </a:lnTo>
                    <a:lnTo>
                      <a:pt x="1486" y="1064"/>
                    </a:lnTo>
                    <a:lnTo>
                      <a:pt x="1486" y="1062"/>
                    </a:lnTo>
                    <a:lnTo>
                      <a:pt x="1486" y="1060"/>
                    </a:lnTo>
                    <a:lnTo>
                      <a:pt x="1486" y="1059"/>
                    </a:lnTo>
                    <a:lnTo>
                      <a:pt x="1486" y="1057"/>
                    </a:lnTo>
                    <a:lnTo>
                      <a:pt x="1487" y="1057"/>
                    </a:lnTo>
                    <a:lnTo>
                      <a:pt x="1486" y="1057"/>
                    </a:lnTo>
                    <a:lnTo>
                      <a:pt x="1486" y="1056"/>
                    </a:lnTo>
                    <a:lnTo>
                      <a:pt x="1486" y="1060"/>
                    </a:lnTo>
                    <a:lnTo>
                      <a:pt x="1486" y="1060"/>
                    </a:lnTo>
                    <a:lnTo>
                      <a:pt x="1486" y="1065"/>
                    </a:lnTo>
                    <a:lnTo>
                      <a:pt x="1486" y="1067"/>
                    </a:lnTo>
                    <a:lnTo>
                      <a:pt x="1486" y="1071"/>
                    </a:lnTo>
                    <a:lnTo>
                      <a:pt x="1487" y="1074"/>
                    </a:lnTo>
                    <a:lnTo>
                      <a:pt x="1487" y="1076"/>
                    </a:lnTo>
                    <a:lnTo>
                      <a:pt x="1490" y="1077"/>
                    </a:lnTo>
                    <a:lnTo>
                      <a:pt x="1490" y="1076"/>
                    </a:lnTo>
                    <a:lnTo>
                      <a:pt x="1490" y="1077"/>
                    </a:lnTo>
                    <a:lnTo>
                      <a:pt x="1490" y="1081"/>
                    </a:lnTo>
                    <a:lnTo>
                      <a:pt x="1490" y="1081"/>
                    </a:lnTo>
                    <a:lnTo>
                      <a:pt x="1490" y="1082"/>
                    </a:lnTo>
                    <a:lnTo>
                      <a:pt x="1490" y="1086"/>
                    </a:lnTo>
                    <a:lnTo>
                      <a:pt x="1490" y="1087"/>
                    </a:lnTo>
                    <a:lnTo>
                      <a:pt x="1490" y="1088"/>
                    </a:lnTo>
                    <a:lnTo>
                      <a:pt x="1490" y="1091"/>
                    </a:lnTo>
                    <a:lnTo>
                      <a:pt x="1490" y="1091"/>
                    </a:lnTo>
                    <a:lnTo>
                      <a:pt x="1490" y="1092"/>
                    </a:lnTo>
                    <a:lnTo>
                      <a:pt x="1490" y="1092"/>
                    </a:lnTo>
                    <a:lnTo>
                      <a:pt x="1490" y="1092"/>
                    </a:lnTo>
                    <a:lnTo>
                      <a:pt x="1491" y="1093"/>
                    </a:lnTo>
                    <a:lnTo>
                      <a:pt x="1491" y="1093"/>
                    </a:lnTo>
                    <a:lnTo>
                      <a:pt x="1491" y="1093"/>
                    </a:lnTo>
                    <a:lnTo>
                      <a:pt x="1494" y="1096"/>
                    </a:lnTo>
                    <a:lnTo>
                      <a:pt x="1494" y="1098"/>
                    </a:lnTo>
                    <a:lnTo>
                      <a:pt x="1494" y="1100"/>
                    </a:lnTo>
                    <a:lnTo>
                      <a:pt x="1494" y="1102"/>
                    </a:lnTo>
                    <a:lnTo>
                      <a:pt x="1491" y="1105"/>
                    </a:lnTo>
                    <a:lnTo>
                      <a:pt x="1491" y="1108"/>
                    </a:lnTo>
                    <a:lnTo>
                      <a:pt x="1490" y="1113"/>
                    </a:lnTo>
                    <a:lnTo>
                      <a:pt x="1490" y="1117"/>
                    </a:lnTo>
                    <a:lnTo>
                      <a:pt x="1487" y="1120"/>
                    </a:lnTo>
                    <a:lnTo>
                      <a:pt x="1487" y="1121"/>
                    </a:lnTo>
                    <a:lnTo>
                      <a:pt x="1487" y="1123"/>
                    </a:lnTo>
                    <a:lnTo>
                      <a:pt x="1486" y="1126"/>
                    </a:lnTo>
                    <a:lnTo>
                      <a:pt x="1486" y="1126"/>
                    </a:lnTo>
                    <a:lnTo>
                      <a:pt x="1486" y="1127"/>
                    </a:lnTo>
                    <a:lnTo>
                      <a:pt x="1485" y="1130"/>
                    </a:lnTo>
                    <a:lnTo>
                      <a:pt x="1484" y="1132"/>
                    </a:lnTo>
                    <a:lnTo>
                      <a:pt x="1484" y="1133"/>
                    </a:lnTo>
                    <a:lnTo>
                      <a:pt x="1481" y="1137"/>
                    </a:lnTo>
                    <a:lnTo>
                      <a:pt x="1480" y="1140"/>
                    </a:lnTo>
                    <a:lnTo>
                      <a:pt x="1480" y="1142"/>
                    </a:lnTo>
                    <a:lnTo>
                      <a:pt x="1480" y="1142"/>
                    </a:lnTo>
                    <a:lnTo>
                      <a:pt x="1480" y="1142"/>
                    </a:lnTo>
                    <a:lnTo>
                      <a:pt x="1480" y="1143"/>
                    </a:lnTo>
                    <a:lnTo>
                      <a:pt x="1477" y="1145"/>
                    </a:lnTo>
                    <a:lnTo>
                      <a:pt x="1477" y="1146"/>
                    </a:lnTo>
                    <a:lnTo>
                      <a:pt x="1477" y="1147"/>
                    </a:lnTo>
                    <a:lnTo>
                      <a:pt x="1474" y="1148"/>
                    </a:lnTo>
                    <a:lnTo>
                      <a:pt x="1472" y="1152"/>
                    </a:lnTo>
                    <a:lnTo>
                      <a:pt x="1474" y="1151"/>
                    </a:lnTo>
                    <a:lnTo>
                      <a:pt x="1474" y="1148"/>
                    </a:lnTo>
                    <a:lnTo>
                      <a:pt x="1474" y="1147"/>
                    </a:lnTo>
                    <a:lnTo>
                      <a:pt x="1474" y="1146"/>
                    </a:lnTo>
                    <a:lnTo>
                      <a:pt x="1474" y="1146"/>
                    </a:lnTo>
                    <a:lnTo>
                      <a:pt x="1474" y="1146"/>
                    </a:lnTo>
                    <a:lnTo>
                      <a:pt x="1474" y="1145"/>
                    </a:lnTo>
                    <a:lnTo>
                      <a:pt x="1474" y="1145"/>
                    </a:lnTo>
                    <a:lnTo>
                      <a:pt x="1472" y="1145"/>
                    </a:lnTo>
                    <a:lnTo>
                      <a:pt x="1472" y="1145"/>
                    </a:lnTo>
                    <a:lnTo>
                      <a:pt x="1471" y="1145"/>
                    </a:lnTo>
                    <a:lnTo>
                      <a:pt x="1471" y="1146"/>
                    </a:lnTo>
                    <a:lnTo>
                      <a:pt x="1470" y="1146"/>
                    </a:lnTo>
                    <a:lnTo>
                      <a:pt x="1470" y="1147"/>
                    </a:lnTo>
                    <a:lnTo>
                      <a:pt x="1470" y="1147"/>
                    </a:lnTo>
                    <a:lnTo>
                      <a:pt x="1470" y="1147"/>
                    </a:lnTo>
                    <a:lnTo>
                      <a:pt x="1469" y="1147"/>
                    </a:lnTo>
                    <a:lnTo>
                      <a:pt x="1468" y="1146"/>
                    </a:lnTo>
                    <a:lnTo>
                      <a:pt x="1466" y="1146"/>
                    </a:lnTo>
                    <a:lnTo>
                      <a:pt x="1465" y="1146"/>
                    </a:lnTo>
                    <a:lnTo>
                      <a:pt x="1464" y="1146"/>
                    </a:lnTo>
                    <a:lnTo>
                      <a:pt x="1463" y="1146"/>
                    </a:lnTo>
                    <a:lnTo>
                      <a:pt x="1460" y="1146"/>
                    </a:lnTo>
                    <a:lnTo>
                      <a:pt x="1460" y="1145"/>
                    </a:lnTo>
                    <a:lnTo>
                      <a:pt x="1460" y="1145"/>
                    </a:lnTo>
                    <a:lnTo>
                      <a:pt x="1459" y="1145"/>
                    </a:lnTo>
                    <a:lnTo>
                      <a:pt x="1459" y="1145"/>
                    </a:lnTo>
                    <a:lnTo>
                      <a:pt x="1459" y="1145"/>
                    </a:lnTo>
                    <a:lnTo>
                      <a:pt x="1460" y="1143"/>
                    </a:lnTo>
                    <a:lnTo>
                      <a:pt x="1460" y="1143"/>
                    </a:lnTo>
                    <a:lnTo>
                      <a:pt x="1461" y="1142"/>
                    </a:lnTo>
                    <a:lnTo>
                      <a:pt x="1461" y="1143"/>
                    </a:lnTo>
                    <a:lnTo>
                      <a:pt x="1461" y="1143"/>
                    </a:lnTo>
                    <a:lnTo>
                      <a:pt x="1463" y="1145"/>
                    </a:lnTo>
                    <a:lnTo>
                      <a:pt x="1464" y="1145"/>
                    </a:lnTo>
                    <a:lnTo>
                      <a:pt x="1464" y="1145"/>
                    </a:lnTo>
                    <a:lnTo>
                      <a:pt x="1464" y="1145"/>
                    </a:lnTo>
                    <a:lnTo>
                      <a:pt x="1464" y="1145"/>
                    </a:lnTo>
                    <a:lnTo>
                      <a:pt x="1464" y="1143"/>
                    </a:lnTo>
                    <a:lnTo>
                      <a:pt x="1464" y="1143"/>
                    </a:lnTo>
                    <a:lnTo>
                      <a:pt x="1464" y="1142"/>
                    </a:lnTo>
                    <a:lnTo>
                      <a:pt x="1464" y="1142"/>
                    </a:lnTo>
                    <a:lnTo>
                      <a:pt x="1464" y="1141"/>
                    </a:lnTo>
                    <a:lnTo>
                      <a:pt x="1463" y="1140"/>
                    </a:lnTo>
                    <a:lnTo>
                      <a:pt x="1461" y="1140"/>
                    </a:lnTo>
                    <a:lnTo>
                      <a:pt x="1461" y="1140"/>
                    </a:lnTo>
                    <a:lnTo>
                      <a:pt x="1460" y="1137"/>
                    </a:lnTo>
                    <a:lnTo>
                      <a:pt x="1460" y="1136"/>
                    </a:lnTo>
                    <a:lnTo>
                      <a:pt x="1460" y="1133"/>
                    </a:lnTo>
                    <a:lnTo>
                      <a:pt x="1459" y="1132"/>
                    </a:lnTo>
                    <a:lnTo>
                      <a:pt x="1459" y="1131"/>
                    </a:lnTo>
                    <a:lnTo>
                      <a:pt x="1459" y="1130"/>
                    </a:lnTo>
                    <a:lnTo>
                      <a:pt x="1459" y="1128"/>
                    </a:lnTo>
                    <a:lnTo>
                      <a:pt x="1459" y="1128"/>
                    </a:lnTo>
                    <a:lnTo>
                      <a:pt x="1456" y="1127"/>
                    </a:lnTo>
                    <a:lnTo>
                      <a:pt x="1456" y="1127"/>
                    </a:lnTo>
                    <a:lnTo>
                      <a:pt x="1455" y="1127"/>
                    </a:lnTo>
                    <a:lnTo>
                      <a:pt x="1454" y="1126"/>
                    </a:lnTo>
                    <a:lnTo>
                      <a:pt x="1453" y="1126"/>
                    </a:lnTo>
                    <a:lnTo>
                      <a:pt x="1451" y="1126"/>
                    </a:lnTo>
                    <a:lnTo>
                      <a:pt x="1451" y="1125"/>
                    </a:lnTo>
                    <a:lnTo>
                      <a:pt x="1451" y="1123"/>
                    </a:lnTo>
                    <a:lnTo>
                      <a:pt x="1449" y="1122"/>
                    </a:lnTo>
                    <a:lnTo>
                      <a:pt x="1449" y="1122"/>
                    </a:lnTo>
                    <a:lnTo>
                      <a:pt x="1449" y="1120"/>
                    </a:lnTo>
                    <a:lnTo>
                      <a:pt x="1449" y="1118"/>
                    </a:lnTo>
                    <a:lnTo>
                      <a:pt x="1449" y="1117"/>
                    </a:lnTo>
                    <a:lnTo>
                      <a:pt x="1449" y="1116"/>
                    </a:lnTo>
                    <a:lnTo>
                      <a:pt x="1449" y="1113"/>
                    </a:lnTo>
                    <a:lnTo>
                      <a:pt x="1449" y="1112"/>
                    </a:lnTo>
                    <a:lnTo>
                      <a:pt x="1449" y="1112"/>
                    </a:lnTo>
                    <a:lnTo>
                      <a:pt x="1449" y="1112"/>
                    </a:lnTo>
                    <a:lnTo>
                      <a:pt x="1448" y="1110"/>
                    </a:lnTo>
                    <a:lnTo>
                      <a:pt x="1448" y="1110"/>
                    </a:lnTo>
                    <a:lnTo>
                      <a:pt x="1448" y="1110"/>
                    </a:lnTo>
                    <a:lnTo>
                      <a:pt x="1448" y="1110"/>
                    </a:lnTo>
                    <a:lnTo>
                      <a:pt x="1448" y="1108"/>
                    </a:lnTo>
                    <a:lnTo>
                      <a:pt x="1448" y="1106"/>
                    </a:lnTo>
                    <a:lnTo>
                      <a:pt x="1448" y="1105"/>
                    </a:lnTo>
                    <a:lnTo>
                      <a:pt x="1448" y="1103"/>
                    </a:lnTo>
                    <a:lnTo>
                      <a:pt x="1449" y="1102"/>
                    </a:lnTo>
                    <a:lnTo>
                      <a:pt x="1449" y="1100"/>
                    </a:lnTo>
                    <a:lnTo>
                      <a:pt x="1449" y="1100"/>
                    </a:lnTo>
                    <a:lnTo>
                      <a:pt x="1449" y="1100"/>
                    </a:lnTo>
                    <a:lnTo>
                      <a:pt x="1449" y="1100"/>
                    </a:lnTo>
                    <a:lnTo>
                      <a:pt x="1448" y="1100"/>
                    </a:lnTo>
                    <a:lnTo>
                      <a:pt x="1445" y="1100"/>
                    </a:lnTo>
                    <a:lnTo>
                      <a:pt x="1445" y="1100"/>
                    </a:lnTo>
                    <a:lnTo>
                      <a:pt x="1444" y="1100"/>
                    </a:lnTo>
                    <a:lnTo>
                      <a:pt x="1445" y="1100"/>
                    </a:lnTo>
                    <a:lnTo>
                      <a:pt x="1445" y="1102"/>
                    </a:lnTo>
                    <a:lnTo>
                      <a:pt x="1445" y="1102"/>
                    </a:lnTo>
                    <a:lnTo>
                      <a:pt x="1445" y="1102"/>
                    </a:lnTo>
                    <a:lnTo>
                      <a:pt x="1444" y="1102"/>
                    </a:lnTo>
                    <a:lnTo>
                      <a:pt x="1443" y="1102"/>
                    </a:lnTo>
                    <a:lnTo>
                      <a:pt x="1443" y="1102"/>
                    </a:lnTo>
                    <a:lnTo>
                      <a:pt x="1441" y="1100"/>
                    </a:lnTo>
                    <a:lnTo>
                      <a:pt x="1441" y="1100"/>
                    </a:lnTo>
                    <a:lnTo>
                      <a:pt x="1441" y="1098"/>
                    </a:lnTo>
                    <a:lnTo>
                      <a:pt x="1441" y="1096"/>
                    </a:lnTo>
                    <a:lnTo>
                      <a:pt x="1441" y="1093"/>
                    </a:lnTo>
                    <a:lnTo>
                      <a:pt x="1441" y="1091"/>
                    </a:lnTo>
                    <a:lnTo>
                      <a:pt x="1439" y="1091"/>
                    </a:lnTo>
                    <a:lnTo>
                      <a:pt x="1439" y="1088"/>
                    </a:lnTo>
                    <a:lnTo>
                      <a:pt x="1439" y="1087"/>
                    </a:lnTo>
                    <a:lnTo>
                      <a:pt x="1439" y="1087"/>
                    </a:lnTo>
                    <a:lnTo>
                      <a:pt x="1438" y="1086"/>
                    </a:lnTo>
                    <a:lnTo>
                      <a:pt x="1438" y="1086"/>
                    </a:lnTo>
                    <a:lnTo>
                      <a:pt x="1438" y="1086"/>
                    </a:lnTo>
                    <a:lnTo>
                      <a:pt x="1439" y="1086"/>
                    </a:lnTo>
                    <a:lnTo>
                      <a:pt x="1439" y="1085"/>
                    </a:lnTo>
                    <a:lnTo>
                      <a:pt x="1439" y="1085"/>
                    </a:lnTo>
                    <a:lnTo>
                      <a:pt x="1441" y="1084"/>
                    </a:lnTo>
                    <a:lnTo>
                      <a:pt x="1443" y="1081"/>
                    </a:lnTo>
                    <a:lnTo>
                      <a:pt x="1444" y="1079"/>
                    </a:lnTo>
                    <a:lnTo>
                      <a:pt x="1444" y="1077"/>
                    </a:lnTo>
                    <a:lnTo>
                      <a:pt x="1445" y="1077"/>
                    </a:lnTo>
                    <a:lnTo>
                      <a:pt x="1445" y="1076"/>
                    </a:lnTo>
                    <a:lnTo>
                      <a:pt x="1445" y="1075"/>
                    </a:lnTo>
                    <a:lnTo>
                      <a:pt x="1445" y="1075"/>
                    </a:lnTo>
                    <a:lnTo>
                      <a:pt x="1444" y="1074"/>
                    </a:lnTo>
                    <a:lnTo>
                      <a:pt x="1444" y="1074"/>
                    </a:lnTo>
                    <a:lnTo>
                      <a:pt x="1443" y="1075"/>
                    </a:lnTo>
                    <a:lnTo>
                      <a:pt x="1443" y="1074"/>
                    </a:lnTo>
                    <a:lnTo>
                      <a:pt x="1443" y="1074"/>
                    </a:lnTo>
                    <a:lnTo>
                      <a:pt x="1441" y="1074"/>
                    </a:lnTo>
                    <a:lnTo>
                      <a:pt x="1441" y="1074"/>
                    </a:lnTo>
                    <a:lnTo>
                      <a:pt x="1441" y="1074"/>
                    </a:lnTo>
                    <a:lnTo>
                      <a:pt x="1439" y="1071"/>
                    </a:lnTo>
                    <a:lnTo>
                      <a:pt x="1439" y="1074"/>
                    </a:lnTo>
                    <a:lnTo>
                      <a:pt x="1439" y="1074"/>
                    </a:lnTo>
                    <a:lnTo>
                      <a:pt x="1439" y="1074"/>
                    </a:lnTo>
                    <a:lnTo>
                      <a:pt x="1439" y="1074"/>
                    </a:lnTo>
                    <a:lnTo>
                      <a:pt x="1441" y="1075"/>
                    </a:lnTo>
                    <a:lnTo>
                      <a:pt x="1441" y="1075"/>
                    </a:lnTo>
                    <a:lnTo>
                      <a:pt x="1441" y="1076"/>
                    </a:lnTo>
                    <a:lnTo>
                      <a:pt x="1441" y="1076"/>
                    </a:lnTo>
                    <a:lnTo>
                      <a:pt x="1441" y="1077"/>
                    </a:lnTo>
                    <a:lnTo>
                      <a:pt x="1441" y="1077"/>
                    </a:lnTo>
                    <a:lnTo>
                      <a:pt x="1441" y="1077"/>
                    </a:lnTo>
                    <a:lnTo>
                      <a:pt x="1441" y="1079"/>
                    </a:lnTo>
                    <a:lnTo>
                      <a:pt x="1439" y="1081"/>
                    </a:lnTo>
                    <a:lnTo>
                      <a:pt x="1439" y="1081"/>
                    </a:lnTo>
                    <a:lnTo>
                      <a:pt x="1439" y="1081"/>
                    </a:lnTo>
                    <a:lnTo>
                      <a:pt x="1439" y="1079"/>
                    </a:lnTo>
                    <a:lnTo>
                      <a:pt x="1438" y="1077"/>
                    </a:lnTo>
                    <a:lnTo>
                      <a:pt x="1438" y="1077"/>
                    </a:lnTo>
                    <a:lnTo>
                      <a:pt x="1438" y="1077"/>
                    </a:lnTo>
                    <a:lnTo>
                      <a:pt x="1438" y="1079"/>
                    </a:lnTo>
                    <a:lnTo>
                      <a:pt x="1438" y="1079"/>
                    </a:lnTo>
                    <a:lnTo>
                      <a:pt x="1438" y="1081"/>
                    </a:lnTo>
                    <a:lnTo>
                      <a:pt x="1438" y="1081"/>
                    </a:lnTo>
                    <a:lnTo>
                      <a:pt x="1438" y="1079"/>
                    </a:lnTo>
                    <a:lnTo>
                      <a:pt x="1438" y="1077"/>
                    </a:lnTo>
                    <a:lnTo>
                      <a:pt x="1438" y="1076"/>
                    </a:lnTo>
                    <a:lnTo>
                      <a:pt x="1438" y="1074"/>
                    </a:lnTo>
                    <a:lnTo>
                      <a:pt x="1438" y="1074"/>
                    </a:lnTo>
                    <a:lnTo>
                      <a:pt x="1439" y="1071"/>
                    </a:lnTo>
                    <a:lnTo>
                      <a:pt x="1439" y="1067"/>
                    </a:lnTo>
                    <a:lnTo>
                      <a:pt x="1441" y="1064"/>
                    </a:lnTo>
                    <a:lnTo>
                      <a:pt x="1443" y="1060"/>
                    </a:lnTo>
                    <a:lnTo>
                      <a:pt x="1444" y="1059"/>
                    </a:lnTo>
                    <a:lnTo>
                      <a:pt x="1444" y="1057"/>
                    </a:lnTo>
                    <a:lnTo>
                      <a:pt x="1444" y="1056"/>
                    </a:lnTo>
                    <a:lnTo>
                      <a:pt x="1444" y="1054"/>
                    </a:lnTo>
                    <a:lnTo>
                      <a:pt x="1445" y="1054"/>
                    </a:lnTo>
                    <a:lnTo>
                      <a:pt x="1445" y="1052"/>
                    </a:lnTo>
                    <a:lnTo>
                      <a:pt x="1445" y="1051"/>
                    </a:lnTo>
                    <a:lnTo>
                      <a:pt x="1445" y="1050"/>
                    </a:lnTo>
                    <a:lnTo>
                      <a:pt x="1445" y="1049"/>
                    </a:lnTo>
                    <a:lnTo>
                      <a:pt x="1445" y="1049"/>
                    </a:lnTo>
                    <a:lnTo>
                      <a:pt x="1445" y="1046"/>
                    </a:lnTo>
                    <a:lnTo>
                      <a:pt x="1444" y="1046"/>
                    </a:lnTo>
                    <a:lnTo>
                      <a:pt x="1444" y="1046"/>
                    </a:lnTo>
                    <a:lnTo>
                      <a:pt x="1444" y="1044"/>
                    </a:lnTo>
                    <a:lnTo>
                      <a:pt x="1444" y="1044"/>
                    </a:lnTo>
                    <a:lnTo>
                      <a:pt x="1443" y="1042"/>
                    </a:lnTo>
                    <a:lnTo>
                      <a:pt x="1441" y="1041"/>
                    </a:lnTo>
                    <a:lnTo>
                      <a:pt x="1441" y="1040"/>
                    </a:lnTo>
                    <a:lnTo>
                      <a:pt x="1439" y="1039"/>
                    </a:lnTo>
                    <a:lnTo>
                      <a:pt x="1438" y="1039"/>
                    </a:lnTo>
                    <a:lnTo>
                      <a:pt x="1435" y="1036"/>
                    </a:lnTo>
                    <a:lnTo>
                      <a:pt x="1435" y="1034"/>
                    </a:lnTo>
                    <a:lnTo>
                      <a:pt x="1434" y="1032"/>
                    </a:lnTo>
                    <a:lnTo>
                      <a:pt x="1431" y="1029"/>
                    </a:lnTo>
                    <a:lnTo>
                      <a:pt x="1429" y="1025"/>
                    </a:lnTo>
                    <a:lnTo>
                      <a:pt x="1429" y="1024"/>
                    </a:lnTo>
                    <a:lnTo>
                      <a:pt x="1429" y="1022"/>
                    </a:lnTo>
                    <a:lnTo>
                      <a:pt x="1428" y="1021"/>
                    </a:lnTo>
                    <a:lnTo>
                      <a:pt x="1428" y="1020"/>
                    </a:lnTo>
                    <a:lnTo>
                      <a:pt x="1426" y="1019"/>
                    </a:lnTo>
                    <a:lnTo>
                      <a:pt x="1426" y="1019"/>
                    </a:lnTo>
                    <a:lnTo>
                      <a:pt x="1426" y="1017"/>
                    </a:lnTo>
                    <a:lnTo>
                      <a:pt x="1425" y="1017"/>
                    </a:lnTo>
                    <a:lnTo>
                      <a:pt x="1424" y="1017"/>
                    </a:lnTo>
                    <a:lnTo>
                      <a:pt x="1422" y="1017"/>
                    </a:lnTo>
                    <a:lnTo>
                      <a:pt x="1419" y="1019"/>
                    </a:lnTo>
                    <a:lnTo>
                      <a:pt x="1417" y="1020"/>
                    </a:lnTo>
                    <a:lnTo>
                      <a:pt x="1414" y="1020"/>
                    </a:lnTo>
                    <a:lnTo>
                      <a:pt x="1413" y="1020"/>
                    </a:lnTo>
                    <a:lnTo>
                      <a:pt x="1413" y="1020"/>
                    </a:lnTo>
                    <a:lnTo>
                      <a:pt x="1412" y="1021"/>
                    </a:lnTo>
                    <a:lnTo>
                      <a:pt x="1412" y="1021"/>
                    </a:lnTo>
                    <a:lnTo>
                      <a:pt x="1410" y="1022"/>
                    </a:lnTo>
                    <a:lnTo>
                      <a:pt x="1410" y="1024"/>
                    </a:lnTo>
                    <a:lnTo>
                      <a:pt x="1409" y="1024"/>
                    </a:lnTo>
                    <a:lnTo>
                      <a:pt x="1409" y="1025"/>
                    </a:lnTo>
                    <a:lnTo>
                      <a:pt x="1407" y="1025"/>
                    </a:lnTo>
                    <a:lnTo>
                      <a:pt x="1407" y="1026"/>
                    </a:lnTo>
                    <a:lnTo>
                      <a:pt x="1407" y="1026"/>
                    </a:lnTo>
                    <a:lnTo>
                      <a:pt x="1405" y="1026"/>
                    </a:lnTo>
                    <a:lnTo>
                      <a:pt x="1404" y="1026"/>
                    </a:lnTo>
                    <a:lnTo>
                      <a:pt x="1403" y="1026"/>
                    </a:lnTo>
                    <a:lnTo>
                      <a:pt x="1403" y="1025"/>
                    </a:lnTo>
                    <a:lnTo>
                      <a:pt x="1402" y="1026"/>
                    </a:lnTo>
                    <a:lnTo>
                      <a:pt x="1400" y="1026"/>
                    </a:lnTo>
                    <a:lnTo>
                      <a:pt x="1399" y="1027"/>
                    </a:lnTo>
                    <a:lnTo>
                      <a:pt x="1397" y="1027"/>
                    </a:lnTo>
                    <a:lnTo>
                      <a:pt x="1395" y="1027"/>
                    </a:lnTo>
                    <a:lnTo>
                      <a:pt x="1392" y="1027"/>
                    </a:lnTo>
                    <a:lnTo>
                      <a:pt x="1392" y="1027"/>
                    </a:lnTo>
                    <a:lnTo>
                      <a:pt x="1393" y="1026"/>
                    </a:lnTo>
                    <a:lnTo>
                      <a:pt x="1393" y="1025"/>
                    </a:lnTo>
                    <a:lnTo>
                      <a:pt x="1393" y="1024"/>
                    </a:lnTo>
                    <a:lnTo>
                      <a:pt x="1393" y="1022"/>
                    </a:lnTo>
                    <a:lnTo>
                      <a:pt x="1392" y="1021"/>
                    </a:lnTo>
                    <a:lnTo>
                      <a:pt x="1390" y="1020"/>
                    </a:lnTo>
                    <a:lnTo>
                      <a:pt x="1388" y="1020"/>
                    </a:lnTo>
                    <a:lnTo>
                      <a:pt x="1389" y="1020"/>
                    </a:lnTo>
                    <a:lnTo>
                      <a:pt x="1389" y="1020"/>
                    </a:lnTo>
                    <a:lnTo>
                      <a:pt x="1390" y="1020"/>
                    </a:lnTo>
                    <a:lnTo>
                      <a:pt x="1390" y="1020"/>
                    </a:lnTo>
                    <a:lnTo>
                      <a:pt x="1389" y="1019"/>
                    </a:lnTo>
                    <a:lnTo>
                      <a:pt x="1389" y="1019"/>
                    </a:lnTo>
                    <a:lnTo>
                      <a:pt x="1388" y="1017"/>
                    </a:lnTo>
                    <a:lnTo>
                      <a:pt x="1389" y="1017"/>
                    </a:lnTo>
                    <a:lnTo>
                      <a:pt x="1390" y="1019"/>
                    </a:lnTo>
                    <a:lnTo>
                      <a:pt x="1390" y="1019"/>
                    </a:lnTo>
                    <a:lnTo>
                      <a:pt x="1392" y="1019"/>
                    </a:lnTo>
                    <a:lnTo>
                      <a:pt x="1392" y="1017"/>
                    </a:lnTo>
                    <a:lnTo>
                      <a:pt x="1390" y="1017"/>
                    </a:lnTo>
                    <a:lnTo>
                      <a:pt x="1390" y="1017"/>
                    </a:lnTo>
                    <a:lnTo>
                      <a:pt x="1390" y="1017"/>
                    </a:lnTo>
                    <a:lnTo>
                      <a:pt x="1389" y="1017"/>
                    </a:lnTo>
                    <a:lnTo>
                      <a:pt x="1388" y="1017"/>
                    </a:lnTo>
                    <a:lnTo>
                      <a:pt x="1388" y="1017"/>
                    </a:lnTo>
                    <a:lnTo>
                      <a:pt x="1388" y="1016"/>
                    </a:lnTo>
                    <a:lnTo>
                      <a:pt x="1388" y="1015"/>
                    </a:lnTo>
                    <a:lnTo>
                      <a:pt x="1388" y="1015"/>
                    </a:lnTo>
                    <a:lnTo>
                      <a:pt x="1388" y="1014"/>
                    </a:lnTo>
                    <a:lnTo>
                      <a:pt x="1389" y="1014"/>
                    </a:lnTo>
                    <a:lnTo>
                      <a:pt x="1390" y="1013"/>
                    </a:lnTo>
                    <a:lnTo>
                      <a:pt x="1388" y="1013"/>
                    </a:lnTo>
                    <a:lnTo>
                      <a:pt x="1384" y="1013"/>
                    </a:lnTo>
                    <a:lnTo>
                      <a:pt x="1384" y="1014"/>
                    </a:lnTo>
                    <a:lnTo>
                      <a:pt x="1384" y="1014"/>
                    </a:lnTo>
                    <a:lnTo>
                      <a:pt x="1384" y="1014"/>
                    </a:lnTo>
                    <a:lnTo>
                      <a:pt x="1385" y="1014"/>
                    </a:lnTo>
                    <a:lnTo>
                      <a:pt x="1385" y="1015"/>
                    </a:lnTo>
                    <a:lnTo>
                      <a:pt x="1384" y="1014"/>
                    </a:lnTo>
                    <a:lnTo>
                      <a:pt x="1382" y="1014"/>
                    </a:lnTo>
                    <a:lnTo>
                      <a:pt x="1380" y="1014"/>
                    </a:lnTo>
                    <a:lnTo>
                      <a:pt x="1378" y="1013"/>
                    </a:lnTo>
                    <a:lnTo>
                      <a:pt x="1375" y="1011"/>
                    </a:lnTo>
                    <a:lnTo>
                      <a:pt x="1374" y="1011"/>
                    </a:lnTo>
                    <a:lnTo>
                      <a:pt x="1373" y="1010"/>
                    </a:lnTo>
                    <a:lnTo>
                      <a:pt x="1374" y="1010"/>
                    </a:lnTo>
                    <a:lnTo>
                      <a:pt x="1374" y="1010"/>
                    </a:lnTo>
                    <a:lnTo>
                      <a:pt x="1375" y="1010"/>
                    </a:lnTo>
                    <a:lnTo>
                      <a:pt x="1378" y="1010"/>
                    </a:lnTo>
                    <a:lnTo>
                      <a:pt x="1378" y="1010"/>
                    </a:lnTo>
                    <a:lnTo>
                      <a:pt x="1379" y="1010"/>
                    </a:lnTo>
                    <a:lnTo>
                      <a:pt x="1379" y="1010"/>
                    </a:lnTo>
                    <a:lnTo>
                      <a:pt x="1378" y="1010"/>
                    </a:lnTo>
                    <a:lnTo>
                      <a:pt x="1378" y="1008"/>
                    </a:lnTo>
                    <a:lnTo>
                      <a:pt x="1378" y="1008"/>
                    </a:lnTo>
                    <a:lnTo>
                      <a:pt x="1375" y="1008"/>
                    </a:lnTo>
                    <a:lnTo>
                      <a:pt x="1374" y="1008"/>
                    </a:lnTo>
                    <a:lnTo>
                      <a:pt x="1373" y="1006"/>
                    </a:lnTo>
                    <a:lnTo>
                      <a:pt x="1372" y="1006"/>
                    </a:lnTo>
                    <a:lnTo>
                      <a:pt x="1372" y="1006"/>
                    </a:lnTo>
                    <a:lnTo>
                      <a:pt x="1371" y="1006"/>
                    </a:lnTo>
                    <a:lnTo>
                      <a:pt x="1371" y="1006"/>
                    </a:lnTo>
                    <a:lnTo>
                      <a:pt x="1369" y="1006"/>
                    </a:lnTo>
                    <a:lnTo>
                      <a:pt x="1369" y="1008"/>
                    </a:lnTo>
                    <a:lnTo>
                      <a:pt x="1367" y="1010"/>
                    </a:lnTo>
                    <a:lnTo>
                      <a:pt x="1367" y="1010"/>
                    </a:lnTo>
                    <a:lnTo>
                      <a:pt x="1364" y="1010"/>
                    </a:lnTo>
                    <a:lnTo>
                      <a:pt x="1362" y="1010"/>
                    </a:lnTo>
                    <a:lnTo>
                      <a:pt x="1361" y="1010"/>
                    </a:lnTo>
                    <a:lnTo>
                      <a:pt x="1361" y="1010"/>
                    </a:lnTo>
                    <a:lnTo>
                      <a:pt x="1361" y="1010"/>
                    </a:lnTo>
                    <a:lnTo>
                      <a:pt x="1362" y="1010"/>
                    </a:lnTo>
                    <a:lnTo>
                      <a:pt x="1362" y="1010"/>
                    </a:lnTo>
                    <a:lnTo>
                      <a:pt x="1362" y="1008"/>
                    </a:lnTo>
                    <a:lnTo>
                      <a:pt x="1362" y="1006"/>
                    </a:lnTo>
                    <a:lnTo>
                      <a:pt x="1361" y="1006"/>
                    </a:lnTo>
                    <a:lnTo>
                      <a:pt x="1361" y="1006"/>
                    </a:lnTo>
                    <a:lnTo>
                      <a:pt x="1361" y="1006"/>
                    </a:lnTo>
                    <a:lnTo>
                      <a:pt x="1361" y="1006"/>
                    </a:lnTo>
                    <a:lnTo>
                      <a:pt x="1359" y="1006"/>
                    </a:lnTo>
                    <a:lnTo>
                      <a:pt x="1358" y="1006"/>
                    </a:lnTo>
                    <a:lnTo>
                      <a:pt x="1358" y="1008"/>
                    </a:lnTo>
                    <a:lnTo>
                      <a:pt x="1357" y="1008"/>
                    </a:lnTo>
                    <a:lnTo>
                      <a:pt x="1358" y="1006"/>
                    </a:lnTo>
                    <a:lnTo>
                      <a:pt x="1358" y="1006"/>
                    </a:lnTo>
                    <a:lnTo>
                      <a:pt x="1357" y="1006"/>
                    </a:lnTo>
                    <a:lnTo>
                      <a:pt x="1357" y="1008"/>
                    </a:lnTo>
                    <a:lnTo>
                      <a:pt x="1356" y="1010"/>
                    </a:lnTo>
                    <a:lnTo>
                      <a:pt x="1354" y="1010"/>
                    </a:lnTo>
                    <a:lnTo>
                      <a:pt x="1353" y="1010"/>
                    </a:lnTo>
                    <a:lnTo>
                      <a:pt x="1353" y="1010"/>
                    </a:lnTo>
                    <a:lnTo>
                      <a:pt x="1352" y="1011"/>
                    </a:lnTo>
                    <a:lnTo>
                      <a:pt x="1351" y="1013"/>
                    </a:lnTo>
                    <a:lnTo>
                      <a:pt x="1351" y="1011"/>
                    </a:lnTo>
                    <a:lnTo>
                      <a:pt x="1352" y="1011"/>
                    </a:lnTo>
                    <a:lnTo>
                      <a:pt x="1353" y="1010"/>
                    </a:lnTo>
                    <a:lnTo>
                      <a:pt x="1353" y="1010"/>
                    </a:lnTo>
                    <a:lnTo>
                      <a:pt x="1353" y="1010"/>
                    </a:lnTo>
                    <a:lnTo>
                      <a:pt x="1353" y="1008"/>
                    </a:lnTo>
                    <a:lnTo>
                      <a:pt x="1353" y="1008"/>
                    </a:lnTo>
                    <a:lnTo>
                      <a:pt x="1352" y="1010"/>
                    </a:lnTo>
                    <a:lnTo>
                      <a:pt x="1349" y="1011"/>
                    </a:lnTo>
                    <a:lnTo>
                      <a:pt x="1349" y="1013"/>
                    </a:lnTo>
                    <a:lnTo>
                      <a:pt x="1346" y="1014"/>
                    </a:lnTo>
                    <a:lnTo>
                      <a:pt x="1343" y="1014"/>
                    </a:lnTo>
                    <a:lnTo>
                      <a:pt x="1342" y="1014"/>
                    </a:lnTo>
                    <a:lnTo>
                      <a:pt x="1339" y="1014"/>
                    </a:lnTo>
                    <a:lnTo>
                      <a:pt x="1339" y="1014"/>
                    </a:lnTo>
                    <a:lnTo>
                      <a:pt x="1339" y="1013"/>
                    </a:lnTo>
                    <a:lnTo>
                      <a:pt x="1339" y="1013"/>
                    </a:lnTo>
                    <a:lnTo>
                      <a:pt x="1339" y="1011"/>
                    </a:lnTo>
                    <a:lnTo>
                      <a:pt x="1339" y="1010"/>
                    </a:lnTo>
                    <a:lnTo>
                      <a:pt x="1339" y="1008"/>
                    </a:lnTo>
                    <a:lnTo>
                      <a:pt x="1339" y="1006"/>
                    </a:lnTo>
                    <a:lnTo>
                      <a:pt x="1339" y="1004"/>
                    </a:lnTo>
                    <a:lnTo>
                      <a:pt x="1339" y="1003"/>
                    </a:lnTo>
                    <a:lnTo>
                      <a:pt x="1339" y="1003"/>
                    </a:lnTo>
                    <a:lnTo>
                      <a:pt x="1339" y="1001"/>
                    </a:lnTo>
                    <a:lnTo>
                      <a:pt x="1339" y="1000"/>
                    </a:lnTo>
                    <a:lnTo>
                      <a:pt x="1339" y="1001"/>
                    </a:lnTo>
                    <a:lnTo>
                      <a:pt x="1338" y="1003"/>
                    </a:lnTo>
                    <a:lnTo>
                      <a:pt x="1338" y="1004"/>
                    </a:lnTo>
                    <a:lnTo>
                      <a:pt x="1337" y="1006"/>
                    </a:lnTo>
                    <a:lnTo>
                      <a:pt x="1336" y="1006"/>
                    </a:lnTo>
                    <a:lnTo>
                      <a:pt x="1336" y="1008"/>
                    </a:lnTo>
                    <a:lnTo>
                      <a:pt x="1336" y="1010"/>
                    </a:lnTo>
                    <a:lnTo>
                      <a:pt x="1336" y="1010"/>
                    </a:lnTo>
                    <a:lnTo>
                      <a:pt x="1333" y="1010"/>
                    </a:lnTo>
                    <a:lnTo>
                      <a:pt x="1333" y="1010"/>
                    </a:lnTo>
                    <a:lnTo>
                      <a:pt x="1332" y="1010"/>
                    </a:lnTo>
                    <a:lnTo>
                      <a:pt x="1332" y="1010"/>
                    </a:lnTo>
                    <a:lnTo>
                      <a:pt x="1331" y="1010"/>
                    </a:lnTo>
                    <a:lnTo>
                      <a:pt x="1329" y="1010"/>
                    </a:lnTo>
                    <a:lnTo>
                      <a:pt x="1328" y="1010"/>
                    </a:lnTo>
                    <a:lnTo>
                      <a:pt x="1327" y="1010"/>
                    </a:lnTo>
                    <a:lnTo>
                      <a:pt x="1326" y="1010"/>
                    </a:lnTo>
                    <a:lnTo>
                      <a:pt x="1326" y="1010"/>
                    </a:lnTo>
                    <a:lnTo>
                      <a:pt x="1325" y="1010"/>
                    </a:lnTo>
                    <a:lnTo>
                      <a:pt x="1325" y="1011"/>
                    </a:lnTo>
                    <a:lnTo>
                      <a:pt x="1323" y="1011"/>
                    </a:lnTo>
                    <a:lnTo>
                      <a:pt x="1323" y="1010"/>
                    </a:lnTo>
                    <a:lnTo>
                      <a:pt x="1322" y="1010"/>
                    </a:lnTo>
                    <a:lnTo>
                      <a:pt x="1321" y="1010"/>
                    </a:lnTo>
                    <a:lnTo>
                      <a:pt x="1321" y="1010"/>
                    </a:lnTo>
                    <a:lnTo>
                      <a:pt x="1320" y="1010"/>
                    </a:lnTo>
                    <a:lnTo>
                      <a:pt x="1318" y="1010"/>
                    </a:lnTo>
                    <a:lnTo>
                      <a:pt x="1318" y="1010"/>
                    </a:lnTo>
                    <a:lnTo>
                      <a:pt x="1318" y="1010"/>
                    </a:lnTo>
                    <a:lnTo>
                      <a:pt x="1317" y="1010"/>
                    </a:lnTo>
                    <a:lnTo>
                      <a:pt x="1316" y="1010"/>
                    </a:lnTo>
                    <a:lnTo>
                      <a:pt x="1313" y="1010"/>
                    </a:lnTo>
                    <a:lnTo>
                      <a:pt x="1311" y="1010"/>
                    </a:lnTo>
                    <a:lnTo>
                      <a:pt x="1311" y="1010"/>
                    </a:lnTo>
                    <a:lnTo>
                      <a:pt x="1311" y="1011"/>
                    </a:lnTo>
                    <a:lnTo>
                      <a:pt x="1310" y="1011"/>
                    </a:lnTo>
                    <a:lnTo>
                      <a:pt x="1307" y="1013"/>
                    </a:lnTo>
                    <a:lnTo>
                      <a:pt x="1305" y="1014"/>
                    </a:lnTo>
                    <a:lnTo>
                      <a:pt x="1305" y="1014"/>
                    </a:lnTo>
                    <a:lnTo>
                      <a:pt x="1303" y="1015"/>
                    </a:lnTo>
                    <a:lnTo>
                      <a:pt x="1303" y="1015"/>
                    </a:lnTo>
                    <a:lnTo>
                      <a:pt x="1301" y="1015"/>
                    </a:lnTo>
                    <a:lnTo>
                      <a:pt x="1301" y="1015"/>
                    </a:lnTo>
                    <a:lnTo>
                      <a:pt x="1300" y="1015"/>
                    </a:lnTo>
                    <a:lnTo>
                      <a:pt x="1298" y="1014"/>
                    </a:lnTo>
                    <a:lnTo>
                      <a:pt x="1296" y="1014"/>
                    </a:lnTo>
                    <a:lnTo>
                      <a:pt x="1295" y="1013"/>
                    </a:lnTo>
                    <a:lnTo>
                      <a:pt x="1293" y="1011"/>
                    </a:lnTo>
                    <a:lnTo>
                      <a:pt x="1291" y="1010"/>
                    </a:lnTo>
                    <a:lnTo>
                      <a:pt x="1291" y="1010"/>
                    </a:lnTo>
                    <a:lnTo>
                      <a:pt x="1290" y="1010"/>
                    </a:lnTo>
                    <a:lnTo>
                      <a:pt x="1288" y="1010"/>
                    </a:lnTo>
                    <a:lnTo>
                      <a:pt x="1287" y="1011"/>
                    </a:lnTo>
                    <a:lnTo>
                      <a:pt x="1286" y="1013"/>
                    </a:lnTo>
                    <a:lnTo>
                      <a:pt x="1285" y="1014"/>
                    </a:lnTo>
                    <a:lnTo>
                      <a:pt x="1283" y="1014"/>
                    </a:lnTo>
                    <a:lnTo>
                      <a:pt x="1283" y="1015"/>
                    </a:lnTo>
                    <a:lnTo>
                      <a:pt x="1283" y="1015"/>
                    </a:lnTo>
                    <a:lnTo>
                      <a:pt x="1283" y="1016"/>
                    </a:lnTo>
                    <a:lnTo>
                      <a:pt x="1283" y="1016"/>
                    </a:lnTo>
                    <a:lnTo>
                      <a:pt x="1285" y="1017"/>
                    </a:lnTo>
                    <a:lnTo>
                      <a:pt x="1285" y="1017"/>
                    </a:lnTo>
                    <a:lnTo>
                      <a:pt x="1287" y="1019"/>
                    </a:lnTo>
                    <a:lnTo>
                      <a:pt x="1288" y="1019"/>
                    </a:lnTo>
                    <a:lnTo>
                      <a:pt x="1290" y="1019"/>
                    </a:lnTo>
                    <a:lnTo>
                      <a:pt x="1291" y="1017"/>
                    </a:lnTo>
                    <a:lnTo>
                      <a:pt x="1291" y="1017"/>
                    </a:lnTo>
                    <a:lnTo>
                      <a:pt x="1291" y="1017"/>
                    </a:lnTo>
                    <a:lnTo>
                      <a:pt x="1293" y="1017"/>
                    </a:lnTo>
                    <a:lnTo>
                      <a:pt x="1293" y="1017"/>
                    </a:lnTo>
                    <a:lnTo>
                      <a:pt x="1296" y="1017"/>
                    </a:lnTo>
                    <a:lnTo>
                      <a:pt x="1297" y="1017"/>
                    </a:lnTo>
                    <a:lnTo>
                      <a:pt x="1298" y="1017"/>
                    </a:lnTo>
                    <a:lnTo>
                      <a:pt x="1298" y="1017"/>
                    </a:lnTo>
                    <a:lnTo>
                      <a:pt x="1298" y="1017"/>
                    </a:lnTo>
                    <a:lnTo>
                      <a:pt x="1297" y="1019"/>
                    </a:lnTo>
                    <a:lnTo>
                      <a:pt x="1296" y="1019"/>
                    </a:lnTo>
                    <a:lnTo>
                      <a:pt x="1296" y="1019"/>
                    </a:lnTo>
                    <a:lnTo>
                      <a:pt x="1295" y="1020"/>
                    </a:lnTo>
                    <a:lnTo>
                      <a:pt x="1293" y="1020"/>
                    </a:lnTo>
                    <a:lnTo>
                      <a:pt x="1295" y="1020"/>
                    </a:lnTo>
                    <a:lnTo>
                      <a:pt x="1295" y="1021"/>
                    </a:lnTo>
                    <a:lnTo>
                      <a:pt x="1295" y="1021"/>
                    </a:lnTo>
                    <a:lnTo>
                      <a:pt x="1296" y="1022"/>
                    </a:lnTo>
                    <a:lnTo>
                      <a:pt x="1297" y="1022"/>
                    </a:lnTo>
                    <a:lnTo>
                      <a:pt x="1297" y="1022"/>
                    </a:lnTo>
                    <a:lnTo>
                      <a:pt x="1298" y="1022"/>
                    </a:lnTo>
                    <a:lnTo>
                      <a:pt x="1298" y="1021"/>
                    </a:lnTo>
                    <a:lnTo>
                      <a:pt x="1300" y="1020"/>
                    </a:lnTo>
                    <a:lnTo>
                      <a:pt x="1300" y="1020"/>
                    </a:lnTo>
                    <a:lnTo>
                      <a:pt x="1300" y="1020"/>
                    </a:lnTo>
                    <a:lnTo>
                      <a:pt x="1301" y="1020"/>
                    </a:lnTo>
                    <a:lnTo>
                      <a:pt x="1301" y="1019"/>
                    </a:lnTo>
                    <a:lnTo>
                      <a:pt x="1301" y="1020"/>
                    </a:lnTo>
                    <a:lnTo>
                      <a:pt x="1303" y="1020"/>
                    </a:lnTo>
                    <a:lnTo>
                      <a:pt x="1303" y="1020"/>
                    </a:lnTo>
                    <a:lnTo>
                      <a:pt x="1303" y="1021"/>
                    </a:lnTo>
                    <a:lnTo>
                      <a:pt x="1305" y="1022"/>
                    </a:lnTo>
                    <a:lnTo>
                      <a:pt x="1305" y="1024"/>
                    </a:lnTo>
                    <a:lnTo>
                      <a:pt x="1305" y="1024"/>
                    </a:lnTo>
                    <a:lnTo>
                      <a:pt x="1305" y="1025"/>
                    </a:lnTo>
                    <a:lnTo>
                      <a:pt x="1303" y="1025"/>
                    </a:lnTo>
                    <a:lnTo>
                      <a:pt x="1303" y="1026"/>
                    </a:lnTo>
                    <a:lnTo>
                      <a:pt x="1303" y="1026"/>
                    </a:lnTo>
                    <a:lnTo>
                      <a:pt x="1303" y="1026"/>
                    </a:lnTo>
                    <a:lnTo>
                      <a:pt x="1301" y="1026"/>
                    </a:lnTo>
                    <a:lnTo>
                      <a:pt x="1301" y="1027"/>
                    </a:lnTo>
                    <a:lnTo>
                      <a:pt x="1300" y="1027"/>
                    </a:lnTo>
                    <a:lnTo>
                      <a:pt x="1298" y="1027"/>
                    </a:lnTo>
                    <a:lnTo>
                      <a:pt x="1298" y="1029"/>
                    </a:lnTo>
                    <a:lnTo>
                      <a:pt x="1298" y="1029"/>
                    </a:lnTo>
                    <a:lnTo>
                      <a:pt x="1298" y="1029"/>
                    </a:lnTo>
                    <a:lnTo>
                      <a:pt x="1300" y="1030"/>
                    </a:lnTo>
                    <a:lnTo>
                      <a:pt x="1298" y="1029"/>
                    </a:lnTo>
                    <a:lnTo>
                      <a:pt x="1297" y="1029"/>
                    </a:lnTo>
                    <a:lnTo>
                      <a:pt x="1297" y="1029"/>
                    </a:lnTo>
                    <a:lnTo>
                      <a:pt x="1297" y="1029"/>
                    </a:lnTo>
                    <a:lnTo>
                      <a:pt x="1297" y="1030"/>
                    </a:lnTo>
                    <a:lnTo>
                      <a:pt x="1296" y="1030"/>
                    </a:lnTo>
                    <a:lnTo>
                      <a:pt x="1296" y="1032"/>
                    </a:lnTo>
                    <a:lnTo>
                      <a:pt x="1296" y="1034"/>
                    </a:lnTo>
                    <a:lnTo>
                      <a:pt x="1297" y="1035"/>
                    </a:lnTo>
                    <a:lnTo>
                      <a:pt x="1297" y="1036"/>
                    </a:lnTo>
                    <a:lnTo>
                      <a:pt x="1298" y="1036"/>
                    </a:lnTo>
                    <a:lnTo>
                      <a:pt x="1300" y="1036"/>
                    </a:lnTo>
                    <a:lnTo>
                      <a:pt x="1301" y="1036"/>
                    </a:lnTo>
                    <a:lnTo>
                      <a:pt x="1303" y="1036"/>
                    </a:lnTo>
                    <a:lnTo>
                      <a:pt x="1303" y="1036"/>
                    </a:lnTo>
                    <a:lnTo>
                      <a:pt x="1305" y="1036"/>
                    </a:lnTo>
                    <a:lnTo>
                      <a:pt x="1305" y="1039"/>
                    </a:lnTo>
                    <a:lnTo>
                      <a:pt x="1305" y="1039"/>
                    </a:lnTo>
                    <a:lnTo>
                      <a:pt x="1307" y="1040"/>
                    </a:lnTo>
                    <a:lnTo>
                      <a:pt x="1307" y="1041"/>
                    </a:lnTo>
                    <a:lnTo>
                      <a:pt x="1307" y="1042"/>
                    </a:lnTo>
                    <a:lnTo>
                      <a:pt x="1307" y="1042"/>
                    </a:lnTo>
                    <a:lnTo>
                      <a:pt x="1307" y="1042"/>
                    </a:lnTo>
                    <a:lnTo>
                      <a:pt x="1307" y="1044"/>
                    </a:lnTo>
                    <a:lnTo>
                      <a:pt x="1305" y="1045"/>
                    </a:lnTo>
                    <a:lnTo>
                      <a:pt x="1305" y="1045"/>
                    </a:lnTo>
                    <a:lnTo>
                      <a:pt x="1303" y="1046"/>
                    </a:lnTo>
                    <a:lnTo>
                      <a:pt x="1303" y="1046"/>
                    </a:lnTo>
                    <a:lnTo>
                      <a:pt x="1303" y="1046"/>
                    </a:lnTo>
                    <a:lnTo>
                      <a:pt x="1303" y="1046"/>
                    </a:lnTo>
                    <a:lnTo>
                      <a:pt x="1301" y="1046"/>
                    </a:lnTo>
                    <a:lnTo>
                      <a:pt x="1301" y="1046"/>
                    </a:lnTo>
                    <a:lnTo>
                      <a:pt x="1300" y="1046"/>
                    </a:lnTo>
                    <a:lnTo>
                      <a:pt x="1298" y="1046"/>
                    </a:lnTo>
                    <a:lnTo>
                      <a:pt x="1297" y="1049"/>
                    </a:lnTo>
                    <a:lnTo>
                      <a:pt x="1298" y="1046"/>
                    </a:lnTo>
                    <a:lnTo>
                      <a:pt x="1300" y="1046"/>
                    </a:lnTo>
                    <a:lnTo>
                      <a:pt x="1301" y="1044"/>
                    </a:lnTo>
                    <a:lnTo>
                      <a:pt x="1301" y="1042"/>
                    </a:lnTo>
                    <a:lnTo>
                      <a:pt x="1301" y="1042"/>
                    </a:lnTo>
                    <a:lnTo>
                      <a:pt x="1301" y="1042"/>
                    </a:lnTo>
                    <a:lnTo>
                      <a:pt x="1301" y="1041"/>
                    </a:lnTo>
                    <a:lnTo>
                      <a:pt x="1300" y="1041"/>
                    </a:lnTo>
                    <a:lnTo>
                      <a:pt x="1300" y="1041"/>
                    </a:lnTo>
                    <a:lnTo>
                      <a:pt x="1300" y="1041"/>
                    </a:lnTo>
                    <a:lnTo>
                      <a:pt x="1300" y="1040"/>
                    </a:lnTo>
                    <a:lnTo>
                      <a:pt x="1300" y="1039"/>
                    </a:lnTo>
                    <a:lnTo>
                      <a:pt x="1298" y="1039"/>
                    </a:lnTo>
                    <a:lnTo>
                      <a:pt x="1297" y="1039"/>
                    </a:lnTo>
                    <a:lnTo>
                      <a:pt x="1293" y="1039"/>
                    </a:lnTo>
                    <a:lnTo>
                      <a:pt x="1293" y="1039"/>
                    </a:lnTo>
                    <a:lnTo>
                      <a:pt x="1293" y="1036"/>
                    </a:lnTo>
                    <a:lnTo>
                      <a:pt x="1291" y="1036"/>
                    </a:lnTo>
                    <a:lnTo>
                      <a:pt x="1291" y="1036"/>
                    </a:lnTo>
                    <a:lnTo>
                      <a:pt x="1291" y="1036"/>
                    </a:lnTo>
                    <a:lnTo>
                      <a:pt x="1291" y="1036"/>
                    </a:lnTo>
                    <a:lnTo>
                      <a:pt x="1291" y="1036"/>
                    </a:lnTo>
                    <a:lnTo>
                      <a:pt x="1291" y="1035"/>
                    </a:lnTo>
                    <a:lnTo>
                      <a:pt x="1291" y="1034"/>
                    </a:lnTo>
                    <a:lnTo>
                      <a:pt x="1291" y="1034"/>
                    </a:lnTo>
                    <a:lnTo>
                      <a:pt x="1290" y="1034"/>
                    </a:lnTo>
                    <a:lnTo>
                      <a:pt x="1287" y="1032"/>
                    </a:lnTo>
                    <a:lnTo>
                      <a:pt x="1286" y="1031"/>
                    </a:lnTo>
                    <a:lnTo>
                      <a:pt x="1285" y="1031"/>
                    </a:lnTo>
                    <a:lnTo>
                      <a:pt x="1285" y="1031"/>
                    </a:lnTo>
                    <a:lnTo>
                      <a:pt x="1285" y="1032"/>
                    </a:lnTo>
                    <a:lnTo>
                      <a:pt x="1285" y="1032"/>
                    </a:lnTo>
                    <a:lnTo>
                      <a:pt x="1285" y="1034"/>
                    </a:lnTo>
                    <a:lnTo>
                      <a:pt x="1285" y="1034"/>
                    </a:lnTo>
                    <a:lnTo>
                      <a:pt x="1285" y="1035"/>
                    </a:lnTo>
                    <a:lnTo>
                      <a:pt x="1285" y="1036"/>
                    </a:lnTo>
                    <a:lnTo>
                      <a:pt x="1283" y="1039"/>
                    </a:lnTo>
                    <a:lnTo>
                      <a:pt x="1283" y="1040"/>
                    </a:lnTo>
                    <a:lnTo>
                      <a:pt x="1283" y="1040"/>
                    </a:lnTo>
                    <a:lnTo>
                      <a:pt x="1282" y="1041"/>
                    </a:lnTo>
                    <a:lnTo>
                      <a:pt x="1282" y="1042"/>
                    </a:lnTo>
                    <a:lnTo>
                      <a:pt x="1280" y="1044"/>
                    </a:lnTo>
                    <a:lnTo>
                      <a:pt x="1278" y="1045"/>
                    </a:lnTo>
                    <a:lnTo>
                      <a:pt x="1278" y="1042"/>
                    </a:lnTo>
                    <a:lnTo>
                      <a:pt x="1278" y="1041"/>
                    </a:lnTo>
                    <a:lnTo>
                      <a:pt x="1278" y="1040"/>
                    </a:lnTo>
                    <a:lnTo>
                      <a:pt x="1278" y="1040"/>
                    </a:lnTo>
                    <a:lnTo>
                      <a:pt x="1278" y="1040"/>
                    </a:lnTo>
                    <a:lnTo>
                      <a:pt x="1278" y="1039"/>
                    </a:lnTo>
                    <a:lnTo>
                      <a:pt x="1278" y="1039"/>
                    </a:lnTo>
                    <a:lnTo>
                      <a:pt x="1277" y="1039"/>
                    </a:lnTo>
                    <a:lnTo>
                      <a:pt x="1276" y="1039"/>
                    </a:lnTo>
                    <a:lnTo>
                      <a:pt x="1276" y="1039"/>
                    </a:lnTo>
                    <a:lnTo>
                      <a:pt x="1275" y="1039"/>
                    </a:lnTo>
                    <a:lnTo>
                      <a:pt x="1275" y="1039"/>
                    </a:lnTo>
                    <a:lnTo>
                      <a:pt x="1274" y="1039"/>
                    </a:lnTo>
                    <a:lnTo>
                      <a:pt x="1274" y="1040"/>
                    </a:lnTo>
                    <a:lnTo>
                      <a:pt x="1272" y="1040"/>
                    </a:lnTo>
                    <a:lnTo>
                      <a:pt x="1272" y="1041"/>
                    </a:lnTo>
                    <a:lnTo>
                      <a:pt x="1272" y="1041"/>
                    </a:lnTo>
                    <a:lnTo>
                      <a:pt x="1271" y="1041"/>
                    </a:lnTo>
                    <a:lnTo>
                      <a:pt x="1271" y="1042"/>
                    </a:lnTo>
                    <a:lnTo>
                      <a:pt x="1269" y="1042"/>
                    </a:lnTo>
                    <a:lnTo>
                      <a:pt x="1269" y="1042"/>
                    </a:lnTo>
                    <a:lnTo>
                      <a:pt x="1267" y="1042"/>
                    </a:lnTo>
                    <a:lnTo>
                      <a:pt x="1266" y="1042"/>
                    </a:lnTo>
                    <a:lnTo>
                      <a:pt x="1265" y="1041"/>
                    </a:lnTo>
                    <a:lnTo>
                      <a:pt x="1264" y="1041"/>
                    </a:lnTo>
                    <a:lnTo>
                      <a:pt x="1262" y="1040"/>
                    </a:lnTo>
                    <a:lnTo>
                      <a:pt x="1262" y="1039"/>
                    </a:lnTo>
                    <a:lnTo>
                      <a:pt x="1261" y="1036"/>
                    </a:lnTo>
                    <a:lnTo>
                      <a:pt x="1261" y="1036"/>
                    </a:lnTo>
                    <a:lnTo>
                      <a:pt x="1259" y="1035"/>
                    </a:lnTo>
                    <a:lnTo>
                      <a:pt x="1259" y="1034"/>
                    </a:lnTo>
                    <a:lnTo>
                      <a:pt x="1261" y="1034"/>
                    </a:lnTo>
                    <a:lnTo>
                      <a:pt x="1259" y="1034"/>
                    </a:lnTo>
                    <a:lnTo>
                      <a:pt x="1259" y="1034"/>
                    </a:lnTo>
                    <a:lnTo>
                      <a:pt x="1259" y="1034"/>
                    </a:lnTo>
                    <a:lnTo>
                      <a:pt x="1257" y="1034"/>
                    </a:lnTo>
                    <a:lnTo>
                      <a:pt x="1256" y="1032"/>
                    </a:lnTo>
                    <a:lnTo>
                      <a:pt x="1256" y="1032"/>
                    </a:lnTo>
                    <a:lnTo>
                      <a:pt x="1255" y="1032"/>
                    </a:lnTo>
                    <a:lnTo>
                      <a:pt x="1255" y="1031"/>
                    </a:lnTo>
                    <a:lnTo>
                      <a:pt x="1254" y="1030"/>
                    </a:lnTo>
                    <a:lnTo>
                      <a:pt x="1254" y="1030"/>
                    </a:lnTo>
                    <a:lnTo>
                      <a:pt x="1252" y="1029"/>
                    </a:lnTo>
                    <a:lnTo>
                      <a:pt x="1252" y="1029"/>
                    </a:lnTo>
                    <a:lnTo>
                      <a:pt x="1252" y="1029"/>
                    </a:lnTo>
                    <a:lnTo>
                      <a:pt x="1252" y="1027"/>
                    </a:lnTo>
                    <a:lnTo>
                      <a:pt x="1251" y="1027"/>
                    </a:lnTo>
                    <a:lnTo>
                      <a:pt x="1251" y="1027"/>
                    </a:lnTo>
                    <a:lnTo>
                      <a:pt x="1250" y="1027"/>
                    </a:lnTo>
                    <a:lnTo>
                      <a:pt x="1250" y="1027"/>
                    </a:lnTo>
                    <a:lnTo>
                      <a:pt x="1249" y="1027"/>
                    </a:lnTo>
                    <a:lnTo>
                      <a:pt x="1249" y="1026"/>
                    </a:lnTo>
                    <a:lnTo>
                      <a:pt x="1250" y="1026"/>
                    </a:lnTo>
                    <a:lnTo>
                      <a:pt x="1250" y="1026"/>
                    </a:lnTo>
                    <a:lnTo>
                      <a:pt x="1250" y="1026"/>
                    </a:lnTo>
                    <a:lnTo>
                      <a:pt x="1250" y="1025"/>
                    </a:lnTo>
                    <a:lnTo>
                      <a:pt x="1250" y="1025"/>
                    </a:lnTo>
                    <a:lnTo>
                      <a:pt x="1247" y="1026"/>
                    </a:lnTo>
                    <a:lnTo>
                      <a:pt x="1246" y="1026"/>
                    </a:lnTo>
                    <a:lnTo>
                      <a:pt x="1244" y="1027"/>
                    </a:lnTo>
                    <a:lnTo>
                      <a:pt x="1244" y="1027"/>
                    </a:lnTo>
                    <a:lnTo>
                      <a:pt x="1244" y="1029"/>
                    </a:lnTo>
                    <a:lnTo>
                      <a:pt x="1244" y="1029"/>
                    </a:lnTo>
                    <a:lnTo>
                      <a:pt x="1244" y="1029"/>
                    </a:lnTo>
                    <a:lnTo>
                      <a:pt x="1244" y="1029"/>
                    </a:lnTo>
                    <a:lnTo>
                      <a:pt x="1244" y="1030"/>
                    </a:lnTo>
                    <a:lnTo>
                      <a:pt x="1241" y="1030"/>
                    </a:lnTo>
                    <a:lnTo>
                      <a:pt x="1240" y="1030"/>
                    </a:lnTo>
                    <a:lnTo>
                      <a:pt x="1237" y="1031"/>
                    </a:lnTo>
                    <a:lnTo>
                      <a:pt x="1234" y="1032"/>
                    </a:lnTo>
                    <a:lnTo>
                      <a:pt x="1234" y="1032"/>
                    </a:lnTo>
                    <a:lnTo>
                      <a:pt x="1231" y="1032"/>
                    </a:lnTo>
                    <a:lnTo>
                      <a:pt x="1224" y="1029"/>
                    </a:lnTo>
                    <a:lnTo>
                      <a:pt x="1218" y="1025"/>
                    </a:lnTo>
                    <a:lnTo>
                      <a:pt x="1218" y="1024"/>
                    </a:lnTo>
                    <a:lnTo>
                      <a:pt x="1219" y="1022"/>
                    </a:lnTo>
                    <a:lnTo>
                      <a:pt x="1219" y="1022"/>
                    </a:lnTo>
                    <a:lnTo>
                      <a:pt x="1219" y="1021"/>
                    </a:lnTo>
                    <a:lnTo>
                      <a:pt x="1219" y="1020"/>
                    </a:lnTo>
                    <a:lnTo>
                      <a:pt x="1219" y="1017"/>
                    </a:lnTo>
                    <a:lnTo>
                      <a:pt x="1219" y="1019"/>
                    </a:lnTo>
                    <a:lnTo>
                      <a:pt x="1218" y="1020"/>
                    </a:lnTo>
                    <a:lnTo>
                      <a:pt x="1218" y="1022"/>
                    </a:lnTo>
                    <a:lnTo>
                      <a:pt x="1216" y="1025"/>
                    </a:lnTo>
                    <a:lnTo>
                      <a:pt x="1215" y="1026"/>
                    </a:lnTo>
                    <a:lnTo>
                      <a:pt x="1214" y="1027"/>
                    </a:lnTo>
                    <a:lnTo>
                      <a:pt x="1213" y="1027"/>
                    </a:lnTo>
                    <a:lnTo>
                      <a:pt x="1211" y="1027"/>
                    </a:lnTo>
                    <a:lnTo>
                      <a:pt x="1209" y="1027"/>
                    </a:lnTo>
                    <a:lnTo>
                      <a:pt x="1208" y="1027"/>
                    </a:lnTo>
                    <a:lnTo>
                      <a:pt x="1205" y="1027"/>
                    </a:lnTo>
                    <a:lnTo>
                      <a:pt x="1205" y="1027"/>
                    </a:lnTo>
                    <a:lnTo>
                      <a:pt x="1205" y="1027"/>
                    </a:lnTo>
                    <a:lnTo>
                      <a:pt x="1205" y="1026"/>
                    </a:lnTo>
                    <a:lnTo>
                      <a:pt x="1205" y="1024"/>
                    </a:lnTo>
                    <a:lnTo>
                      <a:pt x="1208" y="1021"/>
                    </a:lnTo>
                    <a:lnTo>
                      <a:pt x="1208" y="1020"/>
                    </a:lnTo>
                    <a:lnTo>
                      <a:pt x="1208" y="1020"/>
                    </a:lnTo>
                    <a:lnTo>
                      <a:pt x="1205" y="1021"/>
                    </a:lnTo>
                    <a:lnTo>
                      <a:pt x="1205" y="1022"/>
                    </a:lnTo>
                    <a:lnTo>
                      <a:pt x="1204" y="1024"/>
                    </a:lnTo>
                    <a:lnTo>
                      <a:pt x="1204" y="1025"/>
                    </a:lnTo>
                    <a:lnTo>
                      <a:pt x="1204" y="1026"/>
                    </a:lnTo>
                    <a:lnTo>
                      <a:pt x="1204" y="1027"/>
                    </a:lnTo>
                    <a:lnTo>
                      <a:pt x="1205" y="1027"/>
                    </a:lnTo>
                    <a:lnTo>
                      <a:pt x="1201" y="1029"/>
                    </a:lnTo>
                    <a:lnTo>
                      <a:pt x="1199" y="1029"/>
                    </a:lnTo>
                    <a:lnTo>
                      <a:pt x="1193" y="1031"/>
                    </a:lnTo>
                    <a:lnTo>
                      <a:pt x="1189" y="1032"/>
                    </a:lnTo>
                    <a:lnTo>
                      <a:pt x="1186" y="1034"/>
                    </a:lnTo>
                    <a:lnTo>
                      <a:pt x="1184" y="1035"/>
                    </a:lnTo>
                    <a:lnTo>
                      <a:pt x="1180" y="1036"/>
                    </a:lnTo>
                    <a:lnTo>
                      <a:pt x="1181" y="1036"/>
                    </a:lnTo>
                    <a:lnTo>
                      <a:pt x="1183" y="1035"/>
                    </a:lnTo>
                    <a:lnTo>
                      <a:pt x="1185" y="1034"/>
                    </a:lnTo>
                    <a:lnTo>
                      <a:pt x="1186" y="1034"/>
                    </a:lnTo>
                    <a:lnTo>
                      <a:pt x="1188" y="1032"/>
                    </a:lnTo>
                    <a:lnTo>
                      <a:pt x="1183" y="1032"/>
                    </a:lnTo>
                    <a:lnTo>
                      <a:pt x="1184" y="1031"/>
                    </a:lnTo>
                    <a:lnTo>
                      <a:pt x="1185" y="1030"/>
                    </a:lnTo>
                    <a:lnTo>
                      <a:pt x="1185" y="1029"/>
                    </a:lnTo>
                    <a:lnTo>
                      <a:pt x="1185" y="1029"/>
                    </a:lnTo>
                    <a:lnTo>
                      <a:pt x="1185" y="1027"/>
                    </a:lnTo>
                    <a:lnTo>
                      <a:pt x="1185" y="1025"/>
                    </a:lnTo>
                    <a:lnTo>
                      <a:pt x="1185" y="1026"/>
                    </a:lnTo>
                    <a:lnTo>
                      <a:pt x="1184" y="1026"/>
                    </a:lnTo>
                    <a:lnTo>
                      <a:pt x="1183" y="1027"/>
                    </a:lnTo>
                    <a:lnTo>
                      <a:pt x="1181" y="1029"/>
                    </a:lnTo>
                    <a:lnTo>
                      <a:pt x="1181" y="1029"/>
                    </a:lnTo>
                    <a:lnTo>
                      <a:pt x="1180" y="1030"/>
                    </a:lnTo>
                    <a:lnTo>
                      <a:pt x="1180" y="1029"/>
                    </a:lnTo>
                    <a:lnTo>
                      <a:pt x="1180" y="1029"/>
                    </a:lnTo>
                    <a:lnTo>
                      <a:pt x="1179" y="1029"/>
                    </a:lnTo>
                    <a:lnTo>
                      <a:pt x="1179" y="1029"/>
                    </a:lnTo>
                    <a:lnTo>
                      <a:pt x="1178" y="1027"/>
                    </a:lnTo>
                    <a:lnTo>
                      <a:pt x="1178" y="1027"/>
                    </a:lnTo>
                    <a:lnTo>
                      <a:pt x="1177" y="1029"/>
                    </a:lnTo>
                    <a:lnTo>
                      <a:pt x="1177" y="1029"/>
                    </a:lnTo>
                    <a:lnTo>
                      <a:pt x="1177" y="1031"/>
                    </a:lnTo>
                    <a:lnTo>
                      <a:pt x="1177" y="1032"/>
                    </a:lnTo>
                    <a:lnTo>
                      <a:pt x="1178" y="1034"/>
                    </a:lnTo>
                    <a:lnTo>
                      <a:pt x="1178" y="1035"/>
                    </a:lnTo>
                    <a:lnTo>
                      <a:pt x="1179" y="1036"/>
                    </a:lnTo>
                    <a:lnTo>
                      <a:pt x="1180" y="1036"/>
                    </a:lnTo>
                    <a:lnTo>
                      <a:pt x="1178" y="1039"/>
                    </a:lnTo>
                    <a:lnTo>
                      <a:pt x="1177" y="1039"/>
                    </a:lnTo>
                    <a:lnTo>
                      <a:pt x="1174" y="1041"/>
                    </a:lnTo>
                    <a:lnTo>
                      <a:pt x="1173" y="1042"/>
                    </a:lnTo>
                    <a:lnTo>
                      <a:pt x="1172" y="1044"/>
                    </a:lnTo>
                    <a:lnTo>
                      <a:pt x="1170" y="1046"/>
                    </a:lnTo>
                    <a:lnTo>
                      <a:pt x="1169" y="1046"/>
                    </a:lnTo>
                    <a:lnTo>
                      <a:pt x="1167" y="1049"/>
                    </a:lnTo>
                    <a:lnTo>
                      <a:pt x="1163" y="1049"/>
                    </a:lnTo>
                    <a:lnTo>
                      <a:pt x="1162" y="1050"/>
                    </a:lnTo>
                    <a:lnTo>
                      <a:pt x="1159" y="1051"/>
                    </a:lnTo>
                    <a:lnTo>
                      <a:pt x="1157" y="1052"/>
                    </a:lnTo>
                    <a:lnTo>
                      <a:pt x="1155" y="1054"/>
                    </a:lnTo>
                    <a:lnTo>
                      <a:pt x="1153" y="1054"/>
                    </a:lnTo>
                    <a:lnTo>
                      <a:pt x="1153" y="1054"/>
                    </a:lnTo>
                    <a:lnTo>
                      <a:pt x="1153" y="1055"/>
                    </a:lnTo>
                    <a:lnTo>
                      <a:pt x="1153" y="1055"/>
                    </a:lnTo>
                    <a:lnTo>
                      <a:pt x="1153" y="1055"/>
                    </a:lnTo>
                    <a:lnTo>
                      <a:pt x="1153" y="1055"/>
                    </a:lnTo>
                    <a:lnTo>
                      <a:pt x="1152" y="1056"/>
                    </a:lnTo>
                    <a:lnTo>
                      <a:pt x="1152" y="1056"/>
                    </a:lnTo>
                    <a:lnTo>
                      <a:pt x="1153" y="1055"/>
                    </a:lnTo>
                    <a:lnTo>
                      <a:pt x="1153" y="1055"/>
                    </a:lnTo>
                    <a:lnTo>
                      <a:pt x="1153" y="1056"/>
                    </a:lnTo>
                    <a:lnTo>
                      <a:pt x="1152" y="1056"/>
                    </a:lnTo>
                    <a:lnTo>
                      <a:pt x="1152" y="1057"/>
                    </a:lnTo>
                    <a:lnTo>
                      <a:pt x="1152" y="1056"/>
                    </a:lnTo>
                    <a:lnTo>
                      <a:pt x="1152" y="1056"/>
                    </a:lnTo>
                    <a:lnTo>
                      <a:pt x="1148" y="1057"/>
                    </a:lnTo>
                    <a:lnTo>
                      <a:pt x="1148" y="1057"/>
                    </a:lnTo>
                    <a:lnTo>
                      <a:pt x="1145" y="1059"/>
                    </a:lnTo>
                    <a:lnTo>
                      <a:pt x="1148" y="1057"/>
                    </a:lnTo>
                    <a:lnTo>
                      <a:pt x="1148" y="1057"/>
                    </a:lnTo>
                    <a:lnTo>
                      <a:pt x="1148" y="1057"/>
                    </a:lnTo>
                    <a:lnTo>
                      <a:pt x="1148" y="1057"/>
                    </a:lnTo>
                    <a:lnTo>
                      <a:pt x="1148" y="1057"/>
                    </a:lnTo>
                    <a:lnTo>
                      <a:pt x="1145" y="1057"/>
                    </a:lnTo>
                    <a:lnTo>
                      <a:pt x="1144" y="1057"/>
                    </a:lnTo>
                    <a:lnTo>
                      <a:pt x="1144" y="1056"/>
                    </a:lnTo>
                    <a:lnTo>
                      <a:pt x="1144" y="1056"/>
                    </a:lnTo>
                    <a:lnTo>
                      <a:pt x="1144" y="1056"/>
                    </a:lnTo>
                    <a:lnTo>
                      <a:pt x="1144" y="1056"/>
                    </a:lnTo>
                    <a:lnTo>
                      <a:pt x="1143" y="1055"/>
                    </a:lnTo>
                    <a:lnTo>
                      <a:pt x="1142" y="1055"/>
                    </a:lnTo>
                    <a:lnTo>
                      <a:pt x="1140" y="1055"/>
                    </a:lnTo>
                    <a:lnTo>
                      <a:pt x="1140" y="1056"/>
                    </a:lnTo>
                    <a:lnTo>
                      <a:pt x="1139" y="1056"/>
                    </a:lnTo>
                    <a:lnTo>
                      <a:pt x="1139" y="1057"/>
                    </a:lnTo>
                    <a:lnTo>
                      <a:pt x="1139" y="1056"/>
                    </a:lnTo>
                    <a:lnTo>
                      <a:pt x="1138" y="1055"/>
                    </a:lnTo>
                    <a:lnTo>
                      <a:pt x="1138" y="1055"/>
                    </a:lnTo>
                    <a:lnTo>
                      <a:pt x="1138" y="1056"/>
                    </a:lnTo>
                    <a:lnTo>
                      <a:pt x="1138" y="1056"/>
                    </a:lnTo>
                    <a:lnTo>
                      <a:pt x="1135" y="1057"/>
                    </a:lnTo>
                    <a:lnTo>
                      <a:pt x="1135" y="1057"/>
                    </a:lnTo>
                    <a:lnTo>
                      <a:pt x="1135" y="1059"/>
                    </a:lnTo>
                    <a:lnTo>
                      <a:pt x="1135" y="1059"/>
                    </a:lnTo>
                    <a:lnTo>
                      <a:pt x="1135" y="1060"/>
                    </a:lnTo>
                    <a:lnTo>
                      <a:pt x="1135" y="1060"/>
                    </a:lnTo>
                    <a:lnTo>
                      <a:pt x="1138" y="1060"/>
                    </a:lnTo>
                    <a:lnTo>
                      <a:pt x="1138" y="1061"/>
                    </a:lnTo>
                    <a:lnTo>
                      <a:pt x="1139" y="1061"/>
                    </a:lnTo>
                    <a:lnTo>
                      <a:pt x="1138" y="1061"/>
                    </a:lnTo>
                    <a:lnTo>
                      <a:pt x="1138" y="1062"/>
                    </a:lnTo>
                    <a:lnTo>
                      <a:pt x="1135" y="1062"/>
                    </a:lnTo>
                    <a:lnTo>
                      <a:pt x="1134" y="1062"/>
                    </a:lnTo>
                    <a:lnTo>
                      <a:pt x="1132" y="1062"/>
                    </a:lnTo>
                    <a:lnTo>
                      <a:pt x="1132" y="1061"/>
                    </a:lnTo>
                    <a:lnTo>
                      <a:pt x="1130" y="1060"/>
                    </a:lnTo>
                    <a:lnTo>
                      <a:pt x="1129" y="1059"/>
                    </a:lnTo>
                    <a:lnTo>
                      <a:pt x="1130" y="1060"/>
                    </a:lnTo>
                    <a:lnTo>
                      <a:pt x="1130" y="1060"/>
                    </a:lnTo>
                    <a:lnTo>
                      <a:pt x="1130" y="1061"/>
                    </a:lnTo>
                    <a:lnTo>
                      <a:pt x="1130" y="1062"/>
                    </a:lnTo>
                    <a:lnTo>
                      <a:pt x="1129" y="1065"/>
                    </a:lnTo>
                    <a:lnTo>
                      <a:pt x="1128" y="1066"/>
                    </a:lnTo>
                    <a:lnTo>
                      <a:pt x="1128" y="1067"/>
                    </a:lnTo>
                    <a:lnTo>
                      <a:pt x="1128" y="1067"/>
                    </a:lnTo>
                    <a:lnTo>
                      <a:pt x="1127" y="1067"/>
                    </a:lnTo>
                    <a:lnTo>
                      <a:pt x="1127" y="1067"/>
                    </a:lnTo>
                    <a:lnTo>
                      <a:pt x="1124" y="1067"/>
                    </a:lnTo>
                    <a:lnTo>
                      <a:pt x="1124" y="1067"/>
                    </a:lnTo>
                    <a:lnTo>
                      <a:pt x="1124" y="1067"/>
                    </a:lnTo>
                    <a:lnTo>
                      <a:pt x="1124" y="1067"/>
                    </a:lnTo>
                    <a:lnTo>
                      <a:pt x="1124" y="1067"/>
                    </a:lnTo>
                    <a:lnTo>
                      <a:pt x="1124" y="1067"/>
                    </a:lnTo>
                    <a:lnTo>
                      <a:pt x="1123" y="1070"/>
                    </a:lnTo>
                    <a:lnTo>
                      <a:pt x="1123" y="1070"/>
                    </a:lnTo>
                    <a:lnTo>
                      <a:pt x="1122" y="1070"/>
                    </a:lnTo>
                    <a:lnTo>
                      <a:pt x="1121" y="1070"/>
                    </a:lnTo>
                    <a:lnTo>
                      <a:pt x="1121" y="1070"/>
                    </a:lnTo>
                    <a:lnTo>
                      <a:pt x="1119" y="1071"/>
                    </a:lnTo>
                    <a:lnTo>
                      <a:pt x="1119" y="1071"/>
                    </a:lnTo>
                    <a:lnTo>
                      <a:pt x="1119" y="1071"/>
                    </a:lnTo>
                    <a:lnTo>
                      <a:pt x="1121" y="1071"/>
                    </a:lnTo>
                    <a:lnTo>
                      <a:pt x="1121" y="1071"/>
                    </a:lnTo>
                    <a:lnTo>
                      <a:pt x="1122" y="1071"/>
                    </a:lnTo>
                    <a:lnTo>
                      <a:pt x="1122" y="1071"/>
                    </a:lnTo>
                    <a:lnTo>
                      <a:pt x="1122" y="1071"/>
                    </a:lnTo>
                    <a:lnTo>
                      <a:pt x="1122" y="1074"/>
                    </a:lnTo>
                    <a:lnTo>
                      <a:pt x="1121" y="1074"/>
                    </a:lnTo>
                    <a:lnTo>
                      <a:pt x="1119" y="1074"/>
                    </a:lnTo>
                    <a:lnTo>
                      <a:pt x="1118" y="1075"/>
                    </a:lnTo>
                    <a:lnTo>
                      <a:pt x="1116" y="1076"/>
                    </a:lnTo>
                    <a:lnTo>
                      <a:pt x="1114" y="1076"/>
                    </a:lnTo>
                    <a:lnTo>
                      <a:pt x="1113" y="1076"/>
                    </a:lnTo>
                    <a:lnTo>
                      <a:pt x="1113" y="1077"/>
                    </a:lnTo>
                    <a:lnTo>
                      <a:pt x="1113" y="1077"/>
                    </a:lnTo>
                    <a:lnTo>
                      <a:pt x="1114" y="1077"/>
                    </a:lnTo>
                    <a:lnTo>
                      <a:pt x="1114" y="1079"/>
                    </a:lnTo>
                    <a:lnTo>
                      <a:pt x="1114" y="1081"/>
                    </a:lnTo>
                    <a:lnTo>
                      <a:pt x="1114" y="1081"/>
                    </a:lnTo>
                    <a:lnTo>
                      <a:pt x="1114" y="1081"/>
                    </a:lnTo>
                    <a:lnTo>
                      <a:pt x="1117" y="1081"/>
                    </a:lnTo>
                    <a:lnTo>
                      <a:pt x="1118" y="1077"/>
                    </a:lnTo>
                    <a:lnTo>
                      <a:pt x="1118" y="1079"/>
                    </a:lnTo>
                    <a:lnTo>
                      <a:pt x="1117" y="1081"/>
                    </a:lnTo>
                    <a:lnTo>
                      <a:pt x="1116" y="1081"/>
                    </a:lnTo>
                    <a:lnTo>
                      <a:pt x="1116" y="1082"/>
                    </a:lnTo>
                    <a:lnTo>
                      <a:pt x="1114" y="1082"/>
                    </a:lnTo>
                    <a:lnTo>
                      <a:pt x="1114" y="1082"/>
                    </a:lnTo>
                    <a:lnTo>
                      <a:pt x="1114" y="1084"/>
                    </a:lnTo>
                    <a:lnTo>
                      <a:pt x="1114" y="1084"/>
                    </a:lnTo>
                    <a:lnTo>
                      <a:pt x="1114" y="1085"/>
                    </a:lnTo>
                    <a:lnTo>
                      <a:pt x="1113" y="1086"/>
                    </a:lnTo>
                    <a:lnTo>
                      <a:pt x="1113" y="1086"/>
                    </a:lnTo>
                    <a:lnTo>
                      <a:pt x="1112" y="1088"/>
                    </a:lnTo>
                    <a:lnTo>
                      <a:pt x="1111" y="1088"/>
                    </a:lnTo>
                    <a:lnTo>
                      <a:pt x="1111" y="1091"/>
                    </a:lnTo>
                    <a:lnTo>
                      <a:pt x="1111" y="1088"/>
                    </a:lnTo>
                    <a:lnTo>
                      <a:pt x="1111" y="1088"/>
                    </a:lnTo>
                    <a:lnTo>
                      <a:pt x="1109" y="1088"/>
                    </a:lnTo>
                    <a:lnTo>
                      <a:pt x="1109" y="1088"/>
                    </a:lnTo>
                    <a:lnTo>
                      <a:pt x="1108" y="1088"/>
                    </a:lnTo>
                    <a:lnTo>
                      <a:pt x="1107" y="1088"/>
                    </a:lnTo>
                    <a:lnTo>
                      <a:pt x="1106" y="1088"/>
                    </a:lnTo>
                    <a:lnTo>
                      <a:pt x="1106" y="1088"/>
                    </a:lnTo>
                    <a:lnTo>
                      <a:pt x="1103" y="1088"/>
                    </a:lnTo>
                    <a:lnTo>
                      <a:pt x="1103" y="1088"/>
                    </a:lnTo>
                    <a:lnTo>
                      <a:pt x="1103" y="1088"/>
                    </a:lnTo>
                    <a:lnTo>
                      <a:pt x="1103" y="1088"/>
                    </a:lnTo>
                    <a:lnTo>
                      <a:pt x="1103" y="1091"/>
                    </a:lnTo>
                    <a:lnTo>
                      <a:pt x="1103" y="1091"/>
                    </a:lnTo>
                    <a:lnTo>
                      <a:pt x="1103" y="1091"/>
                    </a:lnTo>
                    <a:lnTo>
                      <a:pt x="1106" y="1091"/>
                    </a:lnTo>
                    <a:lnTo>
                      <a:pt x="1106" y="1092"/>
                    </a:lnTo>
                    <a:lnTo>
                      <a:pt x="1106" y="1092"/>
                    </a:lnTo>
                    <a:lnTo>
                      <a:pt x="1107" y="1092"/>
                    </a:lnTo>
                    <a:lnTo>
                      <a:pt x="1107" y="1091"/>
                    </a:lnTo>
                    <a:lnTo>
                      <a:pt x="1107" y="1091"/>
                    </a:lnTo>
                    <a:lnTo>
                      <a:pt x="1107" y="1092"/>
                    </a:lnTo>
                    <a:lnTo>
                      <a:pt x="1107" y="1095"/>
                    </a:lnTo>
                    <a:lnTo>
                      <a:pt x="1107" y="1096"/>
                    </a:lnTo>
                    <a:lnTo>
                      <a:pt x="1106" y="1097"/>
                    </a:lnTo>
                    <a:lnTo>
                      <a:pt x="1106" y="1098"/>
                    </a:lnTo>
                    <a:lnTo>
                      <a:pt x="1106" y="1098"/>
                    </a:lnTo>
                    <a:lnTo>
                      <a:pt x="1106" y="1100"/>
                    </a:lnTo>
                    <a:lnTo>
                      <a:pt x="1106" y="1100"/>
                    </a:lnTo>
                    <a:lnTo>
                      <a:pt x="1106" y="1102"/>
                    </a:lnTo>
                    <a:lnTo>
                      <a:pt x="1106" y="1102"/>
                    </a:lnTo>
                    <a:lnTo>
                      <a:pt x="1106" y="1105"/>
                    </a:lnTo>
                    <a:lnTo>
                      <a:pt x="1106" y="1106"/>
                    </a:lnTo>
                    <a:lnTo>
                      <a:pt x="1106" y="1106"/>
                    </a:lnTo>
                    <a:lnTo>
                      <a:pt x="1106" y="1110"/>
                    </a:lnTo>
                    <a:lnTo>
                      <a:pt x="1106" y="1112"/>
                    </a:lnTo>
                    <a:lnTo>
                      <a:pt x="1103" y="1113"/>
                    </a:lnTo>
                    <a:lnTo>
                      <a:pt x="1103" y="1117"/>
                    </a:lnTo>
                    <a:lnTo>
                      <a:pt x="1103" y="1120"/>
                    </a:lnTo>
                    <a:lnTo>
                      <a:pt x="1103" y="1120"/>
                    </a:lnTo>
                    <a:lnTo>
                      <a:pt x="1103" y="1121"/>
                    </a:lnTo>
                    <a:lnTo>
                      <a:pt x="1103" y="1122"/>
                    </a:lnTo>
                    <a:lnTo>
                      <a:pt x="1103" y="1123"/>
                    </a:lnTo>
                    <a:lnTo>
                      <a:pt x="1106" y="1123"/>
                    </a:lnTo>
                    <a:lnTo>
                      <a:pt x="1106" y="1125"/>
                    </a:lnTo>
                    <a:lnTo>
                      <a:pt x="1106" y="1123"/>
                    </a:lnTo>
                    <a:lnTo>
                      <a:pt x="1106" y="1123"/>
                    </a:lnTo>
                    <a:lnTo>
                      <a:pt x="1107" y="1122"/>
                    </a:lnTo>
                    <a:lnTo>
                      <a:pt x="1107" y="1122"/>
                    </a:lnTo>
                    <a:lnTo>
                      <a:pt x="1107" y="1122"/>
                    </a:lnTo>
                    <a:lnTo>
                      <a:pt x="1107" y="1123"/>
                    </a:lnTo>
                    <a:lnTo>
                      <a:pt x="1106" y="1125"/>
                    </a:lnTo>
                    <a:lnTo>
                      <a:pt x="1106" y="1126"/>
                    </a:lnTo>
                    <a:lnTo>
                      <a:pt x="1103" y="1126"/>
                    </a:lnTo>
                    <a:lnTo>
                      <a:pt x="1103" y="1126"/>
                    </a:lnTo>
                    <a:lnTo>
                      <a:pt x="1102" y="1127"/>
                    </a:lnTo>
                    <a:lnTo>
                      <a:pt x="1099" y="1127"/>
                    </a:lnTo>
                    <a:lnTo>
                      <a:pt x="1099" y="1127"/>
                    </a:lnTo>
                    <a:lnTo>
                      <a:pt x="1099" y="1127"/>
                    </a:lnTo>
                    <a:lnTo>
                      <a:pt x="1099" y="1127"/>
                    </a:lnTo>
                    <a:lnTo>
                      <a:pt x="1098" y="1127"/>
                    </a:lnTo>
                    <a:lnTo>
                      <a:pt x="1097" y="1126"/>
                    </a:lnTo>
                    <a:lnTo>
                      <a:pt x="1097" y="1126"/>
                    </a:lnTo>
                    <a:lnTo>
                      <a:pt x="1096" y="1125"/>
                    </a:lnTo>
                    <a:lnTo>
                      <a:pt x="1096" y="1123"/>
                    </a:lnTo>
                    <a:lnTo>
                      <a:pt x="1093" y="1122"/>
                    </a:lnTo>
                    <a:lnTo>
                      <a:pt x="1093" y="1122"/>
                    </a:lnTo>
                    <a:lnTo>
                      <a:pt x="1093" y="1122"/>
                    </a:lnTo>
                    <a:lnTo>
                      <a:pt x="1092" y="1122"/>
                    </a:lnTo>
                    <a:lnTo>
                      <a:pt x="1089" y="1122"/>
                    </a:lnTo>
                    <a:lnTo>
                      <a:pt x="1088" y="1122"/>
                    </a:lnTo>
                    <a:lnTo>
                      <a:pt x="1087" y="1122"/>
                    </a:lnTo>
                    <a:lnTo>
                      <a:pt x="1086" y="1123"/>
                    </a:lnTo>
                    <a:lnTo>
                      <a:pt x="1084" y="1123"/>
                    </a:lnTo>
                    <a:lnTo>
                      <a:pt x="1084" y="1122"/>
                    </a:lnTo>
                    <a:lnTo>
                      <a:pt x="1084" y="1122"/>
                    </a:lnTo>
                    <a:lnTo>
                      <a:pt x="1082" y="1121"/>
                    </a:lnTo>
                    <a:lnTo>
                      <a:pt x="1081" y="1120"/>
                    </a:lnTo>
                    <a:lnTo>
                      <a:pt x="1077" y="1117"/>
                    </a:lnTo>
                    <a:lnTo>
                      <a:pt x="1076" y="1116"/>
                    </a:lnTo>
                    <a:lnTo>
                      <a:pt x="1075" y="1116"/>
                    </a:lnTo>
                    <a:lnTo>
                      <a:pt x="1072" y="1116"/>
                    </a:lnTo>
                    <a:lnTo>
                      <a:pt x="1071" y="1116"/>
                    </a:lnTo>
                    <a:lnTo>
                      <a:pt x="1070" y="1116"/>
                    </a:lnTo>
                    <a:lnTo>
                      <a:pt x="1068" y="1113"/>
                    </a:lnTo>
                    <a:lnTo>
                      <a:pt x="1067" y="1112"/>
                    </a:lnTo>
                    <a:lnTo>
                      <a:pt x="1067" y="1112"/>
                    </a:lnTo>
                    <a:lnTo>
                      <a:pt x="1067" y="1110"/>
                    </a:lnTo>
                    <a:lnTo>
                      <a:pt x="1065" y="1108"/>
                    </a:lnTo>
                    <a:lnTo>
                      <a:pt x="1065" y="1105"/>
                    </a:lnTo>
                    <a:lnTo>
                      <a:pt x="1065" y="1102"/>
                    </a:lnTo>
                    <a:lnTo>
                      <a:pt x="1063" y="1100"/>
                    </a:lnTo>
                    <a:lnTo>
                      <a:pt x="1063" y="1100"/>
                    </a:lnTo>
                    <a:lnTo>
                      <a:pt x="1063" y="1098"/>
                    </a:lnTo>
                    <a:lnTo>
                      <a:pt x="1063" y="1097"/>
                    </a:lnTo>
                    <a:lnTo>
                      <a:pt x="1063" y="1095"/>
                    </a:lnTo>
                    <a:lnTo>
                      <a:pt x="1063" y="1093"/>
                    </a:lnTo>
                    <a:lnTo>
                      <a:pt x="1063" y="1092"/>
                    </a:lnTo>
                    <a:lnTo>
                      <a:pt x="1065" y="1091"/>
                    </a:lnTo>
                    <a:lnTo>
                      <a:pt x="1065" y="1088"/>
                    </a:lnTo>
                    <a:lnTo>
                      <a:pt x="1065" y="1088"/>
                    </a:lnTo>
                    <a:lnTo>
                      <a:pt x="1065" y="1088"/>
                    </a:lnTo>
                    <a:lnTo>
                      <a:pt x="1065" y="1087"/>
                    </a:lnTo>
                    <a:lnTo>
                      <a:pt x="1065" y="1086"/>
                    </a:lnTo>
                    <a:lnTo>
                      <a:pt x="1065" y="1086"/>
                    </a:lnTo>
                    <a:lnTo>
                      <a:pt x="1063" y="1085"/>
                    </a:lnTo>
                    <a:lnTo>
                      <a:pt x="1063" y="1084"/>
                    </a:lnTo>
                    <a:lnTo>
                      <a:pt x="1063" y="1082"/>
                    </a:lnTo>
                    <a:lnTo>
                      <a:pt x="1063" y="1082"/>
                    </a:lnTo>
                    <a:lnTo>
                      <a:pt x="1061" y="1081"/>
                    </a:lnTo>
                    <a:lnTo>
                      <a:pt x="1060" y="1077"/>
                    </a:lnTo>
                    <a:lnTo>
                      <a:pt x="1057" y="1076"/>
                    </a:lnTo>
                    <a:lnTo>
                      <a:pt x="1057" y="1074"/>
                    </a:lnTo>
                    <a:lnTo>
                      <a:pt x="1055" y="1067"/>
                    </a:lnTo>
                    <a:lnTo>
                      <a:pt x="1053" y="1066"/>
                    </a:lnTo>
                    <a:lnTo>
                      <a:pt x="1053" y="1062"/>
                    </a:lnTo>
                    <a:lnTo>
                      <a:pt x="1051" y="1060"/>
                    </a:lnTo>
                    <a:lnTo>
                      <a:pt x="1051" y="1057"/>
                    </a:lnTo>
                    <a:lnTo>
                      <a:pt x="1051" y="1056"/>
                    </a:lnTo>
                    <a:lnTo>
                      <a:pt x="1051" y="1055"/>
                    </a:lnTo>
                    <a:lnTo>
                      <a:pt x="1051" y="1052"/>
                    </a:lnTo>
                    <a:lnTo>
                      <a:pt x="1051" y="1051"/>
                    </a:lnTo>
                    <a:lnTo>
                      <a:pt x="1050" y="1049"/>
                    </a:lnTo>
                    <a:lnTo>
                      <a:pt x="1050" y="1049"/>
                    </a:lnTo>
                    <a:lnTo>
                      <a:pt x="1050" y="1046"/>
                    </a:lnTo>
                    <a:lnTo>
                      <a:pt x="1050" y="1046"/>
                    </a:lnTo>
                    <a:lnTo>
                      <a:pt x="1050" y="1045"/>
                    </a:lnTo>
                    <a:lnTo>
                      <a:pt x="1048" y="1044"/>
                    </a:lnTo>
                    <a:lnTo>
                      <a:pt x="1048" y="1042"/>
                    </a:lnTo>
                    <a:lnTo>
                      <a:pt x="1047" y="1042"/>
                    </a:lnTo>
                    <a:lnTo>
                      <a:pt x="1047" y="1041"/>
                    </a:lnTo>
                    <a:lnTo>
                      <a:pt x="1047" y="1040"/>
                    </a:lnTo>
                    <a:lnTo>
                      <a:pt x="1046" y="1039"/>
                    </a:lnTo>
                    <a:lnTo>
                      <a:pt x="1045" y="1036"/>
                    </a:lnTo>
                    <a:lnTo>
                      <a:pt x="1045" y="1036"/>
                    </a:lnTo>
                    <a:lnTo>
                      <a:pt x="1045" y="1035"/>
                    </a:lnTo>
                    <a:lnTo>
                      <a:pt x="1040" y="1031"/>
                    </a:lnTo>
                    <a:lnTo>
                      <a:pt x="1038" y="1027"/>
                    </a:lnTo>
                    <a:lnTo>
                      <a:pt x="1036" y="1027"/>
                    </a:lnTo>
                    <a:lnTo>
                      <a:pt x="1035" y="1027"/>
                    </a:lnTo>
                    <a:lnTo>
                      <a:pt x="1033" y="1026"/>
                    </a:lnTo>
                    <a:lnTo>
                      <a:pt x="1033" y="1026"/>
                    </a:lnTo>
                    <a:lnTo>
                      <a:pt x="1032" y="1026"/>
                    </a:lnTo>
                    <a:lnTo>
                      <a:pt x="1032" y="1025"/>
                    </a:lnTo>
                    <a:lnTo>
                      <a:pt x="1030" y="1025"/>
                    </a:lnTo>
                    <a:lnTo>
                      <a:pt x="1030" y="1025"/>
                    </a:lnTo>
                    <a:lnTo>
                      <a:pt x="1025" y="1025"/>
                    </a:lnTo>
                    <a:lnTo>
                      <a:pt x="1019" y="1025"/>
                    </a:lnTo>
                    <a:lnTo>
                      <a:pt x="1017" y="1026"/>
                    </a:lnTo>
                    <a:lnTo>
                      <a:pt x="1015" y="1026"/>
                    </a:lnTo>
                    <a:lnTo>
                      <a:pt x="1012" y="1027"/>
                    </a:lnTo>
                    <a:lnTo>
                      <a:pt x="1011" y="1027"/>
                    </a:lnTo>
                    <a:lnTo>
                      <a:pt x="1009" y="1029"/>
                    </a:lnTo>
                    <a:lnTo>
                      <a:pt x="1009" y="1029"/>
                    </a:lnTo>
                    <a:lnTo>
                      <a:pt x="1006" y="1032"/>
                    </a:lnTo>
                    <a:lnTo>
                      <a:pt x="1005" y="1034"/>
                    </a:lnTo>
                    <a:lnTo>
                      <a:pt x="1002" y="1036"/>
                    </a:lnTo>
                    <a:lnTo>
                      <a:pt x="1001" y="1040"/>
                    </a:lnTo>
                    <a:lnTo>
                      <a:pt x="1000" y="1042"/>
                    </a:lnTo>
                    <a:lnTo>
                      <a:pt x="997" y="1044"/>
                    </a:lnTo>
                    <a:lnTo>
                      <a:pt x="997" y="1045"/>
                    </a:lnTo>
                    <a:lnTo>
                      <a:pt x="996" y="1046"/>
                    </a:lnTo>
                    <a:lnTo>
                      <a:pt x="994" y="1046"/>
                    </a:lnTo>
                    <a:lnTo>
                      <a:pt x="992" y="1046"/>
                    </a:lnTo>
                    <a:lnTo>
                      <a:pt x="991" y="1046"/>
                    </a:lnTo>
                    <a:lnTo>
                      <a:pt x="990" y="1046"/>
                    </a:lnTo>
                    <a:lnTo>
                      <a:pt x="990" y="1046"/>
                    </a:lnTo>
                    <a:lnTo>
                      <a:pt x="986" y="1044"/>
                    </a:lnTo>
                    <a:lnTo>
                      <a:pt x="985" y="1042"/>
                    </a:lnTo>
                    <a:lnTo>
                      <a:pt x="985" y="1042"/>
                    </a:lnTo>
                    <a:lnTo>
                      <a:pt x="984" y="1041"/>
                    </a:lnTo>
                    <a:lnTo>
                      <a:pt x="982" y="1040"/>
                    </a:lnTo>
                    <a:lnTo>
                      <a:pt x="980" y="1039"/>
                    </a:lnTo>
                    <a:lnTo>
                      <a:pt x="979" y="1039"/>
                    </a:lnTo>
                    <a:lnTo>
                      <a:pt x="979" y="1039"/>
                    </a:lnTo>
                    <a:lnTo>
                      <a:pt x="978" y="1036"/>
                    </a:lnTo>
                    <a:lnTo>
                      <a:pt x="974" y="1035"/>
                    </a:lnTo>
                    <a:lnTo>
                      <a:pt x="971" y="1034"/>
                    </a:lnTo>
                    <a:lnTo>
                      <a:pt x="970" y="1031"/>
                    </a:lnTo>
                    <a:lnTo>
                      <a:pt x="969" y="1030"/>
                    </a:lnTo>
                    <a:lnTo>
                      <a:pt x="968" y="1029"/>
                    </a:lnTo>
                    <a:lnTo>
                      <a:pt x="968" y="1026"/>
                    </a:lnTo>
                    <a:lnTo>
                      <a:pt x="966" y="1025"/>
                    </a:lnTo>
                    <a:lnTo>
                      <a:pt x="966" y="1022"/>
                    </a:lnTo>
                    <a:lnTo>
                      <a:pt x="968" y="1020"/>
                    </a:lnTo>
                    <a:lnTo>
                      <a:pt x="968" y="1019"/>
                    </a:lnTo>
                    <a:lnTo>
                      <a:pt x="968" y="1016"/>
                    </a:lnTo>
                    <a:lnTo>
                      <a:pt x="968" y="1015"/>
                    </a:lnTo>
                    <a:lnTo>
                      <a:pt x="966" y="1011"/>
                    </a:lnTo>
                    <a:lnTo>
                      <a:pt x="966" y="1010"/>
                    </a:lnTo>
                    <a:lnTo>
                      <a:pt x="966" y="1008"/>
                    </a:lnTo>
                    <a:lnTo>
                      <a:pt x="966" y="1006"/>
                    </a:lnTo>
                    <a:lnTo>
                      <a:pt x="966" y="1004"/>
                    </a:lnTo>
                    <a:lnTo>
                      <a:pt x="965" y="1004"/>
                    </a:lnTo>
                    <a:lnTo>
                      <a:pt x="965" y="1003"/>
                    </a:lnTo>
                    <a:lnTo>
                      <a:pt x="965" y="1001"/>
                    </a:lnTo>
                    <a:lnTo>
                      <a:pt x="964" y="1001"/>
                    </a:lnTo>
                    <a:lnTo>
                      <a:pt x="963" y="1000"/>
                    </a:lnTo>
                    <a:lnTo>
                      <a:pt x="963" y="1000"/>
                    </a:lnTo>
                    <a:lnTo>
                      <a:pt x="961" y="999"/>
                    </a:lnTo>
                    <a:lnTo>
                      <a:pt x="959" y="998"/>
                    </a:lnTo>
                    <a:lnTo>
                      <a:pt x="958" y="996"/>
                    </a:lnTo>
                    <a:lnTo>
                      <a:pt x="958" y="994"/>
                    </a:lnTo>
                    <a:lnTo>
                      <a:pt x="955" y="990"/>
                    </a:lnTo>
                    <a:lnTo>
                      <a:pt x="954" y="988"/>
                    </a:lnTo>
                    <a:lnTo>
                      <a:pt x="953" y="985"/>
                    </a:lnTo>
                    <a:lnTo>
                      <a:pt x="950" y="985"/>
                    </a:lnTo>
                    <a:lnTo>
                      <a:pt x="949" y="984"/>
                    </a:lnTo>
                    <a:lnTo>
                      <a:pt x="948" y="984"/>
                    </a:lnTo>
                    <a:lnTo>
                      <a:pt x="945" y="983"/>
                    </a:lnTo>
                    <a:lnTo>
                      <a:pt x="945" y="981"/>
                    </a:lnTo>
                    <a:lnTo>
                      <a:pt x="945" y="980"/>
                    </a:lnTo>
                    <a:lnTo>
                      <a:pt x="945" y="979"/>
                    </a:lnTo>
                    <a:lnTo>
                      <a:pt x="945" y="978"/>
                    </a:lnTo>
                    <a:lnTo>
                      <a:pt x="945" y="976"/>
                    </a:lnTo>
                    <a:lnTo>
                      <a:pt x="945" y="975"/>
                    </a:lnTo>
                    <a:lnTo>
                      <a:pt x="944" y="975"/>
                    </a:lnTo>
                    <a:lnTo>
                      <a:pt x="944" y="975"/>
                    </a:lnTo>
                    <a:lnTo>
                      <a:pt x="943" y="975"/>
                    </a:lnTo>
                    <a:lnTo>
                      <a:pt x="941" y="973"/>
                    </a:lnTo>
                    <a:lnTo>
                      <a:pt x="940" y="973"/>
                    </a:lnTo>
                    <a:lnTo>
                      <a:pt x="936" y="973"/>
                    </a:lnTo>
                    <a:lnTo>
                      <a:pt x="933" y="973"/>
                    </a:lnTo>
                    <a:lnTo>
                      <a:pt x="930" y="973"/>
                    </a:lnTo>
                    <a:lnTo>
                      <a:pt x="927" y="973"/>
                    </a:lnTo>
                    <a:lnTo>
                      <a:pt x="923" y="973"/>
                    </a:lnTo>
                    <a:lnTo>
                      <a:pt x="922" y="973"/>
                    </a:lnTo>
                    <a:lnTo>
                      <a:pt x="919" y="973"/>
                    </a:lnTo>
                    <a:lnTo>
                      <a:pt x="917" y="973"/>
                    </a:lnTo>
                    <a:lnTo>
                      <a:pt x="915" y="973"/>
                    </a:lnTo>
                    <a:lnTo>
                      <a:pt x="913" y="973"/>
                    </a:lnTo>
                    <a:lnTo>
                      <a:pt x="912" y="973"/>
                    </a:lnTo>
                    <a:lnTo>
                      <a:pt x="909" y="973"/>
                    </a:lnTo>
                    <a:lnTo>
                      <a:pt x="908" y="973"/>
                    </a:lnTo>
                    <a:lnTo>
                      <a:pt x="907" y="973"/>
                    </a:lnTo>
                    <a:lnTo>
                      <a:pt x="905" y="973"/>
                    </a:lnTo>
                    <a:lnTo>
                      <a:pt x="905" y="973"/>
                    </a:lnTo>
                    <a:lnTo>
                      <a:pt x="903" y="973"/>
                    </a:lnTo>
                    <a:lnTo>
                      <a:pt x="902" y="973"/>
                    </a:lnTo>
                    <a:lnTo>
                      <a:pt x="900" y="973"/>
                    </a:lnTo>
                    <a:lnTo>
                      <a:pt x="900" y="973"/>
                    </a:lnTo>
                    <a:lnTo>
                      <a:pt x="899" y="973"/>
                    </a:lnTo>
                    <a:lnTo>
                      <a:pt x="899" y="975"/>
                    </a:lnTo>
                    <a:lnTo>
                      <a:pt x="899" y="978"/>
                    </a:lnTo>
                    <a:lnTo>
                      <a:pt x="899" y="980"/>
                    </a:lnTo>
                    <a:lnTo>
                      <a:pt x="899" y="980"/>
                    </a:lnTo>
                    <a:lnTo>
                      <a:pt x="899" y="983"/>
                    </a:lnTo>
                    <a:lnTo>
                      <a:pt x="899" y="983"/>
                    </a:lnTo>
                    <a:lnTo>
                      <a:pt x="899" y="984"/>
                    </a:lnTo>
                    <a:lnTo>
                      <a:pt x="899" y="985"/>
                    </a:lnTo>
                    <a:lnTo>
                      <a:pt x="899" y="985"/>
                    </a:lnTo>
                    <a:lnTo>
                      <a:pt x="899" y="985"/>
                    </a:lnTo>
                    <a:lnTo>
                      <a:pt x="899" y="985"/>
                    </a:lnTo>
                    <a:lnTo>
                      <a:pt x="894" y="985"/>
                    </a:lnTo>
                    <a:lnTo>
                      <a:pt x="889" y="985"/>
                    </a:lnTo>
                    <a:lnTo>
                      <a:pt x="884" y="985"/>
                    </a:lnTo>
                    <a:lnTo>
                      <a:pt x="879" y="985"/>
                    </a:lnTo>
                    <a:lnTo>
                      <a:pt x="874" y="985"/>
                    </a:lnTo>
                    <a:lnTo>
                      <a:pt x="872" y="985"/>
                    </a:lnTo>
                    <a:lnTo>
                      <a:pt x="867" y="985"/>
                    </a:lnTo>
                    <a:lnTo>
                      <a:pt x="864" y="985"/>
                    </a:lnTo>
                    <a:lnTo>
                      <a:pt x="862" y="985"/>
                    </a:lnTo>
                    <a:lnTo>
                      <a:pt x="858" y="985"/>
                    </a:lnTo>
                    <a:lnTo>
                      <a:pt x="856" y="985"/>
                    </a:lnTo>
                    <a:lnTo>
                      <a:pt x="853" y="985"/>
                    </a:lnTo>
                    <a:lnTo>
                      <a:pt x="852" y="985"/>
                    </a:lnTo>
                    <a:lnTo>
                      <a:pt x="849" y="985"/>
                    </a:lnTo>
                    <a:lnTo>
                      <a:pt x="848" y="985"/>
                    </a:lnTo>
                    <a:lnTo>
                      <a:pt x="846" y="985"/>
                    </a:lnTo>
                    <a:lnTo>
                      <a:pt x="846" y="985"/>
                    </a:lnTo>
                    <a:lnTo>
                      <a:pt x="843" y="985"/>
                    </a:lnTo>
                    <a:lnTo>
                      <a:pt x="842" y="985"/>
                    </a:lnTo>
                    <a:lnTo>
                      <a:pt x="842" y="985"/>
                    </a:lnTo>
                    <a:lnTo>
                      <a:pt x="841" y="985"/>
                    </a:lnTo>
                    <a:lnTo>
                      <a:pt x="839" y="985"/>
                    </a:lnTo>
                    <a:lnTo>
                      <a:pt x="839" y="985"/>
                    </a:lnTo>
                    <a:lnTo>
                      <a:pt x="838" y="985"/>
                    </a:lnTo>
                    <a:lnTo>
                      <a:pt x="832" y="984"/>
                    </a:lnTo>
                    <a:lnTo>
                      <a:pt x="826" y="980"/>
                    </a:lnTo>
                    <a:lnTo>
                      <a:pt x="821" y="978"/>
                    </a:lnTo>
                    <a:lnTo>
                      <a:pt x="816" y="975"/>
                    </a:lnTo>
                    <a:lnTo>
                      <a:pt x="811" y="973"/>
                    </a:lnTo>
                    <a:lnTo>
                      <a:pt x="806" y="971"/>
                    </a:lnTo>
                    <a:lnTo>
                      <a:pt x="801" y="969"/>
                    </a:lnTo>
                    <a:lnTo>
                      <a:pt x="798" y="968"/>
                    </a:lnTo>
                    <a:lnTo>
                      <a:pt x="795" y="968"/>
                    </a:lnTo>
                    <a:lnTo>
                      <a:pt x="792" y="965"/>
                    </a:lnTo>
                    <a:lnTo>
                      <a:pt x="788" y="964"/>
                    </a:lnTo>
                    <a:lnTo>
                      <a:pt x="786" y="961"/>
                    </a:lnTo>
                    <a:lnTo>
                      <a:pt x="784" y="961"/>
                    </a:lnTo>
                    <a:lnTo>
                      <a:pt x="782" y="960"/>
                    </a:lnTo>
                    <a:lnTo>
                      <a:pt x="779" y="959"/>
                    </a:lnTo>
                    <a:lnTo>
                      <a:pt x="777" y="958"/>
                    </a:lnTo>
                    <a:lnTo>
                      <a:pt x="776" y="958"/>
                    </a:lnTo>
                    <a:lnTo>
                      <a:pt x="775" y="956"/>
                    </a:lnTo>
                    <a:lnTo>
                      <a:pt x="772" y="956"/>
                    </a:lnTo>
                    <a:lnTo>
                      <a:pt x="771" y="955"/>
                    </a:lnTo>
                    <a:lnTo>
                      <a:pt x="771" y="955"/>
                    </a:lnTo>
                    <a:lnTo>
                      <a:pt x="771" y="955"/>
                    </a:lnTo>
                    <a:lnTo>
                      <a:pt x="771" y="954"/>
                    </a:lnTo>
                    <a:lnTo>
                      <a:pt x="769" y="954"/>
                    </a:lnTo>
                    <a:lnTo>
                      <a:pt x="769" y="954"/>
                    </a:lnTo>
                    <a:lnTo>
                      <a:pt x="769" y="954"/>
                    </a:lnTo>
                    <a:lnTo>
                      <a:pt x="771" y="951"/>
                    </a:lnTo>
                    <a:lnTo>
                      <a:pt x="771" y="951"/>
                    </a:lnTo>
                    <a:lnTo>
                      <a:pt x="771" y="950"/>
                    </a:lnTo>
                    <a:lnTo>
                      <a:pt x="771" y="950"/>
                    </a:lnTo>
                    <a:lnTo>
                      <a:pt x="765" y="950"/>
                    </a:lnTo>
                    <a:lnTo>
                      <a:pt x="757" y="950"/>
                    </a:lnTo>
                    <a:lnTo>
                      <a:pt x="751" y="951"/>
                    </a:lnTo>
                    <a:lnTo>
                      <a:pt x="744" y="951"/>
                    </a:lnTo>
                    <a:lnTo>
                      <a:pt x="731" y="954"/>
                    </a:lnTo>
                    <a:lnTo>
                      <a:pt x="724" y="954"/>
                    </a:lnTo>
                    <a:lnTo>
                      <a:pt x="718" y="954"/>
                    </a:lnTo>
                    <a:lnTo>
                      <a:pt x="718" y="954"/>
                    </a:lnTo>
                    <a:lnTo>
                      <a:pt x="718" y="951"/>
                    </a:lnTo>
                    <a:lnTo>
                      <a:pt x="719" y="947"/>
                    </a:lnTo>
                    <a:lnTo>
                      <a:pt x="719" y="943"/>
                    </a:lnTo>
                    <a:lnTo>
                      <a:pt x="720" y="940"/>
                    </a:lnTo>
                    <a:lnTo>
                      <a:pt x="720" y="940"/>
                    </a:lnTo>
                    <a:lnTo>
                      <a:pt x="719" y="938"/>
                    </a:lnTo>
                    <a:lnTo>
                      <a:pt x="719" y="935"/>
                    </a:lnTo>
                    <a:lnTo>
                      <a:pt x="718" y="933"/>
                    </a:lnTo>
                    <a:lnTo>
                      <a:pt x="718" y="930"/>
                    </a:lnTo>
                    <a:lnTo>
                      <a:pt x="715" y="930"/>
                    </a:lnTo>
                    <a:lnTo>
                      <a:pt x="714" y="929"/>
                    </a:lnTo>
                    <a:lnTo>
                      <a:pt x="711" y="927"/>
                    </a:lnTo>
                    <a:lnTo>
                      <a:pt x="711" y="925"/>
                    </a:lnTo>
                    <a:lnTo>
                      <a:pt x="709" y="924"/>
                    </a:lnTo>
                    <a:lnTo>
                      <a:pt x="709" y="924"/>
                    </a:lnTo>
                    <a:lnTo>
                      <a:pt x="708" y="924"/>
                    </a:lnTo>
                    <a:lnTo>
                      <a:pt x="708" y="924"/>
                    </a:lnTo>
                    <a:lnTo>
                      <a:pt x="708" y="924"/>
                    </a:lnTo>
                    <a:lnTo>
                      <a:pt x="705" y="924"/>
                    </a:lnTo>
                    <a:lnTo>
                      <a:pt x="705" y="923"/>
                    </a:lnTo>
                    <a:lnTo>
                      <a:pt x="704" y="923"/>
                    </a:lnTo>
                    <a:lnTo>
                      <a:pt x="701" y="923"/>
                    </a:lnTo>
                    <a:lnTo>
                      <a:pt x="701" y="923"/>
                    </a:lnTo>
                    <a:lnTo>
                      <a:pt x="701" y="923"/>
                    </a:lnTo>
                    <a:lnTo>
                      <a:pt x="701" y="922"/>
                    </a:lnTo>
                    <a:lnTo>
                      <a:pt x="704" y="920"/>
                    </a:lnTo>
                    <a:lnTo>
                      <a:pt x="704" y="918"/>
                    </a:lnTo>
                    <a:lnTo>
                      <a:pt x="704" y="918"/>
                    </a:lnTo>
                    <a:lnTo>
                      <a:pt x="704" y="917"/>
                    </a:lnTo>
                    <a:lnTo>
                      <a:pt x="704" y="915"/>
                    </a:lnTo>
                    <a:lnTo>
                      <a:pt x="701" y="915"/>
                    </a:lnTo>
                    <a:lnTo>
                      <a:pt x="701" y="915"/>
                    </a:lnTo>
                    <a:lnTo>
                      <a:pt x="701" y="915"/>
                    </a:lnTo>
                    <a:lnTo>
                      <a:pt x="700" y="915"/>
                    </a:lnTo>
                    <a:lnTo>
                      <a:pt x="698" y="915"/>
                    </a:lnTo>
                    <a:lnTo>
                      <a:pt x="696" y="915"/>
                    </a:lnTo>
                    <a:lnTo>
                      <a:pt x="695" y="914"/>
                    </a:lnTo>
                    <a:lnTo>
                      <a:pt x="694" y="914"/>
                    </a:lnTo>
                    <a:lnTo>
                      <a:pt x="693" y="913"/>
                    </a:lnTo>
                    <a:lnTo>
                      <a:pt x="691" y="913"/>
                    </a:lnTo>
                    <a:lnTo>
                      <a:pt x="690" y="912"/>
                    </a:lnTo>
                    <a:lnTo>
                      <a:pt x="689" y="909"/>
                    </a:lnTo>
                    <a:lnTo>
                      <a:pt x="689" y="909"/>
                    </a:lnTo>
                    <a:lnTo>
                      <a:pt x="688" y="908"/>
                    </a:lnTo>
                    <a:lnTo>
                      <a:pt x="688" y="907"/>
                    </a:lnTo>
                    <a:lnTo>
                      <a:pt x="687" y="907"/>
                    </a:lnTo>
                    <a:lnTo>
                      <a:pt x="687" y="905"/>
                    </a:lnTo>
                    <a:lnTo>
                      <a:pt x="684" y="905"/>
                    </a:lnTo>
                    <a:lnTo>
                      <a:pt x="683" y="904"/>
                    </a:lnTo>
                    <a:lnTo>
                      <a:pt x="680" y="904"/>
                    </a:lnTo>
                    <a:lnTo>
                      <a:pt x="679" y="904"/>
                    </a:lnTo>
                    <a:lnTo>
                      <a:pt x="679" y="904"/>
                    </a:lnTo>
                    <a:lnTo>
                      <a:pt x="677" y="904"/>
                    </a:lnTo>
                    <a:lnTo>
                      <a:pt x="675" y="904"/>
                    </a:lnTo>
                    <a:lnTo>
                      <a:pt x="673" y="904"/>
                    </a:lnTo>
                    <a:lnTo>
                      <a:pt x="670" y="904"/>
                    </a:lnTo>
                    <a:lnTo>
                      <a:pt x="668" y="904"/>
                    </a:lnTo>
                    <a:lnTo>
                      <a:pt x="667" y="904"/>
                    </a:lnTo>
                    <a:lnTo>
                      <a:pt x="667" y="904"/>
                    </a:lnTo>
                    <a:lnTo>
                      <a:pt x="665" y="904"/>
                    </a:lnTo>
                    <a:lnTo>
                      <a:pt x="665" y="902"/>
                    </a:lnTo>
                    <a:lnTo>
                      <a:pt x="665" y="900"/>
                    </a:lnTo>
                    <a:lnTo>
                      <a:pt x="665" y="900"/>
                    </a:lnTo>
                    <a:lnTo>
                      <a:pt x="665" y="900"/>
                    </a:lnTo>
                    <a:lnTo>
                      <a:pt x="665" y="898"/>
                    </a:lnTo>
                    <a:lnTo>
                      <a:pt x="665" y="898"/>
                    </a:lnTo>
                    <a:lnTo>
                      <a:pt x="665" y="897"/>
                    </a:lnTo>
                    <a:lnTo>
                      <a:pt x="667" y="895"/>
                    </a:lnTo>
                    <a:lnTo>
                      <a:pt x="667" y="894"/>
                    </a:lnTo>
                    <a:lnTo>
                      <a:pt x="668" y="892"/>
                    </a:lnTo>
                    <a:lnTo>
                      <a:pt x="668" y="890"/>
                    </a:lnTo>
                    <a:lnTo>
                      <a:pt x="669" y="890"/>
                    </a:lnTo>
                    <a:lnTo>
                      <a:pt x="669" y="888"/>
                    </a:lnTo>
                    <a:lnTo>
                      <a:pt x="669" y="888"/>
                    </a:lnTo>
                    <a:lnTo>
                      <a:pt x="668" y="887"/>
                    </a:lnTo>
                    <a:lnTo>
                      <a:pt x="668" y="885"/>
                    </a:lnTo>
                    <a:lnTo>
                      <a:pt x="667" y="884"/>
                    </a:lnTo>
                    <a:lnTo>
                      <a:pt x="667" y="883"/>
                    </a:lnTo>
                    <a:lnTo>
                      <a:pt x="667" y="883"/>
                    </a:lnTo>
                    <a:lnTo>
                      <a:pt x="667" y="882"/>
                    </a:lnTo>
                    <a:lnTo>
                      <a:pt x="667" y="882"/>
                    </a:lnTo>
                    <a:lnTo>
                      <a:pt x="667" y="882"/>
                    </a:lnTo>
                    <a:lnTo>
                      <a:pt x="667" y="881"/>
                    </a:lnTo>
                    <a:lnTo>
                      <a:pt x="667" y="881"/>
                    </a:lnTo>
                    <a:lnTo>
                      <a:pt x="667" y="879"/>
                    </a:lnTo>
                    <a:lnTo>
                      <a:pt x="667" y="879"/>
                    </a:lnTo>
                    <a:lnTo>
                      <a:pt x="667" y="878"/>
                    </a:lnTo>
                    <a:lnTo>
                      <a:pt x="667" y="877"/>
                    </a:lnTo>
                    <a:lnTo>
                      <a:pt x="667" y="876"/>
                    </a:lnTo>
                    <a:lnTo>
                      <a:pt x="665" y="874"/>
                    </a:lnTo>
                    <a:lnTo>
                      <a:pt x="665" y="874"/>
                    </a:lnTo>
                    <a:lnTo>
                      <a:pt x="665" y="874"/>
                    </a:lnTo>
                    <a:lnTo>
                      <a:pt x="663" y="873"/>
                    </a:lnTo>
                    <a:lnTo>
                      <a:pt x="663" y="873"/>
                    </a:lnTo>
                    <a:lnTo>
                      <a:pt x="663" y="872"/>
                    </a:lnTo>
                    <a:lnTo>
                      <a:pt x="663" y="871"/>
                    </a:lnTo>
                    <a:lnTo>
                      <a:pt x="663" y="869"/>
                    </a:lnTo>
                    <a:lnTo>
                      <a:pt x="663" y="866"/>
                    </a:lnTo>
                    <a:lnTo>
                      <a:pt x="662" y="866"/>
                    </a:lnTo>
                    <a:lnTo>
                      <a:pt x="662" y="863"/>
                    </a:lnTo>
                    <a:lnTo>
                      <a:pt x="660" y="861"/>
                    </a:lnTo>
                    <a:lnTo>
                      <a:pt x="659" y="859"/>
                    </a:lnTo>
                    <a:lnTo>
                      <a:pt x="659" y="859"/>
                    </a:lnTo>
                    <a:lnTo>
                      <a:pt x="658" y="858"/>
                    </a:lnTo>
                    <a:lnTo>
                      <a:pt x="657" y="856"/>
                    </a:lnTo>
                    <a:lnTo>
                      <a:pt x="657" y="856"/>
                    </a:lnTo>
                    <a:lnTo>
                      <a:pt x="658" y="853"/>
                    </a:lnTo>
                    <a:lnTo>
                      <a:pt x="659" y="852"/>
                    </a:lnTo>
                    <a:lnTo>
                      <a:pt x="659" y="851"/>
                    </a:lnTo>
                    <a:lnTo>
                      <a:pt x="660" y="849"/>
                    </a:lnTo>
                    <a:lnTo>
                      <a:pt x="660" y="849"/>
                    </a:lnTo>
                    <a:lnTo>
                      <a:pt x="662" y="848"/>
                    </a:lnTo>
                    <a:lnTo>
                      <a:pt x="663" y="846"/>
                    </a:lnTo>
                    <a:lnTo>
                      <a:pt x="665" y="846"/>
                    </a:lnTo>
                    <a:lnTo>
                      <a:pt x="665" y="843"/>
                    </a:lnTo>
                    <a:lnTo>
                      <a:pt x="665" y="842"/>
                    </a:lnTo>
                    <a:lnTo>
                      <a:pt x="665" y="841"/>
                    </a:lnTo>
                    <a:lnTo>
                      <a:pt x="665" y="841"/>
                    </a:lnTo>
                    <a:lnTo>
                      <a:pt x="663" y="839"/>
                    </a:lnTo>
                    <a:lnTo>
                      <a:pt x="663" y="839"/>
                    </a:lnTo>
                    <a:lnTo>
                      <a:pt x="662" y="838"/>
                    </a:lnTo>
                    <a:lnTo>
                      <a:pt x="659" y="837"/>
                    </a:lnTo>
                    <a:lnTo>
                      <a:pt x="659" y="837"/>
                    </a:lnTo>
                    <a:lnTo>
                      <a:pt x="658" y="837"/>
                    </a:lnTo>
                    <a:lnTo>
                      <a:pt x="658" y="834"/>
                    </a:lnTo>
                    <a:lnTo>
                      <a:pt x="657" y="834"/>
                    </a:lnTo>
                    <a:lnTo>
                      <a:pt x="657" y="834"/>
                    </a:lnTo>
                    <a:lnTo>
                      <a:pt x="657" y="833"/>
                    </a:lnTo>
                    <a:lnTo>
                      <a:pt x="658" y="832"/>
                    </a:lnTo>
                    <a:lnTo>
                      <a:pt x="658" y="831"/>
                    </a:lnTo>
                    <a:lnTo>
                      <a:pt x="659" y="828"/>
                    </a:lnTo>
                    <a:lnTo>
                      <a:pt x="659" y="827"/>
                    </a:lnTo>
                    <a:lnTo>
                      <a:pt x="659" y="824"/>
                    </a:lnTo>
                    <a:lnTo>
                      <a:pt x="659" y="824"/>
                    </a:lnTo>
                    <a:lnTo>
                      <a:pt x="659" y="824"/>
                    </a:lnTo>
                    <a:lnTo>
                      <a:pt x="659" y="824"/>
                    </a:lnTo>
                    <a:lnTo>
                      <a:pt x="659" y="823"/>
                    </a:lnTo>
                    <a:lnTo>
                      <a:pt x="659" y="821"/>
                    </a:lnTo>
                    <a:lnTo>
                      <a:pt x="660" y="819"/>
                    </a:lnTo>
                    <a:lnTo>
                      <a:pt x="662" y="818"/>
                    </a:lnTo>
                    <a:lnTo>
                      <a:pt x="663" y="817"/>
                    </a:lnTo>
                    <a:lnTo>
                      <a:pt x="663" y="817"/>
                    </a:lnTo>
                    <a:lnTo>
                      <a:pt x="663" y="817"/>
                    </a:lnTo>
                    <a:lnTo>
                      <a:pt x="663" y="817"/>
                    </a:lnTo>
                    <a:lnTo>
                      <a:pt x="665" y="817"/>
                    </a:lnTo>
                    <a:lnTo>
                      <a:pt x="665" y="817"/>
                    </a:lnTo>
                    <a:lnTo>
                      <a:pt x="665" y="817"/>
                    </a:lnTo>
                    <a:lnTo>
                      <a:pt x="663" y="819"/>
                    </a:lnTo>
                    <a:lnTo>
                      <a:pt x="663" y="819"/>
                    </a:lnTo>
                    <a:lnTo>
                      <a:pt x="663" y="821"/>
                    </a:lnTo>
                    <a:lnTo>
                      <a:pt x="663" y="821"/>
                    </a:lnTo>
                    <a:lnTo>
                      <a:pt x="663" y="821"/>
                    </a:lnTo>
                    <a:lnTo>
                      <a:pt x="663" y="821"/>
                    </a:lnTo>
                    <a:lnTo>
                      <a:pt x="665" y="823"/>
                    </a:lnTo>
                    <a:lnTo>
                      <a:pt x="665" y="824"/>
                    </a:lnTo>
                    <a:lnTo>
                      <a:pt x="667" y="824"/>
                    </a:lnTo>
                    <a:lnTo>
                      <a:pt x="667" y="824"/>
                    </a:lnTo>
                    <a:lnTo>
                      <a:pt x="667" y="824"/>
                    </a:lnTo>
                    <a:lnTo>
                      <a:pt x="667" y="823"/>
                    </a:lnTo>
                    <a:lnTo>
                      <a:pt x="667" y="821"/>
                    </a:lnTo>
                    <a:lnTo>
                      <a:pt x="667" y="819"/>
                    </a:lnTo>
                    <a:lnTo>
                      <a:pt x="667" y="817"/>
                    </a:lnTo>
                    <a:lnTo>
                      <a:pt x="667" y="816"/>
                    </a:lnTo>
                    <a:lnTo>
                      <a:pt x="668" y="814"/>
                    </a:lnTo>
                    <a:lnTo>
                      <a:pt x="668" y="814"/>
                    </a:lnTo>
                    <a:lnTo>
                      <a:pt x="668" y="813"/>
                    </a:lnTo>
                    <a:lnTo>
                      <a:pt x="669" y="812"/>
                    </a:lnTo>
                    <a:lnTo>
                      <a:pt x="670" y="812"/>
                    </a:lnTo>
                    <a:lnTo>
                      <a:pt x="672" y="811"/>
                    </a:lnTo>
                    <a:lnTo>
                      <a:pt x="670" y="810"/>
                    </a:lnTo>
                    <a:lnTo>
                      <a:pt x="670" y="808"/>
                    </a:lnTo>
                    <a:lnTo>
                      <a:pt x="669" y="808"/>
                    </a:lnTo>
                    <a:lnTo>
                      <a:pt x="669" y="808"/>
                    </a:lnTo>
                    <a:lnTo>
                      <a:pt x="668" y="808"/>
                    </a:lnTo>
                    <a:lnTo>
                      <a:pt x="668" y="810"/>
                    </a:lnTo>
                    <a:lnTo>
                      <a:pt x="667" y="810"/>
                    </a:lnTo>
                    <a:lnTo>
                      <a:pt x="667" y="811"/>
                    </a:lnTo>
                    <a:lnTo>
                      <a:pt x="667" y="812"/>
                    </a:lnTo>
                    <a:lnTo>
                      <a:pt x="665" y="814"/>
                    </a:lnTo>
                    <a:lnTo>
                      <a:pt x="665" y="816"/>
                    </a:lnTo>
                    <a:lnTo>
                      <a:pt x="663" y="816"/>
                    </a:lnTo>
                    <a:lnTo>
                      <a:pt x="663" y="817"/>
                    </a:lnTo>
                    <a:lnTo>
                      <a:pt x="663" y="817"/>
                    </a:lnTo>
                    <a:lnTo>
                      <a:pt x="662" y="817"/>
                    </a:lnTo>
                    <a:lnTo>
                      <a:pt x="662" y="816"/>
                    </a:lnTo>
                    <a:lnTo>
                      <a:pt x="660" y="816"/>
                    </a:lnTo>
                    <a:lnTo>
                      <a:pt x="659" y="814"/>
                    </a:lnTo>
                    <a:lnTo>
                      <a:pt x="658" y="813"/>
                    </a:lnTo>
                    <a:lnTo>
                      <a:pt x="657" y="812"/>
                    </a:lnTo>
                    <a:lnTo>
                      <a:pt x="657" y="811"/>
                    </a:lnTo>
                    <a:lnTo>
                      <a:pt x="655" y="811"/>
                    </a:lnTo>
                    <a:lnTo>
                      <a:pt x="655" y="811"/>
                    </a:lnTo>
                    <a:lnTo>
                      <a:pt x="654" y="811"/>
                    </a:lnTo>
                    <a:lnTo>
                      <a:pt x="654" y="811"/>
                    </a:lnTo>
                    <a:lnTo>
                      <a:pt x="654" y="811"/>
                    </a:lnTo>
                    <a:lnTo>
                      <a:pt x="654" y="810"/>
                    </a:lnTo>
                    <a:lnTo>
                      <a:pt x="655" y="808"/>
                    </a:lnTo>
                    <a:lnTo>
                      <a:pt x="655" y="807"/>
                    </a:lnTo>
                    <a:lnTo>
                      <a:pt x="657" y="807"/>
                    </a:lnTo>
                    <a:lnTo>
                      <a:pt x="657" y="807"/>
                    </a:lnTo>
                    <a:lnTo>
                      <a:pt x="658" y="807"/>
                    </a:lnTo>
                    <a:lnTo>
                      <a:pt x="658" y="807"/>
                    </a:lnTo>
                    <a:lnTo>
                      <a:pt x="659" y="807"/>
                    </a:lnTo>
                    <a:lnTo>
                      <a:pt x="659" y="807"/>
                    </a:lnTo>
                    <a:lnTo>
                      <a:pt x="659" y="808"/>
                    </a:lnTo>
                    <a:lnTo>
                      <a:pt x="659" y="807"/>
                    </a:lnTo>
                    <a:lnTo>
                      <a:pt x="659" y="807"/>
                    </a:lnTo>
                    <a:lnTo>
                      <a:pt x="659" y="806"/>
                    </a:lnTo>
                    <a:lnTo>
                      <a:pt x="659" y="806"/>
                    </a:lnTo>
                    <a:lnTo>
                      <a:pt x="658" y="805"/>
                    </a:lnTo>
                    <a:lnTo>
                      <a:pt x="658" y="805"/>
                    </a:lnTo>
                    <a:lnTo>
                      <a:pt x="657" y="805"/>
                    </a:lnTo>
                    <a:lnTo>
                      <a:pt x="657" y="803"/>
                    </a:lnTo>
                    <a:lnTo>
                      <a:pt x="658" y="802"/>
                    </a:lnTo>
                    <a:lnTo>
                      <a:pt x="658" y="801"/>
                    </a:lnTo>
                    <a:lnTo>
                      <a:pt x="657" y="800"/>
                    </a:lnTo>
                    <a:lnTo>
                      <a:pt x="657" y="797"/>
                    </a:lnTo>
                    <a:lnTo>
                      <a:pt x="655" y="795"/>
                    </a:lnTo>
                    <a:lnTo>
                      <a:pt x="654" y="792"/>
                    </a:lnTo>
                    <a:lnTo>
                      <a:pt x="654" y="791"/>
                    </a:lnTo>
                    <a:lnTo>
                      <a:pt x="652" y="788"/>
                    </a:lnTo>
                    <a:lnTo>
                      <a:pt x="652" y="788"/>
                    </a:lnTo>
                    <a:lnTo>
                      <a:pt x="652" y="786"/>
                    </a:lnTo>
                    <a:lnTo>
                      <a:pt x="652" y="785"/>
                    </a:lnTo>
                    <a:lnTo>
                      <a:pt x="654" y="781"/>
                    </a:lnTo>
                    <a:lnTo>
                      <a:pt x="657" y="776"/>
                    </a:lnTo>
                    <a:lnTo>
                      <a:pt x="660" y="771"/>
                    </a:lnTo>
                    <a:lnTo>
                      <a:pt x="662" y="767"/>
                    </a:lnTo>
                    <a:lnTo>
                      <a:pt x="663" y="765"/>
                    </a:lnTo>
                    <a:lnTo>
                      <a:pt x="662" y="763"/>
                    </a:lnTo>
                    <a:lnTo>
                      <a:pt x="662" y="761"/>
                    </a:lnTo>
                    <a:lnTo>
                      <a:pt x="660" y="760"/>
                    </a:lnTo>
                    <a:lnTo>
                      <a:pt x="659" y="758"/>
                    </a:lnTo>
                    <a:lnTo>
                      <a:pt x="659" y="757"/>
                    </a:lnTo>
                    <a:lnTo>
                      <a:pt x="658" y="755"/>
                    </a:lnTo>
                    <a:lnTo>
                      <a:pt x="657" y="753"/>
                    </a:lnTo>
                    <a:lnTo>
                      <a:pt x="657" y="753"/>
                    </a:lnTo>
                    <a:lnTo>
                      <a:pt x="658" y="750"/>
                    </a:lnTo>
                    <a:lnTo>
                      <a:pt x="659" y="748"/>
                    </a:lnTo>
                    <a:lnTo>
                      <a:pt x="662" y="746"/>
                    </a:lnTo>
                    <a:lnTo>
                      <a:pt x="663" y="744"/>
                    </a:lnTo>
                    <a:lnTo>
                      <a:pt x="663" y="742"/>
                    </a:lnTo>
                    <a:lnTo>
                      <a:pt x="667" y="740"/>
                    </a:lnTo>
                    <a:lnTo>
                      <a:pt x="667" y="740"/>
                    </a:lnTo>
                    <a:lnTo>
                      <a:pt x="669" y="739"/>
                    </a:lnTo>
                    <a:lnTo>
                      <a:pt x="672" y="736"/>
                    </a:lnTo>
                    <a:lnTo>
                      <a:pt x="673" y="735"/>
                    </a:lnTo>
                    <a:lnTo>
                      <a:pt x="673" y="734"/>
                    </a:lnTo>
                    <a:lnTo>
                      <a:pt x="673" y="732"/>
                    </a:lnTo>
                    <a:lnTo>
                      <a:pt x="673" y="731"/>
                    </a:lnTo>
                    <a:lnTo>
                      <a:pt x="675" y="730"/>
                    </a:lnTo>
                    <a:lnTo>
                      <a:pt x="675" y="730"/>
                    </a:lnTo>
                    <a:lnTo>
                      <a:pt x="675" y="729"/>
                    </a:lnTo>
                    <a:lnTo>
                      <a:pt x="677" y="729"/>
                    </a:lnTo>
                    <a:lnTo>
                      <a:pt x="677" y="727"/>
                    </a:lnTo>
                    <a:lnTo>
                      <a:pt x="679" y="726"/>
                    </a:lnTo>
                    <a:lnTo>
                      <a:pt x="679" y="725"/>
                    </a:lnTo>
                    <a:lnTo>
                      <a:pt x="680" y="722"/>
                    </a:lnTo>
                    <a:lnTo>
                      <a:pt x="682" y="721"/>
                    </a:lnTo>
                    <a:lnTo>
                      <a:pt x="682" y="721"/>
                    </a:lnTo>
                    <a:lnTo>
                      <a:pt x="682" y="719"/>
                    </a:lnTo>
                    <a:lnTo>
                      <a:pt x="682" y="715"/>
                    </a:lnTo>
                    <a:lnTo>
                      <a:pt x="682" y="715"/>
                    </a:lnTo>
                    <a:lnTo>
                      <a:pt x="683" y="715"/>
                    </a:lnTo>
                    <a:lnTo>
                      <a:pt x="683" y="712"/>
                    </a:lnTo>
                    <a:lnTo>
                      <a:pt x="683" y="711"/>
                    </a:lnTo>
                    <a:lnTo>
                      <a:pt x="684" y="711"/>
                    </a:lnTo>
                    <a:lnTo>
                      <a:pt x="684" y="709"/>
                    </a:lnTo>
                    <a:lnTo>
                      <a:pt x="684" y="709"/>
                    </a:lnTo>
                    <a:lnTo>
                      <a:pt x="684" y="709"/>
                    </a:lnTo>
                    <a:lnTo>
                      <a:pt x="683" y="706"/>
                    </a:lnTo>
                    <a:lnTo>
                      <a:pt x="683" y="705"/>
                    </a:lnTo>
                    <a:lnTo>
                      <a:pt x="683" y="704"/>
                    </a:lnTo>
                    <a:lnTo>
                      <a:pt x="684" y="702"/>
                    </a:lnTo>
                    <a:lnTo>
                      <a:pt x="687" y="701"/>
                    </a:lnTo>
                    <a:lnTo>
                      <a:pt x="687" y="700"/>
                    </a:lnTo>
                    <a:lnTo>
                      <a:pt x="687" y="699"/>
                    </a:lnTo>
                    <a:lnTo>
                      <a:pt x="688" y="697"/>
                    </a:lnTo>
                    <a:lnTo>
                      <a:pt x="688" y="696"/>
                    </a:lnTo>
                    <a:lnTo>
                      <a:pt x="689" y="695"/>
                    </a:lnTo>
                    <a:lnTo>
                      <a:pt x="689" y="695"/>
                    </a:lnTo>
                    <a:lnTo>
                      <a:pt x="689" y="694"/>
                    </a:lnTo>
                    <a:lnTo>
                      <a:pt x="690" y="692"/>
                    </a:lnTo>
                    <a:lnTo>
                      <a:pt x="690" y="691"/>
                    </a:lnTo>
                    <a:lnTo>
                      <a:pt x="691" y="690"/>
                    </a:lnTo>
                    <a:lnTo>
                      <a:pt x="691" y="687"/>
                    </a:lnTo>
                    <a:lnTo>
                      <a:pt x="691" y="686"/>
                    </a:lnTo>
                    <a:lnTo>
                      <a:pt x="691" y="686"/>
                    </a:lnTo>
                    <a:lnTo>
                      <a:pt x="693" y="685"/>
                    </a:lnTo>
                    <a:lnTo>
                      <a:pt x="695" y="682"/>
                    </a:lnTo>
                    <a:lnTo>
                      <a:pt x="696" y="680"/>
                    </a:lnTo>
                    <a:lnTo>
                      <a:pt x="696" y="679"/>
                    </a:lnTo>
                    <a:lnTo>
                      <a:pt x="698" y="676"/>
                    </a:lnTo>
                    <a:lnTo>
                      <a:pt x="699" y="676"/>
                    </a:lnTo>
                    <a:lnTo>
                      <a:pt x="699" y="676"/>
                    </a:lnTo>
                    <a:lnTo>
                      <a:pt x="700" y="676"/>
                    </a:lnTo>
                    <a:lnTo>
                      <a:pt x="701" y="675"/>
                    </a:lnTo>
                    <a:lnTo>
                      <a:pt x="701" y="675"/>
                    </a:lnTo>
                    <a:lnTo>
                      <a:pt x="704" y="674"/>
                    </a:lnTo>
                    <a:lnTo>
                      <a:pt x="704" y="674"/>
                    </a:lnTo>
                    <a:lnTo>
                      <a:pt x="704" y="674"/>
                    </a:lnTo>
                    <a:lnTo>
                      <a:pt x="704" y="675"/>
                    </a:lnTo>
                    <a:lnTo>
                      <a:pt x="704" y="675"/>
                    </a:lnTo>
                    <a:lnTo>
                      <a:pt x="705" y="675"/>
                    </a:lnTo>
                    <a:lnTo>
                      <a:pt x="705" y="674"/>
                    </a:lnTo>
                    <a:lnTo>
                      <a:pt x="705" y="674"/>
                    </a:lnTo>
                    <a:lnTo>
                      <a:pt x="705" y="673"/>
                    </a:lnTo>
                    <a:lnTo>
                      <a:pt x="705" y="673"/>
                    </a:lnTo>
                    <a:lnTo>
                      <a:pt x="708" y="673"/>
                    </a:lnTo>
                    <a:lnTo>
                      <a:pt x="708" y="673"/>
                    </a:lnTo>
                    <a:lnTo>
                      <a:pt x="708" y="673"/>
                    </a:lnTo>
                    <a:lnTo>
                      <a:pt x="708" y="671"/>
                    </a:lnTo>
                    <a:lnTo>
                      <a:pt x="708" y="671"/>
                    </a:lnTo>
                    <a:lnTo>
                      <a:pt x="708" y="670"/>
                    </a:lnTo>
                    <a:lnTo>
                      <a:pt x="708" y="670"/>
                    </a:lnTo>
                    <a:lnTo>
                      <a:pt x="708" y="670"/>
                    </a:lnTo>
                    <a:lnTo>
                      <a:pt x="708" y="671"/>
                    </a:lnTo>
                    <a:lnTo>
                      <a:pt x="705" y="671"/>
                    </a:lnTo>
                    <a:lnTo>
                      <a:pt x="705" y="673"/>
                    </a:lnTo>
                    <a:lnTo>
                      <a:pt x="708" y="670"/>
                    </a:lnTo>
                    <a:lnTo>
                      <a:pt x="708" y="666"/>
                    </a:lnTo>
                    <a:lnTo>
                      <a:pt x="709" y="666"/>
                    </a:lnTo>
                    <a:lnTo>
                      <a:pt x="711" y="665"/>
                    </a:lnTo>
                    <a:lnTo>
                      <a:pt x="711" y="664"/>
                    </a:lnTo>
                    <a:lnTo>
                      <a:pt x="714" y="664"/>
                    </a:lnTo>
                    <a:lnTo>
                      <a:pt x="714" y="663"/>
                    </a:lnTo>
                    <a:lnTo>
                      <a:pt x="714" y="663"/>
                    </a:lnTo>
                    <a:lnTo>
                      <a:pt x="715" y="661"/>
                    </a:lnTo>
                    <a:lnTo>
                      <a:pt x="715" y="661"/>
                    </a:lnTo>
                    <a:lnTo>
                      <a:pt x="718" y="660"/>
                    </a:lnTo>
                    <a:lnTo>
                      <a:pt x="718" y="660"/>
                    </a:lnTo>
                    <a:lnTo>
                      <a:pt x="718" y="659"/>
                    </a:lnTo>
                    <a:lnTo>
                      <a:pt x="718" y="658"/>
                    </a:lnTo>
                    <a:lnTo>
                      <a:pt x="718" y="658"/>
                    </a:lnTo>
                    <a:lnTo>
                      <a:pt x="719" y="658"/>
                    </a:lnTo>
                    <a:lnTo>
                      <a:pt x="720" y="655"/>
                    </a:lnTo>
                    <a:lnTo>
                      <a:pt x="723" y="653"/>
                    </a:lnTo>
                    <a:lnTo>
                      <a:pt x="724" y="651"/>
                    </a:lnTo>
                    <a:lnTo>
                      <a:pt x="725" y="649"/>
                    </a:lnTo>
                    <a:lnTo>
                      <a:pt x="726" y="648"/>
                    </a:lnTo>
                    <a:lnTo>
                      <a:pt x="728" y="644"/>
                    </a:lnTo>
                    <a:lnTo>
                      <a:pt x="729" y="641"/>
                    </a:lnTo>
                    <a:lnTo>
                      <a:pt x="730" y="641"/>
                    </a:lnTo>
                    <a:lnTo>
                      <a:pt x="731" y="640"/>
                    </a:lnTo>
                    <a:lnTo>
                      <a:pt x="734" y="638"/>
                    </a:lnTo>
                    <a:lnTo>
                      <a:pt x="735" y="636"/>
                    </a:lnTo>
                    <a:lnTo>
                      <a:pt x="737" y="634"/>
                    </a:lnTo>
                    <a:lnTo>
                      <a:pt x="739" y="633"/>
                    </a:lnTo>
                    <a:lnTo>
                      <a:pt x="740" y="629"/>
                    </a:lnTo>
                    <a:lnTo>
                      <a:pt x="741" y="626"/>
                    </a:lnTo>
                    <a:lnTo>
                      <a:pt x="742" y="624"/>
                    </a:lnTo>
                    <a:lnTo>
                      <a:pt x="742" y="623"/>
                    </a:lnTo>
                    <a:lnTo>
                      <a:pt x="744" y="621"/>
                    </a:lnTo>
                    <a:lnTo>
                      <a:pt x="744" y="621"/>
                    </a:lnTo>
                    <a:lnTo>
                      <a:pt x="744" y="620"/>
                    </a:lnTo>
                    <a:lnTo>
                      <a:pt x="746" y="619"/>
                    </a:lnTo>
                    <a:lnTo>
                      <a:pt x="747" y="619"/>
                    </a:lnTo>
                    <a:lnTo>
                      <a:pt x="747" y="619"/>
                    </a:lnTo>
                    <a:lnTo>
                      <a:pt x="747" y="619"/>
                    </a:lnTo>
                    <a:lnTo>
                      <a:pt x="747" y="619"/>
                    </a:lnTo>
                    <a:lnTo>
                      <a:pt x="750" y="619"/>
                    </a:lnTo>
                    <a:lnTo>
                      <a:pt x="750" y="616"/>
                    </a:lnTo>
                    <a:lnTo>
                      <a:pt x="750" y="615"/>
                    </a:lnTo>
                    <a:lnTo>
                      <a:pt x="750" y="613"/>
                    </a:lnTo>
                    <a:lnTo>
                      <a:pt x="750" y="611"/>
                    </a:lnTo>
                    <a:lnTo>
                      <a:pt x="751" y="610"/>
                    </a:lnTo>
                    <a:lnTo>
                      <a:pt x="752" y="609"/>
                    </a:lnTo>
                    <a:lnTo>
                      <a:pt x="754" y="609"/>
                    </a:lnTo>
                    <a:lnTo>
                      <a:pt x="754" y="607"/>
                    </a:lnTo>
                    <a:lnTo>
                      <a:pt x="755" y="605"/>
                    </a:lnTo>
                    <a:lnTo>
                      <a:pt x="756" y="605"/>
                    </a:lnTo>
                    <a:lnTo>
                      <a:pt x="757" y="603"/>
                    </a:lnTo>
                    <a:lnTo>
                      <a:pt x="757" y="602"/>
                    </a:lnTo>
                    <a:lnTo>
                      <a:pt x="760" y="599"/>
                    </a:lnTo>
                    <a:lnTo>
                      <a:pt x="760" y="599"/>
                    </a:lnTo>
                    <a:lnTo>
                      <a:pt x="761" y="599"/>
                    </a:lnTo>
                    <a:lnTo>
                      <a:pt x="762" y="599"/>
                    </a:lnTo>
                    <a:lnTo>
                      <a:pt x="765" y="599"/>
                    </a:lnTo>
                    <a:lnTo>
                      <a:pt x="769" y="599"/>
                    </a:lnTo>
                    <a:lnTo>
                      <a:pt x="771" y="599"/>
                    </a:lnTo>
                    <a:lnTo>
                      <a:pt x="771" y="599"/>
                    </a:lnTo>
                    <a:lnTo>
                      <a:pt x="771" y="599"/>
                    </a:lnTo>
                    <a:lnTo>
                      <a:pt x="769" y="599"/>
                    </a:lnTo>
                    <a:lnTo>
                      <a:pt x="769" y="599"/>
                    </a:lnTo>
                    <a:lnTo>
                      <a:pt x="769" y="599"/>
                    </a:lnTo>
                    <a:lnTo>
                      <a:pt x="767" y="598"/>
                    </a:lnTo>
                    <a:lnTo>
                      <a:pt x="767" y="598"/>
                    </a:lnTo>
                    <a:lnTo>
                      <a:pt x="766" y="598"/>
                    </a:lnTo>
                    <a:lnTo>
                      <a:pt x="765" y="598"/>
                    </a:lnTo>
                    <a:lnTo>
                      <a:pt x="764" y="598"/>
                    </a:lnTo>
                    <a:lnTo>
                      <a:pt x="762" y="599"/>
                    </a:lnTo>
                    <a:lnTo>
                      <a:pt x="761" y="599"/>
                    </a:lnTo>
                    <a:lnTo>
                      <a:pt x="760" y="599"/>
                    </a:lnTo>
                    <a:lnTo>
                      <a:pt x="760" y="599"/>
                    </a:lnTo>
                    <a:lnTo>
                      <a:pt x="760" y="598"/>
                    </a:lnTo>
                    <a:lnTo>
                      <a:pt x="760" y="597"/>
                    </a:lnTo>
                    <a:lnTo>
                      <a:pt x="761" y="595"/>
                    </a:lnTo>
                    <a:lnTo>
                      <a:pt x="762" y="595"/>
                    </a:lnTo>
                    <a:lnTo>
                      <a:pt x="762" y="595"/>
                    </a:lnTo>
                    <a:lnTo>
                      <a:pt x="762" y="595"/>
                    </a:lnTo>
                    <a:lnTo>
                      <a:pt x="764" y="594"/>
                    </a:lnTo>
                    <a:lnTo>
                      <a:pt x="764" y="594"/>
                    </a:lnTo>
                    <a:lnTo>
                      <a:pt x="765" y="593"/>
                    </a:lnTo>
                    <a:lnTo>
                      <a:pt x="766" y="590"/>
                    </a:lnTo>
                    <a:lnTo>
                      <a:pt x="767" y="589"/>
                    </a:lnTo>
                    <a:lnTo>
                      <a:pt x="769" y="588"/>
                    </a:lnTo>
                    <a:lnTo>
                      <a:pt x="769" y="588"/>
                    </a:lnTo>
                    <a:lnTo>
                      <a:pt x="769" y="587"/>
                    </a:lnTo>
                    <a:lnTo>
                      <a:pt x="769" y="587"/>
                    </a:lnTo>
                    <a:lnTo>
                      <a:pt x="771" y="587"/>
                    </a:lnTo>
                    <a:lnTo>
                      <a:pt x="771" y="588"/>
                    </a:lnTo>
                    <a:lnTo>
                      <a:pt x="771" y="587"/>
                    </a:lnTo>
                    <a:lnTo>
                      <a:pt x="771" y="587"/>
                    </a:lnTo>
                    <a:lnTo>
                      <a:pt x="771" y="587"/>
                    </a:lnTo>
                    <a:lnTo>
                      <a:pt x="769" y="587"/>
                    </a:lnTo>
                    <a:lnTo>
                      <a:pt x="769" y="587"/>
                    </a:lnTo>
                    <a:lnTo>
                      <a:pt x="769" y="587"/>
                    </a:lnTo>
                    <a:lnTo>
                      <a:pt x="767" y="587"/>
                    </a:lnTo>
                    <a:lnTo>
                      <a:pt x="766" y="588"/>
                    </a:lnTo>
                    <a:lnTo>
                      <a:pt x="766" y="585"/>
                    </a:lnTo>
                    <a:lnTo>
                      <a:pt x="767" y="584"/>
                    </a:lnTo>
                    <a:lnTo>
                      <a:pt x="769" y="584"/>
                    </a:lnTo>
                    <a:lnTo>
                      <a:pt x="769" y="582"/>
                    </a:lnTo>
                    <a:lnTo>
                      <a:pt x="771" y="582"/>
                    </a:lnTo>
                    <a:lnTo>
                      <a:pt x="772" y="582"/>
                    </a:lnTo>
                    <a:lnTo>
                      <a:pt x="774" y="582"/>
                    </a:lnTo>
                    <a:lnTo>
                      <a:pt x="776" y="580"/>
                    </a:lnTo>
                    <a:lnTo>
                      <a:pt x="774" y="580"/>
                    </a:lnTo>
                    <a:lnTo>
                      <a:pt x="772" y="580"/>
                    </a:lnTo>
                    <a:lnTo>
                      <a:pt x="771" y="580"/>
                    </a:lnTo>
                    <a:lnTo>
                      <a:pt x="771" y="579"/>
                    </a:lnTo>
                    <a:lnTo>
                      <a:pt x="771" y="579"/>
                    </a:lnTo>
                    <a:lnTo>
                      <a:pt x="771" y="578"/>
                    </a:lnTo>
                    <a:lnTo>
                      <a:pt x="771" y="579"/>
                    </a:lnTo>
                    <a:lnTo>
                      <a:pt x="769" y="579"/>
                    </a:lnTo>
                    <a:lnTo>
                      <a:pt x="769" y="580"/>
                    </a:lnTo>
                    <a:lnTo>
                      <a:pt x="769" y="580"/>
                    </a:lnTo>
                    <a:lnTo>
                      <a:pt x="769" y="578"/>
                    </a:lnTo>
                    <a:lnTo>
                      <a:pt x="771" y="574"/>
                    </a:lnTo>
                    <a:lnTo>
                      <a:pt x="772" y="569"/>
                    </a:lnTo>
                    <a:lnTo>
                      <a:pt x="774" y="567"/>
                    </a:lnTo>
                    <a:lnTo>
                      <a:pt x="775" y="564"/>
                    </a:lnTo>
                    <a:lnTo>
                      <a:pt x="776" y="560"/>
                    </a:lnTo>
                    <a:lnTo>
                      <a:pt x="776" y="558"/>
                    </a:lnTo>
                    <a:lnTo>
                      <a:pt x="776" y="558"/>
                    </a:lnTo>
                    <a:lnTo>
                      <a:pt x="776" y="557"/>
                    </a:lnTo>
                    <a:lnTo>
                      <a:pt x="776" y="555"/>
                    </a:lnTo>
                    <a:lnTo>
                      <a:pt x="777" y="555"/>
                    </a:lnTo>
                    <a:lnTo>
                      <a:pt x="777" y="552"/>
                    </a:lnTo>
                    <a:lnTo>
                      <a:pt x="779" y="550"/>
                    </a:lnTo>
                    <a:lnTo>
                      <a:pt x="781" y="548"/>
                    </a:lnTo>
                    <a:lnTo>
                      <a:pt x="781" y="547"/>
                    </a:lnTo>
                    <a:lnTo>
                      <a:pt x="782" y="545"/>
                    </a:lnTo>
                    <a:lnTo>
                      <a:pt x="782" y="544"/>
                    </a:lnTo>
                    <a:lnTo>
                      <a:pt x="782" y="544"/>
                    </a:lnTo>
                    <a:lnTo>
                      <a:pt x="782" y="543"/>
                    </a:lnTo>
                    <a:lnTo>
                      <a:pt x="784" y="543"/>
                    </a:lnTo>
                    <a:lnTo>
                      <a:pt x="786" y="544"/>
                    </a:lnTo>
                    <a:lnTo>
                      <a:pt x="788" y="545"/>
                    </a:lnTo>
                    <a:lnTo>
                      <a:pt x="788" y="547"/>
                    </a:lnTo>
                    <a:lnTo>
                      <a:pt x="792" y="547"/>
                    </a:lnTo>
                    <a:lnTo>
                      <a:pt x="793" y="548"/>
                    </a:lnTo>
                    <a:lnTo>
                      <a:pt x="796" y="549"/>
                    </a:lnTo>
                    <a:lnTo>
                      <a:pt x="798" y="550"/>
                    </a:lnTo>
                    <a:lnTo>
                      <a:pt x="801" y="552"/>
                    </a:lnTo>
                    <a:lnTo>
                      <a:pt x="801" y="552"/>
                    </a:lnTo>
                    <a:lnTo>
                      <a:pt x="801" y="552"/>
                    </a:lnTo>
                    <a:lnTo>
                      <a:pt x="802" y="552"/>
                    </a:lnTo>
                    <a:lnTo>
                      <a:pt x="805" y="552"/>
                    </a:lnTo>
                    <a:lnTo>
                      <a:pt x="807" y="552"/>
                    </a:lnTo>
                    <a:lnTo>
                      <a:pt x="810" y="552"/>
                    </a:lnTo>
                    <a:lnTo>
                      <a:pt x="811" y="552"/>
                    </a:lnTo>
                    <a:lnTo>
                      <a:pt x="811" y="552"/>
                    </a:lnTo>
                    <a:lnTo>
                      <a:pt x="811" y="553"/>
                    </a:lnTo>
                    <a:lnTo>
                      <a:pt x="811" y="553"/>
                    </a:lnTo>
                    <a:lnTo>
                      <a:pt x="813" y="552"/>
                    </a:lnTo>
                    <a:lnTo>
                      <a:pt x="813" y="552"/>
                    </a:lnTo>
                    <a:lnTo>
                      <a:pt x="813" y="552"/>
                    </a:lnTo>
                    <a:lnTo>
                      <a:pt x="815" y="552"/>
                    </a:lnTo>
                    <a:lnTo>
                      <a:pt x="816" y="552"/>
                    </a:lnTo>
                    <a:lnTo>
                      <a:pt x="816" y="552"/>
                    </a:lnTo>
                    <a:lnTo>
                      <a:pt x="816" y="552"/>
                    </a:lnTo>
                    <a:lnTo>
                      <a:pt x="816" y="552"/>
                    </a:lnTo>
                    <a:lnTo>
                      <a:pt x="816" y="552"/>
                    </a:lnTo>
                    <a:lnTo>
                      <a:pt x="816" y="553"/>
                    </a:lnTo>
                    <a:lnTo>
                      <a:pt x="816" y="554"/>
                    </a:lnTo>
                    <a:lnTo>
                      <a:pt x="815" y="555"/>
                    </a:lnTo>
                    <a:lnTo>
                      <a:pt x="815" y="555"/>
                    </a:lnTo>
                    <a:lnTo>
                      <a:pt x="813" y="557"/>
                    </a:lnTo>
                    <a:lnTo>
                      <a:pt x="813" y="558"/>
                    </a:lnTo>
                    <a:lnTo>
                      <a:pt x="815" y="557"/>
                    </a:lnTo>
                    <a:lnTo>
                      <a:pt x="817" y="555"/>
                    </a:lnTo>
                    <a:lnTo>
                      <a:pt x="817" y="557"/>
                    </a:lnTo>
                    <a:lnTo>
                      <a:pt x="817" y="558"/>
                    </a:lnTo>
                    <a:lnTo>
                      <a:pt x="816" y="558"/>
                    </a:lnTo>
                    <a:lnTo>
                      <a:pt x="816" y="559"/>
                    </a:lnTo>
                    <a:lnTo>
                      <a:pt x="815" y="560"/>
                    </a:lnTo>
                    <a:lnTo>
                      <a:pt x="813" y="560"/>
                    </a:lnTo>
                    <a:lnTo>
                      <a:pt x="811" y="563"/>
                    </a:lnTo>
                    <a:lnTo>
                      <a:pt x="811" y="564"/>
                    </a:lnTo>
                    <a:lnTo>
                      <a:pt x="807" y="564"/>
                    </a:lnTo>
                    <a:lnTo>
                      <a:pt x="807" y="567"/>
                    </a:lnTo>
                    <a:lnTo>
                      <a:pt x="807" y="567"/>
                    </a:lnTo>
                    <a:lnTo>
                      <a:pt x="810" y="567"/>
                    </a:lnTo>
                    <a:lnTo>
                      <a:pt x="810" y="567"/>
                    </a:lnTo>
                    <a:lnTo>
                      <a:pt x="810" y="567"/>
                    </a:lnTo>
                    <a:lnTo>
                      <a:pt x="810" y="567"/>
                    </a:lnTo>
                    <a:lnTo>
                      <a:pt x="810" y="567"/>
                    </a:lnTo>
                    <a:lnTo>
                      <a:pt x="810" y="569"/>
                    </a:lnTo>
                    <a:lnTo>
                      <a:pt x="807" y="570"/>
                    </a:lnTo>
                    <a:lnTo>
                      <a:pt x="807" y="570"/>
                    </a:lnTo>
                    <a:lnTo>
                      <a:pt x="807" y="573"/>
                    </a:lnTo>
                    <a:lnTo>
                      <a:pt x="806" y="573"/>
                    </a:lnTo>
                    <a:lnTo>
                      <a:pt x="806" y="573"/>
                    </a:lnTo>
                    <a:lnTo>
                      <a:pt x="805" y="573"/>
                    </a:lnTo>
                    <a:lnTo>
                      <a:pt x="806" y="573"/>
                    </a:lnTo>
                    <a:lnTo>
                      <a:pt x="806" y="570"/>
                    </a:lnTo>
                    <a:lnTo>
                      <a:pt x="807" y="570"/>
                    </a:lnTo>
                    <a:lnTo>
                      <a:pt x="807" y="570"/>
                    </a:lnTo>
                    <a:lnTo>
                      <a:pt x="807" y="570"/>
                    </a:lnTo>
                    <a:lnTo>
                      <a:pt x="806" y="570"/>
                    </a:lnTo>
                    <a:lnTo>
                      <a:pt x="805" y="570"/>
                    </a:lnTo>
                    <a:lnTo>
                      <a:pt x="803" y="573"/>
                    </a:lnTo>
                    <a:lnTo>
                      <a:pt x="801" y="574"/>
                    </a:lnTo>
                    <a:lnTo>
                      <a:pt x="801" y="577"/>
                    </a:lnTo>
                    <a:lnTo>
                      <a:pt x="801" y="574"/>
                    </a:lnTo>
                    <a:lnTo>
                      <a:pt x="801" y="574"/>
                    </a:lnTo>
                    <a:lnTo>
                      <a:pt x="801" y="573"/>
                    </a:lnTo>
                    <a:lnTo>
                      <a:pt x="801" y="570"/>
                    </a:lnTo>
                    <a:lnTo>
                      <a:pt x="802" y="570"/>
                    </a:lnTo>
                    <a:lnTo>
                      <a:pt x="801" y="573"/>
                    </a:lnTo>
                    <a:lnTo>
                      <a:pt x="798" y="574"/>
                    </a:lnTo>
                    <a:lnTo>
                      <a:pt x="798" y="574"/>
                    </a:lnTo>
                    <a:lnTo>
                      <a:pt x="797" y="574"/>
                    </a:lnTo>
                    <a:lnTo>
                      <a:pt x="796" y="577"/>
                    </a:lnTo>
                    <a:lnTo>
                      <a:pt x="797" y="577"/>
                    </a:lnTo>
                    <a:lnTo>
                      <a:pt x="797" y="577"/>
                    </a:lnTo>
                    <a:lnTo>
                      <a:pt x="797" y="577"/>
                    </a:lnTo>
                    <a:lnTo>
                      <a:pt x="798" y="577"/>
                    </a:lnTo>
                    <a:lnTo>
                      <a:pt x="798" y="577"/>
                    </a:lnTo>
                    <a:lnTo>
                      <a:pt x="800" y="577"/>
                    </a:lnTo>
                    <a:lnTo>
                      <a:pt x="801" y="577"/>
                    </a:lnTo>
                    <a:lnTo>
                      <a:pt x="801" y="577"/>
                    </a:lnTo>
                    <a:lnTo>
                      <a:pt x="801" y="577"/>
                    </a:lnTo>
                    <a:lnTo>
                      <a:pt x="801" y="577"/>
                    </a:lnTo>
                    <a:lnTo>
                      <a:pt x="802" y="577"/>
                    </a:lnTo>
                    <a:lnTo>
                      <a:pt x="803" y="574"/>
                    </a:lnTo>
                    <a:lnTo>
                      <a:pt x="805" y="574"/>
                    </a:lnTo>
                    <a:lnTo>
                      <a:pt x="806" y="574"/>
                    </a:lnTo>
                    <a:lnTo>
                      <a:pt x="807" y="574"/>
                    </a:lnTo>
                    <a:lnTo>
                      <a:pt x="807" y="573"/>
                    </a:lnTo>
                    <a:lnTo>
                      <a:pt x="807" y="573"/>
                    </a:lnTo>
                    <a:lnTo>
                      <a:pt x="811" y="570"/>
                    </a:lnTo>
                    <a:lnTo>
                      <a:pt x="811" y="570"/>
                    </a:lnTo>
                    <a:lnTo>
                      <a:pt x="811" y="570"/>
                    </a:lnTo>
                    <a:lnTo>
                      <a:pt x="811" y="570"/>
                    </a:lnTo>
                    <a:lnTo>
                      <a:pt x="811" y="569"/>
                    </a:lnTo>
                    <a:lnTo>
                      <a:pt x="811" y="569"/>
                    </a:lnTo>
                    <a:lnTo>
                      <a:pt x="811" y="568"/>
                    </a:lnTo>
                    <a:lnTo>
                      <a:pt x="811" y="568"/>
                    </a:lnTo>
                    <a:lnTo>
                      <a:pt x="811" y="567"/>
                    </a:lnTo>
                    <a:lnTo>
                      <a:pt x="811" y="567"/>
                    </a:lnTo>
                    <a:lnTo>
                      <a:pt x="811" y="567"/>
                    </a:lnTo>
                    <a:lnTo>
                      <a:pt x="811" y="567"/>
                    </a:lnTo>
                    <a:lnTo>
                      <a:pt x="811" y="567"/>
                    </a:lnTo>
                    <a:lnTo>
                      <a:pt x="811" y="568"/>
                    </a:lnTo>
                    <a:lnTo>
                      <a:pt x="811" y="569"/>
                    </a:lnTo>
                    <a:lnTo>
                      <a:pt x="811" y="569"/>
                    </a:lnTo>
                    <a:lnTo>
                      <a:pt x="811" y="570"/>
                    </a:lnTo>
                    <a:lnTo>
                      <a:pt x="813" y="569"/>
                    </a:lnTo>
                    <a:lnTo>
                      <a:pt x="815" y="568"/>
                    </a:lnTo>
                    <a:lnTo>
                      <a:pt x="816" y="567"/>
                    </a:lnTo>
                    <a:lnTo>
                      <a:pt x="816" y="567"/>
                    </a:lnTo>
                    <a:lnTo>
                      <a:pt x="817" y="564"/>
                    </a:lnTo>
                    <a:lnTo>
                      <a:pt x="817" y="564"/>
                    </a:lnTo>
                    <a:lnTo>
                      <a:pt x="817" y="564"/>
                    </a:lnTo>
                    <a:lnTo>
                      <a:pt x="817" y="563"/>
                    </a:lnTo>
                    <a:lnTo>
                      <a:pt x="817" y="560"/>
                    </a:lnTo>
                    <a:lnTo>
                      <a:pt x="817" y="560"/>
                    </a:lnTo>
                    <a:lnTo>
                      <a:pt x="817" y="560"/>
                    </a:lnTo>
                    <a:lnTo>
                      <a:pt x="821" y="558"/>
                    </a:lnTo>
                    <a:lnTo>
                      <a:pt x="821" y="557"/>
                    </a:lnTo>
                    <a:lnTo>
                      <a:pt x="823" y="555"/>
                    </a:lnTo>
                    <a:lnTo>
                      <a:pt x="823" y="555"/>
                    </a:lnTo>
                    <a:lnTo>
                      <a:pt x="825" y="555"/>
                    </a:lnTo>
                    <a:lnTo>
                      <a:pt x="825" y="554"/>
                    </a:lnTo>
                    <a:lnTo>
                      <a:pt x="825" y="554"/>
                    </a:lnTo>
                    <a:lnTo>
                      <a:pt x="825" y="553"/>
                    </a:lnTo>
                    <a:lnTo>
                      <a:pt x="825" y="552"/>
                    </a:lnTo>
                    <a:lnTo>
                      <a:pt x="825" y="552"/>
                    </a:lnTo>
                    <a:lnTo>
                      <a:pt x="825" y="550"/>
                    </a:lnTo>
                    <a:lnTo>
                      <a:pt x="826" y="548"/>
                    </a:lnTo>
                    <a:lnTo>
                      <a:pt x="826" y="547"/>
                    </a:lnTo>
                    <a:lnTo>
                      <a:pt x="827" y="545"/>
                    </a:lnTo>
                    <a:lnTo>
                      <a:pt x="826" y="545"/>
                    </a:lnTo>
                    <a:lnTo>
                      <a:pt x="825" y="544"/>
                    </a:lnTo>
                    <a:lnTo>
                      <a:pt x="825" y="544"/>
                    </a:lnTo>
                    <a:lnTo>
                      <a:pt x="823" y="544"/>
                    </a:lnTo>
                    <a:lnTo>
                      <a:pt x="823" y="544"/>
                    </a:lnTo>
                    <a:lnTo>
                      <a:pt x="823" y="543"/>
                    </a:lnTo>
                    <a:lnTo>
                      <a:pt x="823" y="543"/>
                    </a:lnTo>
                    <a:lnTo>
                      <a:pt x="823" y="542"/>
                    </a:lnTo>
                    <a:lnTo>
                      <a:pt x="823" y="542"/>
                    </a:lnTo>
                    <a:lnTo>
                      <a:pt x="825" y="542"/>
                    </a:lnTo>
                    <a:lnTo>
                      <a:pt x="825" y="542"/>
                    </a:lnTo>
                    <a:lnTo>
                      <a:pt x="826" y="542"/>
                    </a:lnTo>
                    <a:lnTo>
                      <a:pt x="826" y="542"/>
                    </a:lnTo>
                    <a:lnTo>
                      <a:pt x="827" y="542"/>
                    </a:lnTo>
                    <a:lnTo>
                      <a:pt x="828" y="542"/>
                    </a:lnTo>
                    <a:lnTo>
                      <a:pt x="828" y="542"/>
                    </a:lnTo>
                    <a:lnTo>
                      <a:pt x="830" y="539"/>
                    </a:lnTo>
                    <a:lnTo>
                      <a:pt x="831" y="538"/>
                    </a:lnTo>
                    <a:lnTo>
                      <a:pt x="831" y="538"/>
                    </a:lnTo>
                    <a:lnTo>
                      <a:pt x="831" y="537"/>
                    </a:lnTo>
                    <a:lnTo>
                      <a:pt x="831" y="537"/>
                    </a:lnTo>
                    <a:lnTo>
                      <a:pt x="831" y="536"/>
                    </a:lnTo>
                    <a:lnTo>
                      <a:pt x="831" y="534"/>
                    </a:lnTo>
                    <a:lnTo>
                      <a:pt x="831" y="533"/>
                    </a:lnTo>
                    <a:lnTo>
                      <a:pt x="831" y="532"/>
                    </a:lnTo>
                    <a:lnTo>
                      <a:pt x="832" y="532"/>
                    </a:lnTo>
                    <a:lnTo>
                      <a:pt x="833" y="531"/>
                    </a:lnTo>
                    <a:lnTo>
                      <a:pt x="833" y="528"/>
                    </a:lnTo>
                    <a:lnTo>
                      <a:pt x="859" y="528"/>
                    </a:lnTo>
                    <a:lnTo>
                      <a:pt x="884" y="528"/>
                    </a:lnTo>
                    <a:lnTo>
                      <a:pt x="908" y="528"/>
                    </a:lnTo>
                    <a:lnTo>
                      <a:pt x="932" y="528"/>
                    </a:lnTo>
                    <a:lnTo>
                      <a:pt x="954" y="528"/>
                    </a:lnTo>
                    <a:lnTo>
                      <a:pt x="976" y="528"/>
                    </a:lnTo>
                    <a:lnTo>
                      <a:pt x="997" y="528"/>
                    </a:lnTo>
                    <a:lnTo>
                      <a:pt x="1017" y="528"/>
                    </a:lnTo>
                    <a:lnTo>
                      <a:pt x="1037" y="528"/>
                    </a:lnTo>
                    <a:lnTo>
                      <a:pt x="1055" y="528"/>
                    </a:lnTo>
                    <a:lnTo>
                      <a:pt x="1073" y="528"/>
                    </a:lnTo>
                    <a:lnTo>
                      <a:pt x="1092" y="528"/>
                    </a:lnTo>
                    <a:lnTo>
                      <a:pt x="1108" y="528"/>
                    </a:lnTo>
                    <a:lnTo>
                      <a:pt x="1124" y="528"/>
                    </a:lnTo>
                    <a:lnTo>
                      <a:pt x="1139" y="528"/>
                    </a:lnTo>
                    <a:lnTo>
                      <a:pt x="1155" y="528"/>
                    </a:lnTo>
                    <a:lnTo>
                      <a:pt x="1169" y="528"/>
                    </a:lnTo>
                    <a:lnTo>
                      <a:pt x="1183" y="528"/>
                    </a:lnTo>
                    <a:lnTo>
                      <a:pt x="1195" y="528"/>
                    </a:lnTo>
                    <a:lnTo>
                      <a:pt x="1208" y="528"/>
                    </a:lnTo>
                    <a:lnTo>
                      <a:pt x="1220" y="528"/>
                    </a:lnTo>
                    <a:lnTo>
                      <a:pt x="1231" y="528"/>
                    </a:lnTo>
                    <a:lnTo>
                      <a:pt x="1244" y="528"/>
                    </a:lnTo>
                    <a:lnTo>
                      <a:pt x="1252" y="528"/>
                    </a:lnTo>
                    <a:lnTo>
                      <a:pt x="1264" y="528"/>
                    </a:lnTo>
                    <a:lnTo>
                      <a:pt x="1272" y="528"/>
                    </a:lnTo>
                    <a:lnTo>
                      <a:pt x="1282" y="528"/>
                    </a:lnTo>
                    <a:lnTo>
                      <a:pt x="1291" y="528"/>
                    </a:lnTo>
                    <a:lnTo>
                      <a:pt x="1298" y="528"/>
                    </a:lnTo>
                    <a:lnTo>
                      <a:pt x="1305" y="528"/>
                    </a:lnTo>
                    <a:lnTo>
                      <a:pt x="1312" y="528"/>
                    </a:lnTo>
                    <a:lnTo>
                      <a:pt x="1320" y="528"/>
                    </a:lnTo>
                    <a:lnTo>
                      <a:pt x="1326" y="528"/>
                    </a:lnTo>
                    <a:lnTo>
                      <a:pt x="1332" y="528"/>
                    </a:lnTo>
                    <a:lnTo>
                      <a:pt x="1337" y="528"/>
                    </a:lnTo>
                    <a:lnTo>
                      <a:pt x="1343" y="528"/>
                    </a:lnTo>
                    <a:lnTo>
                      <a:pt x="1352" y="528"/>
                    </a:lnTo>
                    <a:lnTo>
                      <a:pt x="1359" y="528"/>
                    </a:lnTo>
                    <a:lnTo>
                      <a:pt x="1367" y="528"/>
                    </a:lnTo>
                    <a:lnTo>
                      <a:pt x="1372" y="528"/>
                    </a:lnTo>
                    <a:lnTo>
                      <a:pt x="1375" y="528"/>
                    </a:lnTo>
                    <a:lnTo>
                      <a:pt x="1380" y="528"/>
                    </a:lnTo>
                    <a:lnTo>
                      <a:pt x="1382" y="528"/>
                    </a:lnTo>
                    <a:lnTo>
                      <a:pt x="1384" y="528"/>
                    </a:lnTo>
                    <a:lnTo>
                      <a:pt x="1385" y="528"/>
                    </a:lnTo>
                    <a:lnTo>
                      <a:pt x="1388" y="528"/>
                    </a:lnTo>
                    <a:lnTo>
                      <a:pt x="1388" y="528"/>
                    </a:lnTo>
                    <a:lnTo>
                      <a:pt x="1388" y="528"/>
                    </a:lnTo>
                    <a:lnTo>
                      <a:pt x="1389" y="528"/>
                    </a:lnTo>
                    <a:lnTo>
                      <a:pt x="1389" y="526"/>
                    </a:lnTo>
                    <a:lnTo>
                      <a:pt x="1389" y="524"/>
                    </a:lnTo>
                    <a:lnTo>
                      <a:pt x="1390" y="523"/>
                    </a:lnTo>
                    <a:lnTo>
                      <a:pt x="1390" y="522"/>
                    </a:lnTo>
                    <a:lnTo>
                      <a:pt x="1390" y="522"/>
                    </a:lnTo>
                    <a:lnTo>
                      <a:pt x="1390" y="522"/>
                    </a:lnTo>
                    <a:lnTo>
                      <a:pt x="1390" y="521"/>
                    </a:lnTo>
                    <a:lnTo>
                      <a:pt x="1392" y="519"/>
                    </a:lnTo>
                    <a:lnTo>
                      <a:pt x="1392" y="519"/>
                    </a:lnTo>
                    <a:lnTo>
                      <a:pt x="1392" y="518"/>
                    </a:lnTo>
                    <a:lnTo>
                      <a:pt x="1393" y="518"/>
                    </a:lnTo>
                    <a:lnTo>
                      <a:pt x="1394" y="518"/>
                    </a:lnTo>
                    <a:lnTo>
                      <a:pt x="1395" y="518"/>
                    </a:lnTo>
                    <a:lnTo>
                      <a:pt x="1395" y="519"/>
                    </a:lnTo>
                    <a:lnTo>
                      <a:pt x="1397" y="521"/>
                    </a:lnTo>
                    <a:lnTo>
                      <a:pt x="1397" y="522"/>
                    </a:lnTo>
                    <a:lnTo>
                      <a:pt x="1397" y="523"/>
                    </a:lnTo>
                    <a:lnTo>
                      <a:pt x="1397" y="524"/>
                    </a:lnTo>
                    <a:lnTo>
                      <a:pt x="1395" y="527"/>
                    </a:lnTo>
                    <a:lnTo>
                      <a:pt x="1394" y="528"/>
                    </a:lnTo>
                    <a:lnTo>
                      <a:pt x="1393" y="532"/>
                    </a:lnTo>
                    <a:lnTo>
                      <a:pt x="1393" y="532"/>
                    </a:lnTo>
                    <a:lnTo>
                      <a:pt x="1393" y="533"/>
                    </a:lnTo>
                    <a:lnTo>
                      <a:pt x="1393" y="534"/>
                    </a:lnTo>
                    <a:lnTo>
                      <a:pt x="1393" y="534"/>
                    </a:lnTo>
                    <a:lnTo>
                      <a:pt x="1393" y="536"/>
                    </a:lnTo>
                    <a:lnTo>
                      <a:pt x="1394" y="536"/>
                    </a:lnTo>
                    <a:lnTo>
                      <a:pt x="1395" y="537"/>
                    </a:lnTo>
                    <a:lnTo>
                      <a:pt x="1397" y="537"/>
                    </a:lnTo>
                    <a:lnTo>
                      <a:pt x="1397" y="537"/>
                    </a:lnTo>
                    <a:lnTo>
                      <a:pt x="1397" y="537"/>
                    </a:lnTo>
                    <a:lnTo>
                      <a:pt x="1398" y="537"/>
                    </a:lnTo>
                    <a:lnTo>
                      <a:pt x="1400" y="537"/>
                    </a:lnTo>
                    <a:lnTo>
                      <a:pt x="1403" y="537"/>
                    </a:lnTo>
                    <a:lnTo>
                      <a:pt x="1404" y="537"/>
                    </a:lnTo>
                    <a:lnTo>
                      <a:pt x="1405" y="537"/>
                    </a:lnTo>
                    <a:lnTo>
                      <a:pt x="1405" y="538"/>
                    </a:lnTo>
                    <a:lnTo>
                      <a:pt x="1407" y="538"/>
                    </a:lnTo>
                    <a:lnTo>
                      <a:pt x="1407" y="538"/>
                    </a:lnTo>
                    <a:lnTo>
                      <a:pt x="1407" y="538"/>
                    </a:lnTo>
                    <a:lnTo>
                      <a:pt x="1407" y="538"/>
                    </a:lnTo>
                    <a:lnTo>
                      <a:pt x="1407" y="539"/>
                    </a:lnTo>
                    <a:lnTo>
                      <a:pt x="1407" y="539"/>
                    </a:lnTo>
                    <a:lnTo>
                      <a:pt x="1407" y="542"/>
                    </a:lnTo>
                    <a:lnTo>
                      <a:pt x="1407" y="542"/>
                    </a:lnTo>
                    <a:lnTo>
                      <a:pt x="1409" y="542"/>
                    </a:lnTo>
                    <a:lnTo>
                      <a:pt x="1409" y="542"/>
                    </a:lnTo>
                    <a:lnTo>
                      <a:pt x="1410" y="542"/>
                    </a:lnTo>
                    <a:lnTo>
                      <a:pt x="1413" y="539"/>
                    </a:lnTo>
                    <a:lnTo>
                      <a:pt x="1414" y="539"/>
                    </a:lnTo>
                    <a:lnTo>
                      <a:pt x="1417" y="538"/>
                    </a:lnTo>
                    <a:lnTo>
                      <a:pt x="1417" y="538"/>
                    </a:lnTo>
                    <a:lnTo>
                      <a:pt x="1417" y="538"/>
                    </a:lnTo>
                    <a:lnTo>
                      <a:pt x="1418" y="538"/>
                    </a:lnTo>
                    <a:lnTo>
                      <a:pt x="1419" y="538"/>
                    </a:lnTo>
                    <a:lnTo>
                      <a:pt x="1420" y="538"/>
                    </a:lnTo>
                    <a:lnTo>
                      <a:pt x="1422" y="538"/>
                    </a:lnTo>
                    <a:lnTo>
                      <a:pt x="1423" y="538"/>
                    </a:lnTo>
                    <a:lnTo>
                      <a:pt x="1424" y="538"/>
                    </a:lnTo>
                    <a:lnTo>
                      <a:pt x="1426" y="539"/>
                    </a:lnTo>
                    <a:lnTo>
                      <a:pt x="1426" y="542"/>
                    </a:lnTo>
                    <a:lnTo>
                      <a:pt x="1428" y="542"/>
                    </a:lnTo>
                    <a:lnTo>
                      <a:pt x="1429" y="542"/>
                    </a:lnTo>
                    <a:lnTo>
                      <a:pt x="1429" y="542"/>
                    </a:lnTo>
                    <a:lnTo>
                      <a:pt x="1429" y="542"/>
                    </a:lnTo>
                    <a:lnTo>
                      <a:pt x="1430" y="543"/>
                    </a:lnTo>
                    <a:lnTo>
                      <a:pt x="1430" y="543"/>
                    </a:lnTo>
                    <a:lnTo>
                      <a:pt x="1431" y="543"/>
                    </a:lnTo>
                    <a:lnTo>
                      <a:pt x="1433" y="543"/>
                    </a:lnTo>
                    <a:lnTo>
                      <a:pt x="1433" y="545"/>
                    </a:lnTo>
                    <a:lnTo>
                      <a:pt x="1433" y="547"/>
                    </a:lnTo>
                    <a:lnTo>
                      <a:pt x="1433" y="548"/>
                    </a:lnTo>
                    <a:lnTo>
                      <a:pt x="1433" y="548"/>
                    </a:lnTo>
                    <a:lnTo>
                      <a:pt x="1433" y="549"/>
                    </a:lnTo>
                    <a:lnTo>
                      <a:pt x="1433" y="549"/>
                    </a:lnTo>
                    <a:lnTo>
                      <a:pt x="1434" y="548"/>
                    </a:lnTo>
                    <a:lnTo>
                      <a:pt x="1434" y="548"/>
                    </a:lnTo>
                    <a:lnTo>
                      <a:pt x="1435" y="547"/>
                    </a:lnTo>
                    <a:lnTo>
                      <a:pt x="1435" y="545"/>
                    </a:lnTo>
                    <a:lnTo>
                      <a:pt x="1435" y="545"/>
                    </a:lnTo>
                    <a:lnTo>
                      <a:pt x="1438" y="547"/>
                    </a:lnTo>
                    <a:lnTo>
                      <a:pt x="1439" y="547"/>
                    </a:lnTo>
                    <a:lnTo>
                      <a:pt x="1439" y="547"/>
                    </a:lnTo>
                    <a:lnTo>
                      <a:pt x="1439" y="548"/>
                    </a:lnTo>
                    <a:lnTo>
                      <a:pt x="1439" y="549"/>
                    </a:lnTo>
                    <a:lnTo>
                      <a:pt x="1441" y="549"/>
                    </a:lnTo>
                    <a:lnTo>
                      <a:pt x="1441" y="549"/>
                    </a:lnTo>
                    <a:lnTo>
                      <a:pt x="1441" y="549"/>
                    </a:lnTo>
                    <a:lnTo>
                      <a:pt x="1443" y="549"/>
                    </a:lnTo>
                    <a:lnTo>
                      <a:pt x="1443" y="550"/>
                    </a:lnTo>
                    <a:lnTo>
                      <a:pt x="1444" y="550"/>
                    </a:lnTo>
                    <a:lnTo>
                      <a:pt x="1444" y="552"/>
                    </a:lnTo>
                    <a:lnTo>
                      <a:pt x="1444" y="552"/>
                    </a:lnTo>
                    <a:lnTo>
                      <a:pt x="1444" y="552"/>
                    </a:lnTo>
                    <a:lnTo>
                      <a:pt x="1444" y="553"/>
                    </a:lnTo>
                    <a:lnTo>
                      <a:pt x="1444" y="553"/>
                    </a:lnTo>
                    <a:lnTo>
                      <a:pt x="1448" y="553"/>
                    </a:lnTo>
                    <a:lnTo>
                      <a:pt x="1449" y="552"/>
                    </a:lnTo>
                    <a:lnTo>
                      <a:pt x="1451" y="552"/>
                    </a:lnTo>
                    <a:lnTo>
                      <a:pt x="1454" y="552"/>
                    </a:lnTo>
                    <a:lnTo>
                      <a:pt x="1456" y="550"/>
                    </a:lnTo>
                    <a:lnTo>
                      <a:pt x="1456" y="549"/>
                    </a:lnTo>
                    <a:lnTo>
                      <a:pt x="1459" y="549"/>
                    </a:lnTo>
                    <a:lnTo>
                      <a:pt x="1461" y="549"/>
                    </a:lnTo>
                    <a:lnTo>
                      <a:pt x="1460" y="549"/>
                    </a:lnTo>
                    <a:lnTo>
                      <a:pt x="1460" y="550"/>
                    </a:lnTo>
                    <a:lnTo>
                      <a:pt x="1460" y="552"/>
                    </a:lnTo>
                    <a:lnTo>
                      <a:pt x="1461" y="552"/>
                    </a:lnTo>
                    <a:lnTo>
                      <a:pt x="1461" y="552"/>
                    </a:lnTo>
                    <a:lnTo>
                      <a:pt x="1461" y="552"/>
                    </a:lnTo>
                    <a:lnTo>
                      <a:pt x="1464" y="552"/>
                    </a:lnTo>
                    <a:lnTo>
                      <a:pt x="1464" y="552"/>
                    </a:lnTo>
                    <a:lnTo>
                      <a:pt x="1466" y="552"/>
                    </a:lnTo>
                    <a:lnTo>
                      <a:pt x="1468" y="552"/>
                    </a:lnTo>
                    <a:lnTo>
                      <a:pt x="1469" y="552"/>
                    </a:lnTo>
                    <a:lnTo>
                      <a:pt x="1470" y="552"/>
                    </a:lnTo>
                    <a:lnTo>
                      <a:pt x="1472" y="552"/>
                    </a:lnTo>
                    <a:lnTo>
                      <a:pt x="1472" y="552"/>
                    </a:lnTo>
                    <a:lnTo>
                      <a:pt x="1474" y="552"/>
                    </a:lnTo>
                    <a:lnTo>
                      <a:pt x="1474" y="552"/>
                    </a:lnTo>
                    <a:lnTo>
                      <a:pt x="1476" y="553"/>
                    </a:lnTo>
                    <a:lnTo>
                      <a:pt x="1477" y="554"/>
                    </a:lnTo>
                    <a:lnTo>
                      <a:pt x="1477" y="554"/>
                    </a:lnTo>
                    <a:lnTo>
                      <a:pt x="1480" y="554"/>
                    </a:lnTo>
                    <a:lnTo>
                      <a:pt x="1480" y="554"/>
                    </a:lnTo>
                    <a:lnTo>
                      <a:pt x="1481" y="554"/>
                    </a:lnTo>
                    <a:lnTo>
                      <a:pt x="1484" y="553"/>
                    </a:lnTo>
                    <a:lnTo>
                      <a:pt x="1484" y="553"/>
                    </a:lnTo>
                    <a:lnTo>
                      <a:pt x="1486" y="553"/>
                    </a:lnTo>
                    <a:lnTo>
                      <a:pt x="1480" y="555"/>
                    </a:lnTo>
                    <a:lnTo>
                      <a:pt x="1474" y="557"/>
                    </a:lnTo>
                    <a:lnTo>
                      <a:pt x="1470" y="559"/>
                    </a:lnTo>
                    <a:lnTo>
                      <a:pt x="1465" y="560"/>
                    </a:lnTo>
                    <a:lnTo>
                      <a:pt x="1456" y="564"/>
                    </a:lnTo>
                    <a:lnTo>
                      <a:pt x="1448" y="568"/>
                    </a:lnTo>
                    <a:lnTo>
                      <a:pt x="1445" y="569"/>
                    </a:lnTo>
                    <a:lnTo>
                      <a:pt x="1443" y="570"/>
                    </a:lnTo>
                    <a:lnTo>
                      <a:pt x="1439" y="573"/>
                    </a:lnTo>
                    <a:lnTo>
                      <a:pt x="1435" y="577"/>
                    </a:lnTo>
                    <a:lnTo>
                      <a:pt x="1434" y="577"/>
                    </a:lnTo>
                    <a:lnTo>
                      <a:pt x="1433" y="578"/>
                    </a:lnTo>
                    <a:lnTo>
                      <a:pt x="1425" y="582"/>
                    </a:lnTo>
                    <a:lnTo>
                      <a:pt x="1417" y="584"/>
                    </a:lnTo>
                    <a:lnTo>
                      <a:pt x="1418" y="585"/>
                    </a:lnTo>
                    <a:lnTo>
                      <a:pt x="1419" y="587"/>
                    </a:lnTo>
                    <a:lnTo>
                      <a:pt x="1420" y="588"/>
                    </a:lnTo>
                    <a:lnTo>
                      <a:pt x="1423" y="588"/>
                    </a:lnTo>
                    <a:lnTo>
                      <a:pt x="1424" y="588"/>
                    </a:lnTo>
                    <a:lnTo>
                      <a:pt x="1426" y="587"/>
                    </a:lnTo>
                    <a:lnTo>
                      <a:pt x="1428" y="587"/>
                    </a:lnTo>
                    <a:lnTo>
                      <a:pt x="1430" y="585"/>
                    </a:lnTo>
                    <a:lnTo>
                      <a:pt x="1435" y="584"/>
                    </a:lnTo>
                    <a:lnTo>
                      <a:pt x="1439" y="582"/>
                    </a:lnTo>
                    <a:lnTo>
                      <a:pt x="1441" y="582"/>
                    </a:lnTo>
                    <a:lnTo>
                      <a:pt x="1444" y="582"/>
                    </a:lnTo>
                    <a:lnTo>
                      <a:pt x="1445" y="582"/>
                    </a:lnTo>
                    <a:lnTo>
                      <a:pt x="1448" y="580"/>
                    </a:lnTo>
                    <a:lnTo>
                      <a:pt x="1445" y="582"/>
                    </a:lnTo>
                    <a:lnTo>
                      <a:pt x="1445" y="584"/>
                    </a:lnTo>
                    <a:lnTo>
                      <a:pt x="1444" y="584"/>
                    </a:lnTo>
                    <a:lnTo>
                      <a:pt x="1443" y="585"/>
                    </a:lnTo>
                    <a:lnTo>
                      <a:pt x="1441" y="588"/>
                    </a:lnTo>
                    <a:lnTo>
                      <a:pt x="1439" y="590"/>
                    </a:lnTo>
                    <a:lnTo>
                      <a:pt x="1441" y="590"/>
                    </a:lnTo>
                    <a:lnTo>
                      <a:pt x="1441" y="589"/>
                    </a:lnTo>
                    <a:lnTo>
                      <a:pt x="1443" y="589"/>
                    </a:lnTo>
                    <a:lnTo>
                      <a:pt x="1444" y="588"/>
                    </a:lnTo>
                    <a:lnTo>
                      <a:pt x="1444" y="588"/>
                    </a:lnTo>
                    <a:lnTo>
                      <a:pt x="1444" y="588"/>
                    </a:lnTo>
                    <a:lnTo>
                      <a:pt x="1445" y="588"/>
                    </a:lnTo>
                    <a:lnTo>
                      <a:pt x="1445" y="589"/>
                    </a:lnTo>
                    <a:lnTo>
                      <a:pt x="1445" y="589"/>
                    </a:lnTo>
                    <a:lnTo>
                      <a:pt x="1448" y="589"/>
                    </a:lnTo>
                    <a:lnTo>
                      <a:pt x="1449" y="590"/>
                    </a:lnTo>
                    <a:lnTo>
                      <a:pt x="1449" y="590"/>
                    </a:lnTo>
                    <a:lnTo>
                      <a:pt x="1449" y="590"/>
                    </a:lnTo>
                    <a:lnTo>
                      <a:pt x="1451" y="590"/>
                    </a:lnTo>
                    <a:lnTo>
                      <a:pt x="1451" y="589"/>
                    </a:lnTo>
                    <a:lnTo>
                      <a:pt x="1453" y="589"/>
                    </a:lnTo>
                    <a:lnTo>
                      <a:pt x="1454" y="588"/>
                    </a:lnTo>
                    <a:lnTo>
                      <a:pt x="1456" y="587"/>
                    </a:lnTo>
                    <a:lnTo>
                      <a:pt x="1461" y="584"/>
                    </a:lnTo>
                    <a:lnTo>
                      <a:pt x="1463" y="584"/>
                    </a:lnTo>
                    <a:lnTo>
                      <a:pt x="1465" y="584"/>
                    </a:lnTo>
                    <a:lnTo>
                      <a:pt x="1466" y="584"/>
                    </a:lnTo>
                    <a:lnTo>
                      <a:pt x="1469" y="584"/>
                    </a:lnTo>
                    <a:lnTo>
                      <a:pt x="1470" y="584"/>
                    </a:lnTo>
                    <a:lnTo>
                      <a:pt x="1472" y="584"/>
                    </a:lnTo>
                    <a:lnTo>
                      <a:pt x="1474" y="584"/>
                    </a:lnTo>
                    <a:lnTo>
                      <a:pt x="1476" y="582"/>
                    </a:lnTo>
                    <a:lnTo>
                      <a:pt x="1477" y="582"/>
                    </a:lnTo>
                    <a:lnTo>
                      <a:pt x="1480" y="582"/>
                    </a:lnTo>
                    <a:lnTo>
                      <a:pt x="1484" y="579"/>
                    </a:lnTo>
                    <a:lnTo>
                      <a:pt x="1486" y="578"/>
                    </a:lnTo>
                    <a:lnTo>
                      <a:pt x="1490" y="577"/>
                    </a:lnTo>
                    <a:lnTo>
                      <a:pt x="1490" y="574"/>
                    </a:lnTo>
                    <a:lnTo>
                      <a:pt x="1494" y="573"/>
                    </a:lnTo>
                    <a:lnTo>
                      <a:pt x="1494" y="577"/>
                    </a:lnTo>
                    <a:lnTo>
                      <a:pt x="1494" y="580"/>
                    </a:lnTo>
                    <a:lnTo>
                      <a:pt x="1494" y="582"/>
                    </a:lnTo>
                    <a:lnTo>
                      <a:pt x="1494" y="582"/>
                    </a:lnTo>
                    <a:lnTo>
                      <a:pt x="1494" y="582"/>
                    </a:lnTo>
                    <a:lnTo>
                      <a:pt x="1494" y="582"/>
                    </a:lnTo>
                    <a:lnTo>
                      <a:pt x="1494" y="584"/>
                    </a:lnTo>
                    <a:lnTo>
                      <a:pt x="1494" y="584"/>
                    </a:lnTo>
                    <a:lnTo>
                      <a:pt x="1494" y="584"/>
                    </a:lnTo>
                    <a:lnTo>
                      <a:pt x="1494" y="584"/>
                    </a:lnTo>
                    <a:lnTo>
                      <a:pt x="1494" y="584"/>
                    </a:lnTo>
                    <a:lnTo>
                      <a:pt x="1494" y="584"/>
                    </a:lnTo>
                    <a:lnTo>
                      <a:pt x="1495" y="582"/>
                    </a:lnTo>
                    <a:lnTo>
                      <a:pt x="1496" y="582"/>
                    </a:lnTo>
                    <a:lnTo>
                      <a:pt x="1497" y="582"/>
                    </a:lnTo>
                    <a:lnTo>
                      <a:pt x="1501" y="582"/>
                    </a:lnTo>
                    <a:lnTo>
                      <a:pt x="1502" y="582"/>
                    </a:lnTo>
                    <a:lnTo>
                      <a:pt x="1504" y="582"/>
                    </a:lnTo>
                    <a:lnTo>
                      <a:pt x="1506" y="582"/>
                    </a:lnTo>
                    <a:lnTo>
                      <a:pt x="1507" y="584"/>
                    </a:lnTo>
                    <a:lnTo>
                      <a:pt x="1509" y="585"/>
                    </a:lnTo>
                    <a:lnTo>
                      <a:pt x="1509" y="588"/>
                    </a:lnTo>
                    <a:lnTo>
                      <a:pt x="1511" y="589"/>
                    </a:lnTo>
                    <a:lnTo>
                      <a:pt x="1512" y="590"/>
                    </a:lnTo>
                    <a:lnTo>
                      <a:pt x="1512" y="592"/>
                    </a:lnTo>
                    <a:lnTo>
                      <a:pt x="1515" y="592"/>
                    </a:lnTo>
                    <a:lnTo>
                      <a:pt x="1515" y="593"/>
                    </a:lnTo>
                    <a:lnTo>
                      <a:pt x="1516" y="593"/>
                    </a:lnTo>
                    <a:lnTo>
                      <a:pt x="1516" y="593"/>
                    </a:lnTo>
                    <a:lnTo>
                      <a:pt x="1519" y="593"/>
                    </a:lnTo>
                    <a:lnTo>
                      <a:pt x="1520" y="593"/>
                    </a:lnTo>
                    <a:lnTo>
                      <a:pt x="1522" y="594"/>
                    </a:lnTo>
                    <a:lnTo>
                      <a:pt x="1522" y="594"/>
                    </a:lnTo>
                    <a:lnTo>
                      <a:pt x="1525" y="594"/>
                    </a:lnTo>
                    <a:lnTo>
                      <a:pt x="1527" y="593"/>
                    </a:lnTo>
                    <a:lnTo>
                      <a:pt x="1530" y="592"/>
                    </a:lnTo>
                    <a:lnTo>
                      <a:pt x="1531" y="592"/>
                    </a:lnTo>
                    <a:lnTo>
                      <a:pt x="1533" y="589"/>
                    </a:lnTo>
                    <a:lnTo>
                      <a:pt x="1536" y="588"/>
                    </a:lnTo>
                    <a:lnTo>
                      <a:pt x="1538" y="588"/>
                    </a:lnTo>
                    <a:lnTo>
                      <a:pt x="1540" y="588"/>
                    </a:lnTo>
                    <a:lnTo>
                      <a:pt x="1541" y="588"/>
                    </a:lnTo>
                    <a:lnTo>
                      <a:pt x="1545" y="588"/>
                    </a:lnTo>
                    <a:lnTo>
                      <a:pt x="1546" y="588"/>
                    </a:lnTo>
                    <a:lnTo>
                      <a:pt x="1547" y="588"/>
                    </a:lnTo>
                    <a:lnTo>
                      <a:pt x="1548" y="588"/>
                    </a:lnTo>
                    <a:lnTo>
                      <a:pt x="1551" y="587"/>
                    </a:lnTo>
                    <a:lnTo>
                      <a:pt x="1551" y="587"/>
                    </a:lnTo>
                    <a:lnTo>
                      <a:pt x="1557" y="585"/>
                    </a:lnTo>
                    <a:lnTo>
                      <a:pt x="1560" y="585"/>
                    </a:lnTo>
                    <a:lnTo>
                      <a:pt x="1561" y="584"/>
                    </a:lnTo>
                    <a:lnTo>
                      <a:pt x="1562" y="584"/>
                    </a:lnTo>
                    <a:lnTo>
                      <a:pt x="1561" y="587"/>
                    </a:lnTo>
                    <a:lnTo>
                      <a:pt x="1560" y="589"/>
                    </a:lnTo>
                    <a:lnTo>
                      <a:pt x="1558" y="589"/>
                    </a:lnTo>
                    <a:lnTo>
                      <a:pt x="1558" y="590"/>
                    </a:lnTo>
                    <a:lnTo>
                      <a:pt x="1558" y="592"/>
                    </a:lnTo>
                    <a:lnTo>
                      <a:pt x="1558" y="593"/>
                    </a:lnTo>
                    <a:lnTo>
                      <a:pt x="1560" y="594"/>
                    </a:lnTo>
                    <a:lnTo>
                      <a:pt x="1561" y="594"/>
                    </a:lnTo>
                    <a:lnTo>
                      <a:pt x="1562" y="594"/>
                    </a:lnTo>
                    <a:lnTo>
                      <a:pt x="1565" y="594"/>
                    </a:lnTo>
                    <a:lnTo>
                      <a:pt x="1567" y="593"/>
                    </a:lnTo>
                    <a:lnTo>
                      <a:pt x="1568" y="593"/>
                    </a:lnTo>
                    <a:lnTo>
                      <a:pt x="1571" y="593"/>
                    </a:lnTo>
                    <a:lnTo>
                      <a:pt x="1571" y="593"/>
                    </a:lnTo>
                    <a:lnTo>
                      <a:pt x="1572" y="593"/>
                    </a:lnTo>
                    <a:lnTo>
                      <a:pt x="1572" y="594"/>
                    </a:lnTo>
                    <a:lnTo>
                      <a:pt x="1573" y="594"/>
                    </a:lnTo>
                    <a:lnTo>
                      <a:pt x="1573" y="595"/>
                    </a:lnTo>
                    <a:lnTo>
                      <a:pt x="1573" y="595"/>
                    </a:lnTo>
                    <a:lnTo>
                      <a:pt x="1573" y="597"/>
                    </a:lnTo>
                    <a:lnTo>
                      <a:pt x="1572" y="598"/>
                    </a:lnTo>
                    <a:lnTo>
                      <a:pt x="1571" y="599"/>
                    </a:lnTo>
                    <a:lnTo>
                      <a:pt x="1571" y="599"/>
                    </a:lnTo>
                    <a:lnTo>
                      <a:pt x="1571" y="599"/>
                    </a:lnTo>
                    <a:lnTo>
                      <a:pt x="1571" y="599"/>
                    </a:lnTo>
                    <a:lnTo>
                      <a:pt x="1572" y="599"/>
                    </a:lnTo>
                    <a:lnTo>
                      <a:pt x="1572" y="602"/>
                    </a:lnTo>
                    <a:lnTo>
                      <a:pt x="1573" y="603"/>
                    </a:lnTo>
                    <a:lnTo>
                      <a:pt x="1573" y="603"/>
                    </a:lnTo>
                    <a:lnTo>
                      <a:pt x="1574" y="603"/>
                    </a:lnTo>
                    <a:lnTo>
                      <a:pt x="1574" y="605"/>
                    </a:lnTo>
                    <a:lnTo>
                      <a:pt x="1576" y="605"/>
                    </a:lnTo>
                    <a:lnTo>
                      <a:pt x="1574" y="605"/>
                    </a:lnTo>
                    <a:lnTo>
                      <a:pt x="1573" y="605"/>
                    </a:lnTo>
                    <a:lnTo>
                      <a:pt x="1572" y="605"/>
                    </a:lnTo>
                    <a:lnTo>
                      <a:pt x="1571" y="605"/>
                    </a:lnTo>
                    <a:lnTo>
                      <a:pt x="1571" y="605"/>
                    </a:lnTo>
                    <a:lnTo>
                      <a:pt x="1570" y="605"/>
                    </a:lnTo>
                    <a:lnTo>
                      <a:pt x="1567" y="605"/>
                    </a:lnTo>
                    <a:lnTo>
                      <a:pt x="1565" y="605"/>
                    </a:lnTo>
                    <a:lnTo>
                      <a:pt x="1561" y="605"/>
                    </a:lnTo>
                    <a:lnTo>
                      <a:pt x="1561" y="603"/>
                    </a:lnTo>
                    <a:lnTo>
                      <a:pt x="1560" y="603"/>
                    </a:lnTo>
                    <a:lnTo>
                      <a:pt x="1560" y="605"/>
                    </a:lnTo>
                    <a:lnTo>
                      <a:pt x="1558" y="605"/>
                    </a:lnTo>
                    <a:lnTo>
                      <a:pt x="1557" y="605"/>
                    </a:lnTo>
                    <a:lnTo>
                      <a:pt x="1557" y="607"/>
                    </a:lnTo>
                    <a:lnTo>
                      <a:pt x="1557" y="609"/>
                    </a:lnTo>
                    <a:lnTo>
                      <a:pt x="1557" y="609"/>
                    </a:lnTo>
                    <a:lnTo>
                      <a:pt x="1557" y="609"/>
                    </a:lnTo>
                    <a:lnTo>
                      <a:pt x="1555" y="609"/>
                    </a:lnTo>
                    <a:lnTo>
                      <a:pt x="1555" y="609"/>
                    </a:lnTo>
                    <a:lnTo>
                      <a:pt x="1555" y="609"/>
                    </a:lnTo>
                    <a:lnTo>
                      <a:pt x="1555" y="607"/>
                    </a:lnTo>
                    <a:lnTo>
                      <a:pt x="1553" y="605"/>
                    </a:lnTo>
                    <a:lnTo>
                      <a:pt x="1553" y="605"/>
                    </a:lnTo>
                    <a:lnTo>
                      <a:pt x="1551" y="605"/>
                    </a:lnTo>
                    <a:lnTo>
                      <a:pt x="1551" y="605"/>
                    </a:lnTo>
                    <a:lnTo>
                      <a:pt x="1550" y="605"/>
                    </a:lnTo>
                    <a:lnTo>
                      <a:pt x="1548" y="603"/>
                    </a:lnTo>
                    <a:lnTo>
                      <a:pt x="1547" y="603"/>
                    </a:lnTo>
                    <a:lnTo>
                      <a:pt x="1546" y="603"/>
                    </a:lnTo>
                    <a:lnTo>
                      <a:pt x="1545" y="605"/>
                    </a:lnTo>
                    <a:lnTo>
                      <a:pt x="1541" y="605"/>
                    </a:lnTo>
                    <a:lnTo>
                      <a:pt x="1540" y="605"/>
                    </a:lnTo>
                    <a:lnTo>
                      <a:pt x="1536" y="605"/>
                    </a:lnTo>
                    <a:lnTo>
                      <a:pt x="1533" y="607"/>
                    </a:lnTo>
                    <a:lnTo>
                      <a:pt x="1532" y="607"/>
                    </a:lnTo>
                    <a:lnTo>
                      <a:pt x="1530" y="607"/>
                    </a:lnTo>
                    <a:lnTo>
                      <a:pt x="1526" y="609"/>
                    </a:lnTo>
                    <a:lnTo>
                      <a:pt x="1523" y="609"/>
                    </a:lnTo>
                    <a:lnTo>
                      <a:pt x="1522" y="609"/>
                    </a:lnTo>
                    <a:lnTo>
                      <a:pt x="1519" y="611"/>
                    </a:lnTo>
                    <a:lnTo>
                      <a:pt x="1516" y="613"/>
                    </a:lnTo>
                    <a:lnTo>
                      <a:pt x="1515" y="615"/>
                    </a:lnTo>
                    <a:lnTo>
                      <a:pt x="1515" y="613"/>
                    </a:lnTo>
                    <a:lnTo>
                      <a:pt x="1515" y="613"/>
                    </a:lnTo>
                    <a:lnTo>
                      <a:pt x="1516" y="613"/>
                    </a:lnTo>
                    <a:lnTo>
                      <a:pt x="1516" y="611"/>
                    </a:lnTo>
                    <a:lnTo>
                      <a:pt x="1516" y="610"/>
                    </a:lnTo>
                    <a:lnTo>
                      <a:pt x="1519" y="610"/>
                    </a:lnTo>
                    <a:lnTo>
                      <a:pt x="1519" y="609"/>
                    </a:lnTo>
                    <a:lnTo>
                      <a:pt x="1516" y="609"/>
                    </a:lnTo>
                    <a:lnTo>
                      <a:pt x="1516" y="609"/>
                    </a:lnTo>
                    <a:lnTo>
                      <a:pt x="1515" y="610"/>
                    </a:lnTo>
                    <a:lnTo>
                      <a:pt x="1515" y="610"/>
                    </a:lnTo>
                    <a:lnTo>
                      <a:pt x="1511" y="613"/>
                    </a:lnTo>
                    <a:lnTo>
                      <a:pt x="1509" y="613"/>
                    </a:lnTo>
                    <a:lnTo>
                      <a:pt x="1507" y="615"/>
                    </a:lnTo>
                    <a:lnTo>
                      <a:pt x="1509" y="613"/>
                    </a:lnTo>
                    <a:lnTo>
                      <a:pt x="1509" y="613"/>
                    </a:lnTo>
                    <a:lnTo>
                      <a:pt x="1509" y="611"/>
                    </a:lnTo>
                    <a:lnTo>
                      <a:pt x="1509" y="610"/>
                    </a:lnTo>
                    <a:lnTo>
                      <a:pt x="1509" y="610"/>
                    </a:lnTo>
                    <a:lnTo>
                      <a:pt x="1509" y="609"/>
                    </a:lnTo>
                    <a:lnTo>
                      <a:pt x="1509" y="609"/>
                    </a:lnTo>
                    <a:lnTo>
                      <a:pt x="1509" y="609"/>
                    </a:lnTo>
                    <a:lnTo>
                      <a:pt x="1507" y="610"/>
                    </a:lnTo>
                    <a:lnTo>
                      <a:pt x="1504" y="613"/>
                    </a:lnTo>
                    <a:lnTo>
                      <a:pt x="1502" y="615"/>
                    </a:lnTo>
                    <a:lnTo>
                      <a:pt x="1501" y="616"/>
                    </a:lnTo>
                    <a:lnTo>
                      <a:pt x="1497" y="619"/>
                    </a:lnTo>
                    <a:lnTo>
                      <a:pt x="1495" y="621"/>
                    </a:lnTo>
                    <a:lnTo>
                      <a:pt x="1494" y="624"/>
                    </a:lnTo>
                    <a:lnTo>
                      <a:pt x="1490" y="626"/>
                    </a:lnTo>
                    <a:lnTo>
                      <a:pt x="1490" y="626"/>
                    </a:lnTo>
                    <a:lnTo>
                      <a:pt x="1490" y="626"/>
                    </a:lnTo>
                    <a:lnTo>
                      <a:pt x="1487" y="626"/>
                    </a:lnTo>
                    <a:lnTo>
                      <a:pt x="1487" y="628"/>
                    </a:lnTo>
                    <a:lnTo>
                      <a:pt x="1487" y="629"/>
                    </a:lnTo>
                    <a:lnTo>
                      <a:pt x="1486" y="630"/>
                    </a:lnTo>
                    <a:lnTo>
                      <a:pt x="1486" y="631"/>
                    </a:lnTo>
                    <a:lnTo>
                      <a:pt x="1485" y="631"/>
                    </a:lnTo>
                    <a:lnTo>
                      <a:pt x="1485" y="631"/>
                    </a:lnTo>
                    <a:lnTo>
                      <a:pt x="1484" y="631"/>
                    </a:lnTo>
                    <a:lnTo>
                      <a:pt x="1484" y="631"/>
                    </a:lnTo>
                    <a:lnTo>
                      <a:pt x="1484" y="633"/>
                    </a:lnTo>
                    <a:lnTo>
                      <a:pt x="1481" y="633"/>
                    </a:lnTo>
                    <a:lnTo>
                      <a:pt x="1480" y="634"/>
                    </a:lnTo>
                    <a:lnTo>
                      <a:pt x="1480" y="634"/>
                    </a:lnTo>
                    <a:lnTo>
                      <a:pt x="1477" y="634"/>
                    </a:lnTo>
                    <a:lnTo>
                      <a:pt x="1476" y="638"/>
                    </a:lnTo>
                    <a:lnTo>
                      <a:pt x="1474" y="640"/>
                    </a:lnTo>
                    <a:lnTo>
                      <a:pt x="1474" y="640"/>
                    </a:lnTo>
                    <a:lnTo>
                      <a:pt x="1474" y="641"/>
                    </a:lnTo>
                    <a:lnTo>
                      <a:pt x="1474" y="644"/>
                    </a:lnTo>
                    <a:lnTo>
                      <a:pt x="1474" y="641"/>
                    </a:lnTo>
                    <a:lnTo>
                      <a:pt x="1474" y="641"/>
                    </a:lnTo>
                    <a:lnTo>
                      <a:pt x="1477" y="640"/>
                    </a:lnTo>
                    <a:lnTo>
                      <a:pt x="1477" y="638"/>
                    </a:lnTo>
                    <a:lnTo>
                      <a:pt x="1480" y="638"/>
                    </a:lnTo>
                    <a:lnTo>
                      <a:pt x="1484" y="634"/>
                    </a:lnTo>
                    <a:lnTo>
                      <a:pt x="1484" y="634"/>
                    </a:lnTo>
                    <a:lnTo>
                      <a:pt x="1485" y="634"/>
                    </a:lnTo>
                    <a:lnTo>
                      <a:pt x="1486" y="634"/>
                    </a:lnTo>
                    <a:lnTo>
                      <a:pt x="1487" y="634"/>
                    </a:lnTo>
                    <a:lnTo>
                      <a:pt x="1490" y="634"/>
                    </a:lnTo>
                    <a:lnTo>
                      <a:pt x="1490" y="634"/>
                    </a:lnTo>
                    <a:lnTo>
                      <a:pt x="1490" y="634"/>
                    </a:lnTo>
                    <a:lnTo>
                      <a:pt x="1490" y="633"/>
                    </a:lnTo>
                    <a:lnTo>
                      <a:pt x="1491" y="631"/>
                    </a:lnTo>
                    <a:lnTo>
                      <a:pt x="1494" y="630"/>
                    </a:lnTo>
                    <a:lnTo>
                      <a:pt x="1494" y="629"/>
                    </a:lnTo>
                    <a:lnTo>
                      <a:pt x="1496" y="626"/>
                    </a:lnTo>
                    <a:lnTo>
                      <a:pt x="1497" y="626"/>
                    </a:lnTo>
                    <a:lnTo>
                      <a:pt x="1499" y="624"/>
                    </a:lnTo>
                    <a:lnTo>
                      <a:pt x="1499" y="624"/>
                    </a:lnTo>
                    <a:lnTo>
                      <a:pt x="1501" y="624"/>
                    </a:lnTo>
                    <a:lnTo>
                      <a:pt x="1501" y="624"/>
                    </a:lnTo>
                    <a:lnTo>
                      <a:pt x="1499" y="626"/>
                    </a:lnTo>
                    <a:lnTo>
                      <a:pt x="1497" y="629"/>
                    </a:lnTo>
                    <a:lnTo>
                      <a:pt x="1496" y="630"/>
                    </a:lnTo>
                    <a:lnTo>
                      <a:pt x="1495" y="631"/>
                    </a:lnTo>
                    <a:lnTo>
                      <a:pt x="1494" y="634"/>
                    </a:lnTo>
                    <a:lnTo>
                      <a:pt x="1491" y="634"/>
                    </a:lnTo>
                    <a:lnTo>
                      <a:pt x="1490" y="634"/>
                    </a:lnTo>
                    <a:lnTo>
                      <a:pt x="1490" y="634"/>
                    </a:lnTo>
                    <a:lnTo>
                      <a:pt x="1490" y="636"/>
                    </a:lnTo>
                    <a:lnTo>
                      <a:pt x="1490" y="638"/>
                    </a:lnTo>
                    <a:lnTo>
                      <a:pt x="1490" y="638"/>
                    </a:lnTo>
                    <a:lnTo>
                      <a:pt x="1487" y="640"/>
                    </a:lnTo>
                    <a:lnTo>
                      <a:pt x="1487" y="640"/>
                    </a:lnTo>
                    <a:lnTo>
                      <a:pt x="1486" y="641"/>
                    </a:lnTo>
                    <a:lnTo>
                      <a:pt x="1485" y="641"/>
                    </a:lnTo>
                    <a:lnTo>
                      <a:pt x="1484" y="641"/>
                    </a:lnTo>
                    <a:lnTo>
                      <a:pt x="1484" y="644"/>
                    </a:lnTo>
                    <a:lnTo>
                      <a:pt x="1484" y="644"/>
                    </a:lnTo>
                    <a:lnTo>
                      <a:pt x="1484" y="644"/>
                    </a:lnTo>
                    <a:lnTo>
                      <a:pt x="1481" y="645"/>
                    </a:lnTo>
                    <a:lnTo>
                      <a:pt x="1480" y="648"/>
                    </a:lnTo>
                    <a:lnTo>
                      <a:pt x="1480" y="650"/>
                    </a:lnTo>
                    <a:lnTo>
                      <a:pt x="1477" y="651"/>
                    </a:lnTo>
                    <a:lnTo>
                      <a:pt x="1477" y="653"/>
                    </a:lnTo>
                    <a:lnTo>
                      <a:pt x="1476" y="655"/>
                    </a:lnTo>
                    <a:lnTo>
                      <a:pt x="1474" y="658"/>
                    </a:lnTo>
                    <a:lnTo>
                      <a:pt x="1471" y="659"/>
                    </a:lnTo>
                    <a:lnTo>
                      <a:pt x="1470" y="661"/>
                    </a:lnTo>
                    <a:lnTo>
                      <a:pt x="1468" y="666"/>
                    </a:lnTo>
                    <a:lnTo>
                      <a:pt x="1465" y="669"/>
                    </a:lnTo>
                    <a:lnTo>
                      <a:pt x="1464" y="670"/>
                    </a:lnTo>
                    <a:lnTo>
                      <a:pt x="1463" y="671"/>
                    </a:lnTo>
                    <a:lnTo>
                      <a:pt x="1461" y="673"/>
                    </a:lnTo>
                    <a:lnTo>
                      <a:pt x="1460" y="674"/>
                    </a:lnTo>
                    <a:lnTo>
                      <a:pt x="1460" y="675"/>
                    </a:lnTo>
                    <a:lnTo>
                      <a:pt x="1459" y="679"/>
                    </a:lnTo>
                    <a:lnTo>
                      <a:pt x="1456" y="682"/>
                    </a:lnTo>
                    <a:lnTo>
                      <a:pt x="1456" y="684"/>
                    </a:lnTo>
                    <a:lnTo>
                      <a:pt x="1456" y="685"/>
                    </a:lnTo>
                    <a:lnTo>
                      <a:pt x="1456" y="686"/>
                    </a:lnTo>
                    <a:lnTo>
                      <a:pt x="1456" y="687"/>
                    </a:lnTo>
                    <a:lnTo>
                      <a:pt x="1455" y="690"/>
                    </a:lnTo>
                    <a:lnTo>
                      <a:pt x="1455" y="690"/>
                    </a:lnTo>
                    <a:lnTo>
                      <a:pt x="1454" y="691"/>
                    </a:lnTo>
                    <a:lnTo>
                      <a:pt x="1454" y="692"/>
                    </a:lnTo>
                    <a:lnTo>
                      <a:pt x="1453" y="694"/>
                    </a:lnTo>
                    <a:lnTo>
                      <a:pt x="1451" y="697"/>
                    </a:lnTo>
                    <a:lnTo>
                      <a:pt x="1451" y="700"/>
                    </a:lnTo>
                    <a:lnTo>
                      <a:pt x="1451" y="702"/>
                    </a:lnTo>
                    <a:lnTo>
                      <a:pt x="1451" y="706"/>
                    </a:lnTo>
                    <a:lnTo>
                      <a:pt x="1451" y="709"/>
                    </a:lnTo>
                    <a:lnTo>
                      <a:pt x="1451" y="711"/>
                    </a:lnTo>
                    <a:lnTo>
                      <a:pt x="1451" y="712"/>
                    </a:lnTo>
                    <a:lnTo>
                      <a:pt x="1451" y="715"/>
                    </a:lnTo>
                    <a:lnTo>
                      <a:pt x="1451" y="715"/>
                    </a:lnTo>
                    <a:lnTo>
                      <a:pt x="1451" y="715"/>
                    </a:lnTo>
                    <a:lnTo>
                      <a:pt x="1451" y="715"/>
                    </a:lnTo>
                    <a:lnTo>
                      <a:pt x="1453" y="717"/>
                    </a:lnTo>
                    <a:lnTo>
                      <a:pt x="1453" y="717"/>
                    </a:lnTo>
                    <a:lnTo>
                      <a:pt x="1454" y="717"/>
                    </a:lnTo>
                    <a:lnTo>
                      <a:pt x="1455" y="717"/>
                    </a:lnTo>
                    <a:lnTo>
                      <a:pt x="1456" y="717"/>
                    </a:lnTo>
                    <a:lnTo>
                      <a:pt x="1456" y="717"/>
                    </a:lnTo>
                    <a:lnTo>
                      <a:pt x="1459" y="717"/>
                    </a:lnTo>
                    <a:lnTo>
                      <a:pt x="1461" y="715"/>
                    </a:lnTo>
                    <a:lnTo>
                      <a:pt x="1464" y="715"/>
                    </a:lnTo>
                    <a:lnTo>
                      <a:pt x="1466" y="715"/>
                    </a:lnTo>
                    <a:lnTo>
                      <a:pt x="1469" y="712"/>
                    </a:lnTo>
                    <a:lnTo>
                      <a:pt x="1470" y="711"/>
                    </a:lnTo>
                    <a:lnTo>
                      <a:pt x="1472" y="709"/>
                    </a:lnTo>
                    <a:lnTo>
                      <a:pt x="1474" y="706"/>
                    </a:lnTo>
                    <a:lnTo>
                      <a:pt x="1477" y="704"/>
                    </a:lnTo>
                    <a:lnTo>
                      <a:pt x="1477" y="701"/>
                    </a:lnTo>
                    <a:lnTo>
                      <a:pt x="1480" y="700"/>
                    </a:lnTo>
                    <a:lnTo>
                      <a:pt x="1484" y="699"/>
                    </a:lnTo>
                    <a:lnTo>
                      <a:pt x="1484" y="697"/>
                    </a:lnTo>
                    <a:lnTo>
                      <a:pt x="1485" y="696"/>
                    </a:lnTo>
                    <a:lnTo>
                      <a:pt x="1486" y="695"/>
                    </a:lnTo>
                    <a:lnTo>
                      <a:pt x="1487" y="692"/>
                    </a:lnTo>
                    <a:lnTo>
                      <a:pt x="1487" y="691"/>
                    </a:lnTo>
                    <a:lnTo>
                      <a:pt x="1487" y="690"/>
                    </a:lnTo>
                    <a:lnTo>
                      <a:pt x="1487" y="690"/>
                    </a:lnTo>
                    <a:lnTo>
                      <a:pt x="1490" y="687"/>
                    </a:lnTo>
                    <a:lnTo>
                      <a:pt x="1490" y="686"/>
                    </a:lnTo>
                    <a:lnTo>
                      <a:pt x="1490" y="682"/>
                    </a:lnTo>
                    <a:lnTo>
                      <a:pt x="1490" y="680"/>
                    </a:lnTo>
                    <a:lnTo>
                      <a:pt x="1491" y="676"/>
                    </a:lnTo>
                    <a:lnTo>
                      <a:pt x="1494" y="676"/>
                    </a:lnTo>
                    <a:lnTo>
                      <a:pt x="1495" y="675"/>
                    </a:lnTo>
                    <a:lnTo>
                      <a:pt x="1494" y="675"/>
                    </a:lnTo>
                    <a:lnTo>
                      <a:pt x="1494" y="674"/>
                    </a:lnTo>
                    <a:lnTo>
                      <a:pt x="1491" y="674"/>
                    </a:lnTo>
                    <a:lnTo>
                      <a:pt x="1491" y="673"/>
                    </a:lnTo>
                    <a:lnTo>
                      <a:pt x="1491" y="671"/>
                    </a:lnTo>
                    <a:lnTo>
                      <a:pt x="1490" y="670"/>
                    </a:lnTo>
                    <a:lnTo>
                      <a:pt x="1490" y="670"/>
                    </a:lnTo>
                    <a:lnTo>
                      <a:pt x="1491" y="670"/>
                    </a:lnTo>
                    <a:lnTo>
                      <a:pt x="1491" y="666"/>
                    </a:lnTo>
                    <a:lnTo>
                      <a:pt x="1494" y="665"/>
                    </a:lnTo>
                    <a:lnTo>
                      <a:pt x="1494" y="664"/>
                    </a:lnTo>
                    <a:lnTo>
                      <a:pt x="1495" y="663"/>
                    </a:lnTo>
                    <a:lnTo>
                      <a:pt x="1496" y="661"/>
                    </a:lnTo>
                    <a:lnTo>
                      <a:pt x="1496" y="661"/>
                    </a:lnTo>
                    <a:lnTo>
                      <a:pt x="1497" y="660"/>
                    </a:lnTo>
                    <a:lnTo>
                      <a:pt x="1497" y="659"/>
                    </a:lnTo>
                    <a:lnTo>
                      <a:pt x="1497" y="658"/>
                    </a:lnTo>
                    <a:lnTo>
                      <a:pt x="1497" y="655"/>
                    </a:lnTo>
                    <a:lnTo>
                      <a:pt x="1501" y="651"/>
                    </a:lnTo>
                    <a:lnTo>
                      <a:pt x="1505" y="648"/>
                    </a:lnTo>
                    <a:lnTo>
                      <a:pt x="1505" y="648"/>
                    </a:lnTo>
                    <a:lnTo>
                      <a:pt x="1506" y="648"/>
                    </a:lnTo>
                    <a:lnTo>
                      <a:pt x="1507" y="644"/>
                    </a:lnTo>
                    <a:lnTo>
                      <a:pt x="1509" y="641"/>
                    </a:lnTo>
                    <a:lnTo>
                      <a:pt x="1509" y="641"/>
                    </a:lnTo>
                    <a:lnTo>
                      <a:pt x="1509" y="641"/>
                    </a:lnTo>
                    <a:lnTo>
                      <a:pt x="1509" y="640"/>
                    </a:lnTo>
                    <a:lnTo>
                      <a:pt x="1511" y="640"/>
                    </a:lnTo>
                    <a:lnTo>
                      <a:pt x="1512" y="640"/>
                    </a:lnTo>
                    <a:lnTo>
                      <a:pt x="1512" y="638"/>
                    </a:lnTo>
                    <a:lnTo>
                      <a:pt x="1512" y="638"/>
                    </a:lnTo>
                    <a:lnTo>
                      <a:pt x="1515" y="638"/>
                    </a:lnTo>
                    <a:lnTo>
                      <a:pt x="1515" y="638"/>
                    </a:lnTo>
                    <a:lnTo>
                      <a:pt x="1515" y="636"/>
                    </a:lnTo>
                    <a:lnTo>
                      <a:pt x="1516" y="634"/>
                    </a:lnTo>
                    <a:lnTo>
                      <a:pt x="1516" y="634"/>
                    </a:lnTo>
                    <a:lnTo>
                      <a:pt x="1516" y="634"/>
                    </a:lnTo>
                    <a:lnTo>
                      <a:pt x="1516" y="634"/>
                    </a:lnTo>
                    <a:lnTo>
                      <a:pt x="1519" y="633"/>
                    </a:lnTo>
                    <a:lnTo>
                      <a:pt x="1520" y="633"/>
                    </a:lnTo>
                    <a:lnTo>
                      <a:pt x="1522" y="631"/>
                    </a:lnTo>
                    <a:lnTo>
                      <a:pt x="1522" y="631"/>
                    </a:lnTo>
                    <a:lnTo>
                      <a:pt x="1523" y="630"/>
                    </a:lnTo>
                    <a:lnTo>
                      <a:pt x="1525" y="629"/>
                    </a:lnTo>
                    <a:lnTo>
                      <a:pt x="1526" y="629"/>
                    </a:lnTo>
                    <a:lnTo>
                      <a:pt x="1527" y="628"/>
                    </a:lnTo>
                    <a:lnTo>
                      <a:pt x="1528" y="626"/>
                    </a:lnTo>
                    <a:lnTo>
                      <a:pt x="1531" y="626"/>
                    </a:lnTo>
                    <a:lnTo>
                      <a:pt x="1532" y="626"/>
                    </a:lnTo>
                    <a:lnTo>
                      <a:pt x="1531" y="626"/>
                    </a:lnTo>
                    <a:lnTo>
                      <a:pt x="1531" y="628"/>
                    </a:lnTo>
                    <a:lnTo>
                      <a:pt x="1530" y="631"/>
                    </a:lnTo>
                    <a:lnTo>
                      <a:pt x="1528" y="633"/>
                    </a:lnTo>
                    <a:lnTo>
                      <a:pt x="1527" y="634"/>
                    </a:lnTo>
                    <a:lnTo>
                      <a:pt x="1526" y="634"/>
                    </a:lnTo>
                    <a:lnTo>
                      <a:pt x="1527" y="634"/>
                    </a:lnTo>
                    <a:lnTo>
                      <a:pt x="1528" y="634"/>
                    </a:lnTo>
                    <a:lnTo>
                      <a:pt x="1528" y="633"/>
                    </a:lnTo>
                    <a:lnTo>
                      <a:pt x="1530" y="633"/>
                    </a:lnTo>
                    <a:lnTo>
                      <a:pt x="1530" y="634"/>
                    </a:lnTo>
                    <a:lnTo>
                      <a:pt x="1528" y="634"/>
                    </a:lnTo>
                    <a:lnTo>
                      <a:pt x="1527" y="634"/>
                    </a:lnTo>
                    <a:lnTo>
                      <a:pt x="1527" y="636"/>
                    </a:lnTo>
                    <a:lnTo>
                      <a:pt x="1527" y="636"/>
                    </a:lnTo>
                    <a:lnTo>
                      <a:pt x="1528" y="634"/>
                    </a:lnTo>
                    <a:lnTo>
                      <a:pt x="1531" y="634"/>
                    </a:lnTo>
                    <a:lnTo>
                      <a:pt x="1531" y="634"/>
                    </a:lnTo>
                    <a:lnTo>
                      <a:pt x="1532" y="633"/>
                    </a:lnTo>
                    <a:lnTo>
                      <a:pt x="1532" y="631"/>
                    </a:lnTo>
                    <a:lnTo>
                      <a:pt x="1532" y="629"/>
                    </a:lnTo>
                    <a:lnTo>
                      <a:pt x="1533" y="628"/>
                    </a:lnTo>
                    <a:lnTo>
                      <a:pt x="1533" y="626"/>
                    </a:lnTo>
                    <a:lnTo>
                      <a:pt x="1533" y="626"/>
                    </a:lnTo>
                    <a:lnTo>
                      <a:pt x="1535" y="624"/>
                    </a:lnTo>
                    <a:lnTo>
                      <a:pt x="1536" y="624"/>
                    </a:lnTo>
                    <a:lnTo>
                      <a:pt x="1536" y="624"/>
                    </a:lnTo>
                    <a:lnTo>
                      <a:pt x="1538" y="624"/>
                    </a:lnTo>
                    <a:lnTo>
                      <a:pt x="1541" y="623"/>
                    </a:lnTo>
                    <a:lnTo>
                      <a:pt x="1541" y="623"/>
                    </a:lnTo>
                    <a:lnTo>
                      <a:pt x="1545" y="623"/>
                    </a:lnTo>
                    <a:lnTo>
                      <a:pt x="1545" y="621"/>
                    </a:lnTo>
                    <a:lnTo>
                      <a:pt x="1546" y="621"/>
                    </a:lnTo>
                    <a:lnTo>
                      <a:pt x="1545" y="621"/>
                    </a:lnTo>
                    <a:lnTo>
                      <a:pt x="1545" y="620"/>
                    </a:lnTo>
                    <a:lnTo>
                      <a:pt x="1545" y="620"/>
                    </a:lnTo>
                    <a:lnTo>
                      <a:pt x="1545" y="619"/>
                    </a:lnTo>
                    <a:lnTo>
                      <a:pt x="1545" y="619"/>
                    </a:lnTo>
                    <a:lnTo>
                      <a:pt x="1545" y="616"/>
                    </a:lnTo>
                    <a:lnTo>
                      <a:pt x="1546" y="616"/>
                    </a:lnTo>
                    <a:lnTo>
                      <a:pt x="1547" y="615"/>
                    </a:lnTo>
                    <a:lnTo>
                      <a:pt x="1548" y="615"/>
                    </a:lnTo>
                    <a:lnTo>
                      <a:pt x="1551" y="613"/>
                    </a:lnTo>
                    <a:lnTo>
                      <a:pt x="1551" y="613"/>
                    </a:lnTo>
                    <a:lnTo>
                      <a:pt x="1551" y="613"/>
                    </a:lnTo>
                    <a:lnTo>
                      <a:pt x="1553" y="611"/>
                    </a:lnTo>
                    <a:lnTo>
                      <a:pt x="1555" y="611"/>
                    </a:lnTo>
                    <a:lnTo>
                      <a:pt x="1555" y="611"/>
                    </a:lnTo>
                    <a:lnTo>
                      <a:pt x="1557" y="610"/>
                    </a:lnTo>
                    <a:lnTo>
                      <a:pt x="1557" y="610"/>
                    </a:lnTo>
                    <a:lnTo>
                      <a:pt x="1557" y="611"/>
                    </a:lnTo>
                    <a:lnTo>
                      <a:pt x="1558" y="611"/>
                    </a:lnTo>
                    <a:lnTo>
                      <a:pt x="1560" y="613"/>
                    </a:lnTo>
                    <a:lnTo>
                      <a:pt x="1561" y="613"/>
                    </a:lnTo>
                    <a:lnTo>
                      <a:pt x="1561" y="615"/>
                    </a:lnTo>
                    <a:lnTo>
                      <a:pt x="1561" y="615"/>
                    </a:lnTo>
                    <a:lnTo>
                      <a:pt x="1565" y="615"/>
                    </a:lnTo>
                    <a:lnTo>
                      <a:pt x="1567" y="619"/>
                    </a:lnTo>
                    <a:lnTo>
                      <a:pt x="1570" y="620"/>
                    </a:lnTo>
                    <a:lnTo>
                      <a:pt x="1571" y="620"/>
                    </a:lnTo>
                    <a:lnTo>
                      <a:pt x="1573" y="621"/>
                    </a:lnTo>
                    <a:lnTo>
                      <a:pt x="1574" y="621"/>
                    </a:lnTo>
                    <a:lnTo>
                      <a:pt x="1576" y="623"/>
                    </a:lnTo>
                    <a:lnTo>
                      <a:pt x="1576" y="623"/>
                    </a:lnTo>
                    <a:lnTo>
                      <a:pt x="1576" y="624"/>
                    </a:lnTo>
                    <a:lnTo>
                      <a:pt x="1576" y="624"/>
                    </a:lnTo>
                    <a:lnTo>
                      <a:pt x="1576" y="626"/>
                    </a:lnTo>
                    <a:lnTo>
                      <a:pt x="1576" y="628"/>
                    </a:lnTo>
                    <a:lnTo>
                      <a:pt x="1576" y="629"/>
                    </a:lnTo>
                    <a:lnTo>
                      <a:pt x="1574" y="630"/>
                    </a:lnTo>
                    <a:lnTo>
                      <a:pt x="1574" y="631"/>
                    </a:lnTo>
                    <a:lnTo>
                      <a:pt x="1573" y="633"/>
                    </a:lnTo>
                    <a:lnTo>
                      <a:pt x="1573" y="634"/>
                    </a:lnTo>
                    <a:lnTo>
                      <a:pt x="1573" y="636"/>
                    </a:lnTo>
                    <a:lnTo>
                      <a:pt x="1573" y="638"/>
                    </a:lnTo>
                    <a:lnTo>
                      <a:pt x="1573" y="638"/>
                    </a:lnTo>
                    <a:lnTo>
                      <a:pt x="1572" y="640"/>
                    </a:lnTo>
                    <a:lnTo>
                      <a:pt x="1571" y="641"/>
                    </a:lnTo>
                    <a:lnTo>
                      <a:pt x="1571" y="641"/>
                    </a:lnTo>
                    <a:lnTo>
                      <a:pt x="1570" y="644"/>
                    </a:lnTo>
                    <a:lnTo>
                      <a:pt x="1568" y="645"/>
                    </a:lnTo>
                    <a:lnTo>
                      <a:pt x="1567" y="648"/>
                    </a:lnTo>
                    <a:lnTo>
                      <a:pt x="1567" y="648"/>
                    </a:lnTo>
                    <a:lnTo>
                      <a:pt x="1566" y="648"/>
                    </a:lnTo>
                    <a:lnTo>
                      <a:pt x="1566" y="648"/>
                    </a:lnTo>
                    <a:lnTo>
                      <a:pt x="1565" y="648"/>
                    </a:lnTo>
                    <a:lnTo>
                      <a:pt x="1565" y="649"/>
                    </a:lnTo>
                    <a:lnTo>
                      <a:pt x="1562" y="650"/>
                    </a:lnTo>
                    <a:lnTo>
                      <a:pt x="1561" y="650"/>
                    </a:lnTo>
                    <a:lnTo>
                      <a:pt x="1561" y="651"/>
                    </a:lnTo>
                    <a:lnTo>
                      <a:pt x="1560" y="653"/>
                    </a:lnTo>
                    <a:lnTo>
                      <a:pt x="1558" y="654"/>
                    </a:lnTo>
                    <a:lnTo>
                      <a:pt x="1557" y="655"/>
                    </a:lnTo>
                    <a:lnTo>
                      <a:pt x="1557" y="655"/>
                    </a:lnTo>
                    <a:lnTo>
                      <a:pt x="1555" y="655"/>
                    </a:lnTo>
                    <a:lnTo>
                      <a:pt x="1555" y="658"/>
                    </a:lnTo>
                    <a:lnTo>
                      <a:pt x="1551" y="658"/>
                    </a:lnTo>
                    <a:lnTo>
                      <a:pt x="1551" y="659"/>
                    </a:lnTo>
                    <a:lnTo>
                      <a:pt x="1550" y="660"/>
                    </a:lnTo>
                    <a:lnTo>
                      <a:pt x="1548" y="661"/>
                    </a:lnTo>
                    <a:lnTo>
                      <a:pt x="1548" y="663"/>
                    </a:lnTo>
                    <a:lnTo>
                      <a:pt x="1548" y="664"/>
                    </a:lnTo>
                    <a:lnTo>
                      <a:pt x="1548" y="665"/>
                    </a:lnTo>
                    <a:lnTo>
                      <a:pt x="1548" y="666"/>
                    </a:lnTo>
                    <a:lnTo>
                      <a:pt x="1548" y="666"/>
                    </a:lnTo>
                    <a:lnTo>
                      <a:pt x="1548" y="666"/>
                    </a:lnTo>
                    <a:lnTo>
                      <a:pt x="1550" y="666"/>
                    </a:lnTo>
                    <a:lnTo>
                      <a:pt x="1550" y="666"/>
                    </a:lnTo>
                    <a:lnTo>
                      <a:pt x="1551" y="666"/>
                    </a:lnTo>
                    <a:lnTo>
                      <a:pt x="1551" y="666"/>
                    </a:lnTo>
                    <a:lnTo>
                      <a:pt x="1553" y="666"/>
                    </a:lnTo>
                    <a:lnTo>
                      <a:pt x="1555" y="665"/>
                    </a:lnTo>
                    <a:lnTo>
                      <a:pt x="1557" y="665"/>
                    </a:lnTo>
                    <a:lnTo>
                      <a:pt x="1557" y="665"/>
                    </a:lnTo>
                    <a:lnTo>
                      <a:pt x="1557" y="664"/>
                    </a:lnTo>
                    <a:lnTo>
                      <a:pt x="1557" y="663"/>
                    </a:lnTo>
                    <a:lnTo>
                      <a:pt x="1558" y="661"/>
                    </a:lnTo>
                    <a:lnTo>
                      <a:pt x="1561" y="660"/>
                    </a:lnTo>
                    <a:lnTo>
                      <a:pt x="1565" y="658"/>
                    </a:lnTo>
                    <a:lnTo>
                      <a:pt x="1566" y="658"/>
                    </a:lnTo>
                    <a:lnTo>
                      <a:pt x="1567" y="655"/>
                    </a:lnTo>
                    <a:lnTo>
                      <a:pt x="1570" y="655"/>
                    </a:lnTo>
                    <a:lnTo>
                      <a:pt x="1571" y="655"/>
                    </a:lnTo>
                    <a:lnTo>
                      <a:pt x="1572" y="655"/>
                    </a:lnTo>
                    <a:lnTo>
                      <a:pt x="1573" y="655"/>
                    </a:lnTo>
                    <a:lnTo>
                      <a:pt x="1574" y="655"/>
                    </a:lnTo>
                    <a:lnTo>
                      <a:pt x="1576" y="655"/>
                    </a:lnTo>
                    <a:lnTo>
                      <a:pt x="1576" y="658"/>
                    </a:lnTo>
                    <a:lnTo>
                      <a:pt x="1576" y="658"/>
                    </a:lnTo>
                    <a:lnTo>
                      <a:pt x="1576" y="659"/>
                    </a:lnTo>
                    <a:lnTo>
                      <a:pt x="1576" y="660"/>
                    </a:lnTo>
                    <a:lnTo>
                      <a:pt x="1576" y="663"/>
                    </a:lnTo>
                    <a:lnTo>
                      <a:pt x="1576" y="665"/>
                    </a:lnTo>
                    <a:lnTo>
                      <a:pt x="1574" y="669"/>
                    </a:lnTo>
                    <a:lnTo>
                      <a:pt x="1573" y="670"/>
                    </a:lnTo>
                    <a:lnTo>
                      <a:pt x="1573" y="673"/>
                    </a:lnTo>
                    <a:lnTo>
                      <a:pt x="1573" y="675"/>
                    </a:lnTo>
                    <a:lnTo>
                      <a:pt x="1573" y="676"/>
                    </a:lnTo>
                    <a:lnTo>
                      <a:pt x="1573" y="676"/>
                    </a:lnTo>
                    <a:lnTo>
                      <a:pt x="1572" y="680"/>
                    </a:lnTo>
                    <a:lnTo>
                      <a:pt x="1571" y="682"/>
                    </a:lnTo>
                    <a:lnTo>
                      <a:pt x="1570" y="686"/>
                    </a:lnTo>
                    <a:lnTo>
                      <a:pt x="1567" y="687"/>
                    </a:lnTo>
                    <a:lnTo>
                      <a:pt x="1566" y="690"/>
                    </a:lnTo>
                    <a:lnTo>
                      <a:pt x="1565" y="691"/>
                    </a:lnTo>
                    <a:lnTo>
                      <a:pt x="1562" y="692"/>
                    </a:lnTo>
                    <a:lnTo>
                      <a:pt x="1561" y="694"/>
                    </a:lnTo>
                    <a:lnTo>
                      <a:pt x="1561" y="695"/>
                    </a:lnTo>
                    <a:lnTo>
                      <a:pt x="1561" y="694"/>
                    </a:lnTo>
                    <a:lnTo>
                      <a:pt x="1561" y="692"/>
                    </a:lnTo>
                    <a:lnTo>
                      <a:pt x="1561" y="691"/>
                    </a:lnTo>
                    <a:lnTo>
                      <a:pt x="1561" y="691"/>
                    </a:lnTo>
                    <a:lnTo>
                      <a:pt x="1561" y="690"/>
                    </a:lnTo>
                    <a:lnTo>
                      <a:pt x="1560" y="690"/>
                    </a:lnTo>
                    <a:lnTo>
                      <a:pt x="1558" y="691"/>
                    </a:lnTo>
                    <a:lnTo>
                      <a:pt x="1558" y="691"/>
                    </a:lnTo>
                    <a:lnTo>
                      <a:pt x="1558" y="692"/>
                    </a:lnTo>
                    <a:lnTo>
                      <a:pt x="1557" y="694"/>
                    </a:lnTo>
                    <a:lnTo>
                      <a:pt x="1557" y="696"/>
                    </a:lnTo>
                    <a:lnTo>
                      <a:pt x="1557" y="697"/>
                    </a:lnTo>
                    <a:lnTo>
                      <a:pt x="1557" y="699"/>
                    </a:lnTo>
                    <a:lnTo>
                      <a:pt x="1557" y="700"/>
                    </a:lnTo>
                    <a:lnTo>
                      <a:pt x="1555" y="700"/>
                    </a:lnTo>
                    <a:lnTo>
                      <a:pt x="1555" y="700"/>
                    </a:lnTo>
                    <a:lnTo>
                      <a:pt x="1551" y="700"/>
                    </a:lnTo>
                    <a:lnTo>
                      <a:pt x="1551" y="701"/>
                    </a:lnTo>
                    <a:lnTo>
                      <a:pt x="1550" y="701"/>
                    </a:lnTo>
                    <a:lnTo>
                      <a:pt x="1548" y="701"/>
                    </a:lnTo>
                    <a:lnTo>
                      <a:pt x="1545" y="705"/>
                    </a:lnTo>
                    <a:lnTo>
                      <a:pt x="1541" y="709"/>
                    </a:lnTo>
                    <a:lnTo>
                      <a:pt x="1541" y="709"/>
                    </a:lnTo>
                    <a:lnTo>
                      <a:pt x="1541" y="709"/>
                    </a:lnTo>
                    <a:lnTo>
                      <a:pt x="1540" y="711"/>
                    </a:lnTo>
                    <a:lnTo>
                      <a:pt x="1538" y="711"/>
                    </a:lnTo>
                    <a:lnTo>
                      <a:pt x="1537" y="712"/>
                    </a:lnTo>
                    <a:lnTo>
                      <a:pt x="1536" y="715"/>
                    </a:lnTo>
                    <a:lnTo>
                      <a:pt x="1536" y="715"/>
                    </a:lnTo>
                    <a:lnTo>
                      <a:pt x="1536" y="715"/>
                    </a:lnTo>
                    <a:lnTo>
                      <a:pt x="1536" y="715"/>
                    </a:lnTo>
                    <a:lnTo>
                      <a:pt x="1536" y="715"/>
                    </a:lnTo>
                    <a:lnTo>
                      <a:pt x="1538" y="715"/>
                    </a:lnTo>
                    <a:lnTo>
                      <a:pt x="1540" y="715"/>
                    </a:lnTo>
                    <a:lnTo>
                      <a:pt x="1541" y="717"/>
                    </a:lnTo>
                    <a:lnTo>
                      <a:pt x="1541" y="717"/>
                    </a:lnTo>
                    <a:lnTo>
                      <a:pt x="1541" y="719"/>
                    </a:lnTo>
                    <a:lnTo>
                      <a:pt x="1541" y="719"/>
                    </a:lnTo>
                    <a:lnTo>
                      <a:pt x="1543" y="719"/>
                    </a:lnTo>
                    <a:lnTo>
                      <a:pt x="1543" y="719"/>
                    </a:lnTo>
                    <a:lnTo>
                      <a:pt x="1545" y="719"/>
                    </a:lnTo>
                    <a:lnTo>
                      <a:pt x="1545" y="719"/>
                    </a:lnTo>
                    <a:lnTo>
                      <a:pt x="1545" y="719"/>
                    </a:lnTo>
                    <a:lnTo>
                      <a:pt x="1545" y="719"/>
                    </a:lnTo>
                    <a:lnTo>
                      <a:pt x="1546" y="719"/>
                    </a:lnTo>
                    <a:lnTo>
                      <a:pt x="1547" y="719"/>
                    </a:lnTo>
                    <a:lnTo>
                      <a:pt x="1547" y="719"/>
                    </a:lnTo>
                    <a:lnTo>
                      <a:pt x="1548" y="721"/>
                    </a:lnTo>
                    <a:lnTo>
                      <a:pt x="1548" y="721"/>
                    </a:lnTo>
                    <a:lnTo>
                      <a:pt x="1550" y="721"/>
                    </a:lnTo>
                    <a:lnTo>
                      <a:pt x="1550" y="721"/>
                    </a:lnTo>
                    <a:lnTo>
                      <a:pt x="1551" y="722"/>
                    </a:lnTo>
                    <a:lnTo>
                      <a:pt x="1551" y="722"/>
                    </a:lnTo>
                    <a:lnTo>
                      <a:pt x="1553" y="725"/>
                    </a:lnTo>
                    <a:lnTo>
                      <a:pt x="1555" y="725"/>
                    </a:lnTo>
                    <a:lnTo>
                      <a:pt x="1555" y="725"/>
                    </a:lnTo>
                    <a:lnTo>
                      <a:pt x="1557" y="722"/>
                    </a:lnTo>
                    <a:lnTo>
                      <a:pt x="1561" y="722"/>
                    </a:lnTo>
                    <a:lnTo>
                      <a:pt x="1565" y="721"/>
                    </a:lnTo>
                    <a:lnTo>
                      <a:pt x="1566" y="721"/>
                    </a:lnTo>
                    <a:lnTo>
                      <a:pt x="1568" y="721"/>
                    </a:lnTo>
                    <a:lnTo>
                      <a:pt x="1570" y="721"/>
                    </a:lnTo>
                    <a:lnTo>
                      <a:pt x="1572" y="721"/>
                    </a:lnTo>
                    <a:lnTo>
                      <a:pt x="1573" y="719"/>
                    </a:lnTo>
                    <a:lnTo>
                      <a:pt x="1576" y="719"/>
                    </a:lnTo>
                    <a:lnTo>
                      <a:pt x="1578" y="715"/>
                    </a:lnTo>
                    <a:lnTo>
                      <a:pt x="1579" y="715"/>
                    </a:lnTo>
                    <a:lnTo>
                      <a:pt x="1583" y="715"/>
                    </a:lnTo>
                    <a:lnTo>
                      <a:pt x="1583" y="712"/>
                    </a:lnTo>
                    <a:lnTo>
                      <a:pt x="1586" y="712"/>
                    </a:lnTo>
                    <a:lnTo>
                      <a:pt x="1589" y="711"/>
                    </a:lnTo>
                    <a:lnTo>
                      <a:pt x="1593" y="711"/>
                    </a:lnTo>
                    <a:lnTo>
                      <a:pt x="1596" y="709"/>
                    </a:lnTo>
                    <a:lnTo>
                      <a:pt x="1597" y="709"/>
                    </a:lnTo>
                    <a:lnTo>
                      <a:pt x="1602" y="709"/>
                    </a:lnTo>
                    <a:lnTo>
                      <a:pt x="1606" y="707"/>
                    </a:lnTo>
                    <a:lnTo>
                      <a:pt x="1609" y="705"/>
                    </a:lnTo>
                    <a:lnTo>
                      <a:pt x="1614" y="704"/>
                    </a:lnTo>
                    <a:lnTo>
                      <a:pt x="1622" y="700"/>
                    </a:lnTo>
                    <a:lnTo>
                      <a:pt x="1628" y="697"/>
                    </a:lnTo>
                    <a:lnTo>
                      <a:pt x="1632" y="695"/>
                    </a:lnTo>
                    <a:lnTo>
                      <a:pt x="1635" y="692"/>
                    </a:lnTo>
                    <a:lnTo>
                      <a:pt x="1638" y="691"/>
                    </a:lnTo>
                    <a:lnTo>
                      <a:pt x="1639" y="690"/>
                    </a:lnTo>
                    <a:lnTo>
                      <a:pt x="1640" y="687"/>
                    </a:lnTo>
                    <a:lnTo>
                      <a:pt x="1643" y="686"/>
                    </a:lnTo>
                    <a:lnTo>
                      <a:pt x="1644" y="686"/>
                    </a:lnTo>
                    <a:lnTo>
                      <a:pt x="1644" y="686"/>
                    </a:lnTo>
                    <a:lnTo>
                      <a:pt x="1645" y="686"/>
                    </a:lnTo>
                    <a:lnTo>
                      <a:pt x="1645" y="686"/>
                    </a:lnTo>
                    <a:lnTo>
                      <a:pt x="1645" y="685"/>
                    </a:lnTo>
                    <a:lnTo>
                      <a:pt x="1645" y="685"/>
                    </a:lnTo>
                    <a:lnTo>
                      <a:pt x="1644" y="685"/>
                    </a:lnTo>
                    <a:lnTo>
                      <a:pt x="1644" y="685"/>
                    </a:lnTo>
                    <a:lnTo>
                      <a:pt x="1643" y="685"/>
                    </a:lnTo>
                    <a:lnTo>
                      <a:pt x="1642" y="684"/>
                    </a:lnTo>
                    <a:lnTo>
                      <a:pt x="1642" y="682"/>
                    </a:lnTo>
                    <a:lnTo>
                      <a:pt x="1642" y="682"/>
                    </a:lnTo>
                    <a:lnTo>
                      <a:pt x="1642" y="680"/>
                    </a:lnTo>
                    <a:lnTo>
                      <a:pt x="1643" y="676"/>
                    </a:lnTo>
                    <a:lnTo>
                      <a:pt x="1643" y="676"/>
                    </a:lnTo>
                    <a:lnTo>
                      <a:pt x="1643" y="675"/>
                    </a:lnTo>
                    <a:lnTo>
                      <a:pt x="1644" y="675"/>
                    </a:lnTo>
                    <a:lnTo>
                      <a:pt x="1645" y="674"/>
                    </a:lnTo>
                    <a:lnTo>
                      <a:pt x="1647" y="674"/>
                    </a:lnTo>
                    <a:lnTo>
                      <a:pt x="1649" y="673"/>
                    </a:lnTo>
                    <a:lnTo>
                      <a:pt x="1650" y="673"/>
                    </a:lnTo>
                    <a:lnTo>
                      <a:pt x="1652" y="673"/>
                    </a:lnTo>
                    <a:lnTo>
                      <a:pt x="1654" y="673"/>
                    </a:lnTo>
                    <a:lnTo>
                      <a:pt x="1655" y="673"/>
                    </a:lnTo>
                    <a:lnTo>
                      <a:pt x="1659" y="673"/>
                    </a:lnTo>
                    <a:lnTo>
                      <a:pt x="1662" y="673"/>
                    </a:lnTo>
                    <a:lnTo>
                      <a:pt x="1664" y="673"/>
                    </a:lnTo>
                    <a:lnTo>
                      <a:pt x="1665" y="673"/>
                    </a:lnTo>
                    <a:lnTo>
                      <a:pt x="1667" y="673"/>
                    </a:lnTo>
                    <a:lnTo>
                      <a:pt x="1667" y="673"/>
                    </a:lnTo>
                    <a:lnTo>
                      <a:pt x="1668" y="673"/>
                    </a:lnTo>
                    <a:lnTo>
                      <a:pt x="1668" y="674"/>
                    </a:lnTo>
                    <a:lnTo>
                      <a:pt x="1669" y="674"/>
                    </a:lnTo>
                    <a:lnTo>
                      <a:pt x="1670" y="675"/>
                    </a:lnTo>
                    <a:lnTo>
                      <a:pt x="1673" y="675"/>
                    </a:lnTo>
                    <a:lnTo>
                      <a:pt x="1674" y="675"/>
                    </a:lnTo>
                    <a:lnTo>
                      <a:pt x="1675" y="675"/>
                    </a:lnTo>
                    <a:lnTo>
                      <a:pt x="1675" y="675"/>
                    </a:lnTo>
                    <a:lnTo>
                      <a:pt x="1676" y="675"/>
                    </a:lnTo>
                    <a:lnTo>
                      <a:pt x="1678" y="675"/>
                    </a:lnTo>
                    <a:lnTo>
                      <a:pt x="1678" y="675"/>
                    </a:lnTo>
                    <a:lnTo>
                      <a:pt x="1679" y="675"/>
                    </a:lnTo>
                    <a:lnTo>
                      <a:pt x="1681" y="675"/>
                    </a:lnTo>
                    <a:lnTo>
                      <a:pt x="1684" y="675"/>
                    </a:lnTo>
                    <a:lnTo>
                      <a:pt x="1685" y="675"/>
                    </a:lnTo>
                    <a:lnTo>
                      <a:pt x="1685" y="675"/>
                    </a:lnTo>
                    <a:lnTo>
                      <a:pt x="1689" y="675"/>
                    </a:lnTo>
                    <a:lnTo>
                      <a:pt x="1691" y="675"/>
                    </a:lnTo>
                    <a:lnTo>
                      <a:pt x="1691" y="674"/>
                    </a:lnTo>
                    <a:lnTo>
                      <a:pt x="1693" y="674"/>
                    </a:lnTo>
                    <a:lnTo>
                      <a:pt x="1695" y="673"/>
                    </a:lnTo>
                    <a:lnTo>
                      <a:pt x="1695" y="671"/>
                    </a:lnTo>
                    <a:lnTo>
                      <a:pt x="1698" y="671"/>
                    </a:lnTo>
                    <a:lnTo>
                      <a:pt x="1699" y="670"/>
                    </a:lnTo>
                    <a:lnTo>
                      <a:pt x="1700" y="670"/>
                    </a:lnTo>
                    <a:lnTo>
                      <a:pt x="1701" y="670"/>
                    </a:lnTo>
                    <a:lnTo>
                      <a:pt x="1703" y="670"/>
                    </a:lnTo>
                    <a:lnTo>
                      <a:pt x="1704" y="669"/>
                    </a:lnTo>
                    <a:lnTo>
                      <a:pt x="1705" y="669"/>
                    </a:lnTo>
                    <a:lnTo>
                      <a:pt x="1705" y="669"/>
                    </a:lnTo>
                    <a:lnTo>
                      <a:pt x="1705" y="666"/>
                    </a:lnTo>
                    <a:lnTo>
                      <a:pt x="1705" y="666"/>
                    </a:lnTo>
                    <a:lnTo>
                      <a:pt x="1705" y="666"/>
                    </a:lnTo>
                    <a:lnTo>
                      <a:pt x="1706" y="665"/>
                    </a:lnTo>
                    <a:lnTo>
                      <a:pt x="1706" y="664"/>
                    </a:lnTo>
                    <a:lnTo>
                      <a:pt x="1708" y="661"/>
                    </a:lnTo>
                    <a:lnTo>
                      <a:pt x="1709" y="660"/>
                    </a:lnTo>
                    <a:lnTo>
                      <a:pt x="1710" y="659"/>
                    </a:lnTo>
                    <a:lnTo>
                      <a:pt x="1711" y="658"/>
                    </a:lnTo>
                    <a:lnTo>
                      <a:pt x="1713" y="655"/>
                    </a:lnTo>
                    <a:lnTo>
                      <a:pt x="1711" y="658"/>
                    </a:lnTo>
                    <a:lnTo>
                      <a:pt x="1710" y="658"/>
                    </a:lnTo>
                    <a:lnTo>
                      <a:pt x="1710" y="658"/>
                    </a:lnTo>
                    <a:lnTo>
                      <a:pt x="1710" y="658"/>
                    </a:lnTo>
                    <a:lnTo>
                      <a:pt x="1710" y="658"/>
                    </a:lnTo>
                    <a:lnTo>
                      <a:pt x="1710" y="655"/>
                    </a:lnTo>
                    <a:lnTo>
                      <a:pt x="1710" y="655"/>
                    </a:lnTo>
                    <a:lnTo>
                      <a:pt x="1710" y="655"/>
                    </a:lnTo>
                    <a:lnTo>
                      <a:pt x="1710" y="655"/>
                    </a:lnTo>
                    <a:lnTo>
                      <a:pt x="1709" y="655"/>
                    </a:lnTo>
                    <a:lnTo>
                      <a:pt x="1710" y="655"/>
                    </a:lnTo>
                    <a:lnTo>
                      <a:pt x="1710" y="655"/>
                    </a:lnTo>
                    <a:lnTo>
                      <a:pt x="1710" y="654"/>
                    </a:lnTo>
                    <a:lnTo>
                      <a:pt x="1710" y="653"/>
                    </a:lnTo>
                    <a:lnTo>
                      <a:pt x="1711" y="653"/>
                    </a:lnTo>
                    <a:lnTo>
                      <a:pt x="1711" y="651"/>
                    </a:lnTo>
                    <a:lnTo>
                      <a:pt x="1713" y="650"/>
                    </a:lnTo>
                    <a:lnTo>
                      <a:pt x="1713" y="649"/>
                    </a:lnTo>
                    <a:lnTo>
                      <a:pt x="1714" y="648"/>
                    </a:lnTo>
                    <a:lnTo>
                      <a:pt x="1715" y="648"/>
                    </a:lnTo>
                    <a:lnTo>
                      <a:pt x="1716" y="648"/>
                    </a:lnTo>
                    <a:lnTo>
                      <a:pt x="1720" y="645"/>
                    </a:lnTo>
                    <a:lnTo>
                      <a:pt x="1724" y="644"/>
                    </a:lnTo>
                    <a:lnTo>
                      <a:pt x="1727" y="641"/>
                    </a:lnTo>
                    <a:lnTo>
                      <a:pt x="1734" y="638"/>
                    </a:lnTo>
                    <a:lnTo>
                      <a:pt x="1737" y="636"/>
                    </a:lnTo>
                    <a:lnTo>
                      <a:pt x="1741" y="634"/>
                    </a:lnTo>
                    <a:lnTo>
                      <a:pt x="1744" y="634"/>
                    </a:lnTo>
                    <a:lnTo>
                      <a:pt x="1746" y="633"/>
                    </a:lnTo>
                    <a:lnTo>
                      <a:pt x="1750" y="631"/>
                    </a:lnTo>
                    <a:lnTo>
                      <a:pt x="1752" y="631"/>
                    </a:lnTo>
                    <a:lnTo>
                      <a:pt x="1759" y="631"/>
                    </a:lnTo>
                    <a:lnTo>
                      <a:pt x="1764" y="631"/>
                    </a:lnTo>
                    <a:lnTo>
                      <a:pt x="1770" y="631"/>
                    </a:lnTo>
                    <a:lnTo>
                      <a:pt x="1773" y="631"/>
                    </a:lnTo>
                    <a:lnTo>
                      <a:pt x="1780" y="631"/>
                    </a:lnTo>
                    <a:lnTo>
                      <a:pt x="1785" y="631"/>
                    </a:lnTo>
                    <a:lnTo>
                      <a:pt x="1787" y="631"/>
                    </a:lnTo>
                    <a:lnTo>
                      <a:pt x="1791" y="631"/>
                    </a:lnTo>
                    <a:lnTo>
                      <a:pt x="1795" y="631"/>
                    </a:lnTo>
                    <a:lnTo>
                      <a:pt x="1797" y="631"/>
                    </a:lnTo>
                    <a:lnTo>
                      <a:pt x="1801" y="631"/>
                    </a:lnTo>
                    <a:lnTo>
                      <a:pt x="1802" y="631"/>
                    </a:lnTo>
                    <a:lnTo>
                      <a:pt x="1805" y="631"/>
                    </a:lnTo>
                    <a:lnTo>
                      <a:pt x="1807" y="631"/>
                    </a:lnTo>
                    <a:lnTo>
                      <a:pt x="1810" y="631"/>
                    </a:lnTo>
                    <a:lnTo>
                      <a:pt x="1811" y="631"/>
                    </a:lnTo>
                    <a:lnTo>
                      <a:pt x="1813" y="631"/>
                    </a:lnTo>
                    <a:lnTo>
                      <a:pt x="1815" y="631"/>
                    </a:lnTo>
                    <a:lnTo>
                      <a:pt x="1815" y="631"/>
                    </a:lnTo>
                    <a:lnTo>
                      <a:pt x="1816" y="631"/>
                    </a:lnTo>
                    <a:lnTo>
                      <a:pt x="1817" y="631"/>
                    </a:lnTo>
                    <a:lnTo>
                      <a:pt x="1817" y="631"/>
                    </a:lnTo>
                    <a:lnTo>
                      <a:pt x="1818" y="631"/>
                    </a:lnTo>
                    <a:lnTo>
                      <a:pt x="1819" y="631"/>
                    </a:lnTo>
                    <a:lnTo>
                      <a:pt x="1819" y="631"/>
                    </a:lnTo>
                    <a:lnTo>
                      <a:pt x="1819" y="630"/>
                    </a:lnTo>
                    <a:lnTo>
                      <a:pt x="1821" y="629"/>
                    </a:lnTo>
                    <a:lnTo>
                      <a:pt x="1821" y="628"/>
                    </a:lnTo>
                    <a:lnTo>
                      <a:pt x="1822" y="628"/>
                    </a:lnTo>
                    <a:lnTo>
                      <a:pt x="1823" y="626"/>
                    </a:lnTo>
                    <a:lnTo>
                      <a:pt x="1823" y="624"/>
                    </a:lnTo>
                    <a:lnTo>
                      <a:pt x="1826" y="624"/>
                    </a:lnTo>
                    <a:lnTo>
                      <a:pt x="1829" y="624"/>
                    </a:lnTo>
                    <a:lnTo>
                      <a:pt x="1829" y="624"/>
                    </a:lnTo>
                    <a:lnTo>
                      <a:pt x="1829" y="623"/>
                    </a:lnTo>
                    <a:lnTo>
                      <a:pt x="1829" y="623"/>
                    </a:lnTo>
                    <a:lnTo>
                      <a:pt x="1832" y="621"/>
                    </a:lnTo>
                    <a:lnTo>
                      <a:pt x="1833" y="623"/>
                    </a:lnTo>
                    <a:lnTo>
                      <a:pt x="1833" y="623"/>
                    </a:lnTo>
                    <a:lnTo>
                      <a:pt x="1833" y="624"/>
                    </a:lnTo>
                    <a:lnTo>
                      <a:pt x="1833" y="624"/>
                    </a:lnTo>
                    <a:lnTo>
                      <a:pt x="1833" y="624"/>
                    </a:lnTo>
                    <a:lnTo>
                      <a:pt x="1836" y="624"/>
                    </a:lnTo>
                    <a:lnTo>
                      <a:pt x="1836" y="623"/>
                    </a:lnTo>
                    <a:lnTo>
                      <a:pt x="1836" y="623"/>
                    </a:lnTo>
                    <a:lnTo>
                      <a:pt x="1836" y="621"/>
                    </a:lnTo>
                    <a:lnTo>
                      <a:pt x="1836" y="621"/>
                    </a:lnTo>
                    <a:lnTo>
                      <a:pt x="1837" y="621"/>
                    </a:lnTo>
                    <a:lnTo>
                      <a:pt x="1837" y="621"/>
                    </a:lnTo>
                    <a:lnTo>
                      <a:pt x="1839" y="621"/>
                    </a:lnTo>
                    <a:lnTo>
                      <a:pt x="1839" y="621"/>
                    </a:lnTo>
                    <a:lnTo>
                      <a:pt x="1839" y="621"/>
                    </a:lnTo>
                    <a:lnTo>
                      <a:pt x="1839" y="620"/>
                    </a:lnTo>
                    <a:lnTo>
                      <a:pt x="1839" y="620"/>
                    </a:lnTo>
                    <a:lnTo>
                      <a:pt x="1839" y="619"/>
                    </a:lnTo>
                    <a:lnTo>
                      <a:pt x="1839" y="619"/>
                    </a:lnTo>
                    <a:lnTo>
                      <a:pt x="1839" y="616"/>
                    </a:lnTo>
                    <a:lnTo>
                      <a:pt x="1841" y="615"/>
                    </a:lnTo>
                    <a:lnTo>
                      <a:pt x="1843" y="615"/>
                    </a:lnTo>
                    <a:lnTo>
                      <a:pt x="1844" y="613"/>
                    </a:lnTo>
                    <a:lnTo>
                      <a:pt x="1844" y="613"/>
                    </a:lnTo>
                    <a:lnTo>
                      <a:pt x="1844" y="613"/>
                    </a:lnTo>
                    <a:lnTo>
                      <a:pt x="1846" y="611"/>
                    </a:lnTo>
                    <a:lnTo>
                      <a:pt x="1846" y="611"/>
                    </a:lnTo>
                    <a:lnTo>
                      <a:pt x="1851" y="609"/>
                    </a:lnTo>
                    <a:lnTo>
                      <a:pt x="1854" y="605"/>
                    </a:lnTo>
                    <a:lnTo>
                      <a:pt x="1854" y="603"/>
                    </a:lnTo>
                    <a:lnTo>
                      <a:pt x="1854" y="603"/>
                    </a:lnTo>
                    <a:lnTo>
                      <a:pt x="1856" y="602"/>
                    </a:lnTo>
                    <a:lnTo>
                      <a:pt x="1857" y="599"/>
                    </a:lnTo>
                    <a:lnTo>
                      <a:pt x="1858" y="597"/>
                    </a:lnTo>
                    <a:lnTo>
                      <a:pt x="1859" y="595"/>
                    </a:lnTo>
                    <a:lnTo>
                      <a:pt x="1861" y="595"/>
                    </a:lnTo>
                    <a:lnTo>
                      <a:pt x="1862" y="595"/>
                    </a:lnTo>
                    <a:lnTo>
                      <a:pt x="1863" y="595"/>
                    </a:lnTo>
                    <a:lnTo>
                      <a:pt x="1863" y="594"/>
                    </a:lnTo>
                    <a:lnTo>
                      <a:pt x="1864" y="593"/>
                    </a:lnTo>
                    <a:lnTo>
                      <a:pt x="1864" y="590"/>
                    </a:lnTo>
                    <a:lnTo>
                      <a:pt x="1865" y="588"/>
                    </a:lnTo>
                    <a:lnTo>
                      <a:pt x="1865" y="588"/>
                    </a:lnTo>
                    <a:lnTo>
                      <a:pt x="1868" y="585"/>
                    </a:lnTo>
                    <a:lnTo>
                      <a:pt x="1869" y="584"/>
                    </a:lnTo>
                    <a:lnTo>
                      <a:pt x="1870" y="582"/>
                    </a:lnTo>
                    <a:lnTo>
                      <a:pt x="1873" y="582"/>
                    </a:lnTo>
                    <a:lnTo>
                      <a:pt x="1874" y="582"/>
                    </a:lnTo>
                    <a:lnTo>
                      <a:pt x="1875" y="580"/>
                    </a:lnTo>
                    <a:lnTo>
                      <a:pt x="1878" y="579"/>
                    </a:lnTo>
                    <a:lnTo>
                      <a:pt x="1878" y="578"/>
                    </a:lnTo>
                    <a:lnTo>
                      <a:pt x="1878" y="577"/>
                    </a:lnTo>
                    <a:lnTo>
                      <a:pt x="1879" y="577"/>
                    </a:lnTo>
                    <a:lnTo>
                      <a:pt x="1880" y="577"/>
                    </a:lnTo>
                    <a:lnTo>
                      <a:pt x="1882" y="574"/>
                    </a:lnTo>
                    <a:lnTo>
                      <a:pt x="1885" y="570"/>
                    </a:lnTo>
                    <a:lnTo>
                      <a:pt x="1887" y="570"/>
                    </a:lnTo>
                    <a:lnTo>
                      <a:pt x="1887" y="570"/>
                    </a:lnTo>
                    <a:lnTo>
                      <a:pt x="1889" y="569"/>
                    </a:lnTo>
                    <a:lnTo>
                      <a:pt x="1889" y="569"/>
                    </a:lnTo>
                    <a:lnTo>
                      <a:pt x="1890" y="568"/>
                    </a:lnTo>
                    <a:lnTo>
                      <a:pt x="1890" y="568"/>
                    </a:lnTo>
                    <a:lnTo>
                      <a:pt x="1892" y="569"/>
                    </a:lnTo>
                    <a:lnTo>
                      <a:pt x="1892" y="569"/>
                    </a:lnTo>
                    <a:lnTo>
                      <a:pt x="1892" y="570"/>
                    </a:lnTo>
                    <a:lnTo>
                      <a:pt x="1892" y="570"/>
                    </a:lnTo>
                    <a:lnTo>
                      <a:pt x="1892" y="570"/>
                    </a:lnTo>
                    <a:lnTo>
                      <a:pt x="1892" y="573"/>
                    </a:lnTo>
                    <a:lnTo>
                      <a:pt x="1893" y="574"/>
                    </a:lnTo>
                    <a:lnTo>
                      <a:pt x="1893" y="574"/>
                    </a:lnTo>
                    <a:lnTo>
                      <a:pt x="1893" y="574"/>
                    </a:lnTo>
                    <a:lnTo>
                      <a:pt x="1894" y="574"/>
                    </a:lnTo>
                    <a:lnTo>
                      <a:pt x="1895" y="574"/>
                    </a:lnTo>
                    <a:lnTo>
                      <a:pt x="1897" y="574"/>
                    </a:lnTo>
                    <a:lnTo>
                      <a:pt x="1899" y="574"/>
                    </a:lnTo>
                    <a:lnTo>
                      <a:pt x="1903" y="573"/>
                    </a:lnTo>
                    <a:lnTo>
                      <a:pt x="1904" y="570"/>
                    </a:lnTo>
                    <a:lnTo>
                      <a:pt x="1904" y="570"/>
                    </a:lnTo>
                    <a:lnTo>
                      <a:pt x="1904" y="570"/>
                    </a:lnTo>
                    <a:lnTo>
                      <a:pt x="1907" y="570"/>
                    </a:lnTo>
                    <a:lnTo>
                      <a:pt x="1907" y="570"/>
                    </a:lnTo>
                    <a:lnTo>
                      <a:pt x="1908" y="570"/>
                    </a:lnTo>
                    <a:lnTo>
                      <a:pt x="1910" y="570"/>
                    </a:lnTo>
                    <a:lnTo>
                      <a:pt x="1910" y="570"/>
                    </a:lnTo>
                    <a:lnTo>
                      <a:pt x="1912" y="570"/>
                    </a:lnTo>
                    <a:lnTo>
                      <a:pt x="1913" y="570"/>
                    </a:lnTo>
                    <a:lnTo>
                      <a:pt x="1913" y="573"/>
                    </a:lnTo>
                    <a:lnTo>
                      <a:pt x="1914" y="574"/>
                    </a:lnTo>
                    <a:lnTo>
                      <a:pt x="1914" y="577"/>
                    </a:lnTo>
                    <a:lnTo>
                      <a:pt x="1914" y="577"/>
                    </a:lnTo>
                    <a:lnTo>
                      <a:pt x="1914" y="577"/>
                    </a:lnTo>
                    <a:close/>
                    <a:moveTo>
                      <a:pt x="802" y="564"/>
                    </a:moveTo>
                    <a:lnTo>
                      <a:pt x="803" y="564"/>
                    </a:lnTo>
                    <a:lnTo>
                      <a:pt x="805" y="564"/>
                    </a:lnTo>
                    <a:lnTo>
                      <a:pt x="807" y="563"/>
                    </a:lnTo>
                    <a:lnTo>
                      <a:pt x="807" y="560"/>
                    </a:lnTo>
                    <a:lnTo>
                      <a:pt x="810" y="560"/>
                    </a:lnTo>
                    <a:lnTo>
                      <a:pt x="810" y="560"/>
                    </a:lnTo>
                    <a:lnTo>
                      <a:pt x="810" y="560"/>
                    </a:lnTo>
                    <a:lnTo>
                      <a:pt x="810" y="560"/>
                    </a:lnTo>
                    <a:lnTo>
                      <a:pt x="810" y="559"/>
                    </a:lnTo>
                    <a:lnTo>
                      <a:pt x="810" y="559"/>
                    </a:lnTo>
                    <a:lnTo>
                      <a:pt x="807" y="560"/>
                    </a:lnTo>
                    <a:lnTo>
                      <a:pt x="807" y="560"/>
                    </a:lnTo>
                    <a:lnTo>
                      <a:pt x="806" y="563"/>
                    </a:lnTo>
                    <a:lnTo>
                      <a:pt x="805" y="564"/>
                    </a:lnTo>
                    <a:lnTo>
                      <a:pt x="802" y="564"/>
                    </a:lnTo>
                    <a:lnTo>
                      <a:pt x="802" y="564"/>
                    </a:lnTo>
                    <a:close/>
                    <a:moveTo>
                      <a:pt x="801" y="569"/>
                    </a:moveTo>
                    <a:lnTo>
                      <a:pt x="801" y="570"/>
                    </a:lnTo>
                    <a:lnTo>
                      <a:pt x="801" y="570"/>
                    </a:lnTo>
                    <a:lnTo>
                      <a:pt x="801" y="569"/>
                    </a:lnTo>
                    <a:lnTo>
                      <a:pt x="801" y="569"/>
                    </a:lnTo>
                    <a:lnTo>
                      <a:pt x="802" y="569"/>
                    </a:lnTo>
                    <a:lnTo>
                      <a:pt x="802" y="568"/>
                    </a:lnTo>
                    <a:lnTo>
                      <a:pt x="801" y="569"/>
                    </a:lnTo>
                    <a:lnTo>
                      <a:pt x="801" y="569"/>
                    </a:lnTo>
                    <a:lnTo>
                      <a:pt x="801" y="569"/>
                    </a:lnTo>
                    <a:close/>
                    <a:moveTo>
                      <a:pt x="798" y="568"/>
                    </a:moveTo>
                    <a:lnTo>
                      <a:pt x="798" y="569"/>
                    </a:lnTo>
                    <a:lnTo>
                      <a:pt x="800" y="569"/>
                    </a:lnTo>
                    <a:lnTo>
                      <a:pt x="801" y="569"/>
                    </a:lnTo>
                    <a:lnTo>
                      <a:pt x="801" y="569"/>
                    </a:lnTo>
                    <a:lnTo>
                      <a:pt x="801" y="568"/>
                    </a:lnTo>
                    <a:lnTo>
                      <a:pt x="801" y="567"/>
                    </a:lnTo>
                    <a:lnTo>
                      <a:pt x="801" y="567"/>
                    </a:lnTo>
                    <a:lnTo>
                      <a:pt x="801" y="567"/>
                    </a:lnTo>
                    <a:lnTo>
                      <a:pt x="800" y="568"/>
                    </a:lnTo>
                    <a:lnTo>
                      <a:pt x="798" y="568"/>
                    </a:lnTo>
                    <a:lnTo>
                      <a:pt x="798" y="568"/>
                    </a:lnTo>
                    <a:lnTo>
                      <a:pt x="798" y="568"/>
                    </a:lnTo>
                    <a:close/>
                    <a:moveTo>
                      <a:pt x="1546" y="721"/>
                    </a:moveTo>
                    <a:lnTo>
                      <a:pt x="1541" y="721"/>
                    </a:lnTo>
                    <a:lnTo>
                      <a:pt x="1543" y="721"/>
                    </a:lnTo>
                    <a:lnTo>
                      <a:pt x="1543" y="721"/>
                    </a:lnTo>
                    <a:lnTo>
                      <a:pt x="1545" y="721"/>
                    </a:lnTo>
                    <a:lnTo>
                      <a:pt x="1545" y="721"/>
                    </a:lnTo>
                    <a:lnTo>
                      <a:pt x="1546" y="721"/>
                    </a:lnTo>
                    <a:lnTo>
                      <a:pt x="1546" y="721"/>
                    </a:lnTo>
                    <a:close/>
                    <a:moveTo>
                      <a:pt x="1638" y="872"/>
                    </a:moveTo>
                    <a:lnTo>
                      <a:pt x="1638" y="871"/>
                    </a:lnTo>
                    <a:lnTo>
                      <a:pt x="1638" y="871"/>
                    </a:lnTo>
                    <a:lnTo>
                      <a:pt x="1638" y="872"/>
                    </a:lnTo>
                    <a:lnTo>
                      <a:pt x="1638" y="872"/>
                    </a:lnTo>
                    <a:close/>
                    <a:moveTo>
                      <a:pt x="1628" y="859"/>
                    </a:moveTo>
                    <a:lnTo>
                      <a:pt x="1628" y="859"/>
                    </a:lnTo>
                    <a:lnTo>
                      <a:pt x="1628" y="859"/>
                    </a:lnTo>
                    <a:lnTo>
                      <a:pt x="1628" y="859"/>
                    </a:lnTo>
                    <a:lnTo>
                      <a:pt x="1628" y="859"/>
                    </a:lnTo>
                    <a:close/>
                    <a:moveTo>
                      <a:pt x="1650" y="795"/>
                    </a:moveTo>
                    <a:lnTo>
                      <a:pt x="1649" y="795"/>
                    </a:lnTo>
                    <a:lnTo>
                      <a:pt x="1649" y="795"/>
                    </a:lnTo>
                    <a:lnTo>
                      <a:pt x="1649" y="796"/>
                    </a:lnTo>
                    <a:lnTo>
                      <a:pt x="1649" y="797"/>
                    </a:lnTo>
                    <a:lnTo>
                      <a:pt x="1649" y="798"/>
                    </a:lnTo>
                    <a:lnTo>
                      <a:pt x="1649" y="797"/>
                    </a:lnTo>
                    <a:lnTo>
                      <a:pt x="1649" y="795"/>
                    </a:lnTo>
                    <a:lnTo>
                      <a:pt x="1650" y="795"/>
                    </a:lnTo>
                    <a:lnTo>
                      <a:pt x="1650" y="795"/>
                    </a:lnTo>
                    <a:close/>
                    <a:moveTo>
                      <a:pt x="1691" y="763"/>
                    </a:moveTo>
                    <a:lnTo>
                      <a:pt x="1689" y="763"/>
                    </a:lnTo>
                    <a:lnTo>
                      <a:pt x="1688" y="763"/>
                    </a:lnTo>
                    <a:lnTo>
                      <a:pt x="1685" y="765"/>
                    </a:lnTo>
                    <a:lnTo>
                      <a:pt x="1683" y="767"/>
                    </a:lnTo>
                    <a:lnTo>
                      <a:pt x="1681" y="767"/>
                    </a:lnTo>
                    <a:lnTo>
                      <a:pt x="1681" y="767"/>
                    </a:lnTo>
                    <a:lnTo>
                      <a:pt x="1680" y="768"/>
                    </a:lnTo>
                    <a:lnTo>
                      <a:pt x="1680" y="770"/>
                    </a:lnTo>
                    <a:lnTo>
                      <a:pt x="1680" y="771"/>
                    </a:lnTo>
                    <a:lnTo>
                      <a:pt x="1680" y="770"/>
                    </a:lnTo>
                    <a:lnTo>
                      <a:pt x="1681" y="768"/>
                    </a:lnTo>
                    <a:lnTo>
                      <a:pt x="1681" y="767"/>
                    </a:lnTo>
                    <a:lnTo>
                      <a:pt x="1683" y="767"/>
                    </a:lnTo>
                    <a:lnTo>
                      <a:pt x="1684" y="767"/>
                    </a:lnTo>
                    <a:lnTo>
                      <a:pt x="1685" y="765"/>
                    </a:lnTo>
                    <a:lnTo>
                      <a:pt x="1689" y="763"/>
                    </a:lnTo>
                    <a:lnTo>
                      <a:pt x="1689" y="763"/>
                    </a:lnTo>
                    <a:lnTo>
                      <a:pt x="1691" y="763"/>
                    </a:lnTo>
                    <a:lnTo>
                      <a:pt x="1691" y="763"/>
                    </a:lnTo>
                    <a:lnTo>
                      <a:pt x="1691" y="763"/>
                    </a:lnTo>
                    <a:lnTo>
                      <a:pt x="1691" y="763"/>
                    </a:lnTo>
                    <a:close/>
                    <a:moveTo>
                      <a:pt x="1730" y="727"/>
                    </a:moveTo>
                    <a:lnTo>
                      <a:pt x="1730" y="726"/>
                    </a:lnTo>
                    <a:lnTo>
                      <a:pt x="1730" y="729"/>
                    </a:lnTo>
                    <a:lnTo>
                      <a:pt x="1730" y="730"/>
                    </a:lnTo>
                    <a:lnTo>
                      <a:pt x="1727" y="732"/>
                    </a:lnTo>
                    <a:lnTo>
                      <a:pt x="1727" y="735"/>
                    </a:lnTo>
                    <a:lnTo>
                      <a:pt x="1730" y="732"/>
                    </a:lnTo>
                    <a:lnTo>
                      <a:pt x="1730" y="731"/>
                    </a:lnTo>
                    <a:lnTo>
                      <a:pt x="1730" y="730"/>
                    </a:lnTo>
                    <a:lnTo>
                      <a:pt x="1730" y="729"/>
                    </a:lnTo>
                    <a:lnTo>
                      <a:pt x="1730" y="729"/>
                    </a:lnTo>
                    <a:lnTo>
                      <a:pt x="1730" y="727"/>
                    </a:lnTo>
                    <a:lnTo>
                      <a:pt x="1730" y="727"/>
                    </a:lnTo>
                    <a:close/>
                    <a:moveTo>
                      <a:pt x="1844" y="655"/>
                    </a:moveTo>
                    <a:lnTo>
                      <a:pt x="1844" y="655"/>
                    </a:lnTo>
                    <a:lnTo>
                      <a:pt x="1843" y="655"/>
                    </a:lnTo>
                    <a:lnTo>
                      <a:pt x="1842" y="655"/>
                    </a:lnTo>
                    <a:lnTo>
                      <a:pt x="1842" y="658"/>
                    </a:lnTo>
                    <a:lnTo>
                      <a:pt x="1842" y="658"/>
                    </a:lnTo>
                    <a:lnTo>
                      <a:pt x="1842" y="658"/>
                    </a:lnTo>
                    <a:lnTo>
                      <a:pt x="1842" y="658"/>
                    </a:lnTo>
                    <a:lnTo>
                      <a:pt x="1843" y="659"/>
                    </a:lnTo>
                    <a:lnTo>
                      <a:pt x="1843" y="658"/>
                    </a:lnTo>
                    <a:lnTo>
                      <a:pt x="1843" y="658"/>
                    </a:lnTo>
                    <a:lnTo>
                      <a:pt x="1844" y="658"/>
                    </a:lnTo>
                    <a:lnTo>
                      <a:pt x="1844" y="655"/>
                    </a:lnTo>
                    <a:lnTo>
                      <a:pt x="1844" y="655"/>
                    </a:lnTo>
                    <a:lnTo>
                      <a:pt x="1844" y="655"/>
                    </a:lnTo>
                    <a:close/>
                    <a:moveTo>
                      <a:pt x="769" y="580"/>
                    </a:moveTo>
                    <a:lnTo>
                      <a:pt x="769" y="580"/>
                    </a:lnTo>
                    <a:lnTo>
                      <a:pt x="769" y="580"/>
                    </a:lnTo>
                    <a:lnTo>
                      <a:pt x="769" y="580"/>
                    </a:lnTo>
                    <a:lnTo>
                      <a:pt x="769" y="580"/>
                    </a:lnTo>
                    <a:close/>
                    <a:moveTo>
                      <a:pt x="1495" y="582"/>
                    </a:moveTo>
                    <a:lnTo>
                      <a:pt x="1496" y="582"/>
                    </a:lnTo>
                    <a:lnTo>
                      <a:pt x="1496" y="582"/>
                    </a:lnTo>
                    <a:lnTo>
                      <a:pt x="1495" y="582"/>
                    </a:lnTo>
                    <a:lnTo>
                      <a:pt x="1495" y="582"/>
                    </a:lnTo>
                    <a:close/>
                    <a:moveTo>
                      <a:pt x="1628" y="890"/>
                    </a:moveTo>
                    <a:lnTo>
                      <a:pt x="1628" y="890"/>
                    </a:lnTo>
                    <a:lnTo>
                      <a:pt x="1628" y="888"/>
                    </a:lnTo>
                    <a:lnTo>
                      <a:pt x="1625" y="890"/>
                    </a:lnTo>
                    <a:lnTo>
                      <a:pt x="1625" y="890"/>
                    </a:lnTo>
                    <a:lnTo>
                      <a:pt x="1628" y="890"/>
                    </a:lnTo>
                    <a:lnTo>
                      <a:pt x="1628" y="890"/>
                    </a:lnTo>
                    <a:close/>
                    <a:moveTo>
                      <a:pt x="1487" y="1070"/>
                    </a:moveTo>
                    <a:lnTo>
                      <a:pt x="1487" y="1065"/>
                    </a:lnTo>
                    <a:lnTo>
                      <a:pt x="1487" y="1066"/>
                    </a:lnTo>
                    <a:lnTo>
                      <a:pt x="1487" y="1067"/>
                    </a:lnTo>
                    <a:lnTo>
                      <a:pt x="1487" y="1071"/>
                    </a:lnTo>
                    <a:lnTo>
                      <a:pt x="1487" y="1070"/>
                    </a:lnTo>
                    <a:lnTo>
                      <a:pt x="1487" y="1070"/>
                    </a:lnTo>
                    <a:close/>
                    <a:moveTo>
                      <a:pt x="1716" y="761"/>
                    </a:moveTo>
                    <a:lnTo>
                      <a:pt x="1716" y="763"/>
                    </a:lnTo>
                    <a:lnTo>
                      <a:pt x="1716" y="763"/>
                    </a:lnTo>
                    <a:lnTo>
                      <a:pt x="1716" y="763"/>
                    </a:lnTo>
                    <a:lnTo>
                      <a:pt x="1716" y="765"/>
                    </a:lnTo>
                    <a:lnTo>
                      <a:pt x="1718" y="760"/>
                    </a:lnTo>
                    <a:lnTo>
                      <a:pt x="1718" y="761"/>
                    </a:lnTo>
                    <a:lnTo>
                      <a:pt x="1716" y="761"/>
                    </a:lnTo>
                    <a:lnTo>
                      <a:pt x="1716" y="761"/>
                    </a:lnTo>
                    <a:close/>
                    <a:moveTo>
                      <a:pt x="1649" y="859"/>
                    </a:moveTo>
                    <a:lnTo>
                      <a:pt x="1649" y="859"/>
                    </a:lnTo>
                    <a:lnTo>
                      <a:pt x="1649" y="858"/>
                    </a:lnTo>
                    <a:lnTo>
                      <a:pt x="1649" y="859"/>
                    </a:lnTo>
                    <a:lnTo>
                      <a:pt x="1649" y="862"/>
                    </a:lnTo>
                    <a:lnTo>
                      <a:pt x="1649" y="863"/>
                    </a:lnTo>
                    <a:lnTo>
                      <a:pt x="1650" y="864"/>
                    </a:lnTo>
                    <a:lnTo>
                      <a:pt x="1650" y="862"/>
                    </a:lnTo>
                    <a:lnTo>
                      <a:pt x="1649" y="861"/>
                    </a:lnTo>
                    <a:lnTo>
                      <a:pt x="1649" y="859"/>
                    </a:lnTo>
                    <a:lnTo>
                      <a:pt x="1649" y="859"/>
                    </a:lnTo>
                    <a:close/>
                    <a:moveTo>
                      <a:pt x="1683" y="800"/>
                    </a:moveTo>
                    <a:lnTo>
                      <a:pt x="1683" y="800"/>
                    </a:lnTo>
                    <a:lnTo>
                      <a:pt x="1681" y="800"/>
                    </a:lnTo>
                    <a:lnTo>
                      <a:pt x="1681" y="801"/>
                    </a:lnTo>
                    <a:lnTo>
                      <a:pt x="1683" y="800"/>
                    </a:lnTo>
                    <a:lnTo>
                      <a:pt x="1683" y="800"/>
                    </a:lnTo>
                    <a:close/>
                    <a:moveTo>
                      <a:pt x="1357" y="1010"/>
                    </a:moveTo>
                    <a:lnTo>
                      <a:pt x="1358" y="1010"/>
                    </a:lnTo>
                    <a:lnTo>
                      <a:pt x="1359" y="1010"/>
                    </a:lnTo>
                    <a:lnTo>
                      <a:pt x="1358" y="1010"/>
                    </a:lnTo>
                    <a:lnTo>
                      <a:pt x="1357" y="1010"/>
                    </a:lnTo>
                    <a:lnTo>
                      <a:pt x="1357" y="1010"/>
                    </a:lnTo>
                    <a:close/>
                    <a:moveTo>
                      <a:pt x="1122" y="1071"/>
                    </a:moveTo>
                    <a:lnTo>
                      <a:pt x="1123" y="1070"/>
                    </a:lnTo>
                    <a:lnTo>
                      <a:pt x="1122" y="1070"/>
                    </a:lnTo>
                    <a:lnTo>
                      <a:pt x="1122" y="1071"/>
                    </a:lnTo>
                    <a:lnTo>
                      <a:pt x="1122" y="1071"/>
                    </a:lnTo>
                    <a:close/>
                    <a:moveTo>
                      <a:pt x="762" y="593"/>
                    </a:moveTo>
                    <a:lnTo>
                      <a:pt x="762" y="595"/>
                    </a:lnTo>
                    <a:lnTo>
                      <a:pt x="762" y="594"/>
                    </a:lnTo>
                    <a:lnTo>
                      <a:pt x="762" y="593"/>
                    </a:lnTo>
                    <a:lnTo>
                      <a:pt x="762" y="593"/>
                    </a:lnTo>
                    <a:close/>
                    <a:moveTo>
                      <a:pt x="1681" y="802"/>
                    </a:moveTo>
                    <a:lnTo>
                      <a:pt x="1681" y="801"/>
                    </a:lnTo>
                    <a:lnTo>
                      <a:pt x="1681" y="801"/>
                    </a:lnTo>
                    <a:lnTo>
                      <a:pt x="1681" y="802"/>
                    </a:lnTo>
                    <a:lnTo>
                      <a:pt x="1681" y="802"/>
                    </a:lnTo>
                    <a:close/>
                    <a:moveTo>
                      <a:pt x="764" y="592"/>
                    </a:moveTo>
                    <a:lnTo>
                      <a:pt x="764" y="592"/>
                    </a:lnTo>
                    <a:lnTo>
                      <a:pt x="764" y="590"/>
                    </a:lnTo>
                    <a:lnTo>
                      <a:pt x="764" y="592"/>
                    </a:lnTo>
                    <a:lnTo>
                      <a:pt x="762" y="593"/>
                    </a:lnTo>
                    <a:lnTo>
                      <a:pt x="764" y="593"/>
                    </a:lnTo>
                    <a:lnTo>
                      <a:pt x="764" y="592"/>
                    </a:lnTo>
                    <a:lnTo>
                      <a:pt x="764" y="592"/>
                    </a:lnTo>
                    <a:close/>
                    <a:moveTo>
                      <a:pt x="1134" y="1064"/>
                    </a:moveTo>
                    <a:lnTo>
                      <a:pt x="1134" y="1065"/>
                    </a:lnTo>
                    <a:lnTo>
                      <a:pt x="1132" y="1065"/>
                    </a:lnTo>
                    <a:lnTo>
                      <a:pt x="1132" y="1066"/>
                    </a:lnTo>
                    <a:lnTo>
                      <a:pt x="1130" y="1066"/>
                    </a:lnTo>
                    <a:lnTo>
                      <a:pt x="1129" y="1066"/>
                    </a:lnTo>
                    <a:lnTo>
                      <a:pt x="1129" y="1067"/>
                    </a:lnTo>
                    <a:lnTo>
                      <a:pt x="1129" y="1067"/>
                    </a:lnTo>
                    <a:lnTo>
                      <a:pt x="1129" y="1067"/>
                    </a:lnTo>
                    <a:lnTo>
                      <a:pt x="1129" y="1070"/>
                    </a:lnTo>
                    <a:lnTo>
                      <a:pt x="1130" y="1067"/>
                    </a:lnTo>
                    <a:lnTo>
                      <a:pt x="1132" y="1067"/>
                    </a:lnTo>
                    <a:lnTo>
                      <a:pt x="1134" y="1066"/>
                    </a:lnTo>
                    <a:lnTo>
                      <a:pt x="1135" y="1065"/>
                    </a:lnTo>
                    <a:lnTo>
                      <a:pt x="1138" y="1065"/>
                    </a:lnTo>
                    <a:lnTo>
                      <a:pt x="1138" y="1064"/>
                    </a:lnTo>
                    <a:lnTo>
                      <a:pt x="1135" y="1064"/>
                    </a:lnTo>
                    <a:lnTo>
                      <a:pt x="1134" y="1064"/>
                    </a:lnTo>
                    <a:lnTo>
                      <a:pt x="1134" y="1064"/>
                    </a:lnTo>
                    <a:close/>
                    <a:moveTo>
                      <a:pt x="1445" y="1112"/>
                    </a:moveTo>
                    <a:lnTo>
                      <a:pt x="1445" y="1110"/>
                    </a:lnTo>
                    <a:lnTo>
                      <a:pt x="1445" y="1110"/>
                    </a:lnTo>
                    <a:lnTo>
                      <a:pt x="1445" y="1110"/>
                    </a:lnTo>
                    <a:lnTo>
                      <a:pt x="1445" y="1110"/>
                    </a:lnTo>
                    <a:lnTo>
                      <a:pt x="1445" y="1108"/>
                    </a:lnTo>
                    <a:lnTo>
                      <a:pt x="1445" y="1106"/>
                    </a:lnTo>
                    <a:lnTo>
                      <a:pt x="1445" y="1106"/>
                    </a:lnTo>
                    <a:lnTo>
                      <a:pt x="1444" y="1106"/>
                    </a:lnTo>
                    <a:lnTo>
                      <a:pt x="1444" y="1106"/>
                    </a:lnTo>
                    <a:lnTo>
                      <a:pt x="1444" y="1106"/>
                    </a:lnTo>
                    <a:lnTo>
                      <a:pt x="1444" y="1108"/>
                    </a:lnTo>
                    <a:lnTo>
                      <a:pt x="1444" y="1110"/>
                    </a:lnTo>
                    <a:lnTo>
                      <a:pt x="1443" y="1110"/>
                    </a:lnTo>
                    <a:lnTo>
                      <a:pt x="1441" y="1110"/>
                    </a:lnTo>
                    <a:lnTo>
                      <a:pt x="1443" y="1110"/>
                    </a:lnTo>
                    <a:lnTo>
                      <a:pt x="1443" y="1110"/>
                    </a:lnTo>
                    <a:lnTo>
                      <a:pt x="1443" y="1112"/>
                    </a:lnTo>
                    <a:lnTo>
                      <a:pt x="1444" y="1112"/>
                    </a:lnTo>
                    <a:lnTo>
                      <a:pt x="1444" y="1112"/>
                    </a:lnTo>
                    <a:lnTo>
                      <a:pt x="1444" y="1112"/>
                    </a:lnTo>
                    <a:lnTo>
                      <a:pt x="1444" y="1112"/>
                    </a:lnTo>
                    <a:lnTo>
                      <a:pt x="1445" y="1112"/>
                    </a:lnTo>
                    <a:lnTo>
                      <a:pt x="1445" y="1112"/>
                    </a:lnTo>
                    <a:lnTo>
                      <a:pt x="1445" y="1112"/>
                    </a:lnTo>
                    <a:lnTo>
                      <a:pt x="1445" y="1112"/>
                    </a:lnTo>
                    <a:lnTo>
                      <a:pt x="1445" y="1112"/>
                    </a:lnTo>
                    <a:close/>
                  </a:path>
                </a:pathLst>
              </a:custGeom>
              <a:grpFill/>
              <a:ln w="3175">
                <a:solidFill>
                  <a:schemeClr val="accent2">
                    <a:lumMod val="75000"/>
                  </a:schemeClr>
                </a:solidFill>
              </a:ln>
            </p:spPr>
            <p:txBody>
              <a:bodyPr vert="horz" wrap="square" lIns="91273" tIns="45637" rIns="91273" bIns="4563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97" b="0" i="0" u="none" strike="noStrike" kern="1200" cap="none" spc="0" normalizeH="0" baseline="0" noProof="0" dirty="0">
                  <a:ln>
                    <a:noFill/>
                  </a:ln>
                  <a:solidFill>
                    <a:srgbClr val="000000"/>
                  </a:solidFill>
                  <a:effectLst/>
                  <a:uLnTx/>
                  <a:uFillTx/>
                  <a:latin typeface="Calibri"/>
                  <a:ea typeface="+mn-ea"/>
                  <a:cs typeface="+mn-cs"/>
                </a:endParaRPr>
              </a:p>
            </p:txBody>
          </p:sp>
          <p:sp>
            <p:nvSpPr>
              <p:cNvPr id="170" name="Trinidad &amp; Tobago">
                <a:extLst>
                  <a:ext uri="{FF2B5EF4-FFF2-40B4-BE49-F238E27FC236}">
                    <a16:creationId xmlns:a16="http://schemas.microsoft.com/office/drawing/2014/main" id="{3F798BCF-47C6-C1C8-23B6-79B024FE7D9C}"/>
                  </a:ext>
                </a:extLst>
              </p:cNvPr>
              <p:cNvSpPr>
                <a:spLocks/>
              </p:cNvSpPr>
              <p:nvPr/>
            </p:nvSpPr>
            <p:spPr bwMode="auto">
              <a:xfrm>
                <a:off x="2440249" y="3076104"/>
                <a:ext cx="22359" cy="19572"/>
              </a:xfrm>
              <a:custGeom>
                <a:avLst/>
                <a:gdLst>
                  <a:gd name="connsiteX0" fmla="*/ 18184 w 21941"/>
                  <a:gd name="connsiteY0" fmla="*/ 456 h 19206"/>
                  <a:gd name="connsiteX1" fmla="*/ 20457 w 21941"/>
                  <a:gd name="connsiteY1" fmla="*/ 7243 h 19206"/>
                  <a:gd name="connsiteX2" fmla="*/ 18184 w 21941"/>
                  <a:gd name="connsiteY2" fmla="*/ 18554 h 19206"/>
                  <a:gd name="connsiteX3" fmla="*/ 0 w 21941"/>
                  <a:gd name="connsiteY3" fmla="*/ 18554 h 19206"/>
                  <a:gd name="connsiteX4" fmla="*/ 11365 w 21941"/>
                  <a:gd name="connsiteY4" fmla="*/ 11767 h 19206"/>
                  <a:gd name="connsiteX5" fmla="*/ 6819 w 21941"/>
                  <a:gd name="connsiteY5" fmla="*/ 2719 h 19206"/>
                  <a:gd name="connsiteX6" fmla="*/ 18184 w 21941"/>
                  <a:gd name="connsiteY6" fmla="*/ 456 h 19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41" h="19206">
                    <a:moveTo>
                      <a:pt x="18184" y="456"/>
                    </a:moveTo>
                    <a:cubicBezTo>
                      <a:pt x="25003" y="-1806"/>
                      <a:pt x="20457" y="4981"/>
                      <a:pt x="20457" y="7243"/>
                    </a:cubicBezTo>
                    <a:cubicBezTo>
                      <a:pt x="20457" y="11767"/>
                      <a:pt x="22730" y="16292"/>
                      <a:pt x="18184" y="18554"/>
                    </a:cubicBezTo>
                    <a:cubicBezTo>
                      <a:pt x="11365" y="20816"/>
                      <a:pt x="6819" y="16292"/>
                      <a:pt x="0" y="18554"/>
                    </a:cubicBezTo>
                    <a:cubicBezTo>
                      <a:pt x="2273" y="16292"/>
                      <a:pt x="9092" y="16292"/>
                      <a:pt x="11365" y="11767"/>
                    </a:cubicBezTo>
                    <a:cubicBezTo>
                      <a:pt x="11365" y="9505"/>
                      <a:pt x="11365" y="2719"/>
                      <a:pt x="6819" y="2719"/>
                    </a:cubicBezTo>
                    <a:cubicBezTo>
                      <a:pt x="9092" y="456"/>
                      <a:pt x="13638" y="456"/>
                      <a:pt x="18184" y="456"/>
                    </a:cubicBezTo>
                    <a:close/>
                  </a:path>
                </a:pathLst>
              </a:custGeom>
              <a:grpFill/>
              <a:ln w="3175">
                <a:solidFill>
                  <a:schemeClr val="accent2">
                    <a:lumMod val="75000"/>
                  </a:schemeClr>
                </a:solidFill>
              </a:ln>
            </p:spPr>
            <p:txBody>
              <a:bodyPr vert="horz" wrap="square" lIns="91273" tIns="45637" rIns="91273" bIns="4563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97" b="0" i="0" u="none" strike="noStrike" kern="1200" cap="none" spc="0" normalizeH="0" baseline="0" noProof="0" dirty="0">
                  <a:ln>
                    <a:noFill/>
                  </a:ln>
                  <a:solidFill>
                    <a:srgbClr val="000000"/>
                  </a:solidFill>
                  <a:effectLst/>
                  <a:uLnTx/>
                  <a:uFillTx/>
                  <a:latin typeface="Calibri"/>
                  <a:ea typeface="+mn-ea"/>
                  <a:cs typeface="+mn-cs"/>
                </a:endParaRPr>
              </a:p>
            </p:txBody>
          </p:sp>
          <p:sp>
            <p:nvSpPr>
              <p:cNvPr id="171" name="Turks &amp; Caicos">
                <a:extLst>
                  <a:ext uri="{FF2B5EF4-FFF2-40B4-BE49-F238E27FC236}">
                    <a16:creationId xmlns:a16="http://schemas.microsoft.com/office/drawing/2014/main" id="{1705EFD7-740E-07EC-80D5-FB4F970FE7B6}"/>
                  </a:ext>
                </a:extLst>
              </p:cNvPr>
              <p:cNvSpPr>
                <a:spLocks/>
              </p:cNvSpPr>
              <p:nvPr/>
            </p:nvSpPr>
            <p:spPr bwMode="auto">
              <a:xfrm>
                <a:off x="2210157" y="2803690"/>
                <a:ext cx="38384" cy="23053"/>
              </a:xfrm>
              <a:custGeom>
                <a:avLst/>
                <a:gdLst>
                  <a:gd name="connsiteX0" fmla="*/ 16236 w 37666"/>
                  <a:gd name="connsiteY0" fmla="*/ 10716 h 22622"/>
                  <a:gd name="connsiteX1" fmla="*/ 11771 w 37666"/>
                  <a:gd name="connsiteY1" fmla="*/ 20241 h 22622"/>
                  <a:gd name="connsiteX2" fmla="*/ 608 w 37666"/>
                  <a:gd name="connsiteY2" fmla="*/ 22622 h 22622"/>
                  <a:gd name="connsiteX3" fmla="*/ 5073 w 37666"/>
                  <a:gd name="connsiteY3" fmla="*/ 15479 h 22622"/>
                  <a:gd name="connsiteX4" fmla="*/ 9538 w 37666"/>
                  <a:gd name="connsiteY4" fmla="*/ 15479 h 22622"/>
                  <a:gd name="connsiteX5" fmla="*/ 16236 w 37666"/>
                  <a:gd name="connsiteY5" fmla="*/ 10716 h 22622"/>
                  <a:gd name="connsiteX6" fmla="*/ 32904 w 37666"/>
                  <a:gd name="connsiteY6" fmla="*/ 0 h 22622"/>
                  <a:gd name="connsiteX7" fmla="*/ 37666 w 37666"/>
                  <a:gd name="connsiteY7" fmla="*/ 0 h 22622"/>
                  <a:gd name="connsiteX8" fmla="*/ 32904 w 37666"/>
                  <a:gd name="connsiteY8" fmla="*/ 2381 h 22622"/>
                  <a:gd name="connsiteX9" fmla="*/ 32904 w 37666"/>
                  <a:gd name="connsiteY9" fmla="*/ 0 h 22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666" h="22622">
                    <a:moveTo>
                      <a:pt x="16236" y="10716"/>
                    </a:moveTo>
                    <a:cubicBezTo>
                      <a:pt x="16236" y="13097"/>
                      <a:pt x="14003" y="17860"/>
                      <a:pt x="11771" y="20241"/>
                    </a:cubicBezTo>
                    <a:cubicBezTo>
                      <a:pt x="9538" y="22622"/>
                      <a:pt x="5073" y="20241"/>
                      <a:pt x="608" y="22622"/>
                    </a:cubicBezTo>
                    <a:cubicBezTo>
                      <a:pt x="-1624" y="17860"/>
                      <a:pt x="2841" y="15479"/>
                      <a:pt x="5073" y="15479"/>
                    </a:cubicBezTo>
                    <a:cubicBezTo>
                      <a:pt x="7306" y="13097"/>
                      <a:pt x="7306" y="15479"/>
                      <a:pt x="9538" y="15479"/>
                    </a:cubicBezTo>
                    <a:cubicBezTo>
                      <a:pt x="11771" y="15479"/>
                      <a:pt x="14003" y="13097"/>
                      <a:pt x="16236" y="10716"/>
                    </a:cubicBezTo>
                    <a:close/>
                    <a:moveTo>
                      <a:pt x="32904" y="0"/>
                    </a:moveTo>
                    <a:cubicBezTo>
                      <a:pt x="32904" y="0"/>
                      <a:pt x="35285" y="0"/>
                      <a:pt x="37666" y="0"/>
                    </a:cubicBezTo>
                    <a:cubicBezTo>
                      <a:pt x="35285" y="0"/>
                      <a:pt x="35285" y="0"/>
                      <a:pt x="32904" y="2381"/>
                    </a:cubicBezTo>
                    <a:cubicBezTo>
                      <a:pt x="32904" y="0"/>
                      <a:pt x="32904" y="0"/>
                      <a:pt x="32904" y="0"/>
                    </a:cubicBezTo>
                    <a:close/>
                  </a:path>
                </a:pathLst>
              </a:custGeom>
              <a:grpFill/>
              <a:ln w="3175">
                <a:solidFill>
                  <a:schemeClr val="accent2">
                    <a:lumMod val="75000"/>
                  </a:schemeClr>
                </a:solidFill>
              </a:ln>
            </p:spPr>
            <p:txBody>
              <a:bodyPr vert="horz" wrap="square" lIns="91273" tIns="45637" rIns="91273" bIns="4563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97" b="0" i="0" u="none" strike="noStrike" kern="1200" cap="none" spc="0" normalizeH="0" baseline="0" noProof="0" dirty="0">
                  <a:ln>
                    <a:noFill/>
                  </a:ln>
                  <a:solidFill>
                    <a:srgbClr val="000000"/>
                  </a:solidFill>
                  <a:effectLst/>
                  <a:uLnTx/>
                  <a:uFillTx/>
                  <a:latin typeface="Calibri"/>
                  <a:ea typeface="+mn-ea"/>
                  <a:cs typeface="+mn-cs"/>
                </a:endParaRPr>
              </a:p>
            </p:txBody>
          </p:sp>
          <p:sp>
            <p:nvSpPr>
              <p:cNvPr id="172" name="Suriname">
                <a:extLst>
                  <a:ext uri="{FF2B5EF4-FFF2-40B4-BE49-F238E27FC236}">
                    <a16:creationId xmlns:a16="http://schemas.microsoft.com/office/drawing/2014/main" id="{824523DA-4BE8-AEC8-7C14-BA1BC343AB89}"/>
                  </a:ext>
                </a:extLst>
              </p:cNvPr>
              <p:cNvSpPr>
                <a:spLocks/>
              </p:cNvSpPr>
              <p:nvPr/>
            </p:nvSpPr>
            <p:spPr bwMode="auto">
              <a:xfrm>
                <a:off x="2521543" y="3195597"/>
                <a:ext cx="87361" cy="105561"/>
              </a:xfrm>
              <a:custGeom>
                <a:avLst/>
                <a:gdLst/>
                <a:ahLst/>
                <a:cxnLst>
                  <a:cxn ang="0">
                    <a:pos x="2" y="27"/>
                  </a:cxn>
                  <a:cxn ang="0">
                    <a:pos x="0" y="21"/>
                  </a:cxn>
                  <a:cxn ang="0">
                    <a:pos x="0" y="13"/>
                  </a:cxn>
                  <a:cxn ang="0">
                    <a:pos x="6" y="11"/>
                  </a:cxn>
                  <a:cxn ang="0">
                    <a:pos x="7" y="8"/>
                  </a:cxn>
                  <a:cxn ang="0">
                    <a:pos x="12" y="1"/>
                  </a:cxn>
                  <a:cxn ang="0">
                    <a:pos x="20" y="4"/>
                  </a:cxn>
                  <a:cxn ang="0">
                    <a:pos x="23" y="1"/>
                  </a:cxn>
                  <a:cxn ang="0">
                    <a:pos x="27" y="3"/>
                  </a:cxn>
                  <a:cxn ang="0">
                    <a:pos x="30" y="2"/>
                  </a:cxn>
                  <a:cxn ang="0">
                    <a:pos x="28" y="1"/>
                  </a:cxn>
                  <a:cxn ang="0">
                    <a:pos x="35" y="2"/>
                  </a:cxn>
                  <a:cxn ang="0">
                    <a:pos x="37" y="7"/>
                  </a:cxn>
                  <a:cxn ang="0">
                    <a:pos x="34" y="14"/>
                  </a:cxn>
                  <a:cxn ang="0">
                    <a:pos x="35" y="22"/>
                  </a:cxn>
                  <a:cxn ang="0">
                    <a:pos x="37" y="29"/>
                  </a:cxn>
                  <a:cxn ang="0">
                    <a:pos x="36" y="31"/>
                  </a:cxn>
                  <a:cxn ang="0">
                    <a:pos x="35" y="35"/>
                  </a:cxn>
                  <a:cxn ang="0">
                    <a:pos x="32" y="40"/>
                  </a:cxn>
                  <a:cxn ang="0">
                    <a:pos x="28" y="38"/>
                  </a:cxn>
                  <a:cxn ang="0">
                    <a:pos x="23" y="39"/>
                  </a:cxn>
                  <a:cxn ang="0">
                    <a:pos x="20" y="39"/>
                  </a:cxn>
                  <a:cxn ang="0">
                    <a:pos x="18" y="39"/>
                  </a:cxn>
                  <a:cxn ang="0">
                    <a:pos x="19" y="43"/>
                  </a:cxn>
                  <a:cxn ang="0">
                    <a:pos x="14" y="44"/>
                  </a:cxn>
                  <a:cxn ang="0">
                    <a:pos x="11" y="42"/>
                  </a:cxn>
                  <a:cxn ang="0">
                    <a:pos x="10" y="40"/>
                  </a:cxn>
                  <a:cxn ang="0">
                    <a:pos x="7" y="34"/>
                  </a:cxn>
                  <a:cxn ang="0">
                    <a:pos x="6" y="29"/>
                  </a:cxn>
                  <a:cxn ang="0">
                    <a:pos x="3" y="29"/>
                  </a:cxn>
                  <a:cxn ang="0">
                    <a:pos x="2" y="27"/>
                  </a:cxn>
                </a:cxnLst>
                <a:rect l="0" t="0" r="r" b="b"/>
                <a:pathLst>
                  <a:path w="38" h="46">
                    <a:moveTo>
                      <a:pt x="2" y="27"/>
                    </a:moveTo>
                    <a:cubicBezTo>
                      <a:pt x="1" y="26"/>
                      <a:pt x="0" y="22"/>
                      <a:pt x="0" y="21"/>
                    </a:cubicBezTo>
                    <a:cubicBezTo>
                      <a:pt x="0" y="19"/>
                      <a:pt x="0" y="15"/>
                      <a:pt x="0" y="13"/>
                    </a:cubicBezTo>
                    <a:cubicBezTo>
                      <a:pt x="0" y="10"/>
                      <a:pt x="4" y="11"/>
                      <a:pt x="6" y="11"/>
                    </a:cubicBezTo>
                    <a:cubicBezTo>
                      <a:pt x="7" y="11"/>
                      <a:pt x="8" y="9"/>
                      <a:pt x="7" y="8"/>
                    </a:cubicBezTo>
                    <a:cubicBezTo>
                      <a:pt x="9" y="6"/>
                      <a:pt x="8" y="0"/>
                      <a:pt x="12" y="1"/>
                    </a:cubicBezTo>
                    <a:cubicBezTo>
                      <a:pt x="13" y="1"/>
                      <a:pt x="21" y="2"/>
                      <a:pt x="20" y="4"/>
                    </a:cubicBezTo>
                    <a:cubicBezTo>
                      <a:pt x="21" y="2"/>
                      <a:pt x="20" y="1"/>
                      <a:pt x="23" y="1"/>
                    </a:cubicBezTo>
                    <a:cubicBezTo>
                      <a:pt x="24" y="1"/>
                      <a:pt x="27" y="1"/>
                      <a:pt x="27" y="3"/>
                    </a:cubicBezTo>
                    <a:cubicBezTo>
                      <a:pt x="28" y="2"/>
                      <a:pt x="29" y="2"/>
                      <a:pt x="30" y="2"/>
                    </a:cubicBezTo>
                    <a:cubicBezTo>
                      <a:pt x="30" y="2"/>
                      <a:pt x="27" y="1"/>
                      <a:pt x="28" y="1"/>
                    </a:cubicBezTo>
                    <a:cubicBezTo>
                      <a:pt x="29" y="0"/>
                      <a:pt x="34" y="1"/>
                      <a:pt x="35" y="2"/>
                    </a:cubicBezTo>
                    <a:cubicBezTo>
                      <a:pt x="38" y="2"/>
                      <a:pt x="38" y="4"/>
                      <a:pt x="37" y="7"/>
                    </a:cubicBezTo>
                    <a:cubicBezTo>
                      <a:pt x="36" y="9"/>
                      <a:pt x="33" y="11"/>
                      <a:pt x="34" y="14"/>
                    </a:cubicBezTo>
                    <a:cubicBezTo>
                      <a:pt x="34" y="17"/>
                      <a:pt x="33" y="20"/>
                      <a:pt x="35" y="22"/>
                    </a:cubicBezTo>
                    <a:cubicBezTo>
                      <a:pt x="36" y="24"/>
                      <a:pt x="38" y="26"/>
                      <a:pt x="37" y="29"/>
                    </a:cubicBezTo>
                    <a:cubicBezTo>
                      <a:pt x="37" y="29"/>
                      <a:pt x="36" y="30"/>
                      <a:pt x="36" y="31"/>
                    </a:cubicBezTo>
                    <a:cubicBezTo>
                      <a:pt x="36" y="32"/>
                      <a:pt x="36" y="34"/>
                      <a:pt x="35" y="35"/>
                    </a:cubicBezTo>
                    <a:cubicBezTo>
                      <a:pt x="35" y="37"/>
                      <a:pt x="33" y="40"/>
                      <a:pt x="32" y="40"/>
                    </a:cubicBezTo>
                    <a:cubicBezTo>
                      <a:pt x="31" y="40"/>
                      <a:pt x="29" y="38"/>
                      <a:pt x="28" y="38"/>
                    </a:cubicBezTo>
                    <a:cubicBezTo>
                      <a:pt x="27" y="37"/>
                      <a:pt x="25" y="38"/>
                      <a:pt x="23" y="39"/>
                    </a:cubicBezTo>
                    <a:cubicBezTo>
                      <a:pt x="22" y="39"/>
                      <a:pt x="21" y="39"/>
                      <a:pt x="20" y="39"/>
                    </a:cubicBezTo>
                    <a:cubicBezTo>
                      <a:pt x="19" y="38"/>
                      <a:pt x="19" y="38"/>
                      <a:pt x="18" y="39"/>
                    </a:cubicBezTo>
                    <a:cubicBezTo>
                      <a:pt x="17" y="41"/>
                      <a:pt x="19" y="41"/>
                      <a:pt x="19" y="43"/>
                    </a:cubicBezTo>
                    <a:cubicBezTo>
                      <a:pt x="20" y="46"/>
                      <a:pt x="15" y="45"/>
                      <a:pt x="14" y="44"/>
                    </a:cubicBezTo>
                    <a:cubicBezTo>
                      <a:pt x="13" y="43"/>
                      <a:pt x="12" y="43"/>
                      <a:pt x="11" y="42"/>
                    </a:cubicBezTo>
                    <a:cubicBezTo>
                      <a:pt x="10" y="41"/>
                      <a:pt x="10" y="41"/>
                      <a:pt x="10" y="40"/>
                    </a:cubicBezTo>
                    <a:cubicBezTo>
                      <a:pt x="10" y="38"/>
                      <a:pt x="7" y="35"/>
                      <a:pt x="7" y="34"/>
                    </a:cubicBezTo>
                    <a:cubicBezTo>
                      <a:pt x="7" y="33"/>
                      <a:pt x="7" y="29"/>
                      <a:pt x="6" y="29"/>
                    </a:cubicBezTo>
                    <a:cubicBezTo>
                      <a:pt x="5" y="29"/>
                      <a:pt x="4" y="30"/>
                      <a:pt x="3" y="29"/>
                    </a:cubicBezTo>
                    <a:cubicBezTo>
                      <a:pt x="3" y="28"/>
                      <a:pt x="3" y="27"/>
                      <a:pt x="2" y="27"/>
                    </a:cubicBezTo>
                  </a:path>
                </a:pathLst>
              </a:custGeom>
              <a:grpFill/>
              <a:ln w="3175">
                <a:solidFill>
                  <a:schemeClr val="accent2">
                    <a:lumMod val="75000"/>
                  </a:schemeClr>
                </a:solidFill>
              </a:ln>
            </p:spPr>
            <p:txBody>
              <a:bodyPr vert="horz" wrap="square" lIns="91273" tIns="45637" rIns="91273" bIns="4563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97" b="0" i="0" u="none" strike="noStrike" kern="1200" cap="none" spc="0" normalizeH="0" baseline="0" noProof="0" dirty="0">
                  <a:ln>
                    <a:noFill/>
                  </a:ln>
                  <a:solidFill>
                    <a:srgbClr val="000000"/>
                  </a:solidFill>
                  <a:effectLst/>
                  <a:uLnTx/>
                  <a:uFillTx/>
                  <a:latin typeface="Calibri"/>
                  <a:ea typeface="+mn-ea"/>
                  <a:cs typeface="+mn-cs"/>
                </a:endParaRPr>
              </a:p>
            </p:txBody>
          </p:sp>
          <p:sp>
            <p:nvSpPr>
              <p:cNvPr id="173" name="Puerto Rico">
                <a:extLst>
                  <a:ext uri="{FF2B5EF4-FFF2-40B4-BE49-F238E27FC236}">
                    <a16:creationId xmlns:a16="http://schemas.microsoft.com/office/drawing/2014/main" id="{7B124EDD-52C2-376E-D2F8-D19C7EE211C1}"/>
                  </a:ext>
                </a:extLst>
              </p:cNvPr>
              <p:cNvSpPr>
                <a:spLocks/>
              </p:cNvSpPr>
              <p:nvPr/>
            </p:nvSpPr>
            <p:spPr bwMode="auto">
              <a:xfrm>
                <a:off x="2340756" y="2885620"/>
                <a:ext cx="34578" cy="13872"/>
              </a:xfrm>
              <a:custGeom>
                <a:avLst/>
                <a:gdLst>
                  <a:gd name="connsiteX0" fmla="*/ 12278 w 33930"/>
                  <a:gd name="connsiteY0" fmla="*/ 62 h 13612"/>
                  <a:gd name="connsiteX1" fmla="*/ 24557 w 33930"/>
                  <a:gd name="connsiteY1" fmla="*/ 1457 h 13612"/>
                  <a:gd name="connsiteX2" fmla="*/ 33486 w 33930"/>
                  <a:gd name="connsiteY2" fmla="*/ 5922 h 13612"/>
                  <a:gd name="connsiteX3" fmla="*/ 26789 w 33930"/>
                  <a:gd name="connsiteY3" fmla="*/ 12620 h 13612"/>
                  <a:gd name="connsiteX4" fmla="*/ 4465 w 33930"/>
                  <a:gd name="connsiteY4" fmla="*/ 12620 h 13612"/>
                  <a:gd name="connsiteX5" fmla="*/ 2232 w 33930"/>
                  <a:gd name="connsiteY5" fmla="*/ 10387 h 13612"/>
                  <a:gd name="connsiteX6" fmla="*/ 2232 w 33930"/>
                  <a:gd name="connsiteY6" fmla="*/ 8155 h 13612"/>
                  <a:gd name="connsiteX7" fmla="*/ 0 w 33930"/>
                  <a:gd name="connsiteY7" fmla="*/ 3689 h 13612"/>
                  <a:gd name="connsiteX8" fmla="*/ 12278 w 33930"/>
                  <a:gd name="connsiteY8" fmla="*/ 62 h 13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930" h="13612">
                    <a:moveTo>
                      <a:pt x="12278" y="62"/>
                    </a:moveTo>
                    <a:cubicBezTo>
                      <a:pt x="17859" y="341"/>
                      <a:pt x="23441" y="1457"/>
                      <a:pt x="24557" y="1457"/>
                    </a:cubicBezTo>
                    <a:cubicBezTo>
                      <a:pt x="29022" y="3689"/>
                      <a:pt x="35719" y="1457"/>
                      <a:pt x="33486" y="5922"/>
                    </a:cubicBezTo>
                    <a:cubicBezTo>
                      <a:pt x="33486" y="8155"/>
                      <a:pt x="29022" y="12620"/>
                      <a:pt x="26789" y="12620"/>
                    </a:cubicBezTo>
                    <a:cubicBezTo>
                      <a:pt x="20092" y="12620"/>
                      <a:pt x="11162" y="14852"/>
                      <a:pt x="4465" y="12620"/>
                    </a:cubicBezTo>
                    <a:cubicBezTo>
                      <a:pt x="4465" y="12620"/>
                      <a:pt x="0" y="14852"/>
                      <a:pt x="2232" y="10387"/>
                    </a:cubicBezTo>
                    <a:cubicBezTo>
                      <a:pt x="2232" y="10387"/>
                      <a:pt x="2232" y="8155"/>
                      <a:pt x="2232" y="8155"/>
                    </a:cubicBezTo>
                    <a:cubicBezTo>
                      <a:pt x="2232" y="5922"/>
                      <a:pt x="0" y="5922"/>
                      <a:pt x="0" y="3689"/>
                    </a:cubicBezTo>
                    <a:cubicBezTo>
                      <a:pt x="1116" y="341"/>
                      <a:pt x="6697" y="-217"/>
                      <a:pt x="12278" y="62"/>
                    </a:cubicBezTo>
                    <a:close/>
                  </a:path>
                </a:pathLst>
              </a:custGeom>
              <a:grpFill/>
              <a:ln w="3175">
                <a:solidFill>
                  <a:schemeClr val="accent2">
                    <a:lumMod val="75000"/>
                  </a:schemeClr>
                </a:solidFill>
              </a:ln>
            </p:spPr>
            <p:txBody>
              <a:bodyPr vert="horz" wrap="square" lIns="91273" tIns="45637" rIns="91273" bIns="4563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97" b="0" i="0" u="none" strike="noStrike" kern="1200" cap="none" spc="0" normalizeH="0" baseline="0" noProof="0" dirty="0">
                  <a:ln>
                    <a:noFill/>
                  </a:ln>
                  <a:solidFill>
                    <a:srgbClr val="000000"/>
                  </a:solidFill>
                  <a:effectLst/>
                  <a:uLnTx/>
                  <a:uFillTx/>
                  <a:latin typeface="Calibri"/>
                  <a:ea typeface="+mn-ea"/>
                  <a:cs typeface="+mn-cs"/>
                </a:endParaRPr>
              </a:p>
            </p:txBody>
          </p:sp>
          <p:sp>
            <p:nvSpPr>
              <p:cNvPr id="174" name="Panama">
                <a:extLst>
                  <a:ext uri="{FF2B5EF4-FFF2-40B4-BE49-F238E27FC236}">
                    <a16:creationId xmlns:a16="http://schemas.microsoft.com/office/drawing/2014/main" id="{47D59059-F2F1-5C78-08B7-CB1A7F7AC5D9}"/>
                  </a:ext>
                </a:extLst>
              </p:cNvPr>
              <p:cNvSpPr>
                <a:spLocks/>
              </p:cNvSpPr>
              <p:nvPr/>
            </p:nvSpPr>
            <p:spPr bwMode="auto">
              <a:xfrm>
                <a:off x="1976754" y="3106442"/>
                <a:ext cx="127401" cy="59879"/>
              </a:xfrm>
              <a:custGeom>
                <a:avLst/>
                <a:gdLst>
                  <a:gd name="connsiteX0" fmla="*/ 27385 w 125016"/>
                  <a:gd name="connsiteY0" fmla="*/ 48196 h 58758"/>
                  <a:gd name="connsiteX1" fmla="*/ 27385 w 125016"/>
                  <a:gd name="connsiteY1" fmla="*/ 55340 h 58758"/>
                  <a:gd name="connsiteX2" fmla="*/ 22622 w 125016"/>
                  <a:gd name="connsiteY2" fmla="*/ 52959 h 58758"/>
                  <a:gd name="connsiteX3" fmla="*/ 27385 w 125016"/>
                  <a:gd name="connsiteY3" fmla="*/ 48196 h 58758"/>
                  <a:gd name="connsiteX4" fmla="*/ 4546 w 125016"/>
                  <a:gd name="connsiteY4" fmla="*/ 482 h 58758"/>
                  <a:gd name="connsiteX5" fmla="*/ 11365 w 125016"/>
                  <a:gd name="connsiteY5" fmla="*/ 482 h 58758"/>
                  <a:gd name="connsiteX6" fmla="*/ 15911 w 125016"/>
                  <a:gd name="connsiteY6" fmla="*/ 5068 h 58758"/>
                  <a:gd name="connsiteX7" fmla="*/ 15911 w 125016"/>
                  <a:gd name="connsiteY7" fmla="*/ 9654 h 58758"/>
                  <a:gd name="connsiteX8" fmla="*/ 18184 w 125016"/>
                  <a:gd name="connsiteY8" fmla="*/ 11947 h 58758"/>
                  <a:gd name="connsiteX9" fmla="*/ 27276 w 125016"/>
                  <a:gd name="connsiteY9" fmla="*/ 16533 h 58758"/>
                  <a:gd name="connsiteX10" fmla="*/ 25003 w 125016"/>
                  <a:gd name="connsiteY10" fmla="*/ 11947 h 58758"/>
                  <a:gd name="connsiteX11" fmla="*/ 36368 w 125016"/>
                  <a:gd name="connsiteY11" fmla="*/ 21120 h 58758"/>
                  <a:gd name="connsiteX12" fmla="*/ 56825 w 125016"/>
                  <a:gd name="connsiteY12" fmla="*/ 11947 h 58758"/>
                  <a:gd name="connsiteX13" fmla="*/ 70463 w 125016"/>
                  <a:gd name="connsiteY13" fmla="*/ 5068 h 58758"/>
                  <a:gd name="connsiteX14" fmla="*/ 77283 w 125016"/>
                  <a:gd name="connsiteY14" fmla="*/ 482 h 58758"/>
                  <a:gd name="connsiteX15" fmla="*/ 88648 w 125016"/>
                  <a:gd name="connsiteY15" fmla="*/ 2775 h 58758"/>
                  <a:gd name="connsiteX16" fmla="*/ 86375 w 125016"/>
                  <a:gd name="connsiteY16" fmla="*/ 5068 h 58758"/>
                  <a:gd name="connsiteX17" fmla="*/ 109105 w 125016"/>
                  <a:gd name="connsiteY17" fmla="*/ 9654 h 58758"/>
                  <a:gd name="connsiteX18" fmla="*/ 122743 w 125016"/>
                  <a:gd name="connsiteY18" fmla="*/ 23413 h 58758"/>
                  <a:gd name="connsiteX19" fmla="*/ 125016 w 125016"/>
                  <a:gd name="connsiteY19" fmla="*/ 37171 h 58758"/>
                  <a:gd name="connsiteX20" fmla="*/ 115924 w 125016"/>
                  <a:gd name="connsiteY20" fmla="*/ 50930 h 58758"/>
                  <a:gd name="connsiteX21" fmla="*/ 113651 w 125016"/>
                  <a:gd name="connsiteY21" fmla="*/ 46344 h 58758"/>
                  <a:gd name="connsiteX22" fmla="*/ 111378 w 125016"/>
                  <a:gd name="connsiteY22" fmla="*/ 50930 h 58758"/>
                  <a:gd name="connsiteX23" fmla="*/ 109105 w 125016"/>
                  <a:gd name="connsiteY23" fmla="*/ 57809 h 58758"/>
                  <a:gd name="connsiteX24" fmla="*/ 97740 w 125016"/>
                  <a:gd name="connsiteY24" fmla="*/ 37171 h 58758"/>
                  <a:gd name="connsiteX25" fmla="*/ 102286 w 125016"/>
                  <a:gd name="connsiteY25" fmla="*/ 32585 h 58758"/>
                  <a:gd name="connsiteX26" fmla="*/ 113651 w 125016"/>
                  <a:gd name="connsiteY26" fmla="*/ 37171 h 58758"/>
                  <a:gd name="connsiteX27" fmla="*/ 109105 w 125016"/>
                  <a:gd name="connsiteY27" fmla="*/ 32585 h 58758"/>
                  <a:gd name="connsiteX28" fmla="*/ 104559 w 125016"/>
                  <a:gd name="connsiteY28" fmla="*/ 25706 h 58758"/>
                  <a:gd name="connsiteX29" fmla="*/ 104559 w 125016"/>
                  <a:gd name="connsiteY29" fmla="*/ 30292 h 58758"/>
                  <a:gd name="connsiteX30" fmla="*/ 100013 w 125016"/>
                  <a:gd name="connsiteY30" fmla="*/ 25706 h 58758"/>
                  <a:gd name="connsiteX31" fmla="*/ 100013 w 125016"/>
                  <a:gd name="connsiteY31" fmla="*/ 30292 h 58758"/>
                  <a:gd name="connsiteX32" fmla="*/ 93194 w 125016"/>
                  <a:gd name="connsiteY32" fmla="*/ 21120 h 58758"/>
                  <a:gd name="connsiteX33" fmla="*/ 88648 w 125016"/>
                  <a:gd name="connsiteY33" fmla="*/ 16533 h 58758"/>
                  <a:gd name="connsiteX34" fmla="*/ 84102 w 125016"/>
                  <a:gd name="connsiteY34" fmla="*/ 14240 h 58758"/>
                  <a:gd name="connsiteX35" fmla="*/ 70463 w 125016"/>
                  <a:gd name="connsiteY35" fmla="*/ 21120 h 58758"/>
                  <a:gd name="connsiteX36" fmla="*/ 59098 w 125016"/>
                  <a:gd name="connsiteY36" fmla="*/ 32585 h 58758"/>
                  <a:gd name="connsiteX37" fmla="*/ 61371 w 125016"/>
                  <a:gd name="connsiteY37" fmla="*/ 46344 h 58758"/>
                  <a:gd name="connsiteX38" fmla="*/ 63644 w 125016"/>
                  <a:gd name="connsiteY38" fmla="*/ 53223 h 58758"/>
                  <a:gd name="connsiteX39" fmla="*/ 56825 w 125016"/>
                  <a:gd name="connsiteY39" fmla="*/ 55516 h 58758"/>
                  <a:gd name="connsiteX40" fmla="*/ 45460 w 125016"/>
                  <a:gd name="connsiteY40" fmla="*/ 57809 h 58758"/>
                  <a:gd name="connsiteX41" fmla="*/ 43187 w 125016"/>
                  <a:gd name="connsiteY41" fmla="*/ 50930 h 58758"/>
                  <a:gd name="connsiteX42" fmla="*/ 40914 w 125016"/>
                  <a:gd name="connsiteY42" fmla="*/ 41758 h 58758"/>
                  <a:gd name="connsiteX43" fmla="*/ 38641 w 125016"/>
                  <a:gd name="connsiteY43" fmla="*/ 41758 h 58758"/>
                  <a:gd name="connsiteX44" fmla="*/ 31822 w 125016"/>
                  <a:gd name="connsiteY44" fmla="*/ 44051 h 58758"/>
                  <a:gd name="connsiteX45" fmla="*/ 22730 w 125016"/>
                  <a:gd name="connsiteY45" fmla="*/ 34878 h 58758"/>
                  <a:gd name="connsiteX46" fmla="*/ 18184 w 125016"/>
                  <a:gd name="connsiteY46" fmla="*/ 32585 h 58758"/>
                  <a:gd name="connsiteX47" fmla="*/ 13638 w 125016"/>
                  <a:gd name="connsiteY47" fmla="*/ 30292 h 58758"/>
                  <a:gd name="connsiteX48" fmla="*/ 4546 w 125016"/>
                  <a:gd name="connsiteY48" fmla="*/ 32585 h 58758"/>
                  <a:gd name="connsiteX49" fmla="*/ 2273 w 125016"/>
                  <a:gd name="connsiteY49" fmla="*/ 39464 h 58758"/>
                  <a:gd name="connsiteX50" fmla="*/ 0 w 125016"/>
                  <a:gd name="connsiteY50" fmla="*/ 32585 h 58758"/>
                  <a:gd name="connsiteX51" fmla="*/ 4546 w 125016"/>
                  <a:gd name="connsiteY51" fmla="*/ 27999 h 58758"/>
                  <a:gd name="connsiteX52" fmla="*/ 6819 w 125016"/>
                  <a:gd name="connsiteY52" fmla="*/ 18827 h 58758"/>
                  <a:gd name="connsiteX53" fmla="*/ 2273 w 125016"/>
                  <a:gd name="connsiteY53" fmla="*/ 11947 h 58758"/>
                  <a:gd name="connsiteX54" fmla="*/ 4546 w 125016"/>
                  <a:gd name="connsiteY54" fmla="*/ 482 h 58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25016" h="58758">
                    <a:moveTo>
                      <a:pt x="27385" y="48196"/>
                    </a:moveTo>
                    <a:cubicBezTo>
                      <a:pt x="27385" y="50577"/>
                      <a:pt x="27385" y="52959"/>
                      <a:pt x="27385" y="55340"/>
                    </a:cubicBezTo>
                    <a:cubicBezTo>
                      <a:pt x="27385" y="55340"/>
                      <a:pt x="25003" y="55340"/>
                      <a:pt x="22622" y="52959"/>
                    </a:cubicBezTo>
                    <a:cubicBezTo>
                      <a:pt x="22622" y="50577"/>
                      <a:pt x="25003" y="50577"/>
                      <a:pt x="27385" y="48196"/>
                    </a:cubicBezTo>
                    <a:close/>
                    <a:moveTo>
                      <a:pt x="4546" y="482"/>
                    </a:moveTo>
                    <a:cubicBezTo>
                      <a:pt x="6819" y="-1811"/>
                      <a:pt x="9092" y="5068"/>
                      <a:pt x="11365" y="482"/>
                    </a:cubicBezTo>
                    <a:cubicBezTo>
                      <a:pt x="13638" y="2775"/>
                      <a:pt x="15911" y="5068"/>
                      <a:pt x="15911" y="5068"/>
                    </a:cubicBezTo>
                    <a:cubicBezTo>
                      <a:pt x="15911" y="7361"/>
                      <a:pt x="15911" y="9654"/>
                      <a:pt x="15911" y="9654"/>
                    </a:cubicBezTo>
                    <a:cubicBezTo>
                      <a:pt x="15911" y="11947"/>
                      <a:pt x="18184" y="9654"/>
                      <a:pt x="18184" y="11947"/>
                    </a:cubicBezTo>
                    <a:cubicBezTo>
                      <a:pt x="15911" y="18827"/>
                      <a:pt x="22730" y="16533"/>
                      <a:pt x="27276" y="16533"/>
                    </a:cubicBezTo>
                    <a:cubicBezTo>
                      <a:pt x="27276" y="14240"/>
                      <a:pt x="25003" y="14240"/>
                      <a:pt x="25003" y="11947"/>
                    </a:cubicBezTo>
                    <a:cubicBezTo>
                      <a:pt x="29549" y="11947"/>
                      <a:pt x="31822" y="21120"/>
                      <a:pt x="36368" y="21120"/>
                    </a:cubicBezTo>
                    <a:cubicBezTo>
                      <a:pt x="45460" y="21120"/>
                      <a:pt x="50006" y="14240"/>
                      <a:pt x="56825" y="11947"/>
                    </a:cubicBezTo>
                    <a:cubicBezTo>
                      <a:pt x="61371" y="9654"/>
                      <a:pt x="68190" y="9654"/>
                      <a:pt x="70463" y="5068"/>
                    </a:cubicBezTo>
                    <a:cubicBezTo>
                      <a:pt x="72737" y="2775"/>
                      <a:pt x="75010" y="482"/>
                      <a:pt x="77283" y="482"/>
                    </a:cubicBezTo>
                    <a:cubicBezTo>
                      <a:pt x="81829" y="482"/>
                      <a:pt x="84102" y="2775"/>
                      <a:pt x="88648" y="2775"/>
                    </a:cubicBezTo>
                    <a:cubicBezTo>
                      <a:pt x="88648" y="2775"/>
                      <a:pt x="86375" y="2775"/>
                      <a:pt x="86375" y="5068"/>
                    </a:cubicBezTo>
                    <a:cubicBezTo>
                      <a:pt x="93194" y="2775"/>
                      <a:pt x="104559" y="5068"/>
                      <a:pt x="109105" y="9654"/>
                    </a:cubicBezTo>
                    <a:cubicBezTo>
                      <a:pt x="111378" y="14240"/>
                      <a:pt x="118197" y="23413"/>
                      <a:pt x="122743" y="23413"/>
                    </a:cubicBezTo>
                    <a:cubicBezTo>
                      <a:pt x="118197" y="27999"/>
                      <a:pt x="122743" y="30292"/>
                      <a:pt x="125016" y="37171"/>
                    </a:cubicBezTo>
                    <a:cubicBezTo>
                      <a:pt x="125016" y="41758"/>
                      <a:pt x="120470" y="48637"/>
                      <a:pt x="115924" y="50930"/>
                    </a:cubicBezTo>
                    <a:cubicBezTo>
                      <a:pt x="115924" y="48637"/>
                      <a:pt x="113651" y="48637"/>
                      <a:pt x="113651" y="46344"/>
                    </a:cubicBezTo>
                    <a:cubicBezTo>
                      <a:pt x="111378" y="48637"/>
                      <a:pt x="113651" y="48637"/>
                      <a:pt x="111378" y="50930"/>
                    </a:cubicBezTo>
                    <a:cubicBezTo>
                      <a:pt x="111378" y="53223"/>
                      <a:pt x="111378" y="55516"/>
                      <a:pt x="109105" y="57809"/>
                    </a:cubicBezTo>
                    <a:cubicBezTo>
                      <a:pt x="104559" y="55516"/>
                      <a:pt x="97740" y="44051"/>
                      <a:pt x="97740" y="37171"/>
                    </a:cubicBezTo>
                    <a:cubicBezTo>
                      <a:pt x="102286" y="39464"/>
                      <a:pt x="102286" y="34878"/>
                      <a:pt x="102286" y="32585"/>
                    </a:cubicBezTo>
                    <a:cubicBezTo>
                      <a:pt x="104559" y="30292"/>
                      <a:pt x="111378" y="34878"/>
                      <a:pt x="113651" y="37171"/>
                    </a:cubicBezTo>
                    <a:cubicBezTo>
                      <a:pt x="111378" y="34878"/>
                      <a:pt x="109105" y="34878"/>
                      <a:pt x="109105" y="32585"/>
                    </a:cubicBezTo>
                    <a:cubicBezTo>
                      <a:pt x="106832" y="30292"/>
                      <a:pt x="106832" y="27999"/>
                      <a:pt x="104559" y="25706"/>
                    </a:cubicBezTo>
                    <a:cubicBezTo>
                      <a:pt x="106832" y="27999"/>
                      <a:pt x="104559" y="30292"/>
                      <a:pt x="104559" y="30292"/>
                    </a:cubicBezTo>
                    <a:cubicBezTo>
                      <a:pt x="104559" y="25706"/>
                      <a:pt x="100013" y="30292"/>
                      <a:pt x="100013" y="25706"/>
                    </a:cubicBezTo>
                    <a:cubicBezTo>
                      <a:pt x="100013" y="27999"/>
                      <a:pt x="100013" y="30292"/>
                      <a:pt x="100013" y="30292"/>
                    </a:cubicBezTo>
                    <a:cubicBezTo>
                      <a:pt x="97740" y="27999"/>
                      <a:pt x="97740" y="23413"/>
                      <a:pt x="93194" y="21120"/>
                    </a:cubicBezTo>
                    <a:cubicBezTo>
                      <a:pt x="90921" y="18827"/>
                      <a:pt x="88648" y="18827"/>
                      <a:pt x="88648" y="16533"/>
                    </a:cubicBezTo>
                    <a:cubicBezTo>
                      <a:pt x="84102" y="14240"/>
                      <a:pt x="86375" y="14240"/>
                      <a:pt x="84102" y="14240"/>
                    </a:cubicBezTo>
                    <a:cubicBezTo>
                      <a:pt x="79556" y="14240"/>
                      <a:pt x="70463" y="16533"/>
                      <a:pt x="70463" y="21120"/>
                    </a:cubicBezTo>
                    <a:cubicBezTo>
                      <a:pt x="70463" y="25706"/>
                      <a:pt x="63644" y="32585"/>
                      <a:pt x="59098" y="32585"/>
                    </a:cubicBezTo>
                    <a:cubicBezTo>
                      <a:pt x="50006" y="30292"/>
                      <a:pt x="59098" y="44051"/>
                      <a:pt x="61371" y="46344"/>
                    </a:cubicBezTo>
                    <a:cubicBezTo>
                      <a:pt x="61371" y="46344"/>
                      <a:pt x="65917" y="50930"/>
                      <a:pt x="63644" y="53223"/>
                    </a:cubicBezTo>
                    <a:cubicBezTo>
                      <a:pt x="61371" y="55516"/>
                      <a:pt x="59098" y="53223"/>
                      <a:pt x="56825" y="55516"/>
                    </a:cubicBezTo>
                    <a:cubicBezTo>
                      <a:pt x="54552" y="57809"/>
                      <a:pt x="47733" y="60102"/>
                      <a:pt x="45460" y="57809"/>
                    </a:cubicBezTo>
                    <a:cubicBezTo>
                      <a:pt x="43187" y="57809"/>
                      <a:pt x="43187" y="53223"/>
                      <a:pt x="43187" y="50930"/>
                    </a:cubicBezTo>
                    <a:cubicBezTo>
                      <a:pt x="43187" y="48637"/>
                      <a:pt x="43187" y="44051"/>
                      <a:pt x="40914" y="41758"/>
                    </a:cubicBezTo>
                    <a:cubicBezTo>
                      <a:pt x="40914" y="44051"/>
                      <a:pt x="38641" y="44051"/>
                      <a:pt x="38641" y="41758"/>
                    </a:cubicBezTo>
                    <a:cubicBezTo>
                      <a:pt x="40914" y="48637"/>
                      <a:pt x="34095" y="50930"/>
                      <a:pt x="31822" y="44051"/>
                    </a:cubicBezTo>
                    <a:cubicBezTo>
                      <a:pt x="27276" y="39464"/>
                      <a:pt x="27276" y="37171"/>
                      <a:pt x="22730" y="34878"/>
                    </a:cubicBezTo>
                    <a:cubicBezTo>
                      <a:pt x="20457" y="34878"/>
                      <a:pt x="18184" y="34878"/>
                      <a:pt x="18184" y="32585"/>
                    </a:cubicBezTo>
                    <a:cubicBezTo>
                      <a:pt x="15911" y="30292"/>
                      <a:pt x="13638" y="32585"/>
                      <a:pt x="13638" y="30292"/>
                    </a:cubicBezTo>
                    <a:cubicBezTo>
                      <a:pt x="11365" y="34878"/>
                      <a:pt x="6819" y="30292"/>
                      <a:pt x="4546" y="32585"/>
                    </a:cubicBezTo>
                    <a:cubicBezTo>
                      <a:pt x="2273" y="34878"/>
                      <a:pt x="4546" y="37171"/>
                      <a:pt x="2273" y="39464"/>
                    </a:cubicBezTo>
                    <a:cubicBezTo>
                      <a:pt x="2273" y="37171"/>
                      <a:pt x="2273" y="34878"/>
                      <a:pt x="0" y="32585"/>
                    </a:cubicBezTo>
                    <a:cubicBezTo>
                      <a:pt x="0" y="30292"/>
                      <a:pt x="4546" y="27999"/>
                      <a:pt x="4546" y="27999"/>
                    </a:cubicBezTo>
                    <a:cubicBezTo>
                      <a:pt x="4546" y="23413"/>
                      <a:pt x="2273" y="18827"/>
                      <a:pt x="6819" y="18827"/>
                    </a:cubicBezTo>
                    <a:cubicBezTo>
                      <a:pt x="9092" y="16533"/>
                      <a:pt x="2273" y="14240"/>
                      <a:pt x="2273" y="11947"/>
                    </a:cubicBezTo>
                    <a:cubicBezTo>
                      <a:pt x="2273" y="9654"/>
                      <a:pt x="4546" y="2775"/>
                      <a:pt x="4546" y="482"/>
                    </a:cubicBezTo>
                    <a:close/>
                  </a:path>
                </a:pathLst>
              </a:custGeom>
              <a:grpFill/>
              <a:ln w="3175">
                <a:solidFill>
                  <a:schemeClr val="accent2">
                    <a:lumMod val="75000"/>
                  </a:schemeClr>
                </a:solidFill>
              </a:ln>
            </p:spPr>
            <p:txBody>
              <a:bodyPr vert="horz" wrap="square" lIns="91273" tIns="45637" rIns="91273" bIns="4563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97" b="0" i="0" u="none" strike="noStrike" kern="1200" cap="none" spc="0" normalizeH="0" baseline="0" noProof="0" dirty="0">
                  <a:ln>
                    <a:noFill/>
                  </a:ln>
                  <a:solidFill>
                    <a:srgbClr val="000000"/>
                  </a:solidFill>
                  <a:effectLst/>
                  <a:uLnTx/>
                  <a:uFillTx/>
                  <a:latin typeface="Calibri"/>
                  <a:ea typeface="+mn-ea"/>
                  <a:cs typeface="+mn-cs"/>
                </a:endParaRPr>
              </a:p>
            </p:txBody>
          </p:sp>
          <p:sp>
            <p:nvSpPr>
              <p:cNvPr id="175" name="Peru">
                <a:extLst>
                  <a:ext uri="{FF2B5EF4-FFF2-40B4-BE49-F238E27FC236}">
                    <a16:creationId xmlns:a16="http://schemas.microsoft.com/office/drawing/2014/main" id="{49D0B920-544E-B562-7EFA-59E0F4CDA1DB}"/>
                  </a:ext>
                </a:extLst>
              </p:cNvPr>
              <p:cNvSpPr>
                <a:spLocks/>
              </p:cNvSpPr>
              <p:nvPr/>
            </p:nvSpPr>
            <p:spPr bwMode="auto">
              <a:xfrm>
                <a:off x="2009515" y="3346051"/>
                <a:ext cx="289988" cy="456215"/>
              </a:xfrm>
              <a:custGeom>
                <a:avLst/>
                <a:gdLst/>
                <a:ahLst/>
                <a:cxnLst>
                  <a:cxn ang="0">
                    <a:pos x="7" y="39"/>
                  </a:cxn>
                  <a:cxn ang="0">
                    <a:pos x="8" y="43"/>
                  </a:cxn>
                  <a:cxn ang="0">
                    <a:pos x="13" y="48"/>
                  </a:cxn>
                  <a:cxn ang="0">
                    <a:pos x="23" y="51"/>
                  </a:cxn>
                  <a:cxn ang="0">
                    <a:pos x="27" y="39"/>
                  </a:cxn>
                  <a:cxn ang="0">
                    <a:pos x="31" y="34"/>
                  </a:cxn>
                  <a:cxn ang="0">
                    <a:pos x="55" y="10"/>
                  </a:cxn>
                  <a:cxn ang="0">
                    <a:pos x="53" y="1"/>
                  </a:cxn>
                  <a:cxn ang="0">
                    <a:pos x="63" y="4"/>
                  </a:cxn>
                  <a:cxn ang="0">
                    <a:pos x="69" y="13"/>
                  </a:cxn>
                  <a:cxn ang="0">
                    <a:pos x="78" y="25"/>
                  </a:cxn>
                  <a:cxn ang="0">
                    <a:pos x="85" y="27"/>
                  </a:cxn>
                  <a:cxn ang="0">
                    <a:pos x="99" y="24"/>
                  </a:cxn>
                  <a:cxn ang="0">
                    <a:pos x="105" y="32"/>
                  </a:cxn>
                  <a:cxn ang="0">
                    <a:pos x="107" y="44"/>
                  </a:cxn>
                  <a:cxn ang="0">
                    <a:pos x="105" y="47"/>
                  </a:cxn>
                  <a:cxn ang="0">
                    <a:pos x="86" y="51"/>
                  </a:cxn>
                  <a:cxn ang="0">
                    <a:pos x="79" y="62"/>
                  </a:cxn>
                  <a:cxn ang="0">
                    <a:pos x="74" y="73"/>
                  </a:cxn>
                  <a:cxn ang="0">
                    <a:pos x="72" y="79"/>
                  </a:cxn>
                  <a:cxn ang="0">
                    <a:pos x="77" y="90"/>
                  </a:cxn>
                  <a:cxn ang="0">
                    <a:pos x="79" y="101"/>
                  </a:cxn>
                  <a:cxn ang="0">
                    <a:pos x="99" y="106"/>
                  </a:cxn>
                  <a:cxn ang="0">
                    <a:pos x="104" y="107"/>
                  </a:cxn>
                  <a:cxn ang="0">
                    <a:pos x="112" y="117"/>
                  </a:cxn>
                  <a:cxn ang="0">
                    <a:pos x="123" y="132"/>
                  </a:cxn>
                  <a:cxn ang="0">
                    <a:pos x="122" y="148"/>
                  </a:cxn>
                  <a:cxn ang="0">
                    <a:pos x="120" y="159"/>
                  </a:cxn>
                  <a:cxn ang="0">
                    <a:pos x="115" y="165"/>
                  </a:cxn>
                  <a:cxn ang="0">
                    <a:pos x="117" y="171"/>
                  </a:cxn>
                  <a:cxn ang="0">
                    <a:pos x="124" y="174"/>
                  </a:cxn>
                  <a:cxn ang="0">
                    <a:pos x="125" y="179"/>
                  </a:cxn>
                  <a:cxn ang="0">
                    <a:pos x="121" y="186"/>
                  </a:cxn>
                  <a:cxn ang="0">
                    <a:pos x="119" y="195"/>
                  </a:cxn>
                  <a:cxn ang="0">
                    <a:pos x="106" y="191"/>
                  </a:cxn>
                  <a:cxn ang="0">
                    <a:pos x="85" y="176"/>
                  </a:cxn>
                  <a:cxn ang="0">
                    <a:pos x="68" y="166"/>
                  </a:cxn>
                  <a:cxn ang="0">
                    <a:pos x="55" y="152"/>
                  </a:cxn>
                  <a:cxn ang="0">
                    <a:pos x="54" y="149"/>
                  </a:cxn>
                  <a:cxn ang="0">
                    <a:pos x="44" y="129"/>
                  </a:cxn>
                  <a:cxn ang="0">
                    <a:pos x="39" y="121"/>
                  </a:cxn>
                  <a:cxn ang="0">
                    <a:pos x="34" y="111"/>
                  </a:cxn>
                  <a:cxn ang="0">
                    <a:pos x="18" y="80"/>
                  </a:cxn>
                  <a:cxn ang="0">
                    <a:pos x="3" y="63"/>
                  </a:cxn>
                  <a:cxn ang="0">
                    <a:pos x="2" y="54"/>
                  </a:cxn>
                </a:cxnLst>
                <a:rect l="0" t="0" r="r" b="b"/>
                <a:pathLst>
                  <a:path w="125" h="197">
                    <a:moveTo>
                      <a:pt x="0" y="48"/>
                    </a:moveTo>
                    <a:cubicBezTo>
                      <a:pt x="1" y="46"/>
                      <a:pt x="2" y="44"/>
                      <a:pt x="4" y="42"/>
                    </a:cubicBezTo>
                    <a:cubicBezTo>
                      <a:pt x="5" y="41"/>
                      <a:pt x="5" y="40"/>
                      <a:pt x="7" y="39"/>
                    </a:cubicBezTo>
                    <a:cubicBezTo>
                      <a:pt x="7" y="38"/>
                      <a:pt x="9" y="37"/>
                      <a:pt x="9" y="36"/>
                    </a:cubicBezTo>
                    <a:cubicBezTo>
                      <a:pt x="10" y="37"/>
                      <a:pt x="12" y="42"/>
                      <a:pt x="10" y="42"/>
                    </a:cubicBezTo>
                    <a:cubicBezTo>
                      <a:pt x="10" y="43"/>
                      <a:pt x="9" y="42"/>
                      <a:pt x="8" y="43"/>
                    </a:cubicBezTo>
                    <a:cubicBezTo>
                      <a:pt x="8" y="44"/>
                      <a:pt x="8" y="45"/>
                      <a:pt x="9" y="45"/>
                    </a:cubicBezTo>
                    <a:cubicBezTo>
                      <a:pt x="8" y="47"/>
                      <a:pt x="8" y="49"/>
                      <a:pt x="10" y="47"/>
                    </a:cubicBezTo>
                    <a:cubicBezTo>
                      <a:pt x="11" y="45"/>
                      <a:pt x="12" y="46"/>
                      <a:pt x="13" y="48"/>
                    </a:cubicBezTo>
                    <a:cubicBezTo>
                      <a:pt x="15" y="49"/>
                      <a:pt x="16" y="47"/>
                      <a:pt x="17" y="49"/>
                    </a:cubicBezTo>
                    <a:cubicBezTo>
                      <a:pt x="18" y="50"/>
                      <a:pt x="18" y="53"/>
                      <a:pt x="20" y="53"/>
                    </a:cubicBezTo>
                    <a:cubicBezTo>
                      <a:pt x="22" y="53"/>
                      <a:pt x="22" y="53"/>
                      <a:pt x="23" y="51"/>
                    </a:cubicBezTo>
                    <a:cubicBezTo>
                      <a:pt x="26" y="37"/>
                      <a:pt x="29" y="33"/>
                      <a:pt x="25" y="48"/>
                    </a:cubicBezTo>
                    <a:cubicBezTo>
                      <a:pt x="24" y="50"/>
                      <a:pt x="26" y="44"/>
                      <a:pt x="27" y="42"/>
                    </a:cubicBezTo>
                    <a:cubicBezTo>
                      <a:pt x="27" y="40"/>
                      <a:pt x="27" y="40"/>
                      <a:pt x="27" y="39"/>
                    </a:cubicBezTo>
                    <a:cubicBezTo>
                      <a:pt x="27" y="38"/>
                      <a:pt x="29" y="36"/>
                      <a:pt x="29" y="38"/>
                    </a:cubicBezTo>
                    <a:cubicBezTo>
                      <a:pt x="29" y="37"/>
                      <a:pt x="29" y="37"/>
                      <a:pt x="29" y="36"/>
                    </a:cubicBezTo>
                    <a:cubicBezTo>
                      <a:pt x="29" y="35"/>
                      <a:pt x="30" y="35"/>
                      <a:pt x="31" y="34"/>
                    </a:cubicBezTo>
                    <a:cubicBezTo>
                      <a:pt x="32" y="33"/>
                      <a:pt x="33" y="32"/>
                      <a:pt x="34" y="31"/>
                    </a:cubicBezTo>
                    <a:cubicBezTo>
                      <a:pt x="37" y="30"/>
                      <a:pt x="41" y="29"/>
                      <a:pt x="44" y="27"/>
                    </a:cubicBezTo>
                    <a:cubicBezTo>
                      <a:pt x="50" y="23"/>
                      <a:pt x="54" y="17"/>
                      <a:pt x="55" y="10"/>
                    </a:cubicBezTo>
                    <a:cubicBezTo>
                      <a:pt x="56" y="10"/>
                      <a:pt x="56" y="11"/>
                      <a:pt x="57" y="10"/>
                    </a:cubicBezTo>
                    <a:cubicBezTo>
                      <a:pt x="56" y="8"/>
                      <a:pt x="57" y="7"/>
                      <a:pt x="56" y="5"/>
                    </a:cubicBezTo>
                    <a:cubicBezTo>
                      <a:pt x="55" y="4"/>
                      <a:pt x="53" y="2"/>
                      <a:pt x="53" y="1"/>
                    </a:cubicBezTo>
                    <a:cubicBezTo>
                      <a:pt x="54" y="1"/>
                      <a:pt x="55" y="2"/>
                      <a:pt x="56" y="1"/>
                    </a:cubicBezTo>
                    <a:cubicBezTo>
                      <a:pt x="57" y="1"/>
                      <a:pt x="57" y="0"/>
                      <a:pt x="58" y="1"/>
                    </a:cubicBezTo>
                    <a:cubicBezTo>
                      <a:pt x="60" y="1"/>
                      <a:pt x="61" y="2"/>
                      <a:pt x="63" y="4"/>
                    </a:cubicBezTo>
                    <a:cubicBezTo>
                      <a:pt x="64" y="6"/>
                      <a:pt x="65" y="6"/>
                      <a:pt x="66" y="9"/>
                    </a:cubicBezTo>
                    <a:cubicBezTo>
                      <a:pt x="66" y="10"/>
                      <a:pt x="66" y="11"/>
                      <a:pt x="67" y="11"/>
                    </a:cubicBezTo>
                    <a:cubicBezTo>
                      <a:pt x="69" y="11"/>
                      <a:pt x="68" y="12"/>
                      <a:pt x="69" y="13"/>
                    </a:cubicBezTo>
                    <a:cubicBezTo>
                      <a:pt x="71" y="14"/>
                      <a:pt x="73" y="13"/>
                      <a:pt x="73" y="16"/>
                    </a:cubicBezTo>
                    <a:cubicBezTo>
                      <a:pt x="74" y="19"/>
                      <a:pt x="74" y="19"/>
                      <a:pt x="76" y="20"/>
                    </a:cubicBezTo>
                    <a:cubicBezTo>
                      <a:pt x="79" y="21"/>
                      <a:pt x="76" y="24"/>
                      <a:pt x="78" y="25"/>
                    </a:cubicBezTo>
                    <a:cubicBezTo>
                      <a:pt x="78" y="26"/>
                      <a:pt x="79" y="26"/>
                      <a:pt x="81" y="26"/>
                    </a:cubicBezTo>
                    <a:cubicBezTo>
                      <a:pt x="81" y="26"/>
                      <a:pt x="82" y="26"/>
                      <a:pt x="83" y="26"/>
                    </a:cubicBezTo>
                    <a:cubicBezTo>
                      <a:pt x="83" y="26"/>
                      <a:pt x="84" y="27"/>
                      <a:pt x="85" y="27"/>
                    </a:cubicBezTo>
                    <a:cubicBezTo>
                      <a:pt x="87" y="27"/>
                      <a:pt x="89" y="25"/>
                      <a:pt x="90" y="24"/>
                    </a:cubicBezTo>
                    <a:cubicBezTo>
                      <a:pt x="91" y="22"/>
                      <a:pt x="93" y="25"/>
                      <a:pt x="94" y="25"/>
                    </a:cubicBezTo>
                    <a:cubicBezTo>
                      <a:pt x="95" y="25"/>
                      <a:pt x="98" y="23"/>
                      <a:pt x="99" y="24"/>
                    </a:cubicBezTo>
                    <a:cubicBezTo>
                      <a:pt x="100" y="24"/>
                      <a:pt x="100" y="26"/>
                      <a:pt x="101" y="26"/>
                    </a:cubicBezTo>
                    <a:cubicBezTo>
                      <a:pt x="102" y="27"/>
                      <a:pt x="104" y="27"/>
                      <a:pt x="104" y="27"/>
                    </a:cubicBezTo>
                    <a:cubicBezTo>
                      <a:pt x="106" y="29"/>
                      <a:pt x="106" y="30"/>
                      <a:pt x="105" y="32"/>
                    </a:cubicBezTo>
                    <a:cubicBezTo>
                      <a:pt x="103" y="34"/>
                      <a:pt x="101" y="38"/>
                      <a:pt x="101" y="40"/>
                    </a:cubicBezTo>
                    <a:cubicBezTo>
                      <a:pt x="100" y="42"/>
                      <a:pt x="103" y="40"/>
                      <a:pt x="105" y="41"/>
                    </a:cubicBezTo>
                    <a:cubicBezTo>
                      <a:pt x="106" y="42"/>
                      <a:pt x="106" y="43"/>
                      <a:pt x="107" y="44"/>
                    </a:cubicBezTo>
                    <a:cubicBezTo>
                      <a:pt x="107" y="45"/>
                      <a:pt x="108" y="45"/>
                      <a:pt x="108" y="45"/>
                    </a:cubicBezTo>
                    <a:cubicBezTo>
                      <a:pt x="107" y="46"/>
                      <a:pt x="107" y="47"/>
                      <a:pt x="106" y="46"/>
                    </a:cubicBezTo>
                    <a:cubicBezTo>
                      <a:pt x="105" y="47"/>
                      <a:pt x="105" y="47"/>
                      <a:pt x="105" y="47"/>
                    </a:cubicBezTo>
                    <a:cubicBezTo>
                      <a:pt x="104" y="45"/>
                      <a:pt x="101" y="43"/>
                      <a:pt x="99" y="46"/>
                    </a:cubicBezTo>
                    <a:cubicBezTo>
                      <a:pt x="97" y="48"/>
                      <a:pt x="93" y="47"/>
                      <a:pt x="90" y="48"/>
                    </a:cubicBezTo>
                    <a:cubicBezTo>
                      <a:pt x="88" y="49"/>
                      <a:pt x="88" y="50"/>
                      <a:pt x="86" y="51"/>
                    </a:cubicBezTo>
                    <a:cubicBezTo>
                      <a:pt x="85" y="51"/>
                      <a:pt x="85" y="52"/>
                      <a:pt x="84" y="53"/>
                    </a:cubicBezTo>
                    <a:cubicBezTo>
                      <a:pt x="82" y="55"/>
                      <a:pt x="80" y="54"/>
                      <a:pt x="80" y="58"/>
                    </a:cubicBezTo>
                    <a:cubicBezTo>
                      <a:pt x="80" y="60"/>
                      <a:pt x="80" y="61"/>
                      <a:pt x="79" y="62"/>
                    </a:cubicBezTo>
                    <a:cubicBezTo>
                      <a:pt x="78" y="63"/>
                      <a:pt x="77" y="64"/>
                      <a:pt x="78" y="66"/>
                    </a:cubicBezTo>
                    <a:cubicBezTo>
                      <a:pt x="78" y="67"/>
                      <a:pt x="79" y="69"/>
                      <a:pt x="78" y="70"/>
                    </a:cubicBezTo>
                    <a:cubicBezTo>
                      <a:pt x="76" y="71"/>
                      <a:pt x="75" y="72"/>
                      <a:pt x="74" y="73"/>
                    </a:cubicBezTo>
                    <a:cubicBezTo>
                      <a:pt x="73" y="74"/>
                      <a:pt x="73" y="75"/>
                      <a:pt x="73" y="76"/>
                    </a:cubicBezTo>
                    <a:cubicBezTo>
                      <a:pt x="73" y="77"/>
                      <a:pt x="73" y="78"/>
                      <a:pt x="74" y="78"/>
                    </a:cubicBezTo>
                    <a:cubicBezTo>
                      <a:pt x="73" y="79"/>
                      <a:pt x="72" y="79"/>
                      <a:pt x="72" y="79"/>
                    </a:cubicBezTo>
                    <a:cubicBezTo>
                      <a:pt x="70" y="82"/>
                      <a:pt x="75" y="84"/>
                      <a:pt x="73" y="85"/>
                    </a:cubicBezTo>
                    <a:cubicBezTo>
                      <a:pt x="74" y="86"/>
                      <a:pt x="75" y="87"/>
                      <a:pt x="75" y="89"/>
                    </a:cubicBezTo>
                    <a:cubicBezTo>
                      <a:pt x="76" y="90"/>
                      <a:pt x="76" y="90"/>
                      <a:pt x="77" y="90"/>
                    </a:cubicBezTo>
                    <a:cubicBezTo>
                      <a:pt x="78" y="91"/>
                      <a:pt x="77" y="92"/>
                      <a:pt x="78" y="93"/>
                    </a:cubicBezTo>
                    <a:cubicBezTo>
                      <a:pt x="79" y="94"/>
                      <a:pt x="81" y="95"/>
                      <a:pt x="81" y="96"/>
                    </a:cubicBezTo>
                    <a:cubicBezTo>
                      <a:pt x="82" y="98"/>
                      <a:pt x="81" y="99"/>
                      <a:pt x="79" y="101"/>
                    </a:cubicBezTo>
                    <a:cubicBezTo>
                      <a:pt x="82" y="102"/>
                      <a:pt x="85" y="101"/>
                      <a:pt x="87" y="102"/>
                    </a:cubicBezTo>
                    <a:cubicBezTo>
                      <a:pt x="89" y="103"/>
                      <a:pt x="90" y="106"/>
                      <a:pt x="89" y="107"/>
                    </a:cubicBezTo>
                    <a:cubicBezTo>
                      <a:pt x="92" y="108"/>
                      <a:pt x="96" y="108"/>
                      <a:pt x="99" y="106"/>
                    </a:cubicBezTo>
                    <a:cubicBezTo>
                      <a:pt x="100" y="105"/>
                      <a:pt x="103" y="101"/>
                      <a:pt x="105" y="101"/>
                    </a:cubicBezTo>
                    <a:cubicBezTo>
                      <a:pt x="105" y="102"/>
                      <a:pt x="104" y="102"/>
                      <a:pt x="104" y="103"/>
                    </a:cubicBezTo>
                    <a:cubicBezTo>
                      <a:pt x="105" y="105"/>
                      <a:pt x="104" y="106"/>
                      <a:pt x="104" y="107"/>
                    </a:cubicBezTo>
                    <a:cubicBezTo>
                      <a:pt x="104" y="111"/>
                      <a:pt x="104" y="114"/>
                      <a:pt x="105" y="118"/>
                    </a:cubicBezTo>
                    <a:cubicBezTo>
                      <a:pt x="106" y="117"/>
                      <a:pt x="107" y="119"/>
                      <a:pt x="108" y="119"/>
                    </a:cubicBezTo>
                    <a:cubicBezTo>
                      <a:pt x="109" y="118"/>
                      <a:pt x="111" y="117"/>
                      <a:pt x="112" y="117"/>
                    </a:cubicBezTo>
                    <a:cubicBezTo>
                      <a:pt x="114" y="117"/>
                      <a:pt x="115" y="117"/>
                      <a:pt x="116" y="119"/>
                    </a:cubicBezTo>
                    <a:cubicBezTo>
                      <a:pt x="116" y="121"/>
                      <a:pt x="118" y="123"/>
                      <a:pt x="119" y="125"/>
                    </a:cubicBezTo>
                    <a:cubicBezTo>
                      <a:pt x="120" y="128"/>
                      <a:pt x="122" y="130"/>
                      <a:pt x="123" y="132"/>
                    </a:cubicBezTo>
                    <a:cubicBezTo>
                      <a:pt x="124" y="134"/>
                      <a:pt x="125" y="135"/>
                      <a:pt x="123" y="136"/>
                    </a:cubicBezTo>
                    <a:cubicBezTo>
                      <a:pt x="122" y="138"/>
                      <a:pt x="121" y="140"/>
                      <a:pt x="122" y="142"/>
                    </a:cubicBezTo>
                    <a:cubicBezTo>
                      <a:pt x="123" y="143"/>
                      <a:pt x="122" y="145"/>
                      <a:pt x="122" y="148"/>
                    </a:cubicBezTo>
                    <a:cubicBezTo>
                      <a:pt x="122" y="149"/>
                      <a:pt x="124" y="150"/>
                      <a:pt x="124" y="152"/>
                    </a:cubicBezTo>
                    <a:cubicBezTo>
                      <a:pt x="123" y="155"/>
                      <a:pt x="123" y="155"/>
                      <a:pt x="123" y="155"/>
                    </a:cubicBezTo>
                    <a:cubicBezTo>
                      <a:pt x="122" y="156"/>
                      <a:pt x="121" y="157"/>
                      <a:pt x="120" y="159"/>
                    </a:cubicBezTo>
                    <a:cubicBezTo>
                      <a:pt x="119" y="161"/>
                      <a:pt x="122" y="161"/>
                      <a:pt x="122" y="163"/>
                    </a:cubicBezTo>
                    <a:cubicBezTo>
                      <a:pt x="122" y="165"/>
                      <a:pt x="121" y="165"/>
                      <a:pt x="121" y="167"/>
                    </a:cubicBezTo>
                    <a:cubicBezTo>
                      <a:pt x="119" y="166"/>
                      <a:pt x="116" y="162"/>
                      <a:pt x="115" y="165"/>
                    </a:cubicBezTo>
                    <a:cubicBezTo>
                      <a:pt x="115" y="167"/>
                      <a:pt x="116" y="166"/>
                      <a:pt x="116" y="168"/>
                    </a:cubicBezTo>
                    <a:cubicBezTo>
                      <a:pt x="116" y="168"/>
                      <a:pt x="115" y="167"/>
                      <a:pt x="115" y="167"/>
                    </a:cubicBezTo>
                    <a:cubicBezTo>
                      <a:pt x="115" y="168"/>
                      <a:pt x="113" y="169"/>
                      <a:pt x="117" y="171"/>
                    </a:cubicBezTo>
                    <a:cubicBezTo>
                      <a:pt x="117" y="169"/>
                      <a:pt x="119" y="172"/>
                      <a:pt x="120" y="172"/>
                    </a:cubicBezTo>
                    <a:cubicBezTo>
                      <a:pt x="121" y="171"/>
                      <a:pt x="120" y="172"/>
                      <a:pt x="120" y="173"/>
                    </a:cubicBezTo>
                    <a:cubicBezTo>
                      <a:pt x="121" y="174"/>
                      <a:pt x="123" y="174"/>
                      <a:pt x="124" y="174"/>
                    </a:cubicBezTo>
                    <a:cubicBezTo>
                      <a:pt x="125" y="174"/>
                      <a:pt x="125" y="174"/>
                      <a:pt x="125" y="174"/>
                    </a:cubicBezTo>
                    <a:cubicBezTo>
                      <a:pt x="124" y="178"/>
                      <a:pt x="125" y="177"/>
                      <a:pt x="125" y="178"/>
                    </a:cubicBezTo>
                    <a:cubicBezTo>
                      <a:pt x="125" y="178"/>
                      <a:pt x="125" y="178"/>
                      <a:pt x="125" y="179"/>
                    </a:cubicBezTo>
                    <a:cubicBezTo>
                      <a:pt x="124" y="180"/>
                      <a:pt x="123" y="182"/>
                      <a:pt x="122" y="183"/>
                    </a:cubicBezTo>
                    <a:cubicBezTo>
                      <a:pt x="121" y="184"/>
                      <a:pt x="120" y="184"/>
                      <a:pt x="120" y="185"/>
                    </a:cubicBezTo>
                    <a:cubicBezTo>
                      <a:pt x="119" y="186"/>
                      <a:pt x="121" y="185"/>
                      <a:pt x="121" y="186"/>
                    </a:cubicBezTo>
                    <a:cubicBezTo>
                      <a:pt x="121" y="188"/>
                      <a:pt x="122" y="187"/>
                      <a:pt x="121" y="188"/>
                    </a:cubicBezTo>
                    <a:cubicBezTo>
                      <a:pt x="114" y="197"/>
                      <a:pt x="119" y="189"/>
                      <a:pt x="119" y="190"/>
                    </a:cubicBezTo>
                    <a:cubicBezTo>
                      <a:pt x="118" y="191"/>
                      <a:pt x="120" y="193"/>
                      <a:pt x="119" y="195"/>
                    </a:cubicBezTo>
                    <a:cubicBezTo>
                      <a:pt x="118" y="196"/>
                      <a:pt x="116" y="197"/>
                      <a:pt x="115" y="197"/>
                    </a:cubicBezTo>
                    <a:cubicBezTo>
                      <a:pt x="113" y="197"/>
                      <a:pt x="112" y="195"/>
                      <a:pt x="111" y="194"/>
                    </a:cubicBezTo>
                    <a:cubicBezTo>
                      <a:pt x="109" y="193"/>
                      <a:pt x="108" y="192"/>
                      <a:pt x="106" y="191"/>
                    </a:cubicBezTo>
                    <a:cubicBezTo>
                      <a:pt x="104" y="189"/>
                      <a:pt x="104" y="186"/>
                      <a:pt x="101" y="185"/>
                    </a:cubicBezTo>
                    <a:cubicBezTo>
                      <a:pt x="97" y="183"/>
                      <a:pt x="95" y="180"/>
                      <a:pt x="91" y="179"/>
                    </a:cubicBezTo>
                    <a:cubicBezTo>
                      <a:pt x="89" y="178"/>
                      <a:pt x="87" y="177"/>
                      <a:pt x="85" y="176"/>
                    </a:cubicBezTo>
                    <a:cubicBezTo>
                      <a:pt x="84" y="175"/>
                      <a:pt x="82" y="174"/>
                      <a:pt x="80" y="173"/>
                    </a:cubicBezTo>
                    <a:cubicBezTo>
                      <a:pt x="78" y="172"/>
                      <a:pt x="76" y="171"/>
                      <a:pt x="74" y="170"/>
                    </a:cubicBezTo>
                    <a:cubicBezTo>
                      <a:pt x="72" y="169"/>
                      <a:pt x="70" y="167"/>
                      <a:pt x="68" y="166"/>
                    </a:cubicBezTo>
                    <a:cubicBezTo>
                      <a:pt x="66" y="165"/>
                      <a:pt x="65" y="163"/>
                      <a:pt x="63" y="161"/>
                    </a:cubicBezTo>
                    <a:cubicBezTo>
                      <a:pt x="62" y="159"/>
                      <a:pt x="59" y="158"/>
                      <a:pt x="58" y="156"/>
                    </a:cubicBezTo>
                    <a:cubicBezTo>
                      <a:pt x="57" y="155"/>
                      <a:pt x="56" y="153"/>
                      <a:pt x="55" y="152"/>
                    </a:cubicBezTo>
                    <a:cubicBezTo>
                      <a:pt x="53" y="151"/>
                      <a:pt x="55" y="149"/>
                      <a:pt x="53" y="149"/>
                    </a:cubicBezTo>
                    <a:cubicBezTo>
                      <a:pt x="53" y="148"/>
                      <a:pt x="53" y="148"/>
                      <a:pt x="53" y="148"/>
                    </a:cubicBezTo>
                    <a:cubicBezTo>
                      <a:pt x="54" y="149"/>
                      <a:pt x="54" y="149"/>
                      <a:pt x="54" y="149"/>
                    </a:cubicBezTo>
                    <a:cubicBezTo>
                      <a:pt x="55" y="145"/>
                      <a:pt x="53" y="143"/>
                      <a:pt x="51" y="139"/>
                    </a:cubicBezTo>
                    <a:cubicBezTo>
                      <a:pt x="49" y="136"/>
                      <a:pt x="48" y="133"/>
                      <a:pt x="46" y="131"/>
                    </a:cubicBezTo>
                    <a:cubicBezTo>
                      <a:pt x="45" y="130"/>
                      <a:pt x="44" y="130"/>
                      <a:pt x="44" y="129"/>
                    </a:cubicBezTo>
                    <a:cubicBezTo>
                      <a:pt x="44" y="128"/>
                      <a:pt x="44" y="126"/>
                      <a:pt x="43" y="125"/>
                    </a:cubicBezTo>
                    <a:cubicBezTo>
                      <a:pt x="43" y="125"/>
                      <a:pt x="42" y="124"/>
                      <a:pt x="41" y="123"/>
                    </a:cubicBezTo>
                    <a:cubicBezTo>
                      <a:pt x="41" y="122"/>
                      <a:pt x="39" y="122"/>
                      <a:pt x="39" y="121"/>
                    </a:cubicBezTo>
                    <a:cubicBezTo>
                      <a:pt x="39" y="120"/>
                      <a:pt x="39" y="120"/>
                      <a:pt x="39" y="119"/>
                    </a:cubicBezTo>
                    <a:cubicBezTo>
                      <a:pt x="39" y="118"/>
                      <a:pt x="38" y="117"/>
                      <a:pt x="38" y="116"/>
                    </a:cubicBezTo>
                    <a:cubicBezTo>
                      <a:pt x="37" y="114"/>
                      <a:pt x="35" y="113"/>
                      <a:pt x="34" y="111"/>
                    </a:cubicBezTo>
                    <a:cubicBezTo>
                      <a:pt x="33" y="109"/>
                      <a:pt x="33" y="107"/>
                      <a:pt x="32" y="106"/>
                    </a:cubicBezTo>
                    <a:cubicBezTo>
                      <a:pt x="30" y="101"/>
                      <a:pt x="28" y="98"/>
                      <a:pt x="27" y="94"/>
                    </a:cubicBezTo>
                    <a:cubicBezTo>
                      <a:pt x="25" y="89"/>
                      <a:pt x="20" y="85"/>
                      <a:pt x="18" y="80"/>
                    </a:cubicBezTo>
                    <a:cubicBezTo>
                      <a:pt x="16" y="74"/>
                      <a:pt x="11" y="69"/>
                      <a:pt x="5" y="67"/>
                    </a:cubicBezTo>
                    <a:cubicBezTo>
                      <a:pt x="4" y="67"/>
                      <a:pt x="2" y="66"/>
                      <a:pt x="2" y="65"/>
                    </a:cubicBezTo>
                    <a:cubicBezTo>
                      <a:pt x="2" y="64"/>
                      <a:pt x="2" y="63"/>
                      <a:pt x="3" y="63"/>
                    </a:cubicBezTo>
                    <a:cubicBezTo>
                      <a:pt x="6" y="63"/>
                      <a:pt x="5" y="61"/>
                      <a:pt x="4" y="59"/>
                    </a:cubicBezTo>
                    <a:cubicBezTo>
                      <a:pt x="3" y="57"/>
                      <a:pt x="2" y="57"/>
                      <a:pt x="2" y="54"/>
                    </a:cubicBezTo>
                    <a:cubicBezTo>
                      <a:pt x="2" y="54"/>
                      <a:pt x="2" y="54"/>
                      <a:pt x="2" y="54"/>
                    </a:cubicBezTo>
                    <a:cubicBezTo>
                      <a:pt x="1" y="52"/>
                      <a:pt x="1" y="52"/>
                      <a:pt x="1" y="52"/>
                    </a:cubicBezTo>
                    <a:cubicBezTo>
                      <a:pt x="0" y="51"/>
                      <a:pt x="1" y="50"/>
                      <a:pt x="0" y="48"/>
                    </a:cubicBezTo>
                  </a:path>
                </a:pathLst>
              </a:custGeom>
              <a:grpFill/>
              <a:ln w="3175">
                <a:solidFill>
                  <a:schemeClr val="accent2">
                    <a:lumMod val="75000"/>
                  </a:schemeClr>
                </a:solidFill>
              </a:ln>
            </p:spPr>
            <p:txBody>
              <a:bodyPr vert="horz" wrap="square" lIns="91273" tIns="45637" rIns="91273" bIns="4563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97" b="0" i="0" u="none" strike="noStrike" kern="1200" cap="none" spc="0" normalizeH="0" baseline="0" noProof="0" dirty="0">
                  <a:ln>
                    <a:noFill/>
                  </a:ln>
                  <a:solidFill>
                    <a:srgbClr val="000000"/>
                  </a:solidFill>
                  <a:effectLst/>
                  <a:uLnTx/>
                  <a:uFillTx/>
                  <a:latin typeface="Calibri"/>
                  <a:ea typeface="+mn-ea"/>
                  <a:cs typeface="+mn-cs"/>
                </a:endParaRPr>
              </a:p>
            </p:txBody>
          </p:sp>
          <p:sp>
            <p:nvSpPr>
              <p:cNvPr id="176" name="Paraguay">
                <a:extLst>
                  <a:ext uri="{FF2B5EF4-FFF2-40B4-BE49-F238E27FC236}">
                    <a16:creationId xmlns:a16="http://schemas.microsoft.com/office/drawing/2014/main" id="{0677662E-0686-6055-3A69-D9350FBB0D37}"/>
                  </a:ext>
                </a:extLst>
              </p:cNvPr>
              <p:cNvSpPr>
                <a:spLocks/>
              </p:cNvSpPr>
              <p:nvPr/>
            </p:nvSpPr>
            <p:spPr bwMode="auto">
              <a:xfrm>
                <a:off x="2452382" y="3822892"/>
                <a:ext cx="184427" cy="208694"/>
              </a:xfrm>
              <a:custGeom>
                <a:avLst/>
                <a:gdLst/>
                <a:ahLst/>
                <a:cxnLst>
                  <a:cxn ang="0">
                    <a:pos x="0" y="33"/>
                  </a:cxn>
                  <a:cxn ang="0">
                    <a:pos x="2" y="22"/>
                  </a:cxn>
                  <a:cxn ang="0">
                    <a:pos x="2" y="16"/>
                  </a:cxn>
                  <a:cxn ang="0">
                    <a:pos x="3" y="11"/>
                  </a:cxn>
                  <a:cxn ang="0">
                    <a:pos x="8" y="4"/>
                  </a:cxn>
                  <a:cxn ang="0">
                    <a:pos x="19" y="2"/>
                  </a:cxn>
                  <a:cxn ang="0">
                    <a:pos x="34" y="3"/>
                  </a:cxn>
                  <a:cxn ang="0">
                    <a:pos x="39" y="9"/>
                  </a:cxn>
                  <a:cxn ang="0">
                    <a:pos x="43" y="16"/>
                  </a:cxn>
                  <a:cxn ang="0">
                    <a:pos x="43" y="19"/>
                  </a:cxn>
                  <a:cxn ang="0">
                    <a:pos x="43" y="23"/>
                  </a:cxn>
                  <a:cxn ang="0">
                    <a:pos x="43" y="25"/>
                  </a:cxn>
                  <a:cxn ang="0">
                    <a:pos x="43" y="27"/>
                  </a:cxn>
                  <a:cxn ang="0">
                    <a:pos x="43" y="31"/>
                  </a:cxn>
                  <a:cxn ang="0">
                    <a:pos x="50" y="33"/>
                  </a:cxn>
                  <a:cxn ang="0">
                    <a:pos x="55" y="34"/>
                  </a:cxn>
                  <a:cxn ang="0">
                    <a:pos x="57" y="32"/>
                  </a:cxn>
                  <a:cxn ang="0">
                    <a:pos x="62" y="34"/>
                  </a:cxn>
                  <a:cxn ang="0">
                    <a:pos x="64" y="36"/>
                  </a:cxn>
                  <a:cxn ang="0">
                    <a:pos x="65" y="40"/>
                  </a:cxn>
                  <a:cxn ang="0">
                    <a:pos x="68" y="45"/>
                  </a:cxn>
                  <a:cxn ang="0">
                    <a:pos x="72" y="52"/>
                  </a:cxn>
                  <a:cxn ang="0">
                    <a:pos x="76" y="50"/>
                  </a:cxn>
                  <a:cxn ang="0">
                    <a:pos x="80" y="52"/>
                  </a:cxn>
                  <a:cxn ang="0">
                    <a:pos x="80" y="54"/>
                  </a:cxn>
                  <a:cxn ang="0">
                    <a:pos x="80" y="57"/>
                  </a:cxn>
                  <a:cxn ang="0">
                    <a:pos x="79" y="63"/>
                  </a:cxn>
                  <a:cxn ang="0">
                    <a:pos x="78" y="68"/>
                  </a:cxn>
                  <a:cxn ang="0">
                    <a:pos x="80" y="77"/>
                  </a:cxn>
                  <a:cxn ang="0">
                    <a:pos x="78" y="80"/>
                  </a:cxn>
                  <a:cxn ang="0">
                    <a:pos x="76" y="83"/>
                  </a:cxn>
                  <a:cxn ang="0">
                    <a:pos x="74" y="84"/>
                  </a:cxn>
                  <a:cxn ang="0">
                    <a:pos x="73" y="85"/>
                  </a:cxn>
                  <a:cxn ang="0">
                    <a:pos x="70" y="88"/>
                  </a:cxn>
                  <a:cxn ang="0">
                    <a:pos x="66" y="90"/>
                  </a:cxn>
                  <a:cxn ang="0">
                    <a:pos x="63" y="89"/>
                  </a:cxn>
                  <a:cxn ang="0">
                    <a:pos x="61" y="89"/>
                  </a:cxn>
                  <a:cxn ang="0">
                    <a:pos x="59" y="89"/>
                  </a:cxn>
                  <a:cxn ang="0">
                    <a:pos x="56" y="88"/>
                  </a:cxn>
                  <a:cxn ang="0">
                    <a:pos x="47" y="87"/>
                  </a:cxn>
                  <a:cxn ang="0">
                    <a:pos x="44" y="86"/>
                  </a:cxn>
                  <a:cxn ang="0">
                    <a:pos x="45" y="83"/>
                  </a:cxn>
                  <a:cxn ang="0">
                    <a:pos x="48" y="74"/>
                  </a:cxn>
                  <a:cxn ang="0">
                    <a:pos x="50" y="69"/>
                  </a:cxn>
                  <a:cxn ang="0">
                    <a:pos x="48" y="64"/>
                  </a:cxn>
                  <a:cxn ang="0">
                    <a:pos x="43" y="61"/>
                  </a:cxn>
                  <a:cxn ang="0">
                    <a:pos x="40" y="60"/>
                  </a:cxn>
                  <a:cxn ang="0">
                    <a:pos x="36" y="58"/>
                  </a:cxn>
                  <a:cxn ang="0">
                    <a:pos x="30" y="54"/>
                  </a:cxn>
                  <a:cxn ang="0">
                    <a:pos x="22" y="51"/>
                  </a:cxn>
                  <a:cxn ang="0">
                    <a:pos x="17" y="49"/>
                  </a:cxn>
                  <a:cxn ang="0">
                    <a:pos x="9" y="43"/>
                  </a:cxn>
                  <a:cxn ang="0">
                    <a:pos x="5" y="37"/>
                  </a:cxn>
                  <a:cxn ang="0">
                    <a:pos x="0" y="33"/>
                  </a:cxn>
                </a:cxnLst>
                <a:rect l="0" t="0" r="r" b="b"/>
                <a:pathLst>
                  <a:path w="80" h="90">
                    <a:moveTo>
                      <a:pt x="0" y="33"/>
                    </a:moveTo>
                    <a:cubicBezTo>
                      <a:pt x="1" y="29"/>
                      <a:pt x="2" y="25"/>
                      <a:pt x="2" y="22"/>
                    </a:cubicBezTo>
                    <a:cubicBezTo>
                      <a:pt x="2" y="20"/>
                      <a:pt x="2" y="18"/>
                      <a:pt x="2" y="16"/>
                    </a:cubicBezTo>
                    <a:cubicBezTo>
                      <a:pt x="2" y="14"/>
                      <a:pt x="3" y="12"/>
                      <a:pt x="3" y="11"/>
                    </a:cubicBezTo>
                    <a:cubicBezTo>
                      <a:pt x="5" y="8"/>
                      <a:pt x="4" y="5"/>
                      <a:pt x="8" y="4"/>
                    </a:cubicBezTo>
                    <a:cubicBezTo>
                      <a:pt x="11" y="4"/>
                      <a:pt x="15" y="3"/>
                      <a:pt x="19" y="2"/>
                    </a:cubicBezTo>
                    <a:cubicBezTo>
                      <a:pt x="25" y="0"/>
                      <a:pt x="29" y="0"/>
                      <a:pt x="34" y="3"/>
                    </a:cubicBezTo>
                    <a:cubicBezTo>
                      <a:pt x="36" y="5"/>
                      <a:pt x="39" y="6"/>
                      <a:pt x="39" y="9"/>
                    </a:cubicBezTo>
                    <a:cubicBezTo>
                      <a:pt x="40" y="11"/>
                      <a:pt x="41" y="16"/>
                      <a:pt x="43" y="16"/>
                    </a:cubicBezTo>
                    <a:cubicBezTo>
                      <a:pt x="41" y="17"/>
                      <a:pt x="43" y="18"/>
                      <a:pt x="43" y="19"/>
                    </a:cubicBezTo>
                    <a:cubicBezTo>
                      <a:pt x="44" y="20"/>
                      <a:pt x="43" y="22"/>
                      <a:pt x="43" y="23"/>
                    </a:cubicBezTo>
                    <a:cubicBezTo>
                      <a:pt x="43" y="23"/>
                      <a:pt x="43" y="24"/>
                      <a:pt x="43" y="25"/>
                    </a:cubicBezTo>
                    <a:cubicBezTo>
                      <a:pt x="43" y="26"/>
                      <a:pt x="44" y="26"/>
                      <a:pt x="43" y="27"/>
                    </a:cubicBezTo>
                    <a:cubicBezTo>
                      <a:pt x="43" y="28"/>
                      <a:pt x="43" y="30"/>
                      <a:pt x="43" y="31"/>
                    </a:cubicBezTo>
                    <a:cubicBezTo>
                      <a:pt x="43" y="31"/>
                      <a:pt x="49" y="33"/>
                      <a:pt x="50" y="33"/>
                    </a:cubicBezTo>
                    <a:cubicBezTo>
                      <a:pt x="52" y="33"/>
                      <a:pt x="53" y="34"/>
                      <a:pt x="55" y="34"/>
                    </a:cubicBezTo>
                    <a:cubicBezTo>
                      <a:pt x="56" y="34"/>
                      <a:pt x="56" y="31"/>
                      <a:pt x="57" y="32"/>
                    </a:cubicBezTo>
                    <a:cubicBezTo>
                      <a:pt x="59" y="32"/>
                      <a:pt x="61" y="34"/>
                      <a:pt x="62" y="34"/>
                    </a:cubicBezTo>
                    <a:cubicBezTo>
                      <a:pt x="64" y="34"/>
                      <a:pt x="64" y="34"/>
                      <a:pt x="64" y="36"/>
                    </a:cubicBezTo>
                    <a:cubicBezTo>
                      <a:pt x="64" y="37"/>
                      <a:pt x="65" y="38"/>
                      <a:pt x="65" y="40"/>
                    </a:cubicBezTo>
                    <a:cubicBezTo>
                      <a:pt x="66" y="42"/>
                      <a:pt x="67" y="43"/>
                      <a:pt x="68" y="45"/>
                    </a:cubicBezTo>
                    <a:cubicBezTo>
                      <a:pt x="68" y="47"/>
                      <a:pt x="68" y="52"/>
                      <a:pt x="72" y="52"/>
                    </a:cubicBezTo>
                    <a:cubicBezTo>
                      <a:pt x="73" y="51"/>
                      <a:pt x="75" y="50"/>
                      <a:pt x="76" y="50"/>
                    </a:cubicBezTo>
                    <a:cubicBezTo>
                      <a:pt x="78" y="49"/>
                      <a:pt x="79" y="51"/>
                      <a:pt x="80" y="52"/>
                    </a:cubicBezTo>
                    <a:cubicBezTo>
                      <a:pt x="79" y="53"/>
                      <a:pt x="79" y="53"/>
                      <a:pt x="80" y="54"/>
                    </a:cubicBezTo>
                    <a:cubicBezTo>
                      <a:pt x="80" y="55"/>
                      <a:pt x="79" y="56"/>
                      <a:pt x="80" y="57"/>
                    </a:cubicBezTo>
                    <a:cubicBezTo>
                      <a:pt x="80" y="59"/>
                      <a:pt x="79" y="61"/>
                      <a:pt x="79" y="63"/>
                    </a:cubicBezTo>
                    <a:cubicBezTo>
                      <a:pt x="79" y="64"/>
                      <a:pt x="78" y="67"/>
                      <a:pt x="78" y="68"/>
                    </a:cubicBezTo>
                    <a:cubicBezTo>
                      <a:pt x="80" y="77"/>
                      <a:pt x="80" y="77"/>
                      <a:pt x="80" y="77"/>
                    </a:cubicBezTo>
                    <a:cubicBezTo>
                      <a:pt x="80" y="78"/>
                      <a:pt x="79" y="80"/>
                      <a:pt x="78" y="80"/>
                    </a:cubicBezTo>
                    <a:cubicBezTo>
                      <a:pt x="78" y="80"/>
                      <a:pt x="76" y="82"/>
                      <a:pt x="76" y="83"/>
                    </a:cubicBezTo>
                    <a:cubicBezTo>
                      <a:pt x="77" y="83"/>
                      <a:pt x="74" y="83"/>
                      <a:pt x="74" y="84"/>
                    </a:cubicBezTo>
                    <a:cubicBezTo>
                      <a:pt x="73" y="84"/>
                      <a:pt x="73" y="84"/>
                      <a:pt x="73" y="85"/>
                    </a:cubicBezTo>
                    <a:cubicBezTo>
                      <a:pt x="73" y="86"/>
                      <a:pt x="72" y="89"/>
                      <a:pt x="70" y="88"/>
                    </a:cubicBezTo>
                    <a:cubicBezTo>
                      <a:pt x="68" y="86"/>
                      <a:pt x="67" y="88"/>
                      <a:pt x="66" y="90"/>
                    </a:cubicBezTo>
                    <a:cubicBezTo>
                      <a:pt x="65" y="90"/>
                      <a:pt x="64" y="89"/>
                      <a:pt x="63" y="89"/>
                    </a:cubicBezTo>
                    <a:cubicBezTo>
                      <a:pt x="62" y="89"/>
                      <a:pt x="62" y="90"/>
                      <a:pt x="61" y="89"/>
                    </a:cubicBezTo>
                    <a:cubicBezTo>
                      <a:pt x="60" y="88"/>
                      <a:pt x="59" y="89"/>
                      <a:pt x="59" y="89"/>
                    </a:cubicBezTo>
                    <a:cubicBezTo>
                      <a:pt x="58" y="89"/>
                      <a:pt x="57" y="89"/>
                      <a:pt x="56" y="88"/>
                    </a:cubicBezTo>
                    <a:cubicBezTo>
                      <a:pt x="53" y="88"/>
                      <a:pt x="50" y="87"/>
                      <a:pt x="47" y="87"/>
                    </a:cubicBezTo>
                    <a:cubicBezTo>
                      <a:pt x="45" y="87"/>
                      <a:pt x="45" y="88"/>
                      <a:pt x="44" y="86"/>
                    </a:cubicBezTo>
                    <a:cubicBezTo>
                      <a:pt x="45" y="83"/>
                      <a:pt x="45" y="83"/>
                      <a:pt x="45" y="83"/>
                    </a:cubicBezTo>
                    <a:cubicBezTo>
                      <a:pt x="48" y="81"/>
                      <a:pt x="45" y="75"/>
                      <a:pt x="48" y="74"/>
                    </a:cubicBezTo>
                    <a:cubicBezTo>
                      <a:pt x="50" y="73"/>
                      <a:pt x="50" y="70"/>
                      <a:pt x="50" y="69"/>
                    </a:cubicBezTo>
                    <a:cubicBezTo>
                      <a:pt x="52" y="66"/>
                      <a:pt x="50" y="65"/>
                      <a:pt x="48" y="64"/>
                    </a:cubicBezTo>
                    <a:cubicBezTo>
                      <a:pt x="46" y="62"/>
                      <a:pt x="44" y="62"/>
                      <a:pt x="43" y="61"/>
                    </a:cubicBezTo>
                    <a:cubicBezTo>
                      <a:pt x="42" y="61"/>
                      <a:pt x="41" y="60"/>
                      <a:pt x="40" y="60"/>
                    </a:cubicBezTo>
                    <a:cubicBezTo>
                      <a:pt x="38" y="60"/>
                      <a:pt x="37" y="59"/>
                      <a:pt x="36" y="58"/>
                    </a:cubicBezTo>
                    <a:cubicBezTo>
                      <a:pt x="34" y="57"/>
                      <a:pt x="32" y="56"/>
                      <a:pt x="30" y="54"/>
                    </a:cubicBezTo>
                    <a:cubicBezTo>
                      <a:pt x="27" y="52"/>
                      <a:pt x="25" y="52"/>
                      <a:pt x="22" y="51"/>
                    </a:cubicBezTo>
                    <a:cubicBezTo>
                      <a:pt x="20" y="50"/>
                      <a:pt x="18" y="50"/>
                      <a:pt x="17" y="49"/>
                    </a:cubicBezTo>
                    <a:cubicBezTo>
                      <a:pt x="14" y="46"/>
                      <a:pt x="11" y="44"/>
                      <a:pt x="9" y="43"/>
                    </a:cubicBezTo>
                    <a:cubicBezTo>
                      <a:pt x="7" y="41"/>
                      <a:pt x="5" y="39"/>
                      <a:pt x="5" y="37"/>
                    </a:cubicBezTo>
                    <a:cubicBezTo>
                      <a:pt x="4" y="35"/>
                      <a:pt x="2" y="35"/>
                      <a:pt x="0" y="33"/>
                    </a:cubicBezTo>
                  </a:path>
                </a:pathLst>
              </a:custGeom>
              <a:grpFill/>
              <a:ln w="3175">
                <a:solidFill>
                  <a:schemeClr val="accent2">
                    <a:lumMod val="75000"/>
                  </a:schemeClr>
                </a:solidFill>
              </a:ln>
            </p:spPr>
            <p:txBody>
              <a:bodyPr vert="horz" wrap="square" lIns="91273" tIns="45637" rIns="91273" bIns="4563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97" b="0" i="0" u="none" strike="noStrike" kern="1200" cap="none" spc="0" normalizeH="0" baseline="0" noProof="0" dirty="0">
                  <a:ln>
                    <a:noFill/>
                  </a:ln>
                  <a:solidFill>
                    <a:srgbClr val="000000"/>
                  </a:solidFill>
                  <a:effectLst/>
                  <a:uLnTx/>
                  <a:uFillTx/>
                  <a:latin typeface="Calibri"/>
                  <a:ea typeface="+mn-ea"/>
                  <a:cs typeface="+mn-cs"/>
                </a:endParaRPr>
              </a:p>
            </p:txBody>
          </p:sp>
          <p:sp>
            <p:nvSpPr>
              <p:cNvPr id="177" name="Nicaragua">
                <a:extLst>
                  <a:ext uri="{FF2B5EF4-FFF2-40B4-BE49-F238E27FC236}">
                    <a16:creationId xmlns:a16="http://schemas.microsoft.com/office/drawing/2014/main" id="{30A36FDA-3468-33D3-1ECA-327632360D88}"/>
                  </a:ext>
                </a:extLst>
              </p:cNvPr>
              <p:cNvSpPr>
                <a:spLocks/>
              </p:cNvSpPr>
              <p:nvPr/>
            </p:nvSpPr>
            <p:spPr bwMode="auto">
              <a:xfrm>
                <a:off x="1882114" y="2972342"/>
                <a:ext cx="106774" cy="106774"/>
              </a:xfrm>
              <a:custGeom>
                <a:avLst/>
                <a:gdLst/>
                <a:ahLst/>
                <a:cxnLst>
                  <a:cxn ang="0">
                    <a:pos x="2" y="21"/>
                  </a:cxn>
                  <a:cxn ang="0">
                    <a:pos x="4" y="22"/>
                  </a:cxn>
                  <a:cxn ang="0">
                    <a:pos x="5" y="22"/>
                  </a:cxn>
                  <a:cxn ang="0">
                    <a:pos x="7" y="21"/>
                  </a:cxn>
                  <a:cxn ang="0">
                    <a:pos x="9" y="19"/>
                  </a:cxn>
                  <a:cxn ang="0">
                    <a:pos x="10" y="18"/>
                  </a:cxn>
                  <a:cxn ang="0">
                    <a:pos x="10" y="13"/>
                  </a:cxn>
                  <a:cxn ang="0">
                    <a:pos x="13" y="13"/>
                  </a:cxn>
                  <a:cxn ang="0">
                    <a:pos x="15" y="12"/>
                  </a:cxn>
                  <a:cxn ang="0">
                    <a:pos x="20" y="13"/>
                  </a:cxn>
                  <a:cxn ang="0">
                    <a:pos x="25" y="7"/>
                  </a:cxn>
                  <a:cxn ang="0">
                    <a:pos x="26" y="5"/>
                  </a:cxn>
                  <a:cxn ang="0">
                    <a:pos x="29" y="2"/>
                  </a:cxn>
                  <a:cxn ang="0">
                    <a:pos x="31" y="3"/>
                  </a:cxn>
                  <a:cxn ang="0">
                    <a:pos x="35" y="3"/>
                  </a:cxn>
                  <a:cxn ang="0">
                    <a:pos x="41" y="1"/>
                  </a:cxn>
                  <a:cxn ang="0">
                    <a:pos x="43" y="0"/>
                  </a:cxn>
                  <a:cxn ang="0">
                    <a:pos x="46" y="0"/>
                  </a:cxn>
                  <a:cxn ang="0">
                    <a:pos x="43" y="1"/>
                  </a:cxn>
                  <a:cxn ang="0">
                    <a:pos x="44" y="8"/>
                  </a:cxn>
                  <a:cxn ang="0">
                    <a:pos x="41" y="14"/>
                  </a:cxn>
                  <a:cxn ang="0">
                    <a:pos x="40" y="23"/>
                  </a:cxn>
                  <a:cxn ang="0">
                    <a:pos x="39" y="28"/>
                  </a:cxn>
                  <a:cxn ang="0">
                    <a:pos x="39" y="24"/>
                  </a:cxn>
                  <a:cxn ang="0">
                    <a:pos x="37" y="27"/>
                  </a:cxn>
                  <a:cxn ang="0">
                    <a:pos x="38" y="32"/>
                  </a:cxn>
                  <a:cxn ang="0">
                    <a:pos x="37" y="31"/>
                  </a:cxn>
                  <a:cxn ang="0">
                    <a:pos x="36" y="34"/>
                  </a:cxn>
                  <a:cxn ang="0">
                    <a:pos x="36" y="37"/>
                  </a:cxn>
                  <a:cxn ang="0">
                    <a:pos x="36" y="43"/>
                  </a:cxn>
                  <a:cxn ang="0">
                    <a:pos x="36" y="45"/>
                  </a:cxn>
                  <a:cxn ang="0">
                    <a:pos x="32" y="45"/>
                  </a:cxn>
                  <a:cxn ang="0">
                    <a:pos x="31" y="44"/>
                  </a:cxn>
                  <a:cxn ang="0">
                    <a:pos x="30" y="43"/>
                  </a:cxn>
                  <a:cxn ang="0">
                    <a:pos x="27" y="42"/>
                  </a:cxn>
                  <a:cxn ang="0">
                    <a:pos x="25" y="43"/>
                  </a:cxn>
                  <a:cxn ang="0">
                    <a:pos x="23" y="43"/>
                  </a:cxn>
                  <a:cxn ang="0">
                    <a:pos x="19" y="41"/>
                  </a:cxn>
                  <a:cxn ang="0">
                    <a:pos x="19" y="41"/>
                  </a:cxn>
                  <a:cxn ang="0">
                    <a:pos x="26" y="39"/>
                  </a:cxn>
                  <a:cxn ang="0">
                    <a:pos x="23" y="35"/>
                  </a:cxn>
                  <a:cxn ang="0">
                    <a:pos x="20" y="32"/>
                  </a:cxn>
                  <a:cxn ang="0">
                    <a:pos x="17" y="31"/>
                  </a:cxn>
                  <a:cxn ang="0">
                    <a:pos x="16" y="36"/>
                  </a:cxn>
                  <a:cxn ang="0">
                    <a:pos x="19" y="41"/>
                  </a:cxn>
                  <a:cxn ang="0">
                    <a:pos x="19" y="41"/>
                  </a:cxn>
                  <a:cxn ang="0">
                    <a:pos x="17" y="41"/>
                  </a:cxn>
                  <a:cxn ang="0">
                    <a:pos x="13" y="37"/>
                  </a:cxn>
                  <a:cxn ang="0">
                    <a:pos x="6" y="28"/>
                  </a:cxn>
                  <a:cxn ang="0">
                    <a:pos x="2" y="21"/>
                  </a:cxn>
                </a:cxnLst>
                <a:rect l="0" t="0" r="r" b="b"/>
                <a:pathLst>
                  <a:path w="46" h="46">
                    <a:moveTo>
                      <a:pt x="2" y="21"/>
                    </a:moveTo>
                    <a:cubicBezTo>
                      <a:pt x="3" y="21"/>
                      <a:pt x="3" y="22"/>
                      <a:pt x="4" y="22"/>
                    </a:cubicBezTo>
                    <a:cubicBezTo>
                      <a:pt x="5" y="22"/>
                      <a:pt x="4" y="22"/>
                      <a:pt x="5" y="22"/>
                    </a:cubicBezTo>
                    <a:cubicBezTo>
                      <a:pt x="5" y="22"/>
                      <a:pt x="7" y="21"/>
                      <a:pt x="7" y="21"/>
                    </a:cubicBezTo>
                    <a:cubicBezTo>
                      <a:pt x="9" y="21"/>
                      <a:pt x="8" y="19"/>
                      <a:pt x="9" y="19"/>
                    </a:cubicBezTo>
                    <a:cubicBezTo>
                      <a:pt x="9" y="18"/>
                      <a:pt x="10" y="19"/>
                      <a:pt x="10" y="18"/>
                    </a:cubicBezTo>
                    <a:cubicBezTo>
                      <a:pt x="11" y="17"/>
                      <a:pt x="10" y="14"/>
                      <a:pt x="10" y="13"/>
                    </a:cubicBezTo>
                    <a:cubicBezTo>
                      <a:pt x="11" y="13"/>
                      <a:pt x="12" y="13"/>
                      <a:pt x="13" y="13"/>
                    </a:cubicBezTo>
                    <a:cubicBezTo>
                      <a:pt x="14" y="13"/>
                      <a:pt x="15" y="13"/>
                      <a:pt x="15" y="12"/>
                    </a:cubicBezTo>
                    <a:cubicBezTo>
                      <a:pt x="17" y="9"/>
                      <a:pt x="18" y="11"/>
                      <a:pt x="20" y="13"/>
                    </a:cubicBezTo>
                    <a:cubicBezTo>
                      <a:pt x="20" y="10"/>
                      <a:pt x="23" y="9"/>
                      <a:pt x="25" y="7"/>
                    </a:cubicBezTo>
                    <a:cubicBezTo>
                      <a:pt x="26" y="7"/>
                      <a:pt x="25" y="7"/>
                      <a:pt x="26" y="5"/>
                    </a:cubicBezTo>
                    <a:cubicBezTo>
                      <a:pt x="28" y="4"/>
                      <a:pt x="28" y="3"/>
                      <a:pt x="29" y="2"/>
                    </a:cubicBezTo>
                    <a:cubicBezTo>
                      <a:pt x="30" y="1"/>
                      <a:pt x="30" y="3"/>
                      <a:pt x="31" y="3"/>
                    </a:cubicBezTo>
                    <a:cubicBezTo>
                      <a:pt x="33" y="4"/>
                      <a:pt x="34" y="3"/>
                      <a:pt x="35" y="3"/>
                    </a:cubicBezTo>
                    <a:cubicBezTo>
                      <a:pt x="37" y="2"/>
                      <a:pt x="40" y="2"/>
                      <a:pt x="41" y="1"/>
                    </a:cubicBezTo>
                    <a:cubicBezTo>
                      <a:pt x="42" y="1"/>
                      <a:pt x="42" y="0"/>
                      <a:pt x="43" y="0"/>
                    </a:cubicBezTo>
                    <a:cubicBezTo>
                      <a:pt x="44" y="0"/>
                      <a:pt x="45" y="0"/>
                      <a:pt x="46" y="0"/>
                    </a:cubicBezTo>
                    <a:cubicBezTo>
                      <a:pt x="45" y="0"/>
                      <a:pt x="45" y="2"/>
                      <a:pt x="43" y="1"/>
                    </a:cubicBezTo>
                    <a:cubicBezTo>
                      <a:pt x="42" y="3"/>
                      <a:pt x="45" y="6"/>
                      <a:pt x="44" y="8"/>
                    </a:cubicBezTo>
                    <a:cubicBezTo>
                      <a:pt x="43" y="10"/>
                      <a:pt x="42" y="12"/>
                      <a:pt x="41" y="14"/>
                    </a:cubicBezTo>
                    <a:cubicBezTo>
                      <a:pt x="40" y="17"/>
                      <a:pt x="40" y="20"/>
                      <a:pt x="40" y="23"/>
                    </a:cubicBezTo>
                    <a:cubicBezTo>
                      <a:pt x="40" y="24"/>
                      <a:pt x="40" y="28"/>
                      <a:pt x="39" y="28"/>
                    </a:cubicBezTo>
                    <a:cubicBezTo>
                      <a:pt x="39" y="27"/>
                      <a:pt x="40" y="25"/>
                      <a:pt x="39" y="24"/>
                    </a:cubicBezTo>
                    <a:cubicBezTo>
                      <a:pt x="38" y="24"/>
                      <a:pt x="39" y="26"/>
                      <a:pt x="37" y="27"/>
                    </a:cubicBezTo>
                    <a:cubicBezTo>
                      <a:pt x="39" y="28"/>
                      <a:pt x="38" y="30"/>
                      <a:pt x="38" y="32"/>
                    </a:cubicBezTo>
                    <a:cubicBezTo>
                      <a:pt x="37" y="32"/>
                      <a:pt x="37" y="31"/>
                      <a:pt x="37" y="31"/>
                    </a:cubicBezTo>
                    <a:cubicBezTo>
                      <a:pt x="37" y="32"/>
                      <a:pt x="36" y="33"/>
                      <a:pt x="36" y="34"/>
                    </a:cubicBezTo>
                    <a:cubicBezTo>
                      <a:pt x="39" y="33"/>
                      <a:pt x="37" y="36"/>
                      <a:pt x="36" y="37"/>
                    </a:cubicBezTo>
                    <a:cubicBezTo>
                      <a:pt x="35" y="39"/>
                      <a:pt x="34" y="41"/>
                      <a:pt x="36" y="43"/>
                    </a:cubicBezTo>
                    <a:cubicBezTo>
                      <a:pt x="37" y="44"/>
                      <a:pt x="38" y="45"/>
                      <a:pt x="36" y="45"/>
                    </a:cubicBezTo>
                    <a:cubicBezTo>
                      <a:pt x="35" y="46"/>
                      <a:pt x="33" y="46"/>
                      <a:pt x="32" y="45"/>
                    </a:cubicBezTo>
                    <a:cubicBezTo>
                      <a:pt x="31" y="44"/>
                      <a:pt x="31" y="44"/>
                      <a:pt x="31" y="44"/>
                    </a:cubicBezTo>
                    <a:cubicBezTo>
                      <a:pt x="30" y="43"/>
                      <a:pt x="31" y="43"/>
                      <a:pt x="30" y="43"/>
                    </a:cubicBezTo>
                    <a:cubicBezTo>
                      <a:pt x="29" y="43"/>
                      <a:pt x="28" y="42"/>
                      <a:pt x="27" y="42"/>
                    </a:cubicBezTo>
                    <a:cubicBezTo>
                      <a:pt x="27" y="42"/>
                      <a:pt x="26" y="43"/>
                      <a:pt x="25" y="43"/>
                    </a:cubicBezTo>
                    <a:cubicBezTo>
                      <a:pt x="25" y="43"/>
                      <a:pt x="24" y="43"/>
                      <a:pt x="23" y="43"/>
                    </a:cubicBezTo>
                    <a:cubicBezTo>
                      <a:pt x="21" y="41"/>
                      <a:pt x="19" y="41"/>
                      <a:pt x="19" y="41"/>
                    </a:cubicBezTo>
                    <a:cubicBezTo>
                      <a:pt x="19" y="41"/>
                      <a:pt x="18" y="41"/>
                      <a:pt x="19" y="41"/>
                    </a:cubicBezTo>
                    <a:cubicBezTo>
                      <a:pt x="20" y="41"/>
                      <a:pt x="28" y="45"/>
                      <a:pt x="26" y="39"/>
                    </a:cubicBezTo>
                    <a:cubicBezTo>
                      <a:pt x="25" y="39"/>
                      <a:pt x="24" y="35"/>
                      <a:pt x="23" y="35"/>
                    </a:cubicBezTo>
                    <a:cubicBezTo>
                      <a:pt x="23" y="35"/>
                      <a:pt x="20" y="33"/>
                      <a:pt x="20" y="32"/>
                    </a:cubicBezTo>
                    <a:cubicBezTo>
                      <a:pt x="20" y="32"/>
                      <a:pt x="18" y="31"/>
                      <a:pt x="17" y="31"/>
                    </a:cubicBezTo>
                    <a:cubicBezTo>
                      <a:pt x="16" y="31"/>
                      <a:pt x="17" y="36"/>
                      <a:pt x="16" y="36"/>
                    </a:cubicBezTo>
                    <a:cubicBezTo>
                      <a:pt x="17" y="36"/>
                      <a:pt x="18" y="40"/>
                      <a:pt x="19" y="41"/>
                    </a:cubicBezTo>
                    <a:cubicBezTo>
                      <a:pt x="19" y="41"/>
                      <a:pt x="19" y="41"/>
                      <a:pt x="19" y="41"/>
                    </a:cubicBezTo>
                    <a:cubicBezTo>
                      <a:pt x="18" y="41"/>
                      <a:pt x="18" y="44"/>
                      <a:pt x="17" y="41"/>
                    </a:cubicBezTo>
                    <a:cubicBezTo>
                      <a:pt x="16" y="39"/>
                      <a:pt x="14" y="38"/>
                      <a:pt x="13" y="37"/>
                    </a:cubicBezTo>
                    <a:cubicBezTo>
                      <a:pt x="10" y="34"/>
                      <a:pt x="9" y="30"/>
                      <a:pt x="6" y="28"/>
                    </a:cubicBezTo>
                    <a:cubicBezTo>
                      <a:pt x="4" y="26"/>
                      <a:pt x="0" y="23"/>
                      <a:pt x="2" y="21"/>
                    </a:cubicBezTo>
                  </a:path>
                </a:pathLst>
              </a:custGeom>
              <a:grpFill/>
              <a:ln w="3175">
                <a:solidFill>
                  <a:schemeClr val="accent2">
                    <a:lumMod val="75000"/>
                  </a:schemeClr>
                </a:solidFill>
              </a:ln>
            </p:spPr>
            <p:txBody>
              <a:bodyPr vert="horz" wrap="square" lIns="91273" tIns="45637" rIns="91273" bIns="4563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97" b="0" i="0" u="none" strike="noStrike" kern="1200" cap="none" spc="0" normalizeH="0" baseline="0" noProof="0" dirty="0">
                  <a:ln>
                    <a:noFill/>
                  </a:ln>
                  <a:solidFill>
                    <a:srgbClr val="000000"/>
                  </a:solidFill>
                  <a:effectLst/>
                  <a:uLnTx/>
                  <a:uFillTx/>
                  <a:latin typeface="Calibri"/>
                  <a:ea typeface="+mn-ea"/>
                  <a:cs typeface="+mn-cs"/>
                </a:endParaRPr>
              </a:p>
            </p:txBody>
          </p:sp>
          <p:sp>
            <p:nvSpPr>
              <p:cNvPr id="178" name="Mexico">
                <a:extLst>
                  <a:ext uri="{FF2B5EF4-FFF2-40B4-BE49-F238E27FC236}">
                    <a16:creationId xmlns:a16="http://schemas.microsoft.com/office/drawing/2014/main" id="{278475F5-C1B1-1426-3BA3-CAC855C6382F}"/>
                  </a:ext>
                </a:extLst>
              </p:cNvPr>
              <p:cNvSpPr>
                <a:spLocks/>
              </p:cNvSpPr>
              <p:nvPr/>
            </p:nvSpPr>
            <p:spPr bwMode="auto">
              <a:xfrm>
                <a:off x="1355526" y="2531901"/>
                <a:ext cx="574326" cy="452576"/>
              </a:xfrm>
              <a:custGeom>
                <a:avLst/>
                <a:gdLst>
                  <a:gd name="connsiteX0" fmla="*/ 561976 w 563576"/>
                  <a:gd name="connsiteY0" fmla="*/ 296466 h 444104"/>
                  <a:gd name="connsiteX1" fmla="*/ 554832 w 563576"/>
                  <a:gd name="connsiteY1" fmla="*/ 304801 h 444104"/>
                  <a:gd name="connsiteX2" fmla="*/ 561976 w 563576"/>
                  <a:gd name="connsiteY2" fmla="*/ 296466 h 444104"/>
                  <a:gd name="connsiteX3" fmla="*/ 486985 w 563576"/>
                  <a:gd name="connsiteY3" fmla="*/ 286959 h 444104"/>
                  <a:gd name="connsiteX4" fmla="*/ 486830 w 563576"/>
                  <a:gd name="connsiteY4" fmla="*/ 287581 h 444104"/>
                  <a:gd name="connsiteX5" fmla="*/ 484710 w 563576"/>
                  <a:gd name="connsiteY5" fmla="*/ 289237 h 444104"/>
                  <a:gd name="connsiteX6" fmla="*/ 486985 w 563576"/>
                  <a:gd name="connsiteY6" fmla="*/ 286959 h 444104"/>
                  <a:gd name="connsiteX7" fmla="*/ 345035 w 563576"/>
                  <a:gd name="connsiteY7" fmla="*/ 212402 h 444104"/>
                  <a:gd name="connsiteX8" fmla="*/ 343158 w 563576"/>
                  <a:gd name="connsiteY8" fmla="*/ 219703 h 444104"/>
                  <a:gd name="connsiteX9" fmla="*/ 343621 w 563576"/>
                  <a:gd name="connsiteY9" fmla="*/ 216358 h 444104"/>
                  <a:gd name="connsiteX10" fmla="*/ 45513 w 563576"/>
                  <a:gd name="connsiteY10" fmla="*/ 189029 h 444104"/>
                  <a:gd name="connsiteX11" fmla="*/ 46380 w 563576"/>
                  <a:gd name="connsiteY11" fmla="*/ 190113 h 444104"/>
                  <a:gd name="connsiteX12" fmla="*/ 45513 w 563576"/>
                  <a:gd name="connsiteY12" fmla="*/ 193584 h 444104"/>
                  <a:gd name="connsiteX13" fmla="*/ 45513 w 563576"/>
                  <a:gd name="connsiteY13" fmla="*/ 189029 h 444104"/>
                  <a:gd name="connsiteX14" fmla="*/ 127398 w 563576"/>
                  <a:gd name="connsiteY14" fmla="*/ 186929 h 444104"/>
                  <a:gd name="connsiteX15" fmla="*/ 129779 w 563576"/>
                  <a:gd name="connsiteY15" fmla="*/ 189310 h 444104"/>
                  <a:gd name="connsiteX16" fmla="*/ 129779 w 563576"/>
                  <a:gd name="connsiteY16" fmla="*/ 194073 h 444104"/>
                  <a:gd name="connsiteX17" fmla="*/ 127398 w 563576"/>
                  <a:gd name="connsiteY17" fmla="*/ 186929 h 444104"/>
                  <a:gd name="connsiteX18" fmla="*/ 47626 w 563576"/>
                  <a:gd name="connsiteY18" fmla="*/ 182166 h 444104"/>
                  <a:gd name="connsiteX19" fmla="*/ 45245 w 563576"/>
                  <a:gd name="connsiteY19" fmla="*/ 197645 h 444104"/>
                  <a:gd name="connsiteX20" fmla="*/ 42863 w 563576"/>
                  <a:gd name="connsiteY20" fmla="*/ 193222 h 444104"/>
                  <a:gd name="connsiteX21" fmla="*/ 42863 w 563576"/>
                  <a:gd name="connsiteY21" fmla="*/ 191011 h 444104"/>
                  <a:gd name="connsiteX22" fmla="*/ 47626 w 563576"/>
                  <a:gd name="connsiteY22" fmla="*/ 182166 h 444104"/>
                  <a:gd name="connsiteX23" fmla="*/ 4763 w 563576"/>
                  <a:gd name="connsiteY23" fmla="*/ 104775 h 444104"/>
                  <a:gd name="connsiteX24" fmla="*/ 2382 w 563576"/>
                  <a:gd name="connsiteY24" fmla="*/ 114300 h 444104"/>
                  <a:gd name="connsiteX25" fmla="*/ 4763 w 563576"/>
                  <a:gd name="connsiteY25" fmla="*/ 104775 h 444104"/>
                  <a:gd name="connsiteX26" fmla="*/ 50064 w 563576"/>
                  <a:gd name="connsiteY26" fmla="*/ 0 h 444104"/>
                  <a:gd name="connsiteX27" fmla="*/ 47788 w 563576"/>
                  <a:gd name="connsiteY27" fmla="*/ 4555 h 444104"/>
                  <a:gd name="connsiteX28" fmla="*/ 113782 w 563576"/>
                  <a:gd name="connsiteY28" fmla="*/ 31884 h 444104"/>
                  <a:gd name="connsiteX29" fmla="*/ 170672 w 563576"/>
                  <a:gd name="connsiteY29" fmla="*/ 34162 h 444104"/>
                  <a:gd name="connsiteX30" fmla="*/ 170672 w 563576"/>
                  <a:gd name="connsiteY30" fmla="*/ 22775 h 444104"/>
                  <a:gd name="connsiteX31" fmla="*/ 207083 w 563576"/>
                  <a:gd name="connsiteY31" fmla="*/ 22775 h 444104"/>
                  <a:gd name="connsiteX32" fmla="*/ 213909 w 563576"/>
                  <a:gd name="connsiteY32" fmla="*/ 29607 h 444104"/>
                  <a:gd name="connsiteX33" fmla="*/ 220736 w 563576"/>
                  <a:gd name="connsiteY33" fmla="*/ 36439 h 444104"/>
                  <a:gd name="connsiteX34" fmla="*/ 227563 w 563576"/>
                  <a:gd name="connsiteY34" fmla="*/ 45549 h 444104"/>
                  <a:gd name="connsiteX35" fmla="*/ 234390 w 563576"/>
                  <a:gd name="connsiteY35" fmla="*/ 52381 h 444104"/>
                  <a:gd name="connsiteX36" fmla="*/ 234390 w 563576"/>
                  <a:gd name="connsiteY36" fmla="*/ 66046 h 444104"/>
                  <a:gd name="connsiteX37" fmla="*/ 250320 w 563576"/>
                  <a:gd name="connsiteY37" fmla="*/ 86543 h 444104"/>
                  <a:gd name="connsiteX38" fmla="*/ 259422 w 563576"/>
                  <a:gd name="connsiteY38" fmla="*/ 91098 h 444104"/>
                  <a:gd name="connsiteX39" fmla="*/ 266249 w 563576"/>
                  <a:gd name="connsiteY39" fmla="*/ 84266 h 444104"/>
                  <a:gd name="connsiteX40" fmla="*/ 275352 w 563576"/>
                  <a:gd name="connsiteY40" fmla="*/ 72879 h 444104"/>
                  <a:gd name="connsiteX41" fmla="*/ 282178 w 563576"/>
                  <a:gd name="connsiteY41" fmla="*/ 70601 h 444104"/>
                  <a:gd name="connsiteX42" fmla="*/ 300384 w 563576"/>
                  <a:gd name="connsiteY42" fmla="*/ 72879 h 444104"/>
                  <a:gd name="connsiteX43" fmla="*/ 304935 w 563576"/>
                  <a:gd name="connsiteY43" fmla="*/ 77433 h 444104"/>
                  <a:gd name="connsiteX44" fmla="*/ 311762 w 563576"/>
                  <a:gd name="connsiteY44" fmla="*/ 88821 h 444104"/>
                  <a:gd name="connsiteX45" fmla="*/ 314037 w 563576"/>
                  <a:gd name="connsiteY45" fmla="*/ 104763 h 444104"/>
                  <a:gd name="connsiteX46" fmla="*/ 318589 w 563576"/>
                  <a:gd name="connsiteY46" fmla="*/ 116150 h 444104"/>
                  <a:gd name="connsiteX47" fmla="*/ 323140 w 563576"/>
                  <a:gd name="connsiteY47" fmla="*/ 122983 h 444104"/>
                  <a:gd name="connsiteX48" fmla="*/ 325415 w 563576"/>
                  <a:gd name="connsiteY48" fmla="*/ 125260 h 444104"/>
                  <a:gd name="connsiteX49" fmla="*/ 325415 w 563576"/>
                  <a:gd name="connsiteY49" fmla="*/ 136647 h 444104"/>
                  <a:gd name="connsiteX50" fmla="*/ 327691 w 563576"/>
                  <a:gd name="connsiteY50" fmla="*/ 148035 h 444104"/>
                  <a:gd name="connsiteX51" fmla="*/ 332242 w 563576"/>
                  <a:gd name="connsiteY51" fmla="*/ 154867 h 444104"/>
                  <a:gd name="connsiteX52" fmla="*/ 341345 w 563576"/>
                  <a:gd name="connsiteY52" fmla="*/ 159422 h 444104"/>
                  <a:gd name="connsiteX53" fmla="*/ 345896 w 563576"/>
                  <a:gd name="connsiteY53" fmla="*/ 161699 h 444104"/>
                  <a:gd name="connsiteX54" fmla="*/ 357274 w 563576"/>
                  <a:gd name="connsiteY54" fmla="*/ 166254 h 444104"/>
                  <a:gd name="connsiteX55" fmla="*/ 366377 w 563576"/>
                  <a:gd name="connsiteY55" fmla="*/ 163977 h 444104"/>
                  <a:gd name="connsiteX56" fmla="*/ 353292 w 563576"/>
                  <a:gd name="connsiteY56" fmla="*/ 189313 h 444104"/>
                  <a:gd name="connsiteX57" fmla="*/ 345035 w 563576"/>
                  <a:gd name="connsiteY57" fmla="*/ 212402 h 444104"/>
                  <a:gd name="connsiteX58" fmla="*/ 345043 w 563576"/>
                  <a:gd name="connsiteY58" fmla="*/ 212373 h 444104"/>
                  <a:gd name="connsiteX59" fmla="*/ 354999 w 563576"/>
                  <a:gd name="connsiteY59" fmla="*/ 184474 h 444104"/>
                  <a:gd name="connsiteX60" fmla="*/ 354999 w 563576"/>
                  <a:gd name="connsiteY60" fmla="*/ 177641 h 444104"/>
                  <a:gd name="connsiteX61" fmla="*/ 350447 w 563576"/>
                  <a:gd name="connsiteY61" fmla="*/ 179919 h 444104"/>
                  <a:gd name="connsiteX62" fmla="*/ 348172 w 563576"/>
                  <a:gd name="connsiteY62" fmla="*/ 184474 h 444104"/>
                  <a:gd name="connsiteX63" fmla="*/ 348172 w 563576"/>
                  <a:gd name="connsiteY63" fmla="*/ 193584 h 444104"/>
                  <a:gd name="connsiteX64" fmla="*/ 345896 w 563576"/>
                  <a:gd name="connsiteY64" fmla="*/ 200416 h 444104"/>
                  <a:gd name="connsiteX65" fmla="*/ 343621 w 563576"/>
                  <a:gd name="connsiteY65" fmla="*/ 200416 h 444104"/>
                  <a:gd name="connsiteX66" fmla="*/ 345896 w 563576"/>
                  <a:gd name="connsiteY66" fmla="*/ 204971 h 444104"/>
                  <a:gd name="connsiteX67" fmla="*/ 343621 w 563576"/>
                  <a:gd name="connsiteY67" fmla="*/ 216358 h 444104"/>
                  <a:gd name="connsiteX68" fmla="*/ 341345 w 563576"/>
                  <a:gd name="connsiteY68" fmla="*/ 218636 h 444104"/>
                  <a:gd name="connsiteX69" fmla="*/ 339069 w 563576"/>
                  <a:gd name="connsiteY69" fmla="*/ 234578 h 444104"/>
                  <a:gd name="connsiteX70" fmla="*/ 334518 w 563576"/>
                  <a:gd name="connsiteY70" fmla="*/ 250520 h 444104"/>
                  <a:gd name="connsiteX71" fmla="*/ 339069 w 563576"/>
                  <a:gd name="connsiteY71" fmla="*/ 268740 h 444104"/>
                  <a:gd name="connsiteX72" fmla="*/ 341629 w 563576"/>
                  <a:gd name="connsiteY72" fmla="*/ 273579 h 444104"/>
                  <a:gd name="connsiteX73" fmla="*/ 339456 w 563576"/>
                  <a:gd name="connsiteY73" fmla="*/ 279139 h 444104"/>
                  <a:gd name="connsiteX74" fmla="*/ 339069 w 563576"/>
                  <a:gd name="connsiteY74" fmla="*/ 277850 h 444104"/>
                  <a:gd name="connsiteX75" fmla="*/ 339069 w 563576"/>
                  <a:gd name="connsiteY75" fmla="*/ 271017 h 444104"/>
                  <a:gd name="connsiteX76" fmla="*/ 334518 w 563576"/>
                  <a:gd name="connsiteY76" fmla="*/ 259630 h 444104"/>
                  <a:gd name="connsiteX77" fmla="*/ 336794 w 563576"/>
                  <a:gd name="connsiteY77" fmla="*/ 271017 h 444104"/>
                  <a:gd name="connsiteX78" fmla="*/ 339069 w 563576"/>
                  <a:gd name="connsiteY78" fmla="*/ 277850 h 444104"/>
                  <a:gd name="connsiteX79" fmla="*/ 339069 w 563576"/>
                  <a:gd name="connsiteY79" fmla="*/ 280127 h 444104"/>
                  <a:gd name="connsiteX80" fmla="*/ 339456 w 563576"/>
                  <a:gd name="connsiteY80" fmla="*/ 279139 h 444104"/>
                  <a:gd name="connsiteX81" fmla="*/ 345896 w 563576"/>
                  <a:gd name="connsiteY81" fmla="*/ 300624 h 444104"/>
                  <a:gd name="connsiteX82" fmla="*/ 354999 w 563576"/>
                  <a:gd name="connsiteY82" fmla="*/ 323399 h 444104"/>
                  <a:gd name="connsiteX83" fmla="*/ 359550 w 563576"/>
                  <a:gd name="connsiteY83" fmla="*/ 332509 h 444104"/>
                  <a:gd name="connsiteX84" fmla="*/ 364101 w 563576"/>
                  <a:gd name="connsiteY84" fmla="*/ 339341 h 444104"/>
                  <a:gd name="connsiteX85" fmla="*/ 359550 w 563576"/>
                  <a:gd name="connsiteY85" fmla="*/ 339341 h 444104"/>
                  <a:gd name="connsiteX86" fmla="*/ 359550 w 563576"/>
                  <a:gd name="connsiteY86" fmla="*/ 346174 h 444104"/>
                  <a:gd name="connsiteX87" fmla="*/ 361826 w 563576"/>
                  <a:gd name="connsiteY87" fmla="*/ 341619 h 444104"/>
                  <a:gd name="connsiteX88" fmla="*/ 364101 w 563576"/>
                  <a:gd name="connsiteY88" fmla="*/ 339341 h 444104"/>
                  <a:gd name="connsiteX89" fmla="*/ 370928 w 563576"/>
                  <a:gd name="connsiteY89" fmla="*/ 341619 h 444104"/>
                  <a:gd name="connsiteX90" fmla="*/ 386858 w 563576"/>
                  <a:gd name="connsiteY90" fmla="*/ 350728 h 444104"/>
                  <a:gd name="connsiteX91" fmla="*/ 395960 w 563576"/>
                  <a:gd name="connsiteY91" fmla="*/ 355283 h 444104"/>
                  <a:gd name="connsiteX92" fmla="*/ 409614 w 563576"/>
                  <a:gd name="connsiteY92" fmla="*/ 350728 h 444104"/>
                  <a:gd name="connsiteX93" fmla="*/ 402787 w 563576"/>
                  <a:gd name="connsiteY93" fmla="*/ 353006 h 444104"/>
                  <a:gd name="connsiteX94" fmla="*/ 427819 w 563576"/>
                  <a:gd name="connsiteY94" fmla="*/ 348451 h 444104"/>
                  <a:gd name="connsiteX95" fmla="*/ 446024 w 563576"/>
                  <a:gd name="connsiteY95" fmla="*/ 343896 h 444104"/>
                  <a:gd name="connsiteX96" fmla="*/ 446001 w 563576"/>
                  <a:gd name="connsiteY96" fmla="*/ 343915 h 444104"/>
                  <a:gd name="connsiteX97" fmla="*/ 444317 w 563576"/>
                  <a:gd name="connsiteY97" fmla="*/ 345320 h 444104"/>
                  <a:gd name="connsiteX98" fmla="*/ 446024 w 563576"/>
                  <a:gd name="connsiteY98" fmla="*/ 348451 h 444104"/>
                  <a:gd name="connsiteX99" fmla="*/ 450575 w 563576"/>
                  <a:gd name="connsiteY99" fmla="*/ 348451 h 444104"/>
                  <a:gd name="connsiteX100" fmla="*/ 452851 w 563576"/>
                  <a:gd name="connsiteY100" fmla="*/ 348451 h 444104"/>
                  <a:gd name="connsiteX101" fmla="*/ 455127 w 563576"/>
                  <a:gd name="connsiteY101" fmla="*/ 346174 h 444104"/>
                  <a:gd name="connsiteX102" fmla="*/ 457402 w 563576"/>
                  <a:gd name="connsiteY102" fmla="*/ 339341 h 444104"/>
                  <a:gd name="connsiteX103" fmla="*/ 459678 w 563576"/>
                  <a:gd name="connsiteY103" fmla="*/ 337064 h 444104"/>
                  <a:gd name="connsiteX104" fmla="*/ 455127 w 563576"/>
                  <a:gd name="connsiteY104" fmla="*/ 339341 h 444104"/>
                  <a:gd name="connsiteX105" fmla="*/ 466505 w 563576"/>
                  <a:gd name="connsiteY105" fmla="*/ 332509 h 444104"/>
                  <a:gd name="connsiteX106" fmla="*/ 475607 w 563576"/>
                  <a:gd name="connsiteY106" fmla="*/ 318844 h 444104"/>
                  <a:gd name="connsiteX107" fmla="*/ 480158 w 563576"/>
                  <a:gd name="connsiteY107" fmla="*/ 312012 h 444104"/>
                  <a:gd name="connsiteX108" fmla="*/ 482434 w 563576"/>
                  <a:gd name="connsiteY108" fmla="*/ 305179 h 444104"/>
                  <a:gd name="connsiteX109" fmla="*/ 486830 w 563576"/>
                  <a:gd name="connsiteY109" fmla="*/ 287581 h 444104"/>
                  <a:gd name="connsiteX110" fmla="*/ 496372 w 563576"/>
                  <a:gd name="connsiteY110" fmla="*/ 280127 h 444104"/>
                  <a:gd name="connsiteX111" fmla="*/ 509742 w 563576"/>
                  <a:gd name="connsiteY111" fmla="*/ 277850 h 444104"/>
                  <a:gd name="connsiteX112" fmla="*/ 525671 w 563576"/>
                  <a:gd name="connsiteY112" fmla="*/ 273295 h 444104"/>
                  <a:gd name="connsiteX113" fmla="*/ 543876 w 563576"/>
                  <a:gd name="connsiteY113" fmla="*/ 273295 h 444104"/>
                  <a:gd name="connsiteX114" fmla="*/ 552979 w 563576"/>
                  <a:gd name="connsiteY114" fmla="*/ 275572 h 444104"/>
                  <a:gd name="connsiteX115" fmla="*/ 559806 w 563576"/>
                  <a:gd name="connsiteY115" fmla="*/ 273295 h 444104"/>
                  <a:gd name="connsiteX116" fmla="*/ 562081 w 563576"/>
                  <a:gd name="connsiteY116" fmla="*/ 286959 h 444104"/>
                  <a:gd name="connsiteX117" fmla="*/ 550703 w 563576"/>
                  <a:gd name="connsiteY117" fmla="*/ 298347 h 444104"/>
                  <a:gd name="connsiteX118" fmla="*/ 546152 w 563576"/>
                  <a:gd name="connsiteY118" fmla="*/ 307457 h 444104"/>
                  <a:gd name="connsiteX119" fmla="*/ 543876 w 563576"/>
                  <a:gd name="connsiteY119" fmla="*/ 312012 h 444104"/>
                  <a:gd name="connsiteX120" fmla="*/ 539325 w 563576"/>
                  <a:gd name="connsiteY120" fmla="*/ 321121 h 444104"/>
                  <a:gd name="connsiteX121" fmla="*/ 537049 w 563576"/>
                  <a:gd name="connsiteY121" fmla="*/ 330231 h 444104"/>
                  <a:gd name="connsiteX122" fmla="*/ 541601 w 563576"/>
                  <a:gd name="connsiteY122" fmla="*/ 327954 h 444104"/>
                  <a:gd name="connsiteX123" fmla="*/ 537049 w 563576"/>
                  <a:gd name="connsiteY123" fmla="*/ 339341 h 444104"/>
                  <a:gd name="connsiteX124" fmla="*/ 530222 w 563576"/>
                  <a:gd name="connsiteY124" fmla="*/ 355283 h 444104"/>
                  <a:gd name="connsiteX125" fmla="*/ 527947 w 563576"/>
                  <a:gd name="connsiteY125" fmla="*/ 339341 h 444104"/>
                  <a:gd name="connsiteX126" fmla="*/ 523396 w 563576"/>
                  <a:gd name="connsiteY126" fmla="*/ 343896 h 444104"/>
                  <a:gd name="connsiteX127" fmla="*/ 518844 w 563576"/>
                  <a:gd name="connsiteY127" fmla="*/ 348451 h 444104"/>
                  <a:gd name="connsiteX128" fmla="*/ 507466 w 563576"/>
                  <a:gd name="connsiteY128" fmla="*/ 362116 h 444104"/>
                  <a:gd name="connsiteX129" fmla="*/ 502915 w 563576"/>
                  <a:gd name="connsiteY129" fmla="*/ 362116 h 444104"/>
                  <a:gd name="connsiteX130" fmla="*/ 496088 w 563576"/>
                  <a:gd name="connsiteY130" fmla="*/ 364393 h 444104"/>
                  <a:gd name="connsiteX131" fmla="*/ 468780 w 563576"/>
                  <a:gd name="connsiteY131" fmla="*/ 364393 h 444104"/>
                  <a:gd name="connsiteX132" fmla="*/ 461953 w 563576"/>
                  <a:gd name="connsiteY132" fmla="*/ 366671 h 444104"/>
                  <a:gd name="connsiteX133" fmla="*/ 461953 w 563576"/>
                  <a:gd name="connsiteY133" fmla="*/ 373503 h 444104"/>
                  <a:gd name="connsiteX134" fmla="*/ 450575 w 563576"/>
                  <a:gd name="connsiteY134" fmla="*/ 378058 h 444104"/>
                  <a:gd name="connsiteX135" fmla="*/ 461953 w 563576"/>
                  <a:gd name="connsiteY135" fmla="*/ 389445 h 444104"/>
                  <a:gd name="connsiteX136" fmla="*/ 468780 w 563576"/>
                  <a:gd name="connsiteY136" fmla="*/ 398555 h 444104"/>
                  <a:gd name="connsiteX137" fmla="*/ 468780 w 563576"/>
                  <a:gd name="connsiteY137" fmla="*/ 405387 h 444104"/>
                  <a:gd name="connsiteX138" fmla="*/ 441473 w 563576"/>
                  <a:gd name="connsiteY138" fmla="*/ 405387 h 444104"/>
                  <a:gd name="connsiteX139" fmla="*/ 430095 w 563576"/>
                  <a:gd name="connsiteY139" fmla="*/ 430439 h 444104"/>
                  <a:gd name="connsiteX140" fmla="*/ 425543 w 563576"/>
                  <a:gd name="connsiteY140" fmla="*/ 444104 h 444104"/>
                  <a:gd name="connsiteX141" fmla="*/ 418716 w 563576"/>
                  <a:gd name="connsiteY141" fmla="*/ 437272 h 444104"/>
                  <a:gd name="connsiteX142" fmla="*/ 416441 w 563576"/>
                  <a:gd name="connsiteY142" fmla="*/ 430439 h 444104"/>
                  <a:gd name="connsiteX143" fmla="*/ 409614 w 563576"/>
                  <a:gd name="connsiteY143" fmla="*/ 423607 h 444104"/>
                  <a:gd name="connsiteX144" fmla="*/ 402787 w 563576"/>
                  <a:gd name="connsiteY144" fmla="*/ 414497 h 444104"/>
                  <a:gd name="connsiteX145" fmla="*/ 384582 w 563576"/>
                  <a:gd name="connsiteY145" fmla="*/ 400832 h 444104"/>
                  <a:gd name="connsiteX146" fmla="*/ 393684 w 563576"/>
                  <a:gd name="connsiteY146" fmla="*/ 407665 h 444104"/>
                  <a:gd name="connsiteX147" fmla="*/ 377755 w 563576"/>
                  <a:gd name="connsiteY147" fmla="*/ 403110 h 444104"/>
                  <a:gd name="connsiteX148" fmla="*/ 380031 w 563576"/>
                  <a:gd name="connsiteY148" fmla="*/ 400832 h 444104"/>
                  <a:gd name="connsiteX149" fmla="*/ 375479 w 563576"/>
                  <a:gd name="connsiteY149" fmla="*/ 400832 h 444104"/>
                  <a:gd name="connsiteX150" fmla="*/ 370928 w 563576"/>
                  <a:gd name="connsiteY150" fmla="*/ 403110 h 444104"/>
                  <a:gd name="connsiteX151" fmla="*/ 375479 w 563576"/>
                  <a:gd name="connsiteY151" fmla="*/ 403110 h 444104"/>
                  <a:gd name="connsiteX152" fmla="*/ 357274 w 563576"/>
                  <a:gd name="connsiteY152" fmla="*/ 409942 h 444104"/>
                  <a:gd name="connsiteX153" fmla="*/ 339069 w 563576"/>
                  <a:gd name="connsiteY153" fmla="*/ 416775 h 444104"/>
                  <a:gd name="connsiteX154" fmla="*/ 327691 w 563576"/>
                  <a:gd name="connsiteY154" fmla="*/ 414497 h 444104"/>
                  <a:gd name="connsiteX155" fmla="*/ 314037 w 563576"/>
                  <a:gd name="connsiteY155" fmla="*/ 409942 h 444104"/>
                  <a:gd name="connsiteX156" fmla="*/ 307210 w 563576"/>
                  <a:gd name="connsiteY156" fmla="*/ 405387 h 444104"/>
                  <a:gd name="connsiteX157" fmla="*/ 298108 w 563576"/>
                  <a:gd name="connsiteY157" fmla="*/ 400832 h 444104"/>
                  <a:gd name="connsiteX158" fmla="*/ 293557 w 563576"/>
                  <a:gd name="connsiteY158" fmla="*/ 396278 h 444104"/>
                  <a:gd name="connsiteX159" fmla="*/ 282178 w 563576"/>
                  <a:gd name="connsiteY159" fmla="*/ 394000 h 444104"/>
                  <a:gd name="connsiteX160" fmla="*/ 273076 w 563576"/>
                  <a:gd name="connsiteY160" fmla="*/ 389445 h 444104"/>
                  <a:gd name="connsiteX161" fmla="*/ 263973 w 563576"/>
                  <a:gd name="connsiteY161" fmla="*/ 384890 h 444104"/>
                  <a:gd name="connsiteX162" fmla="*/ 243493 w 563576"/>
                  <a:gd name="connsiteY162" fmla="*/ 375780 h 444104"/>
                  <a:gd name="connsiteX163" fmla="*/ 232115 w 563576"/>
                  <a:gd name="connsiteY163" fmla="*/ 362116 h 444104"/>
                  <a:gd name="connsiteX164" fmla="*/ 225288 w 563576"/>
                  <a:gd name="connsiteY164" fmla="*/ 359838 h 444104"/>
                  <a:gd name="connsiteX165" fmla="*/ 213909 w 563576"/>
                  <a:gd name="connsiteY165" fmla="*/ 357561 h 444104"/>
                  <a:gd name="connsiteX166" fmla="*/ 197980 w 563576"/>
                  <a:gd name="connsiteY166" fmla="*/ 348451 h 444104"/>
                  <a:gd name="connsiteX167" fmla="*/ 193429 w 563576"/>
                  <a:gd name="connsiteY167" fmla="*/ 341619 h 444104"/>
                  <a:gd name="connsiteX168" fmla="*/ 184326 w 563576"/>
                  <a:gd name="connsiteY168" fmla="*/ 334786 h 444104"/>
                  <a:gd name="connsiteX169" fmla="*/ 170672 w 563576"/>
                  <a:gd name="connsiteY169" fmla="*/ 325676 h 444104"/>
                  <a:gd name="connsiteX170" fmla="*/ 168397 w 563576"/>
                  <a:gd name="connsiteY170" fmla="*/ 321121 h 444104"/>
                  <a:gd name="connsiteX171" fmla="*/ 163846 w 563576"/>
                  <a:gd name="connsiteY171" fmla="*/ 312012 h 444104"/>
                  <a:gd name="connsiteX172" fmla="*/ 163846 w 563576"/>
                  <a:gd name="connsiteY172" fmla="*/ 298347 h 444104"/>
                  <a:gd name="connsiteX173" fmla="*/ 170672 w 563576"/>
                  <a:gd name="connsiteY173" fmla="*/ 296069 h 444104"/>
                  <a:gd name="connsiteX174" fmla="*/ 166121 w 563576"/>
                  <a:gd name="connsiteY174" fmla="*/ 291514 h 444104"/>
                  <a:gd name="connsiteX175" fmla="*/ 175224 w 563576"/>
                  <a:gd name="connsiteY175" fmla="*/ 275572 h 444104"/>
                  <a:gd name="connsiteX176" fmla="*/ 170672 w 563576"/>
                  <a:gd name="connsiteY176" fmla="*/ 264185 h 444104"/>
                  <a:gd name="connsiteX177" fmla="*/ 170672 w 563576"/>
                  <a:gd name="connsiteY177" fmla="*/ 252798 h 444104"/>
                  <a:gd name="connsiteX178" fmla="*/ 154743 w 563576"/>
                  <a:gd name="connsiteY178" fmla="*/ 225468 h 444104"/>
                  <a:gd name="connsiteX179" fmla="*/ 136538 w 563576"/>
                  <a:gd name="connsiteY179" fmla="*/ 200416 h 444104"/>
                  <a:gd name="connsiteX180" fmla="*/ 141089 w 563576"/>
                  <a:gd name="connsiteY180" fmla="*/ 200416 h 444104"/>
                  <a:gd name="connsiteX181" fmla="*/ 131987 w 563576"/>
                  <a:gd name="connsiteY181" fmla="*/ 193584 h 444104"/>
                  <a:gd name="connsiteX182" fmla="*/ 127435 w 563576"/>
                  <a:gd name="connsiteY182" fmla="*/ 184474 h 444104"/>
                  <a:gd name="connsiteX183" fmla="*/ 125160 w 563576"/>
                  <a:gd name="connsiteY183" fmla="*/ 182196 h 444104"/>
                  <a:gd name="connsiteX184" fmla="*/ 120609 w 563576"/>
                  <a:gd name="connsiteY184" fmla="*/ 179919 h 444104"/>
                  <a:gd name="connsiteX185" fmla="*/ 118333 w 563576"/>
                  <a:gd name="connsiteY185" fmla="*/ 175364 h 444104"/>
                  <a:gd name="connsiteX186" fmla="*/ 113782 w 563576"/>
                  <a:gd name="connsiteY186" fmla="*/ 177641 h 444104"/>
                  <a:gd name="connsiteX187" fmla="*/ 116057 w 563576"/>
                  <a:gd name="connsiteY187" fmla="*/ 170809 h 444104"/>
                  <a:gd name="connsiteX188" fmla="*/ 109230 w 563576"/>
                  <a:gd name="connsiteY188" fmla="*/ 173087 h 444104"/>
                  <a:gd name="connsiteX189" fmla="*/ 111506 w 563576"/>
                  <a:gd name="connsiteY189" fmla="*/ 170809 h 444104"/>
                  <a:gd name="connsiteX190" fmla="*/ 106955 w 563576"/>
                  <a:gd name="connsiteY190" fmla="*/ 170809 h 444104"/>
                  <a:gd name="connsiteX191" fmla="*/ 109230 w 563576"/>
                  <a:gd name="connsiteY191" fmla="*/ 163977 h 444104"/>
                  <a:gd name="connsiteX192" fmla="*/ 113782 w 563576"/>
                  <a:gd name="connsiteY192" fmla="*/ 159422 h 444104"/>
                  <a:gd name="connsiteX193" fmla="*/ 118333 w 563576"/>
                  <a:gd name="connsiteY193" fmla="*/ 157144 h 444104"/>
                  <a:gd name="connsiteX194" fmla="*/ 113782 w 563576"/>
                  <a:gd name="connsiteY194" fmla="*/ 154867 h 444104"/>
                  <a:gd name="connsiteX195" fmla="*/ 113782 w 563576"/>
                  <a:gd name="connsiteY195" fmla="*/ 148035 h 444104"/>
                  <a:gd name="connsiteX196" fmla="*/ 106955 w 563576"/>
                  <a:gd name="connsiteY196" fmla="*/ 145757 h 444104"/>
                  <a:gd name="connsiteX197" fmla="*/ 104679 w 563576"/>
                  <a:gd name="connsiteY197" fmla="*/ 136647 h 444104"/>
                  <a:gd name="connsiteX198" fmla="*/ 95577 w 563576"/>
                  <a:gd name="connsiteY198" fmla="*/ 132092 h 444104"/>
                  <a:gd name="connsiteX199" fmla="*/ 97852 w 563576"/>
                  <a:gd name="connsiteY199" fmla="*/ 118428 h 444104"/>
                  <a:gd name="connsiteX200" fmla="*/ 93301 w 563576"/>
                  <a:gd name="connsiteY200" fmla="*/ 116150 h 444104"/>
                  <a:gd name="connsiteX201" fmla="*/ 91025 w 563576"/>
                  <a:gd name="connsiteY201" fmla="*/ 118428 h 444104"/>
                  <a:gd name="connsiteX202" fmla="*/ 84198 w 563576"/>
                  <a:gd name="connsiteY202" fmla="*/ 113873 h 444104"/>
                  <a:gd name="connsiteX203" fmla="*/ 81923 w 563576"/>
                  <a:gd name="connsiteY203" fmla="*/ 107040 h 444104"/>
                  <a:gd name="connsiteX204" fmla="*/ 77371 w 563576"/>
                  <a:gd name="connsiteY204" fmla="*/ 102485 h 444104"/>
                  <a:gd name="connsiteX205" fmla="*/ 75096 w 563576"/>
                  <a:gd name="connsiteY205" fmla="*/ 93376 h 444104"/>
                  <a:gd name="connsiteX206" fmla="*/ 72820 w 563576"/>
                  <a:gd name="connsiteY206" fmla="*/ 81988 h 444104"/>
                  <a:gd name="connsiteX207" fmla="*/ 70545 w 563576"/>
                  <a:gd name="connsiteY207" fmla="*/ 75156 h 444104"/>
                  <a:gd name="connsiteX208" fmla="*/ 68269 w 563576"/>
                  <a:gd name="connsiteY208" fmla="*/ 61491 h 444104"/>
                  <a:gd name="connsiteX209" fmla="*/ 68269 w 563576"/>
                  <a:gd name="connsiteY209" fmla="*/ 47827 h 444104"/>
                  <a:gd name="connsiteX210" fmla="*/ 70545 w 563576"/>
                  <a:gd name="connsiteY210" fmla="*/ 38717 h 444104"/>
                  <a:gd name="connsiteX211" fmla="*/ 63718 w 563576"/>
                  <a:gd name="connsiteY211" fmla="*/ 34162 h 444104"/>
                  <a:gd name="connsiteX212" fmla="*/ 56891 w 563576"/>
                  <a:gd name="connsiteY212" fmla="*/ 27329 h 444104"/>
                  <a:gd name="connsiteX213" fmla="*/ 52340 w 563576"/>
                  <a:gd name="connsiteY213" fmla="*/ 29607 h 444104"/>
                  <a:gd name="connsiteX214" fmla="*/ 47788 w 563576"/>
                  <a:gd name="connsiteY214" fmla="*/ 25052 h 444104"/>
                  <a:gd name="connsiteX215" fmla="*/ 36410 w 563576"/>
                  <a:gd name="connsiteY215" fmla="*/ 18220 h 444104"/>
                  <a:gd name="connsiteX216" fmla="*/ 38686 w 563576"/>
                  <a:gd name="connsiteY216" fmla="*/ 25052 h 444104"/>
                  <a:gd name="connsiteX217" fmla="*/ 34134 w 563576"/>
                  <a:gd name="connsiteY217" fmla="*/ 36439 h 444104"/>
                  <a:gd name="connsiteX218" fmla="*/ 34134 w 563576"/>
                  <a:gd name="connsiteY218" fmla="*/ 45549 h 444104"/>
                  <a:gd name="connsiteX219" fmla="*/ 31859 w 563576"/>
                  <a:gd name="connsiteY219" fmla="*/ 56936 h 444104"/>
                  <a:gd name="connsiteX220" fmla="*/ 38686 w 563576"/>
                  <a:gd name="connsiteY220" fmla="*/ 75156 h 444104"/>
                  <a:gd name="connsiteX221" fmla="*/ 43237 w 563576"/>
                  <a:gd name="connsiteY221" fmla="*/ 93376 h 444104"/>
                  <a:gd name="connsiteX222" fmla="*/ 50064 w 563576"/>
                  <a:gd name="connsiteY222" fmla="*/ 97931 h 444104"/>
                  <a:gd name="connsiteX223" fmla="*/ 50064 w 563576"/>
                  <a:gd name="connsiteY223" fmla="*/ 102485 h 444104"/>
                  <a:gd name="connsiteX224" fmla="*/ 54615 w 563576"/>
                  <a:gd name="connsiteY224" fmla="*/ 104763 h 444104"/>
                  <a:gd name="connsiteX225" fmla="*/ 54615 w 563576"/>
                  <a:gd name="connsiteY225" fmla="*/ 122983 h 444104"/>
                  <a:gd name="connsiteX226" fmla="*/ 63718 w 563576"/>
                  <a:gd name="connsiteY226" fmla="*/ 136647 h 444104"/>
                  <a:gd name="connsiteX227" fmla="*/ 63718 w 563576"/>
                  <a:gd name="connsiteY227" fmla="*/ 150312 h 444104"/>
                  <a:gd name="connsiteX228" fmla="*/ 63718 w 563576"/>
                  <a:gd name="connsiteY228" fmla="*/ 141202 h 444104"/>
                  <a:gd name="connsiteX229" fmla="*/ 72820 w 563576"/>
                  <a:gd name="connsiteY229" fmla="*/ 175364 h 444104"/>
                  <a:gd name="connsiteX230" fmla="*/ 72820 w 563576"/>
                  <a:gd name="connsiteY230" fmla="*/ 186751 h 444104"/>
                  <a:gd name="connsiteX231" fmla="*/ 75096 w 563576"/>
                  <a:gd name="connsiteY231" fmla="*/ 195861 h 444104"/>
                  <a:gd name="connsiteX232" fmla="*/ 79647 w 563576"/>
                  <a:gd name="connsiteY232" fmla="*/ 207248 h 444104"/>
                  <a:gd name="connsiteX233" fmla="*/ 81923 w 563576"/>
                  <a:gd name="connsiteY233" fmla="*/ 204971 h 444104"/>
                  <a:gd name="connsiteX234" fmla="*/ 88750 w 563576"/>
                  <a:gd name="connsiteY234" fmla="*/ 211803 h 444104"/>
                  <a:gd name="connsiteX235" fmla="*/ 91025 w 563576"/>
                  <a:gd name="connsiteY235" fmla="*/ 220913 h 444104"/>
                  <a:gd name="connsiteX236" fmla="*/ 93301 w 563576"/>
                  <a:gd name="connsiteY236" fmla="*/ 232300 h 444104"/>
                  <a:gd name="connsiteX237" fmla="*/ 81923 w 563576"/>
                  <a:gd name="connsiteY237" fmla="*/ 239133 h 444104"/>
                  <a:gd name="connsiteX238" fmla="*/ 77371 w 563576"/>
                  <a:gd name="connsiteY238" fmla="*/ 225468 h 444104"/>
                  <a:gd name="connsiteX239" fmla="*/ 72820 w 563576"/>
                  <a:gd name="connsiteY239" fmla="*/ 220913 h 444104"/>
                  <a:gd name="connsiteX240" fmla="*/ 65993 w 563576"/>
                  <a:gd name="connsiteY240" fmla="*/ 211803 h 444104"/>
                  <a:gd name="connsiteX241" fmla="*/ 54615 w 563576"/>
                  <a:gd name="connsiteY241" fmla="*/ 200416 h 444104"/>
                  <a:gd name="connsiteX242" fmla="*/ 46380 w 563576"/>
                  <a:gd name="connsiteY242" fmla="*/ 190113 h 444104"/>
                  <a:gd name="connsiteX243" fmla="*/ 49495 w 563576"/>
                  <a:gd name="connsiteY243" fmla="*/ 177642 h 444104"/>
                  <a:gd name="connsiteX244" fmla="*/ 50064 w 563576"/>
                  <a:gd name="connsiteY244" fmla="*/ 161699 h 444104"/>
                  <a:gd name="connsiteX245" fmla="*/ 38686 w 563576"/>
                  <a:gd name="connsiteY245" fmla="*/ 152589 h 444104"/>
                  <a:gd name="connsiteX246" fmla="*/ 36410 w 563576"/>
                  <a:gd name="connsiteY246" fmla="*/ 143480 h 444104"/>
                  <a:gd name="connsiteX247" fmla="*/ 36410 w 563576"/>
                  <a:gd name="connsiteY247" fmla="*/ 138925 h 444104"/>
                  <a:gd name="connsiteX248" fmla="*/ 34134 w 563576"/>
                  <a:gd name="connsiteY248" fmla="*/ 145757 h 444104"/>
                  <a:gd name="connsiteX249" fmla="*/ 27308 w 563576"/>
                  <a:gd name="connsiteY249" fmla="*/ 145757 h 444104"/>
                  <a:gd name="connsiteX250" fmla="*/ 25032 w 563576"/>
                  <a:gd name="connsiteY250" fmla="*/ 143480 h 444104"/>
                  <a:gd name="connsiteX251" fmla="*/ 18205 w 563576"/>
                  <a:gd name="connsiteY251" fmla="*/ 138925 h 444104"/>
                  <a:gd name="connsiteX252" fmla="*/ 18205 w 563576"/>
                  <a:gd name="connsiteY252" fmla="*/ 136647 h 444104"/>
                  <a:gd name="connsiteX253" fmla="*/ 13654 w 563576"/>
                  <a:gd name="connsiteY253" fmla="*/ 134370 h 444104"/>
                  <a:gd name="connsiteX254" fmla="*/ 11378 w 563576"/>
                  <a:gd name="connsiteY254" fmla="*/ 129815 h 444104"/>
                  <a:gd name="connsiteX255" fmla="*/ 2276 w 563576"/>
                  <a:gd name="connsiteY255" fmla="*/ 118428 h 444104"/>
                  <a:gd name="connsiteX256" fmla="*/ 18205 w 563576"/>
                  <a:gd name="connsiteY256" fmla="*/ 118428 h 444104"/>
                  <a:gd name="connsiteX257" fmla="*/ 25032 w 563576"/>
                  <a:gd name="connsiteY257" fmla="*/ 127537 h 444104"/>
                  <a:gd name="connsiteX258" fmla="*/ 25032 w 563576"/>
                  <a:gd name="connsiteY258" fmla="*/ 116150 h 444104"/>
                  <a:gd name="connsiteX259" fmla="*/ 22756 w 563576"/>
                  <a:gd name="connsiteY259" fmla="*/ 122983 h 444104"/>
                  <a:gd name="connsiteX260" fmla="*/ 22756 w 563576"/>
                  <a:gd name="connsiteY260" fmla="*/ 116150 h 444104"/>
                  <a:gd name="connsiteX261" fmla="*/ 20481 w 563576"/>
                  <a:gd name="connsiteY261" fmla="*/ 118428 h 444104"/>
                  <a:gd name="connsiteX262" fmla="*/ 27308 w 563576"/>
                  <a:gd name="connsiteY262" fmla="*/ 100208 h 444104"/>
                  <a:gd name="connsiteX263" fmla="*/ 15929 w 563576"/>
                  <a:gd name="connsiteY263" fmla="*/ 81988 h 444104"/>
                  <a:gd name="connsiteX264" fmla="*/ 4551 w 563576"/>
                  <a:gd name="connsiteY264" fmla="*/ 68324 h 444104"/>
                  <a:gd name="connsiteX265" fmla="*/ 6827 w 563576"/>
                  <a:gd name="connsiteY265" fmla="*/ 61491 h 444104"/>
                  <a:gd name="connsiteX266" fmla="*/ 6827 w 563576"/>
                  <a:gd name="connsiteY266" fmla="*/ 54659 h 444104"/>
                  <a:gd name="connsiteX267" fmla="*/ 4551 w 563576"/>
                  <a:gd name="connsiteY267" fmla="*/ 56936 h 444104"/>
                  <a:gd name="connsiteX268" fmla="*/ 4551 w 563576"/>
                  <a:gd name="connsiteY268" fmla="*/ 43272 h 444104"/>
                  <a:gd name="connsiteX269" fmla="*/ 4551 w 563576"/>
                  <a:gd name="connsiteY269" fmla="*/ 36439 h 444104"/>
                  <a:gd name="connsiteX270" fmla="*/ 0 w 563576"/>
                  <a:gd name="connsiteY270" fmla="*/ 29607 h 444104"/>
                  <a:gd name="connsiteX271" fmla="*/ 2276 w 563576"/>
                  <a:gd name="connsiteY271" fmla="*/ 22775 h 444104"/>
                  <a:gd name="connsiteX272" fmla="*/ 2276 w 563576"/>
                  <a:gd name="connsiteY272" fmla="*/ 18220 h 444104"/>
                  <a:gd name="connsiteX273" fmla="*/ 0 w 563576"/>
                  <a:gd name="connsiteY273" fmla="*/ 15942 h 444104"/>
                  <a:gd name="connsiteX274" fmla="*/ 2276 w 563576"/>
                  <a:gd name="connsiteY274" fmla="*/ 11387 h 444104"/>
                  <a:gd name="connsiteX275" fmla="*/ 2276 w 563576"/>
                  <a:gd name="connsiteY275" fmla="*/ 6832 h 444104"/>
                  <a:gd name="connsiteX276" fmla="*/ 0 w 563576"/>
                  <a:gd name="connsiteY276" fmla="*/ 4555 h 444104"/>
                  <a:gd name="connsiteX277" fmla="*/ 50064 w 563576"/>
                  <a:gd name="connsiteY277" fmla="*/ 0 h 444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Lst>
                <a:rect l="l" t="t" r="r" b="b"/>
                <a:pathLst>
                  <a:path w="563576" h="444104">
                    <a:moveTo>
                      <a:pt x="561976" y="296466"/>
                    </a:moveTo>
                    <a:cubicBezTo>
                      <a:pt x="559595" y="298550"/>
                      <a:pt x="557214" y="302717"/>
                      <a:pt x="554832" y="304801"/>
                    </a:cubicBezTo>
                    <a:cubicBezTo>
                      <a:pt x="552451" y="298550"/>
                      <a:pt x="559595" y="298550"/>
                      <a:pt x="561976" y="296466"/>
                    </a:cubicBezTo>
                    <a:close/>
                    <a:moveTo>
                      <a:pt x="486985" y="286959"/>
                    </a:moveTo>
                    <a:lnTo>
                      <a:pt x="486830" y="287581"/>
                    </a:lnTo>
                    <a:lnTo>
                      <a:pt x="484710" y="289237"/>
                    </a:lnTo>
                    <a:cubicBezTo>
                      <a:pt x="484710" y="289237"/>
                      <a:pt x="484710" y="289237"/>
                      <a:pt x="486985" y="286959"/>
                    </a:cubicBezTo>
                    <a:close/>
                    <a:moveTo>
                      <a:pt x="345035" y="212402"/>
                    </a:moveTo>
                    <a:lnTo>
                      <a:pt x="343158" y="219703"/>
                    </a:lnTo>
                    <a:cubicBezTo>
                      <a:pt x="342909" y="220628"/>
                      <a:pt x="343052" y="219774"/>
                      <a:pt x="343621" y="216358"/>
                    </a:cubicBezTo>
                    <a:close/>
                    <a:moveTo>
                      <a:pt x="45513" y="189029"/>
                    </a:moveTo>
                    <a:lnTo>
                      <a:pt x="46380" y="190113"/>
                    </a:lnTo>
                    <a:lnTo>
                      <a:pt x="45513" y="193584"/>
                    </a:lnTo>
                    <a:cubicBezTo>
                      <a:pt x="45513" y="191306"/>
                      <a:pt x="45513" y="189029"/>
                      <a:pt x="45513" y="189029"/>
                    </a:cubicBezTo>
                    <a:close/>
                    <a:moveTo>
                      <a:pt x="127398" y="186929"/>
                    </a:moveTo>
                    <a:cubicBezTo>
                      <a:pt x="129779" y="189310"/>
                      <a:pt x="129779" y="189310"/>
                      <a:pt x="129779" y="189310"/>
                    </a:cubicBezTo>
                    <a:cubicBezTo>
                      <a:pt x="129779" y="189310"/>
                      <a:pt x="129779" y="191692"/>
                      <a:pt x="129779" y="194073"/>
                    </a:cubicBezTo>
                    <a:cubicBezTo>
                      <a:pt x="129779" y="189310"/>
                      <a:pt x="129779" y="186929"/>
                      <a:pt x="127398" y="186929"/>
                    </a:cubicBezTo>
                    <a:close/>
                    <a:moveTo>
                      <a:pt x="47626" y="182166"/>
                    </a:moveTo>
                    <a:cubicBezTo>
                      <a:pt x="47626" y="186588"/>
                      <a:pt x="40482" y="193222"/>
                      <a:pt x="45245" y="197645"/>
                    </a:cubicBezTo>
                    <a:cubicBezTo>
                      <a:pt x="42863" y="197645"/>
                      <a:pt x="42863" y="195434"/>
                      <a:pt x="42863" y="193222"/>
                    </a:cubicBezTo>
                    <a:cubicBezTo>
                      <a:pt x="42863" y="193222"/>
                      <a:pt x="40482" y="193222"/>
                      <a:pt x="42863" y="191011"/>
                    </a:cubicBezTo>
                    <a:cubicBezTo>
                      <a:pt x="45245" y="188800"/>
                      <a:pt x="47626" y="186588"/>
                      <a:pt x="47626" y="182166"/>
                    </a:cubicBezTo>
                    <a:close/>
                    <a:moveTo>
                      <a:pt x="4763" y="104775"/>
                    </a:moveTo>
                    <a:cubicBezTo>
                      <a:pt x="4763" y="109537"/>
                      <a:pt x="4763" y="111919"/>
                      <a:pt x="2382" y="114300"/>
                    </a:cubicBezTo>
                    <a:cubicBezTo>
                      <a:pt x="-2381" y="114300"/>
                      <a:pt x="2382" y="107156"/>
                      <a:pt x="4763" y="104775"/>
                    </a:cubicBezTo>
                    <a:close/>
                    <a:moveTo>
                      <a:pt x="50064" y="0"/>
                    </a:moveTo>
                    <a:cubicBezTo>
                      <a:pt x="50064" y="2277"/>
                      <a:pt x="47788" y="2277"/>
                      <a:pt x="47788" y="4555"/>
                    </a:cubicBezTo>
                    <a:cubicBezTo>
                      <a:pt x="113782" y="31884"/>
                      <a:pt x="113782" y="31884"/>
                      <a:pt x="113782" y="31884"/>
                    </a:cubicBezTo>
                    <a:cubicBezTo>
                      <a:pt x="170672" y="34162"/>
                      <a:pt x="170672" y="34162"/>
                      <a:pt x="170672" y="34162"/>
                    </a:cubicBezTo>
                    <a:cubicBezTo>
                      <a:pt x="170672" y="22775"/>
                      <a:pt x="170672" y="22775"/>
                      <a:pt x="170672" y="22775"/>
                    </a:cubicBezTo>
                    <a:cubicBezTo>
                      <a:pt x="207083" y="22775"/>
                      <a:pt x="207083" y="22775"/>
                      <a:pt x="207083" y="22775"/>
                    </a:cubicBezTo>
                    <a:cubicBezTo>
                      <a:pt x="211634" y="22775"/>
                      <a:pt x="213909" y="25052"/>
                      <a:pt x="213909" y="29607"/>
                    </a:cubicBezTo>
                    <a:cubicBezTo>
                      <a:pt x="216185" y="31884"/>
                      <a:pt x="218461" y="31884"/>
                      <a:pt x="220736" y="36439"/>
                    </a:cubicBezTo>
                    <a:cubicBezTo>
                      <a:pt x="223012" y="38717"/>
                      <a:pt x="225288" y="43272"/>
                      <a:pt x="227563" y="45549"/>
                    </a:cubicBezTo>
                    <a:cubicBezTo>
                      <a:pt x="229839" y="47827"/>
                      <a:pt x="234390" y="47827"/>
                      <a:pt x="234390" y="52381"/>
                    </a:cubicBezTo>
                    <a:cubicBezTo>
                      <a:pt x="236666" y="56936"/>
                      <a:pt x="236666" y="61491"/>
                      <a:pt x="234390" y="66046"/>
                    </a:cubicBezTo>
                    <a:cubicBezTo>
                      <a:pt x="234390" y="77433"/>
                      <a:pt x="243493" y="81988"/>
                      <a:pt x="250320" y="86543"/>
                    </a:cubicBezTo>
                    <a:cubicBezTo>
                      <a:pt x="252595" y="88821"/>
                      <a:pt x="257146" y="91098"/>
                      <a:pt x="259422" y="91098"/>
                    </a:cubicBezTo>
                    <a:cubicBezTo>
                      <a:pt x="261698" y="88821"/>
                      <a:pt x="266249" y="86543"/>
                      <a:pt x="266249" y="84266"/>
                    </a:cubicBezTo>
                    <a:cubicBezTo>
                      <a:pt x="268525" y="79711"/>
                      <a:pt x="270800" y="75156"/>
                      <a:pt x="275352" y="72879"/>
                    </a:cubicBezTo>
                    <a:cubicBezTo>
                      <a:pt x="275352" y="70601"/>
                      <a:pt x="279903" y="70601"/>
                      <a:pt x="282178" y="70601"/>
                    </a:cubicBezTo>
                    <a:cubicBezTo>
                      <a:pt x="289005" y="70601"/>
                      <a:pt x="293557" y="70601"/>
                      <a:pt x="300384" y="72879"/>
                    </a:cubicBezTo>
                    <a:cubicBezTo>
                      <a:pt x="302659" y="72879"/>
                      <a:pt x="302659" y="77433"/>
                      <a:pt x="304935" y="77433"/>
                    </a:cubicBezTo>
                    <a:cubicBezTo>
                      <a:pt x="307210" y="79711"/>
                      <a:pt x="311762" y="86543"/>
                      <a:pt x="311762" y="88821"/>
                    </a:cubicBezTo>
                    <a:cubicBezTo>
                      <a:pt x="314037" y="93376"/>
                      <a:pt x="314037" y="100208"/>
                      <a:pt x="314037" y="104763"/>
                    </a:cubicBezTo>
                    <a:cubicBezTo>
                      <a:pt x="314037" y="109318"/>
                      <a:pt x="318589" y="111595"/>
                      <a:pt x="318589" y="116150"/>
                    </a:cubicBezTo>
                    <a:cubicBezTo>
                      <a:pt x="320864" y="118428"/>
                      <a:pt x="320864" y="120705"/>
                      <a:pt x="323140" y="122983"/>
                    </a:cubicBezTo>
                    <a:cubicBezTo>
                      <a:pt x="323140" y="125260"/>
                      <a:pt x="325415" y="125260"/>
                      <a:pt x="325415" y="125260"/>
                    </a:cubicBezTo>
                    <a:cubicBezTo>
                      <a:pt x="327691" y="127537"/>
                      <a:pt x="325415" y="134370"/>
                      <a:pt x="325415" y="136647"/>
                    </a:cubicBezTo>
                    <a:cubicBezTo>
                      <a:pt x="325415" y="141202"/>
                      <a:pt x="327691" y="143480"/>
                      <a:pt x="327691" y="148035"/>
                    </a:cubicBezTo>
                    <a:cubicBezTo>
                      <a:pt x="329967" y="157144"/>
                      <a:pt x="334518" y="154867"/>
                      <a:pt x="332242" y="154867"/>
                    </a:cubicBezTo>
                    <a:cubicBezTo>
                      <a:pt x="334518" y="154867"/>
                      <a:pt x="336794" y="157144"/>
                      <a:pt x="341345" y="159422"/>
                    </a:cubicBezTo>
                    <a:cubicBezTo>
                      <a:pt x="341345" y="161699"/>
                      <a:pt x="343621" y="161699"/>
                      <a:pt x="345896" y="161699"/>
                    </a:cubicBezTo>
                    <a:cubicBezTo>
                      <a:pt x="350447" y="161699"/>
                      <a:pt x="354999" y="161699"/>
                      <a:pt x="357274" y="166254"/>
                    </a:cubicBezTo>
                    <a:cubicBezTo>
                      <a:pt x="359550" y="168532"/>
                      <a:pt x="361826" y="163977"/>
                      <a:pt x="366377" y="163977"/>
                    </a:cubicBezTo>
                    <a:cubicBezTo>
                      <a:pt x="360688" y="171948"/>
                      <a:pt x="356705" y="180488"/>
                      <a:pt x="353292" y="189313"/>
                    </a:cubicBezTo>
                    <a:lnTo>
                      <a:pt x="345035" y="212402"/>
                    </a:lnTo>
                    <a:lnTo>
                      <a:pt x="345043" y="212373"/>
                    </a:lnTo>
                    <a:cubicBezTo>
                      <a:pt x="347034" y="204971"/>
                      <a:pt x="350447" y="193584"/>
                      <a:pt x="354999" y="184474"/>
                    </a:cubicBezTo>
                    <a:cubicBezTo>
                      <a:pt x="357274" y="182196"/>
                      <a:pt x="357274" y="177641"/>
                      <a:pt x="354999" y="177641"/>
                    </a:cubicBezTo>
                    <a:cubicBezTo>
                      <a:pt x="354999" y="177641"/>
                      <a:pt x="352723" y="182196"/>
                      <a:pt x="350447" y="179919"/>
                    </a:cubicBezTo>
                    <a:cubicBezTo>
                      <a:pt x="350447" y="179919"/>
                      <a:pt x="348172" y="182196"/>
                      <a:pt x="348172" y="184474"/>
                    </a:cubicBezTo>
                    <a:cubicBezTo>
                      <a:pt x="350447" y="191306"/>
                      <a:pt x="348172" y="191306"/>
                      <a:pt x="348172" y="193584"/>
                    </a:cubicBezTo>
                    <a:cubicBezTo>
                      <a:pt x="345896" y="200416"/>
                      <a:pt x="345896" y="200416"/>
                      <a:pt x="345896" y="200416"/>
                    </a:cubicBezTo>
                    <a:cubicBezTo>
                      <a:pt x="343621" y="200416"/>
                      <a:pt x="343621" y="200416"/>
                      <a:pt x="343621" y="200416"/>
                    </a:cubicBezTo>
                    <a:cubicBezTo>
                      <a:pt x="343621" y="204971"/>
                      <a:pt x="345896" y="202693"/>
                      <a:pt x="345896" y="204971"/>
                    </a:cubicBezTo>
                    <a:cubicBezTo>
                      <a:pt x="343621" y="207248"/>
                      <a:pt x="343621" y="209526"/>
                      <a:pt x="343621" y="216358"/>
                    </a:cubicBezTo>
                    <a:cubicBezTo>
                      <a:pt x="343621" y="216358"/>
                      <a:pt x="343621" y="216358"/>
                      <a:pt x="341345" y="218636"/>
                    </a:cubicBezTo>
                    <a:cubicBezTo>
                      <a:pt x="343621" y="223191"/>
                      <a:pt x="341345" y="230023"/>
                      <a:pt x="339069" y="234578"/>
                    </a:cubicBezTo>
                    <a:cubicBezTo>
                      <a:pt x="339069" y="239133"/>
                      <a:pt x="334518" y="245965"/>
                      <a:pt x="334518" y="250520"/>
                    </a:cubicBezTo>
                    <a:cubicBezTo>
                      <a:pt x="334518" y="257352"/>
                      <a:pt x="334518" y="261907"/>
                      <a:pt x="339069" y="268740"/>
                    </a:cubicBezTo>
                    <a:cubicBezTo>
                      <a:pt x="341345" y="271017"/>
                      <a:pt x="341914" y="272156"/>
                      <a:pt x="341629" y="273579"/>
                    </a:cubicBezTo>
                    <a:lnTo>
                      <a:pt x="339456" y="279139"/>
                    </a:lnTo>
                    <a:lnTo>
                      <a:pt x="339069" y="277850"/>
                    </a:lnTo>
                    <a:lnTo>
                      <a:pt x="339069" y="271017"/>
                    </a:lnTo>
                    <a:cubicBezTo>
                      <a:pt x="336794" y="268740"/>
                      <a:pt x="336794" y="264185"/>
                      <a:pt x="334518" y="259630"/>
                    </a:cubicBezTo>
                    <a:cubicBezTo>
                      <a:pt x="336794" y="264185"/>
                      <a:pt x="334518" y="268740"/>
                      <a:pt x="336794" y="271017"/>
                    </a:cubicBezTo>
                    <a:cubicBezTo>
                      <a:pt x="336794" y="273295"/>
                      <a:pt x="339069" y="275572"/>
                      <a:pt x="339069" y="277850"/>
                    </a:cubicBezTo>
                    <a:lnTo>
                      <a:pt x="339069" y="280127"/>
                    </a:lnTo>
                    <a:lnTo>
                      <a:pt x="339456" y="279139"/>
                    </a:lnTo>
                    <a:lnTo>
                      <a:pt x="345896" y="300624"/>
                    </a:lnTo>
                    <a:cubicBezTo>
                      <a:pt x="350447" y="309734"/>
                      <a:pt x="352723" y="314289"/>
                      <a:pt x="354999" y="323399"/>
                    </a:cubicBezTo>
                    <a:cubicBezTo>
                      <a:pt x="354999" y="327954"/>
                      <a:pt x="357274" y="330231"/>
                      <a:pt x="359550" y="332509"/>
                    </a:cubicBezTo>
                    <a:cubicBezTo>
                      <a:pt x="359550" y="337064"/>
                      <a:pt x="359550" y="339341"/>
                      <a:pt x="364101" y="339341"/>
                    </a:cubicBezTo>
                    <a:cubicBezTo>
                      <a:pt x="361826" y="339341"/>
                      <a:pt x="361826" y="337064"/>
                      <a:pt x="359550" y="339341"/>
                    </a:cubicBezTo>
                    <a:cubicBezTo>
                      <a:pt x="364101" y="339341"/>
                      <a:pt x="359550" y="343896"/>
                      <a:pt x="359550" y="346174"/>
                    </a:cubicBezTo>
                    <a:cubicBezTo>
                      <a:pt x="361826" y="346174"/>
                      <a:pt x="359550" y="341619"/>
                      <a:pt x="361826" y="341619"/>
                    </a:cubicBezTo>
                    <a:cubicBezTo>
                      <a:pt x="361826" y="341619"/>
                      <a:pt x="364101" y="341619"/>
                      <a:pt x="364101" y="339341"/>
                    </a:cubicBezTo>
                    <a:cubicBezTo>
                      <a:pt x="366377" y="341619"/>
                      <a:pt x="368653" y="341619"/>
                      <a:pt x="370928" y="341619"/>
                    </a:cubicBezTo>
                    <a:cubicBezTo>
                      <a:pt x="377755" y="341619"/>
                      <a:pt x="382306" y="346174"/>
                      <a:pt x="386858" y="350728"/>
                    </a:cubicBezTo>
                    <a:cubicBezTo>
                      <a:pt x="389133" y="357561"/>
                      <a:pt x="391409" y="355283"/>
                      <a:pt x="395960" y="355283"/>
                    </a:cubicBezTo>
                    <a:cubicBezTo>
                      <a:pt x="400511" y="353006"/>
                      <a:pt x="407338" y="353006"/>
                      <a:pt x="409614" y="350728"/>
                    </a:cubicBezTo>
                    <a:cubicBezTo>
                      <a:pt x="407338" y="350728"/>
                      <a:pt x="405063" y="350728"/>
                      <a:pt x="402787" y="353006"/>
                    </a:cubicBezTo>
                    <a:cubicBezTo>
                      <a:pt x="405063" y="350728"/>
                      <a:pt x="427819" y="346174"/>
                      <a:pt x="427819" y="348451"/>
                    </a:cubicBezTo>
                    <a:cubicBezTo>
                      <a:pt x="427819" y="341619"/>
                      <a:pt x="443748" y="339341"/>
                      <a:pt x="446024" y="343896"/>
                    </a:cubicBezTo>
                    <a:lnTo>
                      <a:pt x="446001" y="343915"/>
                    </a:lnTo>
                    <a:lnTo>
                      <a:pt x="444317" y="345320"/>
                    </a:lnTo>
                    <a:cubicBezTo>
                      <a:pt x="444886" y="346174"/>
                      <a:pt x="446024" y="347312"/>
                      <a:pt x="446024" y="348451"/>
                    </a:cubicBezTo>
                    <a:cubicBezTo>
                      <a:pt x="448300" y="348451"/>
                      <a:pt x="448300" y="348451"/>
                      <a:pt x="450575" y="348451"/>
                    </a:cubicBezTo>
                    <a:cubicBezTo>
                      <a:pt x="450575" y="348451"/>
                      <a:pt x="452851" y="348451"/>
                      <a:pt x="452851" y="348451"/>
                    </a:cubicBezTo>
                    <a:cubicBezTo>
                      <a:pt x="455127" y="346174"/>
                      <a:pt x="455127" y="346174"/>
                      <a:pt x="455127" y="346174"/>
                    </a:cubicBezTo>
                    <a:cubicBezTo>
                      <a:pt x="457402" y="346174"/>
                      <a:pt x="461953" y="339341"/>
                      <a:pt x="457402" y="339341"/>
                    </a:cubicBezTo>
                    <a:cubicBezTo>
                      <a:pt x="457402" y="339341"/>
                      <a:pt x="459678" y="337064"/>
                      <a:pt x="459678" y="337064"/>
                    </a:cubicBezTo>
                    <a:cubicBezTo>
                      <a:pt x="459678" y="337064"/>
                      <a:pt x="457402" y="339341"/>
                      <a:pt x="455127" y="339341"/>
                    </a:cubicBezTo>
                    <a:cubicBezTo>
                      <a:pt x="457402" y="334786"/>
                      <a:pt x="461953" y="334786"/>
                      <a:pt x="466505" y="332509"/>
                    </a:cubicBezTo>
                    <a:cubicBezTo>
                      <a:pt x="471056" y="327954"/>
                      <a:pt x="471056" y="323399"/>
                      <a:pt x="475607" y="318844"/>
                    </a:cubicBezTo>
                    <a:cubicBezTo>
                      <a:pt x="475607" y="316567"/>
                      <a:pt x="477883" y="314289"/>
                      <a:pt x="480158" y="312012"/>
                    </a:cubicBezTo>
                    <a:cubicBezTo>
                      <a:pt x="482434" y="309734"/>
                      <a:pt x="482434" y="307457"/>
                      <a:pt x="482434" y="305179"/>
                    </a:cubicBezTo>
                    <a:lnTo>
                      <a:pt x="486830" y="287581"/>
                    </a:lnTo>
                    <a:lnTo>
                      <a:pt x="496372" y="280127"/>
                    </a:lnTo>
                    <a:cubicBezTo>
                      <a:pt x="501208" y="278419"/>
                      <a:pt x="506328" y="277850"/>
                      <a:pt x="509742" y="277850"/>
                    </a:cubicBezTo>
                    <a:cubicBezTo>
                      <a:pt x="516569" y="277850"/>
                      <a:pt x="521120" y="275572"/>
                      <a:pt x="525671" y="273295"/>
                    </a:cubicBezTo>
                    <a:lnTo>
                      <a:pt x="543876" y="273295"/>
                    </a:lnTo>
                    <a:cubicBezTo>
                      <a:pt x="546152" y="273295"/>
                      <a:pt x="550703" y="275572"/>
                      <a:pt x="552979" y="275572"/>
                    </a:cubicBezTo>
                    <a:cubicBezTo>
                      <a:pt x="548427" y="275572"/>
                      <a:pt x="557530" y="271017"/>
                      <a:pt x="559806" y="273295"/>
                    </a:cubicBezTo>
                    <a:cubicBezTo>
                      <a:pt x="564357" y="275572"/>
                      <a:pt x="564357" y="282404"/>
                      <a:pt x="562081" y="286959"/>
                    </a:cubicBezTo>
                    <a:cubicBezTo>
                      <a:pt x="559806" y="291514"/>
                      <a:pt x="555255" y="296069"/>
                      <a:pt x="550703" y="298347"/>
                    </a:cubicBezTo>
                    <a:cubicBezTo>
                      <a:pt x="548427" y="300624"/>
                      <a:pt x="546152" y="305179"/>
                      <a:pt x="546152" y="307457"/>
                    </a:cubicBezTo>
                    <a:cubicBezTo>
                      <a:pt x="543876" y="309734"/>
                      <a:pt x="546152" y="316567"/>
                      <a:pt x="543876" y="312012"/>
                    </a:cubicBezTo>
                    <a:cubicBezTo>
                      <a:pt x="543876" y="314289"/>
                      <a:pt x="539325" y="318844"/>
                      <a:pt x="539325" y="321121"/>
                    </a:cubicBezTo>
                    <a:cubicBezTo>
                      <a:pt x="548427" y="321121"/>
                      <a:pt x="534774" y="325676"/>
                      <a:pt x="537049" y="330231"/>
                    </a:cubicBezTo>
                    <a:cubicBezTo>
                      <a:pt x="539325" y="327954"/>
                      <a:pt x="539325" y="327954"/>
                      <a:pt x="541601" y="327954"/>
                    </a:cubicBezTo>
                    <a:cubicBezTo>
                      <a:pt x="539325" y="330231"/>
                      <a:pt x="539325" y="337064"/>
                      <a:pt x="537049" y="339341"/>
                    </a:cubicBezTo>
                    <a:cubicBezTo>
                      <a:pt x="534774" y="343896"/>
                      <a:pt x="530222" y="350728"/>
                      <a:pt x="530222" y="355283"/>
                    </a:cubicBezTo>
                    <a:cubicBezTo>
                      <a:pt x="525671" y="348451"/>
                      <a:pt x="527947" y="346174"/>
                      <a:pt x="527947" y="339341"/>
                    </a:cubicBezTo>
                    <a:cubicBezTo>
                      <a:pt x="525671" y="341619"/>
                      <a:pt x="525671" y="341619"/>
                      <a:pt x="523396" y="343896"/>
                    </a:cubicBezTo>
                    <a:cubicBezTo>
                      <a:pt x="521120" y="346174"/>
                      <a:pt x="521120" y="346174"/>
                      <a:pt x="518844" y="348451"/>
                    </a:cubicBezTo>
                    <a:cubicBezTo>
                      <a:pt x="514293" y="350728"/>
                      <a:pt x="509742" y="357561"/>
                      <a:pt x="507466" y="362116"/>
                    </a:cubicBezTo>
                    <a:cubicBezTo>
                      <a:pt x="507466" y="359838"/>
                      <a:pt x="502915" y="359838"/>
                      <a:pt x="502915" y="362116"/>
                    </a:cubicBezTo>
                    <a:cubicBezTo>
                      <a:pt x="500639" y="364393"/>
                      <a:pt x="500639" y="364393"/>
                      <a:pt x="496088" y="364393"/>
                    </a:cubicBezTo>
                    <a:cubicBezTo>
                      <a:pt x="486985" y="364393"/>
                      <a:pt x="477883" y="364393"/>
                      <a:pt x="468780" y="364393"/>
                    </a:cubicBezTo>
                    <a:cubicBezTo>
                      <a:pt x="468780" y="364393"/>
                      <a:pt x="461953" y="362116"/>
                      <a:pt x="461953" y="366671"/>
                    </a:cubicBezTo>
                    <a:cubicBezTo>
                      <a:pt x="461953" y="368948"/>
                      <a:pt x="461953" y="371226"/>
                      <a:pt x="461953" y="373503"/>
                    </a:cubicBezTo>
                    <a:cubicBezTo>
                      <a:pt x="459678" y="380335"/>
                      <a:pt x="455127" y="378058"/>
                      <a:pt x="450575" y="378058"/>
                    </a:cubicBezTo>
                    <a:cubicBezTo>
                      <a:pt x="455127" y="380335"/>
                      <a:pt x="457402" y="387168"/>
                      <a:pt x="461953" y="389445"/>
                    </a:cubicBezTo>
                    <a:cubicBezTo>
                      <a:pt x="466505" y="391723"/>
                      <a:pt x="464229" y="396278"/>
                      <a:pt x="468780" y="398555"/>
                    </a:cubicBezTo>
                    <a:cubicBezTo>
                      <a:pt x="471056" y="398555"/>
                      <a:pt x="468780" y="407665"/>
                      <a:pt x="468780" y="405387"/>
                    </a:cubicBezTo>
                    <a:cubicBezTo>
                      <a:pt x="461953" y="409942"/>
                      <a:pt x="450575" y="405387"/>
                      <a:pt x="441473" y="405387"/>
                    </a:cubicBezTo>
                    <a:cubicBezTo>
                      <a:pt x="427819" y="430439"/>
                      <a:pt x="430095" y="425884"/>
                      <a:pt x="430095" y="430439"/>
                    </a:cubicBezTo>
                    <a:cubicBezTo>
                      <a:pt x="430095" y="430439"/>
                      <a:pt x="425543" y="441827"/>
                      <a:pt x="425543" y="444104"/>
                    </a:cubicBezTo>
                    <a:cubicBezTo>
                      <a:pt x="423268" y="441827"/>
                      <a:pt x="420992" y="439549"/>
                      <a:pt x="418716" y="437272"/>
                    </a:cubicBezTo>
                    <a:cubicBezTo>
                      <a:pt x="418716" y="434994"/>
                      <a:pt x="411890" y="425884"/>
                      <a:pt x="416441" y="430439"/>
                    </a:cubicBezTo>
                    <a:cubicBezTo>
                      <a:pt x="414165" y="428162"/>
                      <a:pt x="411890" y="425884"/>
                      <a:pt x="409614" y="423607"/>
                    </a:cubicBezTo>
                    <a:cubicBezTo>
                      <a:pt x="407338" y="421330"/>
                      <a:pt x="405063" y="419052"/>
                      <a:pt x="402787" y="414497"/>
                    </a:cubicBezTo>
                    <a:cubicBezTo>
                      <a:pt x="395960" y="409942"/>
                      <a:pt x="391409" y="403110"/>
                      <a:pt x="384582" y="400832"/>
                    </a:cubicBezTo>
                    <a:cubicBezTo>
                      <a:pt x="382306" y="405387"/>
                      <a:pt x="391409" y="405387"/>
                      <a:pt x="393684" y="407665"/>
                    </a:cubicBezTo>
                    <a:cubicBezTo>
                      <a:pt x="386858" y="405387"/>
                      <a:pt x="382306" y="403110"/>
                      <a:pt x="377755" y="403110"/>
                    </a:cubicBezTo>
                    <a:cubicBezTo>
                      <a:pt x="377755" y="403110"/>
                      <a:pt x="380031" y="400832"/>
                      <a:pt x="380031" y="400832"/>
                    </a:cubicBezTo>
                    <a:cubicBezTo>
                      <a:pt x="377755" y="400832"/>
                      <a:pt x="377755" y="400832"/>
                      <a:pt x="375479" y="400832"/>
                    </a:cubicBezTo>
                    <a:cubicBezTo>
                      <a:pt x="375479" y="396278"/>
                      <a:pt x="370928" y="398555"/>
                      <a:pt x="370928" y="403110"/>
                    </a:cubicBezTo>
                    <a:cubicBezTo>
                      <a:pt x="373204" y="400832"/>
                      <a:pt x="373204" y="403110"/>
                      <a:pt x="375479" y="403110"/>
                    </a:cubicBezTo>
                    <a:cubicBezTo>
                      <a:pt x="368653" y="403110"/>
                      <a:pt x="364101" y="407665"/>
                      <a:pt x="357274" y="409942"/>
                    </a:cubicBezTo>
                    <a:cubicBezTo>
                      <a:pt x="350447" y="412220"/>
                      <a:pt x="345896" y="414497"/>
                      <a:pt x="339069" y="416775"/>
                    </a:cubicBezTo>
                    <a:cubicBezTo>
                      <a:pt x="334518" y="416775"/>
                      <a:pt x="332242" y="416775"/>
                      <a:pt x="327691" y="414497"/>
                    </a:cubicBezTo>
                    <a:cubicBezTo>
                      <a:pt x="323140" y="409942"/>
                      <a:pt x="320864" y="409942"/>
                      <a:pt x="314037" y="409942"/>
                    </a:cubicBezTo>
                    <a:cubicBezTo>
                      <a:pt x="311762" y="409942"/>
                      <a:pt x="309486" y="407665"/>
                      <a:pt x="307210" y="405387"/>
                    </a:cubicBezTo>
                    <a:cubicBezTo>
                      <a:pt x="304935" y="403110"/>
                      <a:pt x="300384" y="403110"/>
                      <a:pt x="298108" y="400832"/>
                    </a:cubicBezTo>
                    <a:cubicBezTo>
                      <a:pt x="295832" y="400832"/>
                      <a:pt x="295832" y="398555"/>
                      <a:pt x="293557" y="396278"/>
                    </a:cubicBezTo>
                    <a:cubicBezTo>
                      <a:pt x="289005" y="394000"/>
                      <a:pt x="286730" y="394000"/>
                      <a:pt x="282178" y="394000"/>
                    </a:cubicBezTo>
                    <a:cubicBezTo>
                      <a:pt x="279903" y="391723"/>
                      <a:pt x="275352" y="391723"/>
                      <a:pt x="273076" y="389445"/>
                    </a:cubicBezTo>
                    <a:cubicBezTo>
                      <a:pt x="270800" y="389445"/>
                      <a:pt x="268525" y="387168"/>
                      <a:pt x="263973" y="384890"/>
                    </a:cubicBezTo>
                    <a:cubicBezTo>
                      <a:pt x="257146" y="382613"/>
                      <a:pt x="250320" y="380335"/>
                      <a:pt x="243493" y="375780"/>
                    </a:cubicBezTo>
                    <a:cubicBezTo>
                      <a:pt x="238941" y="371226"/>
                      <a:pt x="236666" y="364393"/>
                      <a:pt x="232115" y="362116"/>
                    </a:cubicBezTo>
                    <a:cubicBezTo>
                      <a:pt x="229839" y="359838"/>
                      <a:pt x="227563" y="359838"/>
                      <a:pt x="225288" y="359838"/>
                    </a:cubicBezTo>
                    <a:cubicBezTo>
                      <a:pt x="220736" y="362116"/>
                      <a:pt x="216185" y="359838"/>
                      <a:pt x="213909" y="357561"/>
                    </a:cubicBezTo>
                    <a:cubicBezTo>
                      <a:pt x="207083" y="355283"/>
                      <a:pt x="200256" y="353006"/>
                      <a:pt x="197980" y="348451"/>
                    </a:cubicBezTo>
                    <a:cubicBezTo>
                      <a:pt x="195704" y="346174"/>
                      <a:pt x="195704" y="343896"/>
                      <a:pt x="193429" y="341619"/>
                    </a:cubicBezTo>
                    <a:cubicBezTo>
                      <a:pt x="191153" y="337064"/>
                      <a:pt x="186602" y="337064"/>
                      <a:pt x="184326" y="334786"/>
                    </a:cubicBezTo>
                    <a:cubicBezTo>
                      <a:pt x="184326" y="332509"/>
                      <a:pt x="172948" y="330231"/>
                      <a:pt x="170672" y="325676"/>
                    </a:cubicBezTo>
                    <a:cubicBezTo>
                      <a:pt x="168397" y="325676"/>
                      <a:pt x="168397" y="323399"/>
                      <a:pt x="168397" y="321121"/>
                    </a:cubicBezTo>
                    <a:cubicBezTo>
                      <a:pt x="166121" y="318844"/>
                      <a:pt x="163846" y="314289"/>
                      <a:pt x="163846" y="312012"/>
                    </a:cubicBezTo>
                    <a:cubicBezTo>
                      <a:pt x="161570" y="309734"/>
                      <a:pt x="159294" y="300624"/>
                      <a:pt x="163846" y="298347"/>
                    </a:cubicBezTo>
                    <a:cubicBezTo>
                      <a:pt x="166121" y="296069"/>
                      <a:pt x="168397" y="298347"/>
                      <a:pt x="170672" y="296069"/>
                    </a:cubicBezTo>
                    <a:cubicBezTo>
                      <a:pt x="172948" y="293792"/>
                      <a:pt x="168397" y="291514"/>
                      <a:pt x="166121" y="291514"/>
                    </a:cubicBezTo>
                    <a:cubicBezTo>
                      <a:pt x="166121" y="289237"/>
                      <a:pt x="177499" y="277850"/>
                      <a:pt x="175224" y="275572"/>
                    </a:cubicBezTo>
                    <a:cubicBezTo>
                      <a:pt x="172948" y="271017"/>
                      <a:pt x="170672" y="268740"/>
                      <a:pt x="170672" y="264185"/>
                    </a:cubicBezTo>
                    <a:cubicBezTo>
                      <a:pt x="168397" y="259630"/>
                      <a:pt x="170672" y="257352"/>
                      <a:pt x="170672" y="252798"/>
                    </a:cubicBezTo>
                    <a:cubicBezTo>
                      <a:pt x="168397" y="241410"/>
                      <a:pt x="159294" y="234578"/>
                      <a:pt x="154743" y="225468"/>
                    </a:cubicBezTo>
                    <a:cubicBezTo>
                      <a:pt x="150192" y="216358"/>
                      <a:pt x="143365" y="207248"/>
                      <a:pt x="136538" y="200416"/>
                    </a:cubicBezTo>
                    <a:cubicBezTo>
                      <a:pt x="138814" y="202693"/>
                      <a:pt x="138814" y="204971"/>
                      <a:pt x="141089" y="200416"/>
                    </a:cubicBezTo>
                    <a:cubicBezTo>
                      <a:pt x="136538" y="202693"/>
                      <a:pt x="129711" y="198139"/>
                      <a:pt x="131987" y="193584"/>
                    </a:cubicBezTo>
                    <a:cubicBezTo>
                      <a:pt x="134262" y="191306"/>
                      <a:pt x="134262" y="182196"/>
                      <a:pt x="127435" y="184474"/>
                    </a:cubicBezTo>
                    <a:cubicBezTo>
                      <a:pt x="127435" y="182196"/>
                      <a:pt x="127435" y="184474"/>
                      <a:pt x="125160" y="182196"/>
                    </a:cubicBezTo>
                    <a:cubicBezTo>
                      <a:pt x="122884" y="182196"/>
                      <a:pt x="120609" y="179919"/>
                      <a:pt x="120609" y="179919"/>
                    </a:cubicBezTo>
                    <a:cubicBezTo>
                      <a:pt x="118333" y="177641"/>
                      <a:pt x="120609" y="175364"/>
                      <a:pt x="118333" y="175364"/>
                    </a:cubicBezTo>
                    <a:cubicBezTo>
                      <a:pt x="116057" y="175364"/>
                      <a:pt x="116057" y="175364"/>
                      <a:pt x="113782" y="177641"/>
                    </a:cubicBezTo>
                    <a:cubicBezTo>
                      <a:pt x="113782" y="175364"/>
                      <a:pt x="116057" y="173087"/>
                      <a:pt x="116057" y="170809"/>
                    </a:cubicBezTo>
                    <a:cubicBezTo>
                      <a:pt x="113782" y="175364"/>
                      <a:pt x="111506" y="173087"/>
                      <a:pt x="109230" y="173087"/>
                    </a:cubicBezTo>
                    <a:cubicBezTo>
                      <a:pt x="111506" y="170809"/>
                      <a:pt x="111506" y="170809"/>
                      <a:pt x="111506" y="170809"/>
                    </a:cubicBezTo>
                    <a:cubicBezTo>
                      <a:pt x="109230" y="168532"/>
                      <a:pt x="106955" y="168532"/>
                      <a:pt x="106955" y="170809"/>
                    </a:cubicBezTo>
                    <a:cubicBezTo>
                      <a:pt x="106955" y="168532"/>
                      <a:pt x="109230" y="166254"/>
                      <a:pt x="109230" y="163977"/>
                    </a:cubicBezTo>
                    <a:cubicBezTo>
                      <a:pt x="109230" y="161699"/>
                      <a:pt x="113782" y="154867"/>
                      <a:pt x="113782" y="159422"/>
                    </a:cubicBezTo>
                    <a:cubicBezTo>
                      <a:pt x="113782" y="157144"/>
                      <a:pt x="116057" y="154867"/>
                      <a:pt x="118333" y="157144"/>
                    </a:cubicBezTo>
                    <a:cubicBezTo>
                      <a:pt x="118333" y="154867"/>
                      <a:pt x="118333" y="152589"/>
                      <a:pt x="113782" y="154867"/>
                    </a:cubicBezTo>
                    <a:cubicBezTo>
                      <a:pt x="116057" y="152589"/>
                      <a:pt x="116057" y="150312"/>
                      <a:pt x="113782" y="148035"/>
                    </a:cubicBezTo>
                    <a:cubicBezTo>
                      <a:pt x="111506" y="145757"/>
                      <a:pt x="109230" y="148035"/>
                      <a:pt x="106955" y="145757"/>
                    </a:cubicBezTo>
                    <a:cubicBezTo>
                      <a:pt x="104679" y="143480"/>
                      <a:pt x="106955" y="136647"/>
                      <a:pt x="104679" y="136647"/>
                    </a:cubicBezTo>
                    <a:cubicBezTo>
                      <a:pt x="102403" y="136647"/>
                      <a:pt x="95577" y="136647"/>
                      <a:pt x="95577" y="132092"/>
                    </a:cubicBezTo>
                    <a:cubicBezTo>
                      <a:pt x="95577" y="129815"/>
                      <a:pt x="93301" y="118428"/>
                      <a:pt x="97852" y="118428"/>
                    </a:cubicBezTo>
                    <a:cubicBezTo>
                      <a:pt x="95577" y="118428"/>
                      <a:pt x="91025" y="118428"/>
                      <a:pt x="93301" y="116150"/>
                    </a:cubicBezTo>
                    <a:cubicBezTo>
                      <a:pt x="91025" y="116150"/>
                      <a:pt x="91025" y="118428"/>
                      <a:pt x="91025" y="118428"/>
                    </a:cubicBezTo>
                    <a:cubicBezTo>
                      <a:pt x="91025" y="116150"/>
                      <a:pt x="86474" y="116150"/>
                      <a:pt x="84198" y="113873"/>
                    </a:cubicBezTo>
                    <a:cubicBezTo>
                      <a:pt x="84198" y="111595"/>
                      <a:pt x="84198" y="109318"/>
                      <a:pt x="81923" y="107040"/>
                    </a:cubicBezTo>
                    <a:cubicBezTo>
                      <a:pt x="81923" y="104763"/>
                      <a:pt x="79647" y="104763"/>
                      <a:pt x="77371" y="102485"/>
                    </a:cubicBezTo>
                    <a:cubicBezTo>
                      <a:pt x="77371" y="100208"/>
                      <a:pt x="77371" y="95653"/>
                      <a:pt x="75096" y="93376"/>
                    </a:cubicBezTo>
                    <a:cubicBezTo>
                      <a:pt x="70545" y="91098"/>
                      <a:pt x="75096" y="86543"/>
                      <a:pt x="72820" y="81988"/>
                    </a:cubicBezTo>
                    <a:cubicBezTo>
                      <a:pt x="70545" y="84266"/>
                      <a:pt x="70545" y="77433"/>
                      <a:pt x="70545" y="75156"/>
                    </a:cubicBezTo>
                    <a:cubicBezTo>
                      <a:pt x="68269" y="70601"/>
                      <a:pt x="68269" y="66046"/>
                      <a:pt x="68269" y="61491"/>
                    </a:cubicBezTo>
                    <a:cubicBezTo>
                      <a:pt x="70545" y="56936"/>
                      <a:pt x="65993" y="52381"/>
                      <a:pt x="68269" y="47827"/>
                    </a:cubicBezTo>
                    <a:cubicBezTo>
                      <a:pt x="68269" y="45549"/>
                      <a:pt x="70545" y="38717"/>
                      <a:pt x="70545" y="38717"/>
                    </a:cubicBezTo>
                    <a:cubicBezTo>
                      <a:pt x="70545" y="34162"/>
                      <a:pt x="65993" y="34162"/>
                      <a:pt x="63718" y="34162"/>
                    </a:cubicBezTo>
                    <a:cubicBezTo>
                      <a:pt x="59166" y="31884"/>
                      <a:pt x="63718" y="27329"/>
                      <a:pt x="56891" y="27329"/>
                    </a:cubicBezTo>
                    <a:cubicBezTo>
                      <a:pt x="54615" y="27329"/>
                      <a:pt x="54615" y="29607"/>
                      <a:pt x="52340" y="29607"/>
                    </a:cubicBezTo>
                    <a:cubicBezTo>
                      <a:pt x="50064" y="29607"/>
                      <a:pt x="47788" y="27329"/>
                      <a:pt x="47788" y="25052"/>
                    </a:cubicBezTo>
                    <a:cubicBezTo>
                      <a:pt x="43237" y="22775"/>
                      <a:pt x="40961" y="20497"/>
                      <a:pt x="36410" y="18220"/>
                    </a:cubicBezTo>
                    <a:cubicBezTo>
                      <a:pt x="38686" y="20497"/>
                      <a:pt x="40961" y="22775"/>
                      <a:pt x="38686" y="25052"/>
                    </a:cubicBezTo>
                    <a:cubicBezTo>
                      <a:pt x="38686" y="29607"/>
                      <a:pt x="36410" y="31884"/>
                      <a:pt x="34134" y="36439"/>
                    </a:cubicBezTo>
                    <a:cubicBezTo>
                      <a:pt x="31859" y="38717"/>
                      <a:pt x="34134" y="43272"/>
                      <a:pt x="34134" y="45549"/>
                    </a:cubicBezTo>
                    <a:cubicBezTo>
                      <a:pt x="34134" y="50104"/>
                      <a:pt x="34134" y="52381"/>
                      <a:pt x="31859" y="56936"/>
                    </a:cubicBezTo>
                    <a:cubicBezTo>
                      <a:pt x="29583" y="66046"/>
                      <a:pt x="31859" y="68324"/>
                      <a:pt x="38686" y="75156"/>
                    </a:cubicBezTo>
                    <a:cubicBezTo>
                      <a:pt x="43237" y="81988"/>
                      <a:pt x="43237" y="84266"/>
                      <a:pt x="43237" y="93376"/>
                    </a:cubicBezTo>
                    <a:cubicBezTo>
                      <a:pt x="47788" y="88821"/>
                      <a:pt x="47788" y="95653"/>
                      <a:pt x="50064" y="97931"/>
                    </a:cubicBezTo>
                    <a:cubicBezTo>
                      <a:pt x="50064" y="100208"/>
                      <a:pt x="50064" y="102485"/>
                      <a:pt x="50064" y="102485"/>
                    </a:cubicBezTo>
                    <a:cubicBezTo>
                      <a:pt x="50064" y="102485"/>
                      <a:pt x="54615" y="104763"/>
                      <a:pt x="54615" y="104763"/>
                    </a:cubicBezTo>
                    <a:cubicBezTo>
                      <a:pt x="52340" y="109318"/>
                      <a:pt x="50064" y="120705"/>
                      <a:pt x="54615" y="122983"/>
                    </a:cubicBezTo>
                    <a:cubicBezTo>
                      <a:pt x="59166" y="127537"/>
                      <a:pt x="56891" y="134370"/>
                      <a:pt x="63718" y="136647"/>
                    </a:cubicBezTo>
                    <a:cubicBezTo>
                      <a:pt x="59166" y="138925"/>
                      <a:pt x="63718" y="148035"/>
                      <a:pt x="63718" y="150312"/>
                    </a:cubicBezTo>
                    <a:cubicBezTo>
                      <a:pt x="65993" y="148035"/>
                      <a:pt x="63718" y="143480"/>
                      <a:pt x="63718" y="141202"/>
                    </a:cubicBezTo>
                    <a:cubicBezTo>
                      <a:pt x="72820" y="143480"/>
                      <a:pt x="65993" y="177641"/>
                      <a:pt x="72820" y="175364"/>
                    </a:cubicBezTo>
                    <a:cubicBezTo>
                      <a:pt x="72820" y="177641"/>
                      <a:pt x="72820" y="182196"/>
                      <a:pt x="72820" y="186751"/>
                    </a:cubicBezTo>
                    <a:cubicBezTo>
                      <a:pt x="75096" y="189029"/>
                      <a:pt x="77371" y="191306"/>
                      <a:pt x="75096" y="195861"/>
                    </a:cubicBezTo>
                    <a:cubicBezTo>
                      <a:pt x="70545" y="200416"/>
                      <a:pt x="72820" y="209526"/>
                      <a:pt x="79647" y="207248"/>
                    </a:cubicBezTo>
                    <a:cubicBezTo>
                      <a:pt x="81923" y="207248"/>
                      <a:pt x="81923" y="204971"/>
                      <a:pt x="81923" y="204971"/>
                    </a:cubicBezTo>
                    <a:cubicBezTo>
                      <a:pt x="81923" y="207248"/>
                      <a:pt x="86474" y="209526"/>
                      <a:pt x="88750" y="211803"/>
                    </a:cubicBezTo>
                    <a:cubicBezTo>
                      <a:pt x="91025" y="214081"/>
                      <a:pt x="91025" y="218636"/>
                      <a:pt x="91025" y="220913"/>
                    </a:cubicBezTo>
                    <a:cubicBezTo>
                      <a:pt x="93301" y="225468"/>
                      <a:pt x="97852" y="227746"/>
                      <a:pt x="93301" y="232300"/>
                    </a:cubicBezTo>
                    <a:cubicBezTo>
                      <a:pt x="91025" y="234578"/>
                      <a:pt x="84198" y="239133"/>
                      <a:pt x="81923" y="239133"/>
                    </a:cubicBezTo>
                    <a:cubicBezTo>
                      <a:pt x="77371" y="236855"/>
                      <a:pt x="79647" y="230023"/>
                      <a:pt x="77371" y="225468"/>
                    </a:cubicBezTo>
                    <a:cubicBezTo>
                      <a:pt x="77371" y="223191"/>
                      <a:pt x="75096" y="223191"/>
                      <a:pt x="72820" y="220913"/>
                    </a:cubicBezTo>
                    <a:cubicBezTo>
                      <a:pt x="70545" y="218636"/>
                      <a:pt x="68269" y="214081"/>
                      <a:pt x="65993" y="211803"/>
                    </a:cubicBezTo>
                    <a:cubicBezTo>
                      <a:pt x="63718" y="207248"/>
                      <a:pt x="56891" y="204971"/>
                      <a:pt x="54615" y="200416"/>
                    </a:cubicBezTo>
                    <a:lnTo>
                      <a:pt x="46380" y="190113"/>
                    </a:lnTo>
                    <a:lnTo>
                      <a:pt x="49495" y="177642"/>
                    </a:lnTo>
                    <a:cubicBezTo>
                      <a:pt x="51202" y="172517"/>
                      <a:pt x="52340" y="167393"/>
                      <a:pt x="50064" y="161699"/>
                    </a:cubicBezTo>
                    <a:cubicBezTo>
                      <a:pt x="47788" y="157144"/>
                      <a:pt x="43237" y="157144"/>
                      <a:pt x="38686" y="152589"/>
                    </a:cubicBezTo>
                    <a:cubicBezTo>
                      <a:pt x="38686" y="150312"/>
                      <a:pt x="36410" y="145757"/>
                      <a:pt x="36410" y="143480"/>
                    </a:cubicBezTo>
                    <a:cubicBezTo>
                      <a:pt x="36410" y="143480"/>
                      <a:pt x="38686" y="141202"/>
                      <a:pt x="36410" y="138925"/>
                    </a:cubicBezTo>
                    <a:cubicBezTo>
                      <a:pt x="36410" y="141202"/>
                      <a:pt x="36410" y="143480"/>
                      <a:pt x="34134" y="145757"/>
                    </a:cubicBezTo>
                    <a:cubicBezTo>
                      <a:pt x="31859" y="145757"/>
                      <a:pt x="29583" y="143480"/>
                      <a:pt x="27308" y="145757"/>
                    </a:cubicBezTo>
                    <a:cubicBezTo>
                      <a:pt x="25032" y="148035"/>
                      <a:pt x="25032" y="143480"/>
                      <a:pt x="25032" y="143480"/>
                    </a:cubicBezTo>
                    <a:cubicBezTo>
                      <a:pt x="22756" y="141202"/>
                      <a:pt x="20481" y="141202"/>
                      <a:pt x="18205" y="138925"/>
                    </a:cubicBezTo>
                    <a:cubicBezTo>
                      <a:pt x="18205" y="136647"/>
                      <a:pt x="18205" y="136647"/>
                      <a:pt x="18205" y="136647"/>
                    </a:cubicBezTo>
                    <a:cubicBezTo>
                      <a:pt x="15929" y="136647"/>
                      <a:pt x="15929" y="136647"/>
                      <a:pt x="13654" y="134370"/>
                    </a:cubicBezTo>
                    <a:cubicBezTo>
                      <a:pt x="11378" y="134370"/>
                      <a:pt x="13654" y="132092"/>
                      <a:pt x="11378" y="129815"/>
                    </a:cubicBezTo>
                    <a:cubicBezTo>
                      <a:pt x="11378" y="125260"/>
                      <a:pt x="4551" y="125260"/>
                      <a:pt x="2276" y="118428"/>
                    </a:cubicBezTo>
                    <a:cubicBezTo>
                      <a:pt x="9103" y="120705"/>
                      <a:pt x="13654" y="122983"/>
                      <a:pt x="18205" y="118428"/>
                    </a:cubicBezTo>
                    <a:cubicBezTo>
                      <a:pt x="18205" y="122983"/>
                      <a:pt x="27308" y="122983"/>
                      <a:pt x="25032" y="127537"/>
                    </a:cubicBezTo>
                    <a:cubicBezTo>
                      <a:pt x="27308" y="125260"/>
                      <a:pt x="29583" y="118428"/>
                      <a:pt x="25032" y="116150"/>
                    </a:cubicBezTo>
                    <a:cubicBezTo>
                      <a:pt x="25032" y="118428"/>
                      <a:pt x="25032" y="122983"/>
                      <a:pt x="22756" y="122983"/>
                    </a:cubicBezTo>
                    <a:cubicBezTo>
                      <a:pt x="20481" y="120705"/>
                      <a:pt x="22756" y="118428"/>
                      <a:pt x="22756" y="116150"/>
                    </a:cubicBezTo>
                    <a:cubicBezTo>
                      <a:pt x="20481" y="118428"/>
                      <a:pt x="20481" y="118428"/>
                      <a:pt x="20481" y="118428"/>
                    </a:cubicBezTo>
                    <a:cubicBezTo>
                      <a:pt x="22756" y="111595"/>
                      <a:pt x="31859" y="107040"/>
                      <a:pt x="27308" y="100208"/>
                    </a:cubicBezTo>
                    <a:cubicBezTo>
                      <a:pt x="25032" y="93376"/>
                      <a:pt x="20481" y="86543"/>
                      <a:pt x="15929" y="81988"/>
                    </a:cubicBezTo>
                    <a:cubicBezTo>
                      <a:pt x="9103" y="77433"/>
                      <a:pt x="6827" y="75156"/>
                      <a:pt x="4551" y="68324"/>
                    </a:cubicBezTo>
                    <a:cubicBezTo>
                      <a:pt x="4551" y="66046"/>
                      <a:pt x="6827" y="63769"/>
                      <a:pt x="6827" y="61491"/>
                    </a:cubicBezTo>
                    <a:cubicBezTo>
                      <a:pt x="6827" y="59214"/>
                      <a:pt x="4551" y="56936"/>
                      <a:pt x="6827" y="54659"/>
                    </a:cubicBezTo>
                    <a:cubicBezTo>
                      <a:pt x="4551" y="56936"/>
                      <a:pt x="4551" y="56936"/>
                      <a:pt x="4551" y="56936"/>
                    </a:cubicBezTo>
                    <a:cubicBezTo>
                      <a:pt x="2276" y="52381"/>
                      <a:pt x="9103" y="50104"/>
                      <a:pt x="4551" y="43272"/>
                    </a:cubicBezTo>
                    <a:cubicBezTo>
                      <a:pt x="2276" y="40994"/>
                      <a:pt x="4551" y="40994"/>
                      <a:pt x="4551" y="36439"/>
                    </a:cubicBezTo>
                    <a:cubicBezTo>
                      <a:pt x="4551" y="34162"/>
                      <a:pt x="2276" y="31884"/>
                      <a:pt x="0" y="29607"/>
                    </a:cubicBezTo>
                    <a:cubicBezTo>
                      <a:pt x="0" y="27329"/>
                      <a:pt x="2276" y="25052"/>
                      <a:pt x="2276" y="22775"/>
                    </a:cubicBezTo>
                    <a:cubicBezTo>
                      <a:pt x="4551" y="22775"/>
                      <a:pt x="2276" y="20497"/>
                      <a:pt x="2276" y="18220"/>
                    </a:cubicBezTo>
                    <a:cubicBezTo>
                      <a:pt x="2276" y="18220"/>
                      <a:pt x="0" y="15942"/>
                      <a:pt x="0" y="15942"/>
                    </a:cubicBezTo>
                    <a:cubicBezTo>
                      <a:pt x="0" y="13665"/>
                      <a:pt x="0" y="13665"/>
                      <a:pt x="2276" y="11387"/>
                    </a:cubicBezTo>
                    <a:cubicBezTo>
                      <a:pt x="0" y="9110"/>
                      <a:pt x="0" y="9110"/>
                      <a:pt x="2276" y="6832"/>
                    </a:cubicBezTo>
                    <a:lnTo>
                      <a:pt x="0" y="4555"/>
                    </a:lnTo>
                    <a:cubicBezTo>
                      <a:pt x="15929" y="2277"/>
                      <a:pt x="34134" y="0"/>
                      <a:pt x="50064" y="0"/>
                    </a:cubicBezTo>
                    <a:close/>
                  </a:path>
                </a:pathLst>
              </a:custGeom>
              <a:grpFill/>
              <a:ln w="3175">
                <a:solidFill>
                  <a:schemeClr val="accent2">
                    <a:lumMod val="75000"/>
                  </a:schemeClr>
                </a:solidFill>
              </a:ln>
            </p:spPr>
            <p:txBody>
              <a:bodyPr vert="horz" wrap="square" lIns="91273" tIns="45637" rIns="91273" bIns="4563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97" b="0" i="0" u="none" strike="noStrike" kern="1200" cap="none" spc="0" normalizeH="0" baseline="0" noProof="0" dirty="0">
                  <a:ln>
                    <a:noFill/>
                  </a:ln>
                  <a:solidFill>
                    <a:srgbClr val="000000"/>
                  </a:solidFill>
                  <a:effectLst/>
                  <a:uLnTx/>
                  <a:uFillTx/>
                  <a:latin typeface="Calibri"/>
                  <a:ea typeface="+mn-ea"/>
                  <a:cs typeface="+mn-cs"/>
                </a:endParaRPr>
              </a:p>
            </p:txBody>
          </p:sp>
          <p:sp>
            <p:nvSpPr>
              <p:cNvPr id="179" name="Jamaica">
                <a:extLst>
                  <a:ext uri="{FF2B5EF4-FFF2-40B4-BE49-F238E27FC236}">
                    <a16:creationId xmlns:a16="http://schemas.microsoft.com/office/drawing/2014/main" id="{C424DCA7-8CB3-D390-0DC9-2BCB6207AAF8}"/>
                  </a:ext>
                </a:extLst>
              </p:cNvPr>
              <p:cNvSpPr>
                <a:spLocks/>
              </p:cNvSpPr>
              <p:nvPr/>
            </p:nvSpPr>
            <p:spPr bwMode="auto">
              <a:xfrm>
                <a:off x="2099302" y="2884983"/>
                <a:ext cx="46107" cy="20627"/>
              </a:xfrm>
              <a:custGeom>
                <a:avLst/>
                <a:gdLst/>
                <a:ahLst/>
                <a:cxnLst>
                  <a:cxn ang="0">
                    <a:pos x="0" y="3"/>
                  </a:cxn>
                  <a:cxn ang="0">
                    <a:pos x="11" y="1"/>
                  </a:cxn>
                  <a:cxn ang="0">
                    <a:pos x="17" y="3"/>
                  </a:cxn>
                  <a:cxn ang="0">
                    <a:pos x="20" y="7"/>
                  </a:cxn>
                  <a:cxn ang="0">
                    <a:pos x="17" y="7"/>
                  </a:cxn>
                  <a:cxn ang="0">
                    <a:pos x="15" y="6"/>
                  </a:cxn>
                  <a:cxn ang="0">
                    <a:pos x="14" y="6"/>
                  </a:cxn>
                  <a:cxn ang="0">
                    <a:pos x="13" y="7"/>
                  </a:cxn>
                  <a:cxn ang="0">
                    <a:pos x="11" y="9"/>
                  </a:cxn>
                  <a:cxn ang="0">
                    <a:pos x="9" y="8"/>
                  </a:cxn>
                  <a:cxn ang="0">
                    <a:pos x="5" y="6"/>
                  </a:cxn>
                  <a:cxn ang="0">
                    <a:pos x="4" y="5"/>
                  </a:cxn>
                  <a:cxn ang="0">
                    <a:pos x="0" y="3"/>
                  </a:cxn>
                </a:cxnLst>
                <a:rect l="0" t="0" r="r" b="b"/>
                <a:pathLst>
                  <a:path w="20" h="9">
                    <a:moveTo>
                      <a:pt x="0" y="3"/>
                    </a:moveTo>
                    <a:cubicBezTo>
                      <a:pt x="3" y="0"/>
                      <a:pt x="8" y="0"/>
                      <a:pt x="11" y="1"/>
                    </a:cubicBezTo>
                    <a:cubicBezTo>
                      <a:pt x="13" y="1"/>
                      <a:pt x="15" y="3"/>
                      <a:pt x="17" y="3"/>
                    </a:cubicBezTo>
                    <a:cubicBezTo>
                      <a:pt x="19" y="4"/>
                      <a:pt x="19" y="5"/>
                      <a:pt x="20" y="7"/>
                    </a:cubicBezTo>
                    <a:cubicBezTo>
                      <a:pt x="19" y="7"/>
                      <a:pt x="18" y="7"/>
                      <a:pt x="17" y="7"/>
                    </a:cubicBezTo>
                    <a:cubicBezTo>
                      <a:pt x="16" y="7"/>
                      <a:pt x="16" y="6"/>
                      <a:pt x="15" y="6"/>
                    </a:cubicBezTo>
                    <a:cubicBezTo>
                      <a:pt x="16" y="6"/>
                      <a:pt x="15" y="6"/>
                      <a:pt x="14" y="6"/>
                    </a:cubicBezTo>
                    <a:cubicBezTo>
                      <a:pt x="14" y="7"/>
                      <a:pt x="14" y="7"/>
                      <a:pt x="13" y="7"/>
                    </a:cubicBezTo>
                    <a:cubicBezTo>
                      <a:pt x="12" y="7"/>
                      <a:pt x="10" y="7"/>
                      <a:pt x="11" y="9"/>
                    </a:cubicBezTo>
                    <a:cubicBezTo>
                      <a:pt x="10" y="9"/>
                      <a:pt x="10" y="7"/>
                      <a:pt x="9" y="8"/>
                    </a:cubicBezTo>
                    <a:cubicBezTo>
                      <a:pt x="8" y="8"/>
                      <a:pt x="6" y="8"/>
                      <a:pt x="5" y="6"/>
                    </a:cubicBezTo>
                    <a:cubicBezTo>
                      <a:pt x="5" y="6"/>
                      <a:pt x="4" y="5"/>
                      <a:pt x="4" y="5"/>
                    </a:cubicBezTo>
                    <a:cubicBezTo>
                      <a:pt x="3" y="4"/>
                      <a:pt x="1" y="4"/>
                      <a:pt x="0" y="3"/>
                    </a:cubicBezTo>
                  </a:path>
                </a:pathLst>
              </a:custGeom>
              <a:grpFill/>
              <a:ln w="3175">
                <a:solidFill>
                  <a:schemeClr val="accent2">
                    <a:lumMod val="75000"/>
                  </a:schemeClr>
                </a:solidFill>
              </a:ln>
            </p:spPr>
            <p:txBody>
              <a:bodyPr vert="horz" wrap="square" lIns="91273" tIns="45637" rIns="91273" bIns="4563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97" b="0" i="0" u="none" strike="noStrike" kern="1200" cap="none" spc="0" normalizeH="0" baseline="0" noProof="0" dirty="0">
                  <a:ln>
                    <a:noFill/>
                  </a:ln>
                  <a:solidFill>
                    <a:srgbClr val="000000"/>
                  </a:solidFill>
                  <a:effectLst/>
                  <a:uLnTx/>
                  <a:uFillTx/>
                  <a:latin typeface="Calibri"/>
                  <a:ea typeface="+mn-ea"/>
                  <a:cs typeface="+mn-cs"/>
                </a:endParaRPr>
              </a:p>
            </p:txBody>
          </p:sp>
          <p:sp>
            <p:nvSpPr>
              <p:cNvPr id="180" name="Honduras">
                <a:extLst>
                  <a:ext uri="{FF2B5EF4-FFF2-40B4-BE49-F238E27FC236}">
                    <a16:creationId xmlns:a16="http://schemas.microsoft.com/office/drawing/2014/main" id="{62F95BBF-67A9-D668-1096-9D73AFF79690}"/>
                  </a:ext>
                </a:extLst>
              </p:cNvPr>
              <p:cNvSpPr>
                <a:spLocks/>
              </p:cNvSpPr>
              <p:nvPr/>
            </p:nvSpPr>
            <p:spPr bwMode="auto">
              <a:xfrm>
                <a:off x="1851782" y="2946864"/>
                <a:ext cx="137108" cy="76441"/>
              </a:xfrm>
              <a:custGeom>
                <a:avLst/>
                <a:gdLst>
                  <a:gd name="connsiteX0" fmla="*/ 75252 w 134541"/>
                  <a:gd name="connsiteY0" fmla="*/ 0 h 75010"/>
                  <a:gd name="connsiteX1" fmla="*/ 88934 w 134541"/>
                  <a:gd name="connsiteY1" fmla="*/ 2273 h 75010"/>
                  <a:gd name="connsiteX2" fmla="*/ 102616 w 134541"/>
                  <a:gd name="connsiteY2" fmla="*/ 4546 h 75010"/>
                  <a:gd name="connsiteX3" fmla="*/ 111738 w 134541"/>
                  <a:gd name="connsiteY3" fmla="*/ 4546 h 75010"/>
                  <a:gd name="connsiteX4" fmla="*/ 123139 w 134541"/>
                  <a:gd name="connsiteY4" fmla="*/ 15911 h 75010"/>
                  <a:gd name="connsiteX5" fmla="*/ 118579 w 134541"/>
                  <a:gd name="connsiteY5" fmla="*/ 13638 h 75010"/>
                  <a:gd name="connsiteX6" fmla="*/ 111738 w 134541"/>
                  <a:gd name="connsiteY6" fmla="*/ 11365 h 75010"/>
                  <a:gd name="connsiteX7" fmla="*/ 114018 w 134541"/>
                  <a:gd name="connsiteY7" fmla="*/ 15911 h 75010"/>
                  <a:gd name="connsiteX8" fmla="*/ 118579 w 134541"/>
                  <a:gd name="connsiteY8" fmla="*/ 18184 h 75010"/>
                  <a:gd name="connsiteX9" fmla="*/ 116298 w 134541"/>
                  <a:gd name="connsiteY9" fmla="*/ 15911 h 75010"/>
                  <a:gd name="connsiteX10" fmla="*/ 125420 w 134541"/>
                  <a:gd name="connsiteY10" fmla="*/ 18184 h 75010"/>
                  <a:gd name="connsiteX11" fmla="*/ 125420 w 134541"/>
                  <a:gd name="connsiteY11" fmla="*/ 20457 h 75010"/>
                  <a:gd name="connsiteX12" fmla="*/ 123139 w 134541"/>
                  <a:gd name="connsiteY12" fmla="*/ 15911 h 75010"/>
                  <a:gd name="connsiteX13" fmla="*/ 134541 w 134541"/>
                  <a:gd name="connsiteY13" fmla="*/ 25003 h 75010"/>
                  <a:gd name="connsiteX14" fmla="*/ 123139 w 134541"/>
                  <a:gd name="connsiteY14" fmla="*/ 27276 h 75010"/>
                  <a:gd name="connsiteX15" fmla="*/ 111738 w 134541"/>
                  <a:gd name="connsiteY15" fmla="*/ 31823 h 75010"/>
                  <a:gd name="connsiteX16" fmla="*/ 102616 w 134541"/>
                  <a:gd name="connsiteY16" fmla="*/ 34096 h 75010"/>
                  <a:gd name="connsiteX17" fmla="*/ 98055 w 134541"/>
                  <a:gd name="connsiteY17" fmla="*/ 31823 h 75010"/>
                  <a:gd name="connsiteX18" fmla="*/ 98055 w 134541"/>
                  <a:gd name="connsiteY18" fmla="*/ 29550 h 75010"/>
                  <a:gd name="connsiteX19" fmla="*/ 91214 w 134541"/>
                  <a:gd name="connsiteY19" fmla="*/ 36369 h 75010"/>
                  <a:gd name="connsiteX20" fmla="*/ 88934 w 134541"/>
                  <a:gd name="connsiteY20" fmla="*/ 38642 h 75010"/>
                  <a:gd name="connsiteX21" fmla="*/ 88934 w 134541"/>
                  <a:gd name="connsiteY21" fmla="*/ 40915 h 75010"/>
                  <a:gd name="connsiteX22" fmla="*/ 75252 w 134541"/>
                  <a:gd name="connsiteY22" fmla="*/ 54553 h 75010"/>
                  <a:gd name="connsiteX23" fmla="*/ 63850 w 134541"/>
                  <a:gd name="connsiteY23" fmla="*/ 52280 h 75010"/>
                  <a:gd name="connsiteX24" fmla="*/ 52448 w 134541"/>
                  <a:gd name="connsiteY24" fmla="*/ 56826 h 75010"/>
                  <a:gd name="connsiteX25" fmla="*/ 50168 w 134541"/>
                  <a:gd name="connsiteY25" fmla="*/ 65918 h 75010"/>
                  <a:gd name="connsiteX26" fmla="*/ 47887 w 134541"/>
                  <a:gd name="connsiteY26" fmla="*/ 72737 h 75010"/>
                  <a:gd name="connsiteX27" fmla="*/ 38766 w 134541"/>
                  <a:gd name="connsiteY27" fmla="*/ 75010 h 75010"/>
                  <a:gd name="connsiteX28" fmla="*/ 38766 w 134541"/>
                  <a:gd name="connsiteY28" fmla="*/ 63645 h 75010"/>
                  <a:gd name="connsiteX29" fmla="*/ 34205 w 134541"/>
                  <a:gd name="connsiteY29" fmla="*/ 63645 h 75010"/>
                  <a:gd name="connsiteX30" fmla="*/ 29645 w 134541"/>
                  <a:gd name="connsiteY30" fmla="*/ 63645 h 75010"/>
                  <a:gd name="connsiteX31" fmla="*/ 31925 w 134541"/>
                  <a:gd name="connsiteY31" fmla="*/ 59099 h 75010"/>
                  <a:gd name="connsiteX32" fmla="*/ 29645 w 134541"/>
                  <a:gd name="connsiteY32" fmla="*/ 52280 h 75010"/>
                  <a:gd name="connsiteX33" fmla="*/ 25084 w 134541"/>
                  <a:gd name="connsiteY33" fmla="*/ 50007 h 75010"/>
                  <a:gd name="connsiteX34" fmla="*/ 15962 w 134541"/>
                  <a:gd name="connsiteY34" fmla="*/ 52280 h 75010"/>
                  <a:gd name="connsiteX35" fmla="*/ 0 w 134541"/>
                  <a:gd name="connsiteY35" fmla="*/ 38642 h 75010"/>
                  <a:gd name="connsiteX36" fmla="*/ 4561 w 134541"/>
                  <a:gd name="connsiteY36" fmla="*/ 29550 h 75010"/>
                  <a:gd name="connsiteX37" fmla="*/ 9121 w 134541"/>
                  <a:gd name="connsiteY37" fmla="*/ 22730 h 75010"/>
                  <a:gd name="connsiteX38" fmla="*/ 20523 w 134541"/>
                  <a:gd name="connsiteY38" fmla="*/ 11365 h 75010"/>
                  <a:gd name="connsiteX39" fmla="*/ 25084 w 134541"/>
                  <a:gd name="connsiteY39" fmla="*/ 9092 h 75010"/>
                  <a:gd name="connsiteX40" fmla="*/ 31925 w 134541"/>
                  <a:gd name="connsiteY40" fmla="*/ 6819 h 75010"/>
                  <a:gd name="connsiteX41" fmla="*/ 41046 w 134541"/>
                  <a:gd name="connsiteY41" fmla="*/ 4546 h 75010"/>
                  <a:gd name="connsiteX42" fmla="*/ 57009 w 134541"/>
                  <a:gd name="connsiteY42" fmla="*/ 6819 h 75010"/>
                  <a:gd name="connsiteX43" fmla="*/ 70691 w 134541"/>
                  <a:gd name="connsiteY43" fmla="*/ 4546 h 75010"/>
                  <a:gd name="connsiteX44" fmla="*/ 75252 w 134541"/>
                  <a:gd name="connsiteY44" fmla="*/ 0 h 7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34541" h="75010">
                    <a:moveTo>
                      <a:pt x="75252" y="0"/>
                    </a:moveTo>
                    <a:cubicBezTo>
                      <a:pt x="79813" y="0"/>
                      <a:pt x="84373" y="2273"/>
                      <a:pt x="88934" y="2273"/>
                    </a:cubicBezTo>
                    <a:cubicBezTo>
                      <a:pt x="93495" y="2273"/>
                      <a:pt x="98055" y="0"/>
                      <a:pt x="102616" y="4546"/>
                    </a:cubicBezTo>
                    <a:cubicBezTo>
                      <a:pt x="107177" y="6819"/>
                      <a:pt x="109457" y="4546"/>
                      <a:pt x="111738" y="4546"/>
                    </a:cubicBezTo>
                    <a:cubicBezTo>
                      <a:pt x="116298" y="6819"/>
                      <a:pt x="118579" y="11365"/>
                      <a:pt x="123139" y="15911"/>
                    </a:cubicBezTo>
                    <a:cubicBezTo>
                      <a:pt x="120859" y="15911"/>
                      <a:pt x="118579" y="13638"/>
                      <a:pt x="118579" y="13638"/>
                    </a:cubicBezTo>
                    <a:cubicBezTo>
                      <a:pt x="116298" y="13638"/>
                      <a:pt x="114018" y="13638"/>
                      <a:pt x="111738" y="11365"/>
                    </a:cubicBezTo>
                    <a:cubicBezTo>
                      <a:pt x="114018" y="11365"/>
                      <a:pt x="114018" y="13638"/>
                      <a:pt x="114018" y="15911"/>
                    </a:cubicBezTo>
                    <a:cubicBezTo>
                      <a:pt x="114018" y="15911"/>
                      <a:pt x="118579" y="18184"/>
                      <a:pt x="118579" y="18184"/>
                    </a:cubicBezTo>
                    <a:cubicBezTo>
                      <a:pt x="118579" y="18184"/>
                      <a:pt x="118579" y="15911"/>
                      <a:pt x="116298" y="15911"/>
                    </a:cubicBezTo>
                    <a:cubicBezTo>
                      <a:pt x="118579" y="13638"/>
                      <a:pt x="120859" y="20457"/>
                      <a:pt x="125420" y="18184"/>
                    </a:cubicBezTo>
                    <a:cubicBezTo>
                      <a:pt x="125420" y="20457"/>
                      <a:pt x="125420" y="20457"/>
                      <a:pt x="125420" y="20457"/>
                    </a:cubicBezTo>
                    <a:cubicBezTo>
                      <a:pt x="129980" y="20457"/>
                      <a:pt x="125420" y="18184"/>
                      <a:pt x="123139" y="15911"/>
                    </a:cubicBezTo>
                    <a:cubicBezTo>
                      <a:pt x="129980" y="18184"/>
                      <a:pt x="129980" y="22730"/>
                      <a:pt x="134541" y="25003"/>
                    </a:cubicBezTo>
                    <a:cubicBezTo>
                      <a:pt x="129980" y="25003"/>
                      <a:pt x="127700" y="25003"/>
                      <a:pt x="123139" y="27276"/>
                    </a:cubicBezTo>
                    <a:cubicBezTo>
                      <a:pt x="120859" y="29550"/>
                      <a:pt x="114018" y="31823"/>
                      <a:pt x="111738" y="31823"/>
                    </a:cubicBezTo>
                    <a:cubicBezTo>
                      <a:pt x="109457" y="31823"/>
                      <a:pt x="107177" y="34096"/>
                      <a:pt x="102616" y="34096"/>
                    </a:cubicBezTo>
                    <a:cubicBezTo>
                      <a:pt x="102616" y="34096"/>
                      <a:pt x="100336" y="31823"/>
                      <a:pt x="98055" y="31823"/>
                    </a:cubicBezTo>
                    <a:cubicBezTo>
                      <a:pt x="98055" y="29550"/>
                      <a:pt x="98055" y="29550"/>
                      <a:pt x="98055" y="29550"/>
                    </a:cubicBezTo>
                    <a:cubicBezTo>
                      <a:pt x="93495" y="29550"/>
                      <a:pt x="93495" y="34096"/>
                      <a:pt x="91214" y="36369"/>
                    </a:cubicBezTo>
                    <a:cubicBezTo>
                      <a:pt x="91214" y="36369"/>
                      <a:pt x="88934" y="38642"/>
                      <a:pt x="88934" y="38642"/>
                    </a:cubicBezTo>
                    <a:cubicBezTo>
                      <a:pt x="88934" y="40915"/>
                      <a:pt x="88934" y="40915"/>
                      <a:pt x="88934" y="40915"/>
                    </a:cubicBezTo>
                    <a:cubicBezTo>
                      <a:pt x="84373" y="43188"/>
                      <a:pt x="77532" y="50007"/>
                      <a:pt x="75252" y="54553"/>
                    </a:cubicBezTo>
                    <a:cubicBezTo>
                      <a:pt x="68411" y="50007"/>
                      <a:pt x="68411" y="45461"/>
                      <a:pt x="63850" y="52280"/>
                    </a:cubicBezTo>
                    <a:cubicBezTo>
                      <a:pt x="61570" y="56826"/>
                      <a:pt x="52448" y="52280"/>
                      <a:pt x="52448" y="56826"/>
                    </a:cubicBezTo>
                    <a:cubicBezTo>
                      <a:pt x="54728" y="61372"/>
                      <a:pt x="54728" y="65918"/>
                      <a:pt x="50168" y="65918"/>
                    </a:cubicBezTo>
                    <a:cubicBezTo>
                      <a:pt x="47887" y="68191"/>
                      <a:pt x="47887" y="70464"/>
                      <a:pt x="47887" y="72737"/>
                    </a:cubicBezTo>
                    <a:cubicBezTo>
                      <a:pt x="45607" y="75010"/>
                      <a:pt x="43327" y="72737"/>
                      <a:pt x="38766" y="75010"/>
                    </a:cubicBezTo>
                    <a:cubicBezTo>
                      <a:pt x="41046" y="70464"/>
                      <a:pt x="31925" y="65918"/>
                      <a:pt x="38766" y="63645"/>
                    </a:cubicBezTo>
                    <a:cubicBezTo>
                      <a:pt x="36486" y="65918"/>
                      <a:pt x="34205" y="65918"/>
                      <a:pt x="34205" y="63645"/>
                    </a:cubicBezTo>
                    <a:cubicBezTo>
                      <a:pt x="34205" y="65918"/>
                      <a:pt x="31925" y="65918"/>
                      <a:pt x="29645" y="63645"/>
                    </a:cubicBezTo>
                    <a:cubicBezTo>
                      <a:pt x="31925" y="63645"/>
                      <a:pt x="31925" y="61372"/>
                      <a:pt x="31925" y="59099"/>
                    </a:cubicBezTo>
                    <a:cubicBezTo>
                      <a:pt x="31925" y="54553"/>
                      <a:pt x="34205" y="52280"/>
                      <a:pt x="29645" y="52280"/>
                    </a:cubicBezTo>
                    <a:cubicBezTo>
                      <a:pt x="27364" y="52280"/>
                      <a:pt x="27364" y="52280"/>
                      <a:pt x="25084" y="50007"/>
                    </a:cubicBezTo>
                    <a:cubicBezTo>
                      <a:pt x="20523" y="50007"/>
                      <a:pt x="18243" y="52280"/>
                      <a:pt x="15962" y="52280"/>
                    </a:cubicBezTo>
                    <a:cubicBezTo>
                      <a:pt x="18243" y="47734"/>
                      <a:pt x="2280" y="40915"/>
                      <a:pt x="0" y="38642"/>
                    </a:cubicBezTo>
                    <a:cubicBezTo>
                      <a:pt x="0" y="34096"/>
                      <a:pt x="6841" y="34096"/>
                      <a:pt x="4561" y="29550"/>
                    </a:cubicBezTo>
                    <a:cubicBezTo>
                      <a:pt x="2280" y="27276"/>
                      <a:pt x="6841" y="22730"/>
                      <a:pt x="9121" y="22730"/>
                    </a:cubicBezTo>
                    <a:cubicBezTo>
                      <a:pt x="13682" y="20457"/>
                      <a:pt x="15962" y="15911"/>
                      <a:pt x="20523" y="11365"/>
                    </a:cubicBezTo>
                    <a:cubicBezTo>
                      <a:pt x="22803" y="11365"/>
                      <a:pt x="25084" y="9092"/>
                      <a:pt x="25084" y="9092"/>
                    </a:cubicBezTo>
                    <a:cubicBezTo>
                      <a:pt x="27364" y="6819"/>
                      <a:pt x="29645" y="9092"/>
                      <a:pt x="31925" y="6819"/>
                    </a:cubicBezTo>
                    <a:cubicBezTo>
                      <a:pt x="34205" y="4546"/>
                      <a:pt x="38766" y="2273"/>
                      <a:pt x="41046" y="4546"/>
                    </a:cubicBezTo>
                    <a:cubicBezTo>
                      <a:pt x="43327" y="6819"/>
                      <a:pt x="52448" y="6819"/>
                      <a:pt x="57009" y="6819"/>
                    </a:cubicBezTo>
                    <a:cubicBezTo>
                      <a:pt x="59289" y="6819"/>
                      <a:pt x="66130" y="6819"/>
                      <a:pt x="70691" y="4546"/>
                    </a:cubicBezTo>
                    <a:cubicBezTo>
                      <a:pt x="70691" y="4546"/>
                      <a:pt x="79813" y="2273"/>
                      <a:pt x="75252" y="0"/>
                    </a:cubicBezTo>
                    <a:close/>
                  </a:path>
                </a:pathLst>
              </a:custGeom>
              <a:grpFill/>
              <a:ln w="3175">
                <a:solidFill>
                  <a:schemeClr val="accent2">
                    <a:lumMod val="75000"/>
                  </a:schemeClr>
                </a:solidFill>
              </a:ln>
            </p:spPr>
            <p:txBody>
              <a:bodyPr vert="horz" wrap="square" lIns="91273" tIns="45637" rIns="91273" bIns="4563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97" b="0" i="0" u="none" strike="noStrike" kern="1200" cap="none" spc="0" normalizeH="0" baseline="0" noProof="0" dirty="0">
                  <a:ln>
                    <a:noFill/>
                  </a:ln>
                  <a:solidFill>
                    <a:srgbClr val="000000"/>
                  </a:solidFill>
                  <a:effectLst/>
                  <a:uLnTx/>
                  <a:uFillTx/>
                  <a:latin typeface="Calibri"/>
                  <a:ea typeface="+mn-ea"/>
                  <a:cs typeface="+mn-cs"/>
                </a:endParaRPr>
              </a:p>
            </p:txBody>
          </p:sp>
          <p:sp>
            <p:nvSpPr>
              <p:cNvPr id="181" name="Haiti">
                <a:extLst>
                  <a:ext uri="{FF2B5EF4-FFF2-40B4-BE49-F238E27FC236}">
                    <a16:creationId xmlns:a16="http://schemas.microsoft.com/office/drawing/2014/main" id="{7CD172D9-E480-B9FA-BFD7-86B9B5D5782B}"/>
                  </a:ext>
                </a:extLst>
              </p:cNvPr>
              <p:cNvSpPr>
                <a:spLocks/>
              </p:cNvSpPr>
              <p:nvPr/>
            </p:nvSpPr>
            <p:spPr bwMode="auto">
              <a:xfrm>
                <a:off x="2185872" y="2849945"/>
                <a:ext cx="62603" cy="46390"/>
              </a:xfrm>
              <a:custGeom>
                <a:avLst/>
                <a:gdLst>
                  <a:gd name="connsiteX0" fmla="*/ 26630 w 61431"/>
                  <a:gd name="connsiteY0" fmla="*/ 24855 h 45522"/>
                  <a:gd name="connsiteX1" fmla="*/ 35475 w 61431"/>
                  <a:gd name="connsiteY1" fmla="*/ 29618 h 45522"/>
                  <a:gd name="connsiteX2" fmla="*/ 26630 w 61431"/>
                  <a:gd name="connsiteY2" fmla="*/ 24855 h 45522"/>
                  <a:gd name="connsiteX3" fmla="*/ 37804 w 61431"/>
                  <a:gd name="connsiteY3" fmla="*/ 317 h 45522"/>
                  <a:gd name="connsiteX4" fmla="*/ 46853 w 61431"/>
                  <a:gd name="connsiteY4" fmla="*/ 2026 h 45522"/>
                  <a:gd name="connsiteX5" fmla="*/ 60426 w 61431"/>
                  <a:gd name="connsiteY5" fmla="*/ 8859 h 45522"/>
                  <a:gd name="connsiteX6" fmla="*/ 60426 w 61431"/>
                  <a:gd name="connsiteY6" fmla="*/ 17970 h 45522"/>
                  <a:gd name="connsiteX7" fmla="*/ 58164 w 61431"/>
                  <a:gd name="connsiteY7" fmla="*/ 22525 h 45522"/>
                  <a:gd name="connsiteX8" fmla="*/ 58164 w 61431"/>
                  <a:gd name="connsiteY8" fmla="*/ 27081 h 45522"/>
                  <a:gd name="connsiteX9" fmla="*/ 51377 w 61431"/>
                  <a:gd name="connsiteY9" fmla="*/ 31636 h 45522"/>
                  <a:gd name="connsiteX10" fmla="*/ 55901 w 61431"/>
                  <a:gd name="connsiteY10" fmla="*/ 45303 h 45522"/>
                  <a:gd name="connsiteX11" fmla="*/ 37804 w 61431"/>
                  <a:gd name="connsiteY11" fmla="*/ 43025 h 45522"/>
                  <a:gd name="connsiteX12" fmla="*/ 12920 w 61431"/>
                  <a:gd name="connsiteY12" fmla="*/ 43025 h 45522"/>
                  <a:gd name="connsiteX13" fmla="*/ 3871 w 61431"/>
                  <a:gd name="connsiteY13" fmla="*/ 38469 h 45522"/>
                  <a:gd name="connsiteX14" fmla="*/ 8395 w 61431"/>
                  <a:gd name="connsiteY14" fmla="*/ 31636 h 45522"/>
                  <a:gd name="connsiteX15" fmla="*/ 19706 w 61431"/>
                  <a:gd name="connsiteY15" fmla="*/ 33914 h 45522"/>
                  <a:gd name="connsiteX16" fmla="*/ 21968 w 61431"/>
                  <a:gd name="connsiteY16" fmla="*/ 36192 h 45522"/>
                  <a:gd name="connsiteX17" fmla="*/ 33279 w 61431"/>
                  <a:gd name="connsiteY17" fmla="*/ 36192 h 45522"/>
                  <a:gd name="connsiteX18" fmla="*/ 40066 w 61431"/>
                  <a:gd name="connsiteY18" fmla="*/ 33914 h 45522"/>
                  <a:gd name="connsiteX19" fmla="*/ 44590 w 61431"/>
                  <a:gd name="connsiteY19" fmla="*/ 31636 h 45522"/>
                  <a:gd name="connsiteX20" fmla="*/ 37804 w 61431"/>
                  <a:gd name="connsiteY20" fmla="*/ 20248 h 45522"/>
                  <a:gd name="connsiteX21" fmla="*/ 31017 w 61431"/>
                  <a:gd name="connsiteY21" fmla="*/ 6581 h 45522"/>
                  <a:gd name="connsiteX22" fmla="*/ 28755 w 61431"/>
                  <a:gd name="connsiteY22" fmla="*/ 2026 h 45522"/>
                  <a:gd name="connsiteX23" fmla="*/ 37804 w 61431"/>
                  <a:gd name="connsiteY23" fmla="*/ 317 h 45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1431" h="45522">
                    <a:moveTo>
                      <a:pt x="26630" y="24855"/>
                    </a:moveTo>
                    <a:cubicBezTo>
                      <a:pt x="28841" y="22474"/>
                      <a:pt x="37686" y="27237"/>
                      <a:pt x="35475" y="29618"/>
                    </a:cubicBezTo>
                    <a:cubicBezTo>
                      <a:pt x="35475" y="29618"/>
                      <a:pt x="22207" y="24855"/>
                      <a:pt x="26630" y="24855"/>
                    </a:cubicBezTo>
                    <a:close/>
                    <a:moveTo>
                      <a:pt x="37804" y="317"/>
                    </a:moveTo>
                    <a:cubicBezTo>
                      <a:pt x="40632" y="887"/>
                      <a:pt x="43459" y="2026"/>
                      <a:pt x="46853" y="2026"/>
                    </a:cubicBezTo>
                    <a:cubicBezTo>
                      <a:pt x="53639" y="4303"/>
                      <a:pt x="60426" y="2026"/>
                      <a:pt x="60426" y="8859"/>
                    </a:cubicBezTo>
                    <a:cubicBezTo>
                      <a:pt x="62688" y="11137"/>
                      <a:pt x="60426" y="15692"/>
                      <a:pt x="60426" y="17970"/>
                    </a:cubicBezTo>
                    <a:cubicBezTo>
                      <a:pt x="62688" y="20248"/>
                      <a:pt x="58164" y="22525"/>
                      <a:pt x="58164" y="22525"/>
                    </a:cubicBezTo>
                    <a:cubicBezTo>
                      <a:pt x="58164" y="24803"/>
                      <a:pt x="60426" y="24803"/>
                      <a:pt x="58164" y="27081"/>
                    </a:cubicBezTo>
                    <a:cubicBezTo>
                      <a:pt x="58164" y="29358"/>
                      <a:pt x="55901" y="31636"/>
                      <a:pt x="51377" y="31636"/>
                    </a:cubicBezTo>
                    <a:cubicBezTo>
                      <a:pt x="55901" y="36192"/>
                      <a:pt x="58164" y="40747"/>
                      <a:pt x="55901" y="45303"/>
                    </a:cubicBezTo>
                    <a:cubicBezTo>
                      <a:pt x="51377" y="40747"/>
                      <a:pt x="44590" y="40747"/>
                      <a:pt x="37804" y="43025"/>
                    </a:cubicBezTo>
                    <a:cubicBezTo>
                      <a:pt x="31017" y="43025"/>
                      <a:pt x="17444" y="36192"/>
                      <a:pt x="12920" y="43025"/>
                    </a:cubicBezTo>
                    <a:cubicBezTo>
                      <a:pt x="10657" y="49858"/>
                      <a:pt x="6133" y="40747"/>
                      <a:pt x="3871" y="38469"/>
                    </a:cubicBezTo>
                    <a:cubicBezTo>
                      <a:pt x="-5178" y="38469"/>
                      <a:pt x="3871" y="29358"/>
                      <a:pt x="8395" y="31636"/>
                    </a:cubicBezTo>
                    <a:cubicBezTo>
                      <a:pt x="12920" y="33914"/>
                      <a:pt x="15182" y="33914"/>
                      <a:pt x="19706" y="33914"/>
                    </a:cubicBezTo>
                    <a:cubicBezTo>
                      <a:pt x="12920" y="33914"/>
                      <a:pt x="21968" y="36192"/>
                      <a:pt x="21968" y="36192"/>
                    </a:cubicBezTo>
                    <a:cubicBezTo>
                      <a:pt x="26493" y="36192"/>
                      <a:pt x="28755" y="36192"/>
                      <a:pt x="33279" y="36192"/>
                    </a:cubicBezTo>
                    <a:cubicBezTo>
                      <a:pt x="35542" y="36192"/>
                      <a:pt x="35542" y="36192"/>
                      <a:pt x="40066" y="33914"/>
                    </a:cubicBezTo>
                    <a:cubicBezTo>
                      <a:pt x="42328" y="33914"/>
                      <a:pt x="44590" y="33914"/>
                      <a:pt x="44590" y="31636"/>
                    </a:cubicBezTo>
                    <a:cubicBezTo>
                      <a:pt x="46853" y="27081"/>
                      <a:pt x="35542" y="24803"/>
                      <a:pt x="37804" y="20248"/>
                    </a:cubicBezTo>
                    <a:cubicBezTo>
                      <a:pt x="40066" y="13414"/>
                      <a:pt x="40066" y="8859"/>
                      <a:pt x="31017" y="6581"/>
                    </a:cubicBezTo>
                    <a:cubicBezTo>
                      <a:pt x="28755" y="6581"/>
                      <a:pt x="21968" y="6581"/>
                      <a:pt x="28755" y="2026"/>
                    </a:cubicBezTo>
                    <a:cubicBezTo>
                      <a:pt x="32148" y="-252"/>
                      <a:pt x="34976" y="-252"/>
                      <a:pt x="37804" y="317"/>
                    </a:cubicBezTo>
                    <a:close/>
                  </a:path>
                </a:pathLst>
              </a:custGeom>
              <a:grpFill/>
              <a:ln w="3175">
                <a:solidFill>
                  <a:schemeClr val="accent2">
                    <a:lumMod val="75000"/>
                  </a:schemeClr>
                </a:solidFill>
              </a:ln>
            </p:spPr>
            <p:txBody>
              <a:bodyPr vert="horz" wrap="square" lIns="91273" tIns="45637" rIns="91273" bIns="4563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97" b="0" i="0" u="none" strike="noStrike" kern="1200" cap="none" spc="0" normalizeH="0" baseline="0" noProof="0" dirty="0">
                  <a:ln>
                    <a:noFill/>
                  </a:ln>
                  <a:solidFill>
                    <a:srgbClr val="000000"/>
                  </a:solidFill>
                  <a:effectLst/>
                  <a:uLnTx/>
                  <a:uFillTx/>
                  <a:latin typeface="Calibri"/>
                  <a:ea typeface="+mn-ea"/>
                  <a:cs typeface="+mn-cs"/>
                </a:endParaRPr>
              </a:p>
            </p:txBody>
          </p:sp>
          <p:sp>
            <p:nvSpPr>
              <p:cNvPr id="182" name="Guatemala">
                <a:extLst>
                  <a:ext uri="{FF2B5EF4-FFF2-40B4-BE49-F238E27FC236}">
                    <a16:creationId xmlns:a16="http://schemas.microsoft.com/office/drawing/2014/main" id="{D84FBE22-3E16-F512-FFBB-92FF0F674248}"/>
                  </a:ext>
                </a:extLst>
              </p:cNvPr>
              <p:cNvSpPr>
                <a:spLocks/>
              </p:cNvSpPr>
              <p:nvPr/>
            </p:nvSpPr>
            <p:spPr bwMode="auto">
              <a:xfrm>
                <a:off x="1788688" y="2900756"/>
                <a:ext cx="91001" cy="104348"/>
              </a:xfrm>
              <a:custGeom>
                <a:avLst/>
                <a:gdLst/>
                <a:ahLst/>
                <a:cxnLst>
                  <a:cxn ang="0">
                    <a:pos x="0" y="36"/>
                  </a:cxn>
                  <a:cxn ang="0">
                    <a:pos x="1" y="32"/>
                  </a:cxn>
                  <a:cxn ang="0">
                    <a:pos x="2" y="30"/>
                  </a:cxn>
                  <a:cxn ang="0">
                    <a:pos x="2" y="27"/>
                  </a:cxn>
                  <a:cxn ang="0">
                    <a:pos x="6" y="20"/>
                  </a:cxn>
                  <a:cxn ang="0">
                    <a:pos x="12" y="19"/>
                  </a:cxn>
                  <a:cxn ang="0">
                    <a:pos x="19" y="19"/>
                  </a:cxn>
                  <a:cxn ang="0">
                    <a:pos x="19" y="16"/>
                  </a:cxn>
                  <a:cxn ang="0">
                    <a:pos x="17" y="14"/>
                  </a:cxn>
                  <a:cxn ang="0">
                    <a:pos x="16" y="12"/>
                  </a:cxn>
                  <a:cxn ang="0">
                    <a:pos x="11" y="7"/>
                  </a:cxn>
                  <a:cxn ang="0">
                    <a:pos x="15" y="6"/>
                  </a:cxn>
                  <a:cxn ang="0">
                    <a:pos x="16" y="1"/>
                  </a:cxn>
                  <a:cxn ang="0">
                    <a:pos x="24" y="1"/>
                  </a:cxn>
                  <a:cxn ang="0">
                    <a:pos x="33" y="1"/>
                  </a:cxn>
                  <a:cxn ang="0">
                    <a:pos x="32" y="11"/>
                  </a:cxn>
                  <a:cxn ang="0">
                    <a:pos x="30" y="21"/>
                  </a:cxn>
                  <a:cxn ang="0">
                    <a:pos x="35" y="24"/>
                  </a:cxn>
                  <a:cxn ang="0">
                    <a:pos x="37" y="22"/>
                  </a:cxn>
                  <a:cxn ang="0">
                    <a:pos x="36" y="21"/>
                  </a:cxn>
                  <a:cxn ang="0">
                    <a:pos x="39" y="23"/>
                  </a:cxn>
                  <a:cxn ang="0">
                    <a:pos x="31" y="29"/>
                  </a:cxn>
                  <a:cxn ang="0">
                    <a:pos x="29" y="33"/>
                  </a:cxn>
                  <a:cxn ang="0">
                    <a:pos x="28" y="36"/>
                  </a:cxn>
                  <a:cxn ang="0">
                    <a:pos x="25" y="39"/>
                  </a:cxn>
                  <a:cxn ang="0">
                    <a:pos x="24" y="40"/>
                  </a:cxn>
                  <a:cxn ang="0">
                    <a:pos x="23" y="41"/>
                  </a:cxn>
                  <a:cxn ang="0">
                    <a:pos x="19" y="45"/>
                  </a:cxn>
                  <a:cxn ang="0">
                    <a:pos x="15" y="43"/>
                  </a:cxn>
                  <a:cxn ang="0">
                    <a:pos x="10" y="43"/>
                  </a:cxn>
                  <a:cxn ang="0">
                    <a:pos x="0" y="36"/>
                  </a:cxn>
                </a:cxnLst>
                <a:rect l="0" t="0" r="r" b="b"/>
                <a:pathLst>
                  <a:path w="39" h="45">
                    <a:moveTo>
                      <a:pt x="0" y="36"/>
                    </a:moveTo>
                    <a:cubicBezTo>
                      <a:pt x="1" y="35"/>
                      <a:pt x="1" y="33"/>
                      <a:pt x="1" y="32"/>
                    </a:cubicBezTo>
                    <a:cubicBezTo>
                      <a:pt x="1" y="31"/>
                      <a:pt x="2" y="31"/>
                      <a:pt x="2" y="30"/>
                    </a:cubicBezTo>
                    <a:cubicBezTo>
                      <a:pt x="1" y="29"/>
                      <a:pt x="2" y="28"/>
                      <a:pt x="2" y="27"/>
                    </a:cubicBezTo>
                    <a:cubicBezTo>
                      <a:pt x="4" y="25"/>
                      <a:pt x="5" y="22"/>
                      <a:pt x="6" y="20"/>
                    </a:cubicBezTo>
                    <a:cubicBezTo>
                      <a:pt x="6" y="18"/>
                      <a:pt x="10" y="19"/>
                      <a:pt x="12" y="19"/>
                    </a:cubicBezTo>
                    <a:cubicBezTo>
                      <a:pt x="13" y="19"/>
                      <a:pt x="18" y="20"/>
                      <a:pt x="19" y="19"/>
                    </a:cubicBezTo>
                    <a:cubicBezTo>
                      <a:pt x="19" y="16"/>
                      <a:pt x="19" y="16"/>
                      <a:pt x="19" y="16"/>
                    </a:cubicBezTo>
                    <a:cubicBezTo>
                      <a:pt x="19" y="15"/>
                      <a:pt x="18" y="15"/>
                      <a:pt x="17" y="14"/>
                    </a:cubicBezTo>
                    <a:cubicBezTo>
                      <a:pt x="17" y="13"/>
                      <a:pt x="17" y="12"/>
                      <a:pt x="16" y="12"/>
                    </a:cubicBezTo>
                    <a:cubicBezTo>
                      <a:pt x="14" y="11"/>
                      <a:pt x="13" y="9"/>
                      <a:pt x="11" y="7"/>
                    </a:cubicBezTo>
                    <a:cubicBezTo>
                      <a:pt x="12" y="7"/>
                      <a:pt x="14" y="7"/>
                      <a:pt x="15" y="6"/>
                    </a:cubicBezTo>
                    <a:cubicBezTo>
                      <a:pt x="16" y="5"/>
                      <a:pt x="15" y="2"/>
                      <a:pt x="16" y="1"/>
                    </a:cubicBezTo>
                    <a:cubicBezTo>
                      <a:pt x="17" y="0"/>
                      <a:pt x="22" y="1"/>
                      <a:pt x="24" y="1"/>
                    </a:cubicBezTo>
                    <a:cubicBezTo>
                      <a:pt x="27" y="1"/>
                      <a:pt x="30" y="1"/>
                      <a:pt x="33" y="1"/>
                    </a:cubicBezTo>
                    <a:cubicBezTo>
                      <a:pt x="33" y="4"/>
                      <a:pt x="32" y="8"/>
                      <a:pt x="32" y="11"/>
                    </a:cubicBezTo>
                    <a:cubicBezTo>
                      <a:pt x="31" y="14"/>
                      <a:pt x="30" y="18"/>
                      <a:pt x="30" y="21"/>
                    </a:cubicBezTo>
                    <a:cubicBezTo>
                      <a:pt x="31" y="21"/>
                      <a:pt x="35" y="21"/>
                      <a:pt x="35" y="24"/>
                    </a:cubicBezTo>
                    <a:cubicBezTo>
                      <a:pt x="36" y="23"/>
                      <a:pt x="36" y="22"/>
                      <a:pt x="37" y="22"/>
                    </a:cubicBezTo>
                    <a:cubicBezTo>
                      <a:pt x="36" y="21"/>
                      <a:pt x="36" y="21"/>
                      <a:pt x="36" y="21"/>
                    </a:cubicBezTo>
                    <a:cubicBezTo>
                      <a:pt x="37" y="22"/>
                      <a:pt x="38" y="23"/>
                      <a:pt x="39" y="23"/>
                    </a:cubicBezTo>
                    <a:cubicBezTo>
                      <a:pt x="36" y="25"/>
                      <a:pt x="34" y="28"/>
                      <a:pt x="31" y="29"/>
                    </a:cubicBezTo>
                    <a:cubicBezTo>
                      <a:pt x="30" y="30"/>
                      <a:pt x="28" y="31"/>
                      <a:pt x="29" y="33"/>
                    </a:cubicBezTo>
                    <a:cubicBezTo>
                      <a:pt x="29" y="34"/>
                      <a:pt x="29" y="35"/>
                      <a:pt x="28" y="36"/>
                    </a:cubicBezTo>
                    <a:cubicBezTo>
                      <a:pt x="27" y="37"/>
                      <a:pt x="25" y="37"/>
                      <a:pt x="25" y="39"/>
                    </a:cubicBezTo>
                    <a:cubicBezTo>
                      <a:pt x="25" y="39"/>
                      <a:pt x="24" y="39"/>
                      <a:pt x="24" y="40"/>
                    </a:cubicBezTo>
                    <a:cubicBezTo>
                      <a:pt x="23" y="41"/>
                      <a:pt x="23" y="41"/>
                      <a:pt x="23" y="41"/>
                    </a:cubicBezTo>
                    <a:cubicBezTo>
                      <a:pt x="21" y="42"/>
                      <a:pt x="18" y="42"/>
                      <a:pt x="19" y="45"/>
                    </a:cubicBezTo>
                    <a:cubicBezTo>
                      <a:pt x="18" y="44"/>
                      <a:pt x="16" y="43"/>
                      <a:pt x="15" y="43"/>
                    </a:cubicBezTo>
                    <a:cubicBezTo>
                      <a:pt x="13" y="42"/>
                      <a:pt x="11" y="43"/>
                      <a:pt x="10" y="43"/>
                    </a:cubicBezTo>
                    <a:cubicBezTo>
                      <a:pt x="6" y="42"/>
                      <a:pt x="2" y="39"/>
                      <a:pt x="0" y="36"/>
                    </a:cubicBezTo>
                  </a:path>
                </a:pathLst>
              </a:custGeom>
              <a:grpFill/>
              <a:ln w="3175">
                <a:solidFill>
                  <a:schemeClr val="accent2">
                    <a:lumMod val="75000"/>
                  </a:schemeClr>
                </a:solidFill>
              </a:ln>
            </p:spPr>
            <p:txBody>
              <a:bodyPr vert="horz" wrap="square" lIns="91273" tIns="45637" rIns="91273" bIns="4563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97" b="0" i="0" u="none" strike="noStrike" kern="1200" cap="none" spc="0" normalizeH="0" baseline="0" noProof="0" dirty="0">
                  <a:ln>
                    <a:noFill/>
                  </a:ln>
                  <a:solidFill>
                    <a:srgbClr val="000000"/>
                  </a:solidFill>
                  <a:effectLst/>
                  <a:uLnTx/>
                  <a:uFillTx/>
                  <a:latin typeface="Calibri"/>
                  <a:ea typeface="+mn-ea"/>
                  <a:cs typeface="+mn-cs"/>
                </a:endParaRPr>
              </a:p>
            </p:txBody>
          </p:sp>
          <p:sp>
            <p:nvSpPr>
              <p:cNvPr id="183" name="Guyana">
                <a:extLst>
                  <a:ext uri="{FF2B5EF4-FFF2-40B4-BE49-F238E27FC236}">
                    <a16:creationId xmlns:a16="http://schemas.microsoft.com/office/drawing/2014/main" id="{F03A3857-0BE1-622D-D693-63FD798B9354}"/>
                  </a:ext>
                </a:extLst>
              </p:cNvPr>
              <p:cNvSpPr>
                <a:spLocks/>
              </p:cNvSpPr>
              <p:nvPr/>
            </p:nvSpPr>
            <p:spPr bwMode="auto">
              <a:xfrm>
                <a:off x="2447529" y="3132504"/>
                <a:ext cx="106774" cy="183214"/>
              </a:xfrm>
              <a:custGeom>
                <a:avLst/>
                <a:gdLst/>
                <a:ahLst/>
                <a:cxnLst>
                  <a:cxn ang="0">
                    <a:pos x="0" y="28"/>
                  </a:cxn>
                  <a:cxn ang="0">
                    <a:pos x="3" y="23"/>
                  </a:cxn>
                  <a:cxn ang="0">
                    <a:pos x="4" y="20"/>
                  </a:cxn>
                  <a:cxn ang="0">
                    <a:pos x="6" y="19"/>
                  </a:cxn>
                  <a:cxn ang="0">
                    <a:pos x="8" y="18"/>
                  </a:cxn>
                  <a:cxn ang="0">
                    <a:pos x="11" y="17"/>
                  </a:cxn>
                  <a:cxn ang="0">
                    <a:pos x="10" y="15"/>
                  </a:cxn>
                  <a:cxn ang="0">
                    <a:pos x="8" y="12"/>
                  </a:cxn>
                  <a:cxn ang="0">
                    <a:pos x="9" y="9"/>
                  </a:cxn>
                  <a:cxn ang="0">
                    <a:pos x="11" y="7"/>
                  </a:cxn>
                  <a:cxn ang="0">
                    <a:pos x="15" y="4"/>
                  </a:cxn>
                  <a:cxn ang="0">
                    <a:pos x="14" y="0"/>
                  </a:cxn>
                  <a:cxn ang="0">
                    <a:pos x="20" y="5"/>
                  </a:cxn>
                  <a:cxn ang="0">
                    <a:pos x="17" y="2"/>
                  </a:cxn>
                  <a:cxn ang="0">
                    <a:pos x="22" y="6"/>
                  </a:cxn>
                  <a:cxn ang="0">
                    <a:pos x="27" y="11"/>
                  </a:cxn>
                  <a:cxn ang="0">
                    <a:pos x="28" y="16"/>
                  </a:cxn>
                  <a:cxn ang="0">
                    <a:pos x="27" y="20"/>
                  </a:cxn>
                  <a:cxn ang="0">
                    <a:pos x="26" y="24"/>
                  </a:cxn>
                  <a:cxn ang="0">
                    <a:pos x="30" y="19"/>
                  </a:cxn>
                  <a:cxn ang="0">
                    <a:pos x="37" y="25"/>
                  </a:cxn>
                  <a:cxn ang="0">
                    <a:pos x="40" y="28"/>
                  </a:cxn>
                  <a:cxn ang="0">
                    <a:pos x="39" y="35"/>
                  </a:cxn>
                  <a:cxn ang="0">
                    <a:pos x="38" y="38"/>
                  </a:cxn>
                  <a:cxn ang="0">
                    <a:pos x="32" y="41"/>
                  </a:cxn>
                  <a:cxn ang="0">
                    <a:pos x="32" y="47"/>
                  </a:cxn>
                  <a:cxn ang="0">
                    <a:pos x="34" y="53"/>
                  </a:cxn>
                  <a:cxn ang="0">
                    <a:pos x="36" y="56"/>
                  </a:cxn>
                  <a:cxn ang="0">
                    <a:pos x="38" y="56"/>
                  </a:cxn>
                  <a:cxn ang="0">
                    <a:pos x="39" y="60"/>
                  </a:cxn>
                  <a:cxn ang="0">
                    <a:pos x="42" y="67"/>
                  </a:cxn>
                  <a:cxn ang="0">
                    <a:pos x="46" y="71"/>
                  </a:cxn>
                  <a:cxn ang="0">
                    <a:pos x="37" y="72"/>
                  </a:cxn>
                  <a:cxn ang="0">
                    <a:pos x="36" y="73"/>
                  </a:cxn>
                  <a:cxn ang="0">
                    <a:pos x="33" y="74"/>
                  </a:cxn>
                  <a:cxn ang="0">
                    <a:pos x="29" y="75"/>
                  </a:cxn>
                  <a:cxn ang="0">
                    <a:pos x="27" y="76"/>
                  </a:cxn>
                  <a:cxn ang="0">
                    <a:pos x="27" y="77"/>
                  </a:cxn>
                  <a:cxn ang="0">
                    <a:pos x="27" y="78"/>
                  </a:cxn>
                  <a:cxn ang="0">
                    <a:pos x="23" y="79"/>
                  </a:cxn>
                  <a:cxn ang="0">
                    <a:pos x="22" y="78"/>
                  </a:cxn>
                  <a:cxn ang="0">
                    <a:pos x="19" y="76"/>
                  </a:cxn>
                  <a:cxn ang="0">
                    <a:pos x="15" y="73"/>
                  </a:cxn>
                  <a:cxn ang="0">
                    <a:pos x="16" y="72"/>
                  </a:cxn>
                  <a:cxn ang="0">
                    <a:pos x="15" y="70"/>
                  </a:cxn>
                  <a:cxn ang="0">
                    <a:pos x="14" y="67"/>
                  </a:cxn>
                  <a:cxn ang="0">
                    <a:pos x="13" y="60"/>
                  </a:cxn>
                  <a:cxn ang="0">
                    <a:pos x="14" y="55"/>
                  </a:cxn>
                  <a:cxn ang="0">
                    <a:pos x="16" y="52"/>
                  </a:cxn>
                  <a:cxn ang="0">
                    <a:pos x="17" y="49"/>
                  </a:cxn>
                  <a:cxn ang="0">
                    <a:pos x="15" y="46"/>
                  </a:cxn>
                  <a:cxn ang="0">
                    <a:pos x="15" y="44"/>
                  </a:cxn>
                  <a:cxn ang="0">
                    <a:pos x="12" y="43"/>
                  </a:cxn>
                  <a:cxn ang="0">
                    <a:pos x="13" y="40"/>
                  </a:cxn>
                  <a:cxn ang="0">
                    <a:pos x="12" y="36"/>
                  </a:cxn>
                  <a:cxn ang="0">
                    <a:pos x="6" y="36"/>
                  </a:cxn>
                  <a:cxn ang="0">
                    <a:pos x="0" y="28"/>
                  </a:cxn>
                </a:cxnLst>
                <a:rect l="0" t="0" r="r" b="b"/>
                <a:pathLst>
                  <a:path w="46" h="79">
                    <a:moveTo>
                      <a:pt x="0" y="28"/>
                    </a:moveTo>
                    <a:cubicBezTo>
                      <a:pt x="1" y="26"/>
                      <a:pt x="3" y="26"/>
                      <a:pt x="3" y="23"/>
                    </a:cubicBezTo>
                    <a:cubicBezTo>
                      <a:pt x="2" y="21"/>
                      <a:pt x="3" y="20"/>
                      <a:pt x="4" y="20"/>
                    </a:cubicBezTo>
                    <a:cubicBezTo>
                      <a:pt x="5" y="20"/>
                      <a:pt x="5" y="19"/>
                      <a:pt x="6" y="19"/>
                    </a:cubicBezTo>
                    <a:cubicBezTo>
                      <a:pt x="7" y="20"/>
                      <a:pt x="7" y="19"/>
                      <a:pt x="8" y="18"/>
                    </a:cubicBezTo>
                    <a:cubicBezTo>
                      <a:pt x="9" y="18"/>
                      <a:pt x="10" y="17"/>
                      <a:pt x="11" y="17"/>
                    </a:cubicBezTo>
                    <a:cubicBezTo>
                      <a:pt x="11" y="16"/>
                      <a:pt x="11" y="15"/>
                      <a:pt x="10" y="15"/>
                    </a:cubicBezTo>
                    <a:cubicBezTo>
                      <a:pt x="8" y="16"/>
                      <a:pt x="9" y="14"/>
                      <a:pt x="8" y="12"/>
                    </a:cubicBezTo>
                    <a:cubicBezTo>
                      <a:pt x="7" y="11"/>
                      <a:pt x="8" y="10"/>
                      <a:pt x="9" y="9"/>
                    </a:cubicBezTo>
                    <a:cubicBezTo>
                      <a:pt x="10" y="8"/>
                      <a:pt x="9" y="8"/>
                      <a:pt x="11" y="7"/>
                    </a:cubicBezTo>
                    <a:cubicBezTo>
                      <a:pt x="13" y="7"/>
                      <a:pt x="13" y="5"/>
                      <a:pt x="15" y="4"/>
                    </a:cubicBezTo>
                    <a:cubicBezTo>
                      <a:pt x="17" y="3"/>
                      <a:pt x="15" y="2"/>
                      <a:pt x="14" y="0"/>
                    </a:cubicBezTo>
                    <a:cubicBezTo>
                      <a:pt x="16" y="2"/>
                      <a:pt x="18" y="3"/>
                      <a:pt x="20" y="5"/>
                    </a:cubicBezTo>
                    <a:cubicBezTo>
                      <a:pt x="19" y="3"/>
                      <a:pt x="17" y="3"/>
                      <a:pt x="17" y="2"/>
                    </a:cubicBezTo>
                    <a:cubicBezTo>
                      <a:pt x="19" y="3"/>
                      <a:pt x="21" y="4"/>
                      <a:pt x="22" y="6"/>
                    </a:cubicBezTo>
                    <a:cubicBezTo>
                      <a:pt x="24" y="7"/>
                      <a:pt x="25" y="10"/>
                      <a:pt x="27" y="11"/>
                    </a:cubicBezTo>
                    <a:cubicBezTo>
                      <a:pt x="28" y="12"/>
                      <a:pt x="29" y="15"/>
                      <a:pt x="28" y="16"/>
                    </a:cubicBezTo>
                    <a:cubicBezTo>
                      <a:pt x="28" y="18"/>
                      <a:pt x="27" y="19"/>
                      <a:pt x="27" y="20"/>
                    </a:cubicBezTo>
                    <a:cubicBezTo>
                      <a:pt x="27" y="21"/>
                      <a:pt x="27" y="22"/>
                      <a:pt x="26" y="24"/>
                    </a:cubicBezTo>
                    <a:cubicBezTo>
                      <a:pt x="28" y="23"/>
                      <a:pt x="27" y="17"/>
                      <a:pt x="30" y="19"/>
                    </a:cubicBezTo>
                    <a:cubicBezTo>
                      <a:pt x="33" y="20"/>
                      <a:pt x="36" y="22"/>
                      <a:pt x="37" y="25"/>
                    </a:cubicBezTo>
                    <a:cubicBezTo>
                      <a:pt x="39" y="23"/>
                      <a:pt x="40" y="26"/>
                      <a:pt x="40" y="28"/>
                    </a:cubicBezTo>
                    <a:cubicBezTo>
                      <a:pt x="41" y="30"/>
                      <a:pt x="40" y="33"/>
                      <a:pt x="39" y="35"/>
                    </a:cubicBezTo>
                    <a:cubicBezTo>
                      <a:pt x="41" y="36"/>
                      <a:pt x="39" y="37"/>
                      <a:pt x="38" y="38"/>
                    </a:cubicBezTo>
                    <a:cubicBezTo>
                      <a:pt x="38" y="39"/>
                      <a:pt x="32" y="37"/>
                      <a:pt x="32" y="41"/>
                    </a:cubicBezTo>
                    <a:cubicBezTo>
                      <a:pt x="32" y="43"/>
                      <a:pt x="32" y="45"/>
                      <a:pt x="32" y="47"/>
                    </a:cubicBezTo>
                    <a:cubicBezTo>
                      <a:pt x="31" y="49"/>
                      <a:pt x="33" y="52"/>
                      <a:pt x="34" y="53"/>
                    </a:cubicBezTo>
                    <a:cubicBezTo>
                      <a:pt x="35" y="54"/>
                      <a:pt x="35" y="56"/>
                      <a:pt x="36" y="56"/>
                    </a:cubicBezTo>
                    <a:cubicBezTo>
                      <a:pt x="37" y="56"/>
                      <a:pt x="38" y="56"/>
                      <a:pt x="38" y="56"/>
                    </a:cubicBezTo>
                    <a:cubicBezTo>
                      <a:pt x="39" y="57"/>
                      <a:pt x="39" y="59"/>
                      <a:pt x="39" y="60"/>
                    </a:cubicBezTo>
                    <a:cubicBezTo>
                      <a:pt x="39" y="63"/>
                      <a:pt x="42" y="65"/>
                      <a:pt x="42" y="67"/>
                    </a:cubicBezTo>
                    <a:cubicBezTo>
                      <a:pt x="42" y="70"/>
                      <a:pt x="45" y="70"/>
                      <a:pt x="46" y="71"/>
                    </a:cubicBezTo>
                    <a:cubicBezTo>
                      <a:pt x="43" y="73"/>
                      <a:pt x="40" y="69"/>
                      <a:pt x="37" y="72"/>
                    </a:cubicBezTo>
                    <a:cubicBezTo>
                      <a:pt x="36" y="72"/>
                      <a:pt x="36" y="72"/>
                      <a:pt x="36" y="73"/>
                    </a:cubicBezTo>
                    <a:cubicBezTo>
                      <a:pt x="35" y="74"/>
                      <a:pt x="34" y="73"/>
                      <a:pt x="33" y="74"/>
                    </a:cubicBezTo>
                    <a:cubicBezTo>
                      <a:pt x="31" y="74"/>
                      <a:pt x="31" y="75"/>
                      <a:pt x="29" y="75"/>
                    </a:cubicBezTo>
                    <a:cubicBezTo>
                      <a:pt x="28" y="75"/>
                      <a:pt x="28" y="76"/>
                      <a:pt x="27" y="76"/>
                    </a:cubicBezTo>
                    <a:cubicBezTo>
                      <a:pt x="27" y="77"/>
                      <a:pt x="27" y="77"/>
                      <a:pt x="27" y="77"/>
                    </a:cubicBezTo>
                    <a:cubicBezTo>
                      <a:pt x="27" y="77"/>
                      <a:pt x="27" y="77"/>
                      <a:pt x="27" y="78"/>
                    </a:cubicBezTo>
                    <a:cubicBezTo>
                      <a:pt x="26" y="79"/>
                      <a:pt x="24" y="79"/>
                      <a:pt x="23" y="79"/>
                    </a:cubicBezTo>
                    <a:cubicBezTo>
                      <a:pt x="22" y="78"/>
                      <a:pt x="22" y="78"/>
                      <a:pt x="22" y="78"/>
                    </a:cubicBezTo>
                    <a:cubicBezTo>
                      <a:pt x="21" y="78"/>
                      <a:pt x="19" y="77"/>
                      <a:pt x="19" y="76"/>
                    </a:cubicBezTo>
                    <a:cubicBezTo>
                      <a:pt x="19" y="75"/>
                      <a:pt x="17" y="73"/>
                      <a:pt x="15" y="73"/>
                    </a:cubicBezTo>
                    <a:cubicBezTo>
                      <a:pt x="16" y="72"/>
                      <a:pt x="16" y="72"/>
                      <a:pt x="16" y="72"/>
                    </a:cubicBezTo>
                    <a:cubicBezTo>
                      <a:pt x="15" y="72"/>
                      <a:pt x="15" y="71"/>
                      <a:pt x="15" y="70"/>
                    </a:cubicBezTo>
                    <a:cubicBezTo>
                      <a:pt x="15" y="69"/>
                      <a:pt x="15" y="68"/>
                      <a:pt x="14" y="67"/>
                    </a:cubicBezTo>
                    <a:cubicBezTo>
                      <a:pt x="12" y="65"/>
                      <a:pt x="12" y="62"/>
                      <a:pt x="13" y="60"/>
                    </a:cubicBezTo>
                    <a:cubicBezTo>
                      <a:pt x="13" y="58"/>
                      <a:pt x="14" y="57"/>
                      <a:pt x="14" y="55"/>
                    </a:cubicBezTo>
                    <a:cubicBezTo>
                      <a:pt x="14" y="53"/>
                      <a:pt x="15" y="53"/>
                      <a:pt x="16" y="52"/>
                    </a:cubicBezTo>
                    <a:cubicBezTo>
                      <a:pt x="16" y="51"/>
                      <a:pt x="17" y="50"/>
                      <a:pt x="17" y="49"/>
                    </a:cubicBezTo>
                    <a:cubicBezTo>
                      <a:pt x="17" y="48"/>
                      <a:pt x="15" y="47"/>
                      <a:pt x="15" y="46"/>
                    </a:cubicBezTo>
                    <a:cubicBezTo>
                      <a:pt x="15" y="45"/>
                      <a:pt x="16" y="45"/>
                      <a:pt x="15" y="44"/>
                    </a:cubicBezTo>
                    <a:cubicBezTo>
                      <a:pt x="14" y="44"/>
                      <a:pt x="12" y="44"/>
                      <a:pt x="12" y="43"/>
                    </a:cubicBezTo>
                    <a:cubicBezTo>
                      <a:pt x="12" y="43"/>
                      <a:pt x="13" y="40"/>
                      <a:pt x="13" y="40"/>
                    </a:cubicBezTo>
                    <a:cubicBezTo>
                      <a:pt x="13" y="38"/>
                      <a:pt x="13" y="37"/>
                      <a:pt x="12" y="36"/>
                    </a:cubicBezTo>
                    <a:cubicBezTo>
                      <a:pt x="11" y="35"/>
                      <a:pt x="8" y="37"/>
                      <a:pt x="6" y="36"/>
                    </a:cubicBezTo>
                    <a:cubicBezTo>
                      <a:pt x="4" y="35"/>
                      <a:pt x="1" y="30"/>
                      <a:pt x="0" y="28"/>
                    </a:cubicBezTo>
                  </a:path>
                </a:pathLst>
              </a:custGeom>
              <a:grpFill/>
              <a:ln w="3175">
                <a:solidFill>
                  <a:schemeClr val="accent2">
                    <a:lumMod val="75000"/>
                  </a:schemeClr>
                </a:solidFill>
              </a:ln>
            </p:spPr>
            <p:txBody>
              <a:bodyPr vert="horz" wrap="square" lIns="91273" tIns="45637" rIns="91273" bIns="4563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97" b="0" i="0" u="none" strike="noStrike" kern="1200" cap="none" spc="0" normalizeH="0" baseline="0" noProof="0" dirty="0">
                  <a:ln>
                    <a:noFill/>
                  </a:ln>
                  <a:solidFill>
                    <a:srgbClr val="000000"/>
                  </a:solidFill>
                  <a:effectLst/>
                  <a:uLnTx/>
                  <a:uFillTx/>
                  <a:latin typeface="Calibri"/>
                  <a:ea typeface="+mn-ea"/>
                  <a:cs typeface="+mn-cs"/>
                </a:endParaRPr>
              </a:p>
            </p:txBody>
          </p:sp>
          <p:sp>
            <p:nvSpPr>
              <p:cNvPr id="184" name="French Guiana">
                <a:extLst>
                  <a:ext uri="{FF2B5EF4-FFF2-40B4-BE49-F238E27FC236}">
                    <a16:creationId xmlns:a16="http://schemas.microsoft.com/office/drawing/2014/main" id="{DC99BECA-03A1-95FF-5302-62B88B04C2AA}"/>
                  </a:ext>
                </a:extLst>
              </p:cNvPr>
              <p:cNvSpPr>
                <a:spLocks/>
              </p:cNvSpPr>
              <p:nvPr/>
            </p:nvSpPr>
            <p:spPr bwMode="auto">
              <a:xfrm>
                <a:off x="2595556" y="3201664"/>
                <a:ext cx="65520" cy="93428"/>
              </a:xfrm>
              <a:custGeom>
                <a:avLst/>
                <a:gdLst/>
                <a:ahLst/>
                <a:cxnLst>
                  <a:cxn ang="0">
                    <a:pos x="0" y="37"/>
                  </a:cxn>
                  <a:cxn ang="0">
                    <a:pos x="3" y="33"/>
                  </a:cxn>
                  <a:cxn ang="0">
                    <a:pos x="5" y="26"/>
                  </a:cxn>
                  <a:cxn ang="0">
                    <a:pos x="3" y="20"/>
                  </a:cxn>
                  <a:cxn ang="0">
                    <a:pos x="1" y="12"/>
                  </a:cxn>
                  <a:cxn ang="0">
                    <a:pos x="4" y="6"/>
                  </a:cxn>
                  <a:cxn ang="0">
                    <a:pos x="6" y="3"/>
                  </a:cxn>
                  <a:cxn ang="0">
                    <a:pos x="8" y="1"/>
                  </a:cxn>
                  <a:cxn ang="0">
                    <a:pos x="12" y="2"/>
                  </a:cxn>
                  <a:cxn ang="0">
                    <a:pos x="17" y="4"/>
                  </a:cxn>
                  <a:cxn ang="0">
                    <a:pos x="22" y="9"/>
                  </a:cxn>
                  <a:cxn ang="0">
                    <a:pos x="22" y="11"/>
                  </a:cxn>
                  <a:cxn ang="0">
                    <a:pos x="24" y="15"/>
                  </a:cxn>
                  <a:cxn ang="0">
                    <a:pos x="26" y="13"/>
                  </a:cxn>
                  <a:cxn ang="0">
                    <a:pos x="28" y="15"/>
                  </a:cxn>
                  <a:cxn ang="0">
                    <a:pos x="24" y="25"/>
                  </a:cxn>
                  <a:cxn ang="0">
                    <a:pos x="19" y="34"/>
                  </a:cxn>
                  <a:cxn ang="0">
                    <a:pos x="17" y="37"/>
                  </a:cxn>
                  <a:cxn ang="0">
                    <a:pos x="15" y="38"/>
                  </a:cxn>
                  <a:cxn ang="0">
                    <a:pos x="12" y="38"/>
                  </a:cxn>
                  <a:cxn ang="0">
                    <a:pos x="11" y="37"/>
                  </a:cxn>
                  <a:cxn ang="0">
                    <a:pos x="7" y="37"/>
                  </a:cxn>
                  <a:cxn ang="0">
                    <a:pos x="4" y="39"/>
                  </a:cxn>
                  <a:cxn ang="0">
                    <a:pos x="0" y="37"/>
                  </a:cxn>
                </a:cxnLst>
                <a:rect l="0" t="0" r="r" b="b"/>
                <a:pathLst>
                  <a:path w="28" h="40">
                    <a:moveTo>
                      <a:pt x="0" y="37"/>
                    </a:moveTo>
                    <a:cubicBezTo>
                      <a:pt x="1" y="37"/>
                      <a:pt x="2" y="34"/>
                      <a:pt x="3" y="33"/>
                    </a:cubicBezTo>
                    <a:cubicBezTo>
                      <a:pt x="4" y="31"/>
                      <a:pt x="3" y="28"/>
                      <a:pt x="5" y="26"/>
                    </a:cubicBezTo>
                    <a:cubicBezTo>
                      <a:pt x="6" y="24"/>
                      <a:pt x="5" y="22"/>
                      <a:pt x="3" y="20"/>
                    </a:cubicBezTo>
                    <a:cubicBezTo>
                      <a:pt x="2" y="18"/>
                      <a:pt x="2" y="15"/>
                      <a:pt x="1" y="12"/>
                    </a:cubicBezTo>
                    <a:cubicBezTo>
                      <a:pt x="1" y="9"/>
                      <a:pt x="2" y="8"/>
                      <a:pt x="4" y="6"/>
                    </a:cubicBezTo>
                    <a:cubicBezTo>
                      <a:pt x="5" y="5"/>
                      <a:pt x="6" y="4"/>
                      <a:pt x="6" y="3"/>
                    </a:cubicBezTo>
                    <a:cubicBezTo>
                      <a:pt x="6" y="2"/>
                      <a:pt x="6" y="0"/>
                      <a:pt x="8" y="1"/>
                    </a:cubicBezTo>
                    <a:cubicBezTo>
                      <a:pt x="10" y="1"/>
                      <a:pt x="11" y="2"/>
                      <a:pt x="12" y="2"/>
                    </a:cubicBezTo>
                    <a:cubicBezTo>
                      <a:pt x="14" y="3"/>
                      <a:pt x="15" y="3"/>
                      <a:pt x="17" y="4"/>
                    </a:cubicBezTo>
                    <a:cubicBezTo>
                      <a:pt x="18" y="5"/>
                      <a:pt x="20" y="10"/>
                      <a:pt x="22" y="9"/>
                    </a:cubicBezTo>
                    <a:cubicBezTo>
                      <a:pt x="22" y="10"/>
                      <a:pt x="22" y="11"/>
                      <a:pt x="22" y="11"/>
                    </a:cubicBezTo>
                    <a:cubicBezTo>
                      <a:pt x="22" y="8"/>
                      <a:pt x="27" y="13"/>
                      <a:pt x="24" y="15"/>
                    </a:cubicBezTo>
                    <a:cubicBezTo>
                      <a:pt x="26" y="15"/>
                      <a:pt x="25" y="14"/>
                      <a:pt x="26" y="13"/>
                    </a:cubicBezTo>
                    <a:cubicBezTo>
                      <a:pt x="27" y="11"/>
                      <a:pt x="28" y="15"/>
                      <a:pt x="28" y="15"/>
                    </a:cubicBezTo>
                    <a:cubicBezTo>
                      <a:pt x="28" y="19"/>
                      <a:pt x="26" y="22"/>
                      <a:pt x="24" y="25"/>
                    </a:cubicBezTo>
                    <a:cubicBezTo>
                      <a:pt x="22" y="28"/>
                      <a:pt x="20" y="30"/>
                      <a:pt x="19" y="34"/>
                    </a:cubicBezTo>
                    <a:cubicBezTo>
                      <a:pt x="19" y="35"/>
                      <a:pt x="18" y="36"/>
                      <a:pt x="17" y="37"/>
                    </a:cubicBezTo>
                    <a:cubicBezTo>
                      <a:pt x="16" y="37"/>
                      <a:pt x="16" y="38"/>
                      <a:pt x="15" y="38"/>
                    </a:cubicBezTo>
                    <a:cubicBezTo>
                      <a:pt x="14" y="39"/>
                      <a:pt x="13" y="38"/>
                      <a:pt x="12" y="38"/>
                    </a:cubicBezTo>
                    <a:cubicBezTo>
                      <a:pt x="13" y="37"/>
                      <a:pt x="12" y="37"/>
                      <a:pt x="11" y="37"/>
                    </a:cubicBezTo>
                    <a:cubicBezTo>
                      <a:pt x="10" y="38"/>
                      <a:pt x="9" y="37"/>
                      <a:pt x="7" y="37"/>
                    </a:cubicBezTo>
                    <a:cubicBezTo>
                      <a:pt x="7" y="37"/>
                      <a:pt x="4" y="38"/>
                      <a:pt x="4" y="39"/>
                    </a:cubicBezTo>
                    <a:cubicBezTo>
                      <a:pt x="3" y="40"/>
                      <a:pt x="0" y="38"/>
                      <a:pt x="0" y="37"/>
                    </a:cubicBezTo>
                  </a:path>
                </a:pathLst>
              </a:custGeom>
              <a:grpFill/>
              <a:ln w="3175">
                <a:solidFill>
                  <a:schemeClr val="accent2">
                    <a:lumMod val="75000"/>
                  </a:schemeClr>
                </a:solidFill>
              </a:ln>
            </p:spPr>
            <p:txBody>
              <a:bodyPr vert="horz" wrap="square" lIns="91273" tIns="45637" rIns="91273" bIns="4563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97" b="0" i="0" u="none" strike="noStrike" kern="1200" cap="none" spc="0" normalizeH="0" baseline="0" noProof="0" dirty="0">
                  <a:ln>
                    <a:noFill/>
                  </a:ln>
                  <a:solidFill>
                    <a:srgbClr val="000000"/>
                  </a:solidFill>
                  <a:effectLst/>
                  <a:uLnTx/>
                  <a:uFillTx/>
                  <a:latin typeface="Calibri"/>
                  <a:ea typeface="+mn-ea"/>
                  <a:cs typeface="+mn-cs"/>
                </a:endParaRPr>
              </a:p>
            </p:txBody>
          </p:sp>
          <p:sp>
            <p:nvSpPr>
              <p:cNvPr id="185" name="The Falklands">
                <a:extLst>
                  <a:ext uri="{FF2B5EF4-FFF2-40B4-BE49-F238E27FC236}">
                    <a16:creationId xmlns:a16="http://schemas.microsoft.com/office/drawing/2014/main" id="{A9C8F007-34FB-B394-7771-06AB49EDDEC5}"/>
                  </a:ext>
                </a:extLst>
              </p:cNvPr>
              <p:cNvSpPr>
                <a:spLocks/>
              </p:cNvSpPr>
              <p:nvPr/>
            </p:nvSpPr>
            <p:spPr bwMode="auto">
              <a:xfrm>
                <a:off x="2674775" y="4613986"/>
                <a:ext cx="62743" cy="25481"/>
              </a:xfrm>
              <a:custGeom>
                <a:avLst/>
                <a:gdLst>
                  <a:gd name="connsiteX0" fmla="*/ 2037 w 61569"/>
                  <a:gd name="connsiteY0" fmla="*/ 13098 h 25004"/>
                  <a:gd name="connsiteX1" fmla="*/ 6800 w 61569"/>
                  <a:gd name="connsiteY1" fmla="*/ 15480 h 25004"/>
                  <a:gd name="connsiteX2" fmla="*/ 4419 w 61569"/>
                  <a:gd name="connsiteY2" fmla="*/ 17861 h 25004"/>
                  <a:gd name="connsiteX3" fmla="*/ 2037 w 61569"/>
                  <a:gd name="connsiteY3" fmla="*/ 13098 h 25004"/>
                  <a:gd name="connsiteX4" fmla="*/ 36056 w 61569"/>
                  <a:gd name="connsiteY4" fmla="*/ 1191 h 25004"/>
                  <a:gd name="connsiteX5" fmla="*/ 40478 w 61569"/>
                  <a:gd name="connsiteY5" fmla="*/ 1191 h 25004"/>
                  <a:gd name="connsiteX6" fmla="*/ 41243 w 61569"/>
                  <a:gd name="connsiteY6" fmla="*/ 3250 h 25004"/>
                  <a:gd name="connsiteX7" fmla="*/ 47792 w 61569"/>
                  <a:gd name="connsiteY7" fmla="*/ 4546 h 25004"/>
                  <a:gd name="connsiteX8" fmla="*/ 47792 w 61569"/>
                  <a:gd name="connsiteY8" fmla="*/ 6819 h 25004"/>
                  <a:gd name="connsiteX9" fmla="*/ 52384 w 61569"/>
                  <a:gd name="connsiteY9" fmla="*/ 9092 h 25004"/>
                  <a:gd name="connsiteX10" fmla="*/ 50088 w 61569"/>
                  <a:gd name="connsiteY10" fmla="*/ 6819 h 25004"/>
                  <a:gd name="connsiteX11" fmla="*/ 59273 w 61569"/>
                  <a:gd name="connsiteY11" fmla="*/ 6819 h 25004"/>
                  <a:gd name="connsiteX12" fmla="*/ 56977 w 61569"/>
                  <a:gd name="connsiteY12" fmla="*/ 6819 h 25004"/>
                  <a:gd name="connsiteX13" fmla="*/ 54680 w 61569"/>
                  <a:gd name="connsiteY13" fmla="*/ 6819 h 25004"/>
                  <a:gd name="connsiteX14" fmla="*/ 61569 w 61569"/>
                  <a:gd name="connsiteY14" fmla="*/ 11366 h 25004"/>
                  <a:gd name="connsiteX15" fmla="*/ 52384 w 61569"/>
                  <a:gd name="connsiteY15" fmla="*/ 13639 h 25004"/>
                  <a:gd name="connsiteX16" fmla="*/ 50088 w 61569"/>
                  <a:gd name="connsiteY16" fmla="*/ 15912 h 25004"/>
                  <a:gd name="connsiteX17" fmla="*/ 44901 w 61569"/>
                  <a:gd name="connsiteY17" fmla="*/ 14628 h 25004"/>
                  <a:gd name="connsiteX18" fmla="*/ 44901 w 61569"/>
                  <a:gd name="connsiteY18" fmla="*/ 15479 h 25004"/>
                  <a:gd name="connsiteX19" fmla="*/ 44228 w 61569"/>
                  <a:gd name="connsiteY19" fmla="*/ 16930 h 25004"/>
                  <a:gd name="connsiteX20" fmla="*/ 47792 w 61569"/>
                  <a:gd name="connsiteY20" fmla="*/ 20458 h 25004"/>
                  <a:gd name="connsiteX21" fmla="*/ 45496 w 61569"/>
                  <a:gd name="connsiteY21" fmla="*/ 20458 h 25004"/>
                  <a:gd name="connsiteX22" fmla="*/ 42975 w 61569"/>
                  <a:gd name="connsiteY22" fmla="*/ 19626 h 25004"/>
                  <a:gd name="connsiteX23" fmla="*/ 42690 w 61569"/>
                  <a:gd name="connsiteY23" fmla="*/ 20242 h 25004"/>
                  <a:gd name="connsiteX24" fmla="*/ 39287 w 61569"/>
                  <a:gd name="connsiteY24" fmla="*/ 18409 h 25004"/>
                  <a:gd name="connsiteX25" fmla="*/ 38607 w 61569"/>
                  <a:gd name="connsiteY25" fmla="*/ 18185 h 25004"/>
                  <a:gd name="connsiteX26" fmla="*/ 43199 w 61569"/>
                  <a:gd name="connsiteY26" fmla="*/ 22731 h 25004"/>
                  <a:gd name="connsiteX27" fmla="*/ 42610 w 61569"/>
                  <a:gd name="connsiteY27" fmla="*/ 22537 h 25004"/>
                  <a:gd name="connsiteX28" fmla="*/ 42690 w 61569"/>
                  <a:gd name="connsiteY28" fmla="*/ 22623 h 25004"/>
                  <a:gd name="connsiteX29" fmla="*/ 40621 w 61569"/>
                  <a:gd name="connsiteY29" fmla="*/ 21880 h 25004"/>
                  <a:gd name="connsiteX30" fmla="*/ 36311 w 61569"/>
                  <a:gd name="connsiteY30" fmla="*/ 20458 h 25004"/>
                  <a:gd name="connsiteX31" fmla="*/ 38607 w 61569"/>
                  <a:gd name="connsiteY31" fmla="*/ 25004 h 25004"/>
                  <a:gd name="connsiteX32" fmla="*/ 38166 w 61569"/>
                  <a:gd name="connsiteY32" fmla="*/ 24786 h 25004"/>
                  <a:gd name="connsiteX33" fmla="*/ 38267 w 61569"/>
                  <a:gd name="connsiteY33" fmla="*/ 25004 h 25004"/>
                  <a:gd name="connsiteX34" fmla="*/ 34398 w 61569"/>
                  <a:gd name="connsiteY34" fmla="*/ 22921 h 25004"/>
                  <a:gd name="connsiteX35" fmla="*/ 29422 w 61569"/>
                  <a:gd name="connsiteY35" fmla="*/ 20458 h 25004"/>
                  <a:gd name="connsiteX36" fmla="*/ 29824 w 61569"/>
                  <a:gd name="connsiteY36" fmla="*/ 20458 h 25004"/>
                  <a:gd name="connsiteX37" fmla="*/ 29422 w 61569"/>
                  <a:gd name="connsiteY37" fmla="*/ 20242 h 25004"/>
                  <a:gd name="connsiteX38" fmla="*/ 31633 w 61569"/>
                  <a:gd name="connsiteY38" fmla="*/ 20242 h 25004"/>
                  <a:gd name="connsiteX39" fmla="*/ 36056 w 61569"/>
                  <a:gd name="connsiteY39" fmla="*/ 10716 h 25004"/>
                  <a:gd name="connsiteX40" fmla="*/ 38178 w 61569"/>
                  <a:gd name="connsiteY40" fmla="*/ 13001 h 25004"/>
                  <a:gd name="connsiteX41" fmla="*/ 34014 w 61569"/>
                  <a:gd name="connsiteY41" fmla="*/ 6819 h 25004"/>
                  <a:gd name="connsiteX42" fmla="*/ 34179 w 61569"/>
                  <a:gd name="connsiteY42" fmla="*/ 6494 h 25004"/>
                  <a:gd name="connsiteX43" fmla="*/ 33845 w 61569"/>
                  <a:gd name="connsiteY43" fmla="*/ 5954 h 25004"/>
                  <a:gd name="connsiteX44" fmla="*/ 36056 w 61569"/>
                  <a:gd name="connsiteY44" fmla="*/ 1191 h 25004"/>
                  <a:gd name="connsiteX45" fmla="*/ 29555 w 61569"/>
                  <a:gd name="connsiteY45" fmla="*/ 1191 h 25004"/>
                  <a:gd name="connsiteX46" fmla="*/ 31804 w 61569"/>
                  <a:gd name="connsiteY46" fmla="*/ 3572 h 25004"/>
                  <a:gd name="connsiteX47" fmla="*/ 29555 w 61569"/>
                  <a:gd name="connsiteY47" fmla="*/ 8335 h 25004"/>
                  <a:gd name="connsiteX48" fmla="*/ 29478 w 61569"/>
                  <a:gd name="connsiteY48" fmla="*/ 8416 h 25004"/>
                  <a:gd name="connsiteX49" fmla="*/ 25528 w 61569"/>
                  <a:gd name="connsiteY49" fmla="*/ 15777 h 25004"/>
                  <a:gd name="connsiteX50" fmla="*/ 21443 w 61569"/>
                  <a:gd name="connsiteY50" fmla="*/ 16924 h 25004"/>
                  <a:gd name="connsiteX51" fmla="*/ 20559 w 61569"/>
                  <a:gd name="connsiteY51" fmla="*/ 17860 h 25004"/>
                  <a:gd name="connsiteX52" fmla="*/ 18310 w 61569"/>
                  <a:gd name="connsiteY52" fmla="*/ 17860 h 25004"/>
                  <a:gd name="connsiteX53" fmla="*/ 16061 w 61569"/>
                  <a:gd name="connsiteY53" fmla="*/ 22623 h 25004"/>
                  <a:gd name="connsiteX54" fmla="*/ 16001 w 61569"/>
                  <a:gd name="connsiteY54" fmla="*/ 22495 h 25004"/>
                  <a:gd name="connsiteX55" fmla="*/ 15829 w 61569"/>
                  <a:gd name="connsiteY55" fmla="*/ 22623 h 25004"/>
                  <a:gd name="connsiteX56" fmla="*/ 11265 w 61569"/>
                  <a:gd name="connsiteY56" fmla="*/ 22623 h 25004"/>
                  <a:gd name="connsiteX57" fmla="*/ 8983 w 61569"/>
                  <a:gd name="connsiteY57" fmla="*/ 20242 h 25004"/>
                  <a:gd name="connsiteX58" fmla="*/ 4419 w 61569"/>
                  <a:gd name="connsiteY58" fmla="*/ 20242 h 25004"/>
                  <a:gd name="connsiteX59" fmla="*/ 10124 w 61569"/>
                  <a:gd name="connsiteY59" fmla="*/ 18753 h 25004"/>
                  <a:gd name="connsiteX60" fmla="*/ 15829 w 61569"/>
                  <a:gd name="connsiteY60" fmla="*/ 15479 h 25004"/>
                  <a:gd name="connsiteX61" fmla="*/ 13812 w 61569"/>
                  <a:gd name="connsiteY61" fmla="*/ 15479 h 25004"/>
                  <a:gd name="connsiteX62" fmla="*/ 13812 w 61569"/>
                  <a:gd name="connsiteY62" fmla="*/ 13098 h 25004"/>
                  <a:gd name="connsiteX63" fmla="*/ 15946 w 61569"/>
                  <a:gd name="connsiteY63" fmla="*/ 15357 h 25004"/>
                  <a:gd name="connsiteX64" fmla="*/ 16061 w 61569"/>
                  <a:gd name="connsiteY64" fmla="*/ 15237 h 25004"/>
                  <a:gd name="connsiteX65" fmla="*/ 16061 w 61569"/>
                  <a:gd name="connsiteY65" fmla="*/ 13098 h 25004"/>
                  <a:gd name="connsiteX66" fmla="*/ 18111 w 61569"/>
                  <a:gd name="connsiteY66" fmla="*/ 13098 h 25004"/>
                  <a:gd name="connsiteX67" fmla="*/ 18111 w 61569"/>
                  <a:gd name="connsiteY67" fmla="*/ 13098 h 25004"/>
                  <a:gd name="connsiteX68" fmla="*/ 13812 w 61569"/>
                  <a:gd name="connsiteY68" fmla="*/ 13098 h 25004"/>
                  <a:gd name="connsiteX69" fmla="*/ 13812 w 61569"/>
                  <a:gd name="connsiteY69" fmla="*/ 13098 h 25004"/>
                  <a:gd name="connsiteX70" fmla="*/ 11563 w 61569"/>
                  <a:gd name="connsiteY70" fmla="*/ 13098 h 25004"/>
                  <a:gd name="connsiteX71" fmla="*/ 11563 w 61569"/>
                  <a:gd name="connsiteY71" fmla="*/ 12062 h 25004"/>
                  <a:gd name="connsiteX72" fmla="*/ 8983 w 61569"/>
                  <a:gd name="connsiteY72" fmla="*/ 10716 h 25004"/>
                  <a:gd name="connsiteX73" fmla="*/ 11563 w 61569"/>
                  <a:gd name="connsiteY73" fmla="*/ 10716 h 25004"/>
                  <a:gd name="connsiteX74" fmla="*/ 16061 w 61569"/>
                  <a:gd name="connsiteY74" fmla="*/ 10716 h 25004"/>
                  <a:gd name="connsiteX75" fmla="*/ 18111 w 61569"/>
                  <a:gd name="connsiteY75" fmla="*/ 10716 h 25004"/>
                  <a:gd name="connsiteX76" fmla="*/ 17479 w 61569"/>
                  <a:gd name="connsiteY76" fmla="*/ 10277 h 25004"/>
                  <a:gd name="connsiteX77" fmla="*/ 13812 w 61569"/>
                  <a:gd name="connsiteY77" fmla="*/ 8335 h 25004"/>
                  <a:gd name="connsiteX78" fmla="*/ 13812 w 61569"/>
                  <a:gd name="connsiteY78" fmla="*/ 7725 h 25004"/>
                  <a:gd name="connsiteX79" fmla="*/ 11265 w 61569"/>
                  <a:gd name="connsiteY79" fmla="*/ 5954 h 25004"/>
                  <a:gd name="connsiteX80" fmla="*/ 4419 w 61569"/>
                  <a:gd name="connsiteY80" fmla="*/ 3572 h 25004"/>
                  <a:gd name="connsiteX81" fmla="*/ 11265 w 61569"/>
                  <a:gd name="connsiteY81" fmla="*/ 3572 h 25004"/>
                  <a:gd name="connsiteX82" fmla="*/ 18111 w 61569"/>
                  <a:gd name="connsiteY82" fmla="*/ 5954 h 25004"/>
                  <a:gd name="connsiteX83" fmla="*/ 18111 w 61569"/>
                  <a:gd name="connsiteY83" fmla="*/ 3572 h 25004"/>
                  <a:gd name="connsiteX84" fmla="*/ 18310 w 61569"/>
                  <a:gd name="connsiteY84" fmla="*/ 3572 h 25004"/>
                  <a:gd name="connsiteX85" fmla="*/ 20559 w 61569"/>
                  <a:gd name="connsiteY85" fmla="*/ 3572 h 25004"/>
                  <a:gd name="connsiteX86" fmla="*/ 27240 w 61569"/>
                  <a:gd name="connsiteY86" fmla="*/ 3572 h 25004"/>
                  <a:gd name="connsiteX87" fmla="*/ 27306 w 61569"/>
                  <a:gd name="connsiteY87" fmla="*/ 3572 h 25004"/>
                  <a:gd name="connsiteX88" fmla="*/ 29555 w 61569"/>
                  <a:gd name="connsiteY88" fmla="*/ 1191 h 25004"/>
                  <a:gd name="connsiteX89" fmla="*/ 11563 w 61569"/>
                  <a:gd name="connsiteY89" fmla="*/ 1191 h 25004"/>
                  <a:gd name="connsiteX90" fmla="*/ 13706 w 61569"/>
                  <a:gd name="connsiteY90" fmla="*/ 2619 h 25004"/>
                  <a:gd name="connsiteX91" fmla="*/ 15134 w 61569"/>
                  <a:gd name="connsiteY91" fmla="*/ 1191 h 25004"/>
                  <a:gd name="connsiteX92" fmla="*/ 15134 w 61569"/>
                  <a:gd name="connsiteY92" fmla="*/ 3571 h 25004"/>
                  <a:gd name="connsiteX93" fmla="*/ 15135 w 61569"/>
                  <a:gd name="connsiteY93" fmla="*/ 3572 h 25004"/>
                  <a:gd name="connsiteX94" fmla="*/ 15134 w 61569"/>
                  <a:gd name="connsiteY94" fmla="*/ 3572 h 25004"/>
                  <a:gd name="connsiteX95" fmla="*/ 13349 w 61569"/>
                  <a:gd name="connsiteY95" fmla="*/ 3572 h 25004"/>
                  <a:gd name="connsiteX96" fmla="*/ 12753 w 61569"/>
                  <a:gd name="connsiteY96" fmla="*/ 3572 h 25004"/>
                  <a:gd name="connsiteX97" fmla="*/ 13093 w 61569"/>
                  <a:gd name="connsiteY97" fmla="*/ 3232 h 25004"/>
                  <a:gd name="connsiteX98" fmla="*/ 19897 w 61569"/>
                  <a:gd name="connsiteY98" fmla="*/ 0 h 25004"/>
                  <a:gd name="connsiteX99" fmla="*/ 27041 w 61569"/>
                  <a:gd name="connsiteY99" fmla="*/ 1191 h 25004"/>
                  <a:gd name="connsiteX100" fmla="*/ 22278 w 61569"/>
                  <a:gd name="connsiteY100" fmla="*/ 1191 h 25004"/>
                  <a:gd name="connsiteX101" fmla="*/ 19897 w 61569"/>
                  <a:gd name="connsiteY101" fmla="*/ 0 h 25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61569" h="25004">
                    <a:moveTo>
                      <a:pt x="2037" y="13098"/>
                    </a:moveTo>
                    <a:cubicBezTo>
                      <a:pt x="2037" y="17861"/>
                      <a:pt x="4419" y="13098"/>
                      <a:pt x="6800" y="15480"/>
                    </a:cubicBezTo>
                    <a:cubicBezTo>
                      <a:pt x="6800" y="15480"/>
                      <a:pt x="6800" y="17861"/>
                      <a:pt x="4419" y="17861"/>
                    </a:cubicBezTo>
                    <a:cubicBezTo>
                      <a:pt x="2037" y="15480"/>
                      <a:pt x="-2725" y="13098"/>
                      <a:pt x="2037" y="13098"/>
                    </a:cubicBezTo>
                    <a:close/>
                    <a:moveTo>
                      <a:pt x="36056" y="1191"/>
                    </a:moveTo>
                    <a:cubicBezTo>
                      <a:pt x="38267" y="1191"/>
                      <a:pt x="38267" y="1191"/>
                      <a:pt x="40478" y="1191"/>
                    </a:cubicBezTo>
                    <a:lnTo>
                      <a:pt x="41243" y="3250"/>
                    </a:lnTo>
                    <a:lnTo>
                      <a:pt x="47792" y="4546"/>
                    </a:lnTo>
                    <a:cubicBezTo>
                      <a:pt x="45496" y="4546"/>
                      <a:pt x="47792" y="6819"/>
                      <a:pt x="47792" y="6819"/>
                    </a:cubicBezTo>
                    <a:cubicBezTo>
                      <a:pt x="50088" y="9092"/>
                      <a:pt x="52384" y="9092"/>
                      <a:pt x="52384" y="9092"/>
                    </a:cubicBezTo>
                    <a:cubicBezTo>
                      <a:pt x="52384" y="6819"/>
                      <a:pt x="50088" y="6819"/>
                      <a:pt x="50088" y="6819"/>
                    </a:cubicBezTo>
                    <a:cubicBezTo>
                      <a:pt x="50088" y="0"/>
                      <a:pt x="59273" y="6819"/>
                      <a:pt x="59273" y="6819"/>
                    </a:cubicBezTo>
                    <a:cubicBezTo>
                      <a:pt x="59273" y="6819"/>
                      <a:pt x="59273" y="6819"/>
                      <a:pt x="56977" y="6819"/>
                    </a:cubicBezTo>
                    <a:cubicBezTo>
                      <a:pt x="56977" y="6819"/>
                      <a:pt x="54680" y="6819"/>
                      <a:pt x="54680" y="6819"/>
                    </a:cubicBezTo>
                    <a:cubicBezTo>
                      <a:pt x="54680" y="9092"/>
                      <a:pt x="61569" y="11366"/>
                      <a:pt x="61569" y="11366"/>
                    </a:cubicBezTo>
                    <a:cubicBezTo>
                      <a:pt x="59273" y="11366"/>
                      <a:pt x="56977" y="13639"/>
                      <a:pt x="52384" y="13639"/>
                    </a:cubicBezTo>
                    <a:cubicBezTo>
                      <a:pt x="56977" y="13639"/>
                      <a:pt x="52384" y="15912"/>
                      <a:pt x="50088" y="15912"/>
                    </a:cubicBezTo>
                    <a:lnTo>
                      <a:pt x="44901" y="14628"/>
                    </a:lnTo>
                    <a:lnTo>
                      <a:pt x="44901" y="15479"/>
                    </a:lnTo>
                    <a:lnTo>
                      <a:pt x="44228" y="16930"/>
                    </a:lnTo>
                    <a:lnTo>
                      <a:pt x="47792" y="20458"/>
                    </a:lnTo>
                    <a:cubicBezTo>
                      <a:pt x="47792" y="18185"/>
                      <a:pt x="45496" y="20458"/>
                      <a:pt x="45496" y="20458"/>
                    </a:cubicBezTo>
                    <a:lnTo>
                      <a:pt x="42975" y="19626"/>
                    </a:lnTo>
                    <a:lnTo>
                      <a:pt x="42690" y="20242"/>
                    </a:lnTo>
                    <a:lnTo>
                      <a:pt x="39287" y="18409"/>
                    </a:lnTo>
                    <a:lnTo>
                      <a:pt x="38607" y="18185"/>
                    </a:lnTo>
                    <a:cubicBezTo>
                      <a:pt x="40903" y="20458"/>
                      <a:pt x="43199" y="20458"/>
                      <a:pt x="43199" y="22731"/>
                    </a:cubicBezTo>
                    <a:lnTo>
                      <a:pt x="42610" y="22537"/>
                    </a:lnTo>
                    <a:lnTo>
                      <a:pt x="42690" y="22623"/>
                    </a:lnTo>
                    <a:lnTo>
                      <a:pt x="40621" y="21880"/>
                    </a:lnTo>
                    <a:lnTo>
                      <a:pt x="36311" y="20458"/>
                    </a:lnTo>
                    <a:cubicBezTo>
                      <a:pt x="36311" y="22731"/>
                      <a:pt x="36311" y="25004"/>
                      <a:pt x="38607" y="25004"/>
                    </a:cubicBezTo>
                    <a:lnTo>
                      <a:pt x="38166" y="24786"/>
                    </a:lnTo>
                    <a:lnTo>
                      <a:pt x="38267" y="25004"/>
                    </a:lnTo>
                    <a:lnTo>
                      <a:pt x="34398" y="22921"/>
                    </a:lnTo>
                    <a:lnTo>
                      <a:pt x="29422" y="20458"/>
                    </a:lnTo>
                    <a:lnTo>
                      <a:pt x="29824" y="20458"/>
                    </a:lnTo>
                    <a:lnTo>
                      <a:pt x="29422" y="20242"/>
                    </a:lnTo>
                    <a:cubicBezTo>
                      <a:pt x="29422" y="20242"/>
                      <a:pt x="29422" y="20242"/>
                      <a:pt x="31633" y="20242"/>
                    </a:cubicBezTo>
                    <a:cubicBezTo>
                      <a:pt x="29422" y="17860"/>
                      <a:pt x="33845" y="10716"/>
                      <a:pt x="36056" y="10716"/>
                    </a:cubicBezTo>
                    <a:lnTo>
                      <a:pt x="38178" y="13001"/>
                    </a:lnTo>
                    <a:lnTo>
                      <a:pt x="34014" y="6819"/>
                    </a:lnTo>
                    <a:lnTo>
                      <a:pt x="34179" y="6494"/>
                    </a:lnTo>
                    <a:lnTo>
                      <a:pt x="33845" y="5954"/>
                    </a:lnTo>
                    <a:cubicBezTo>
                      <a:pt x="36056" y="3572"/>
                      <a:pt x="38267" y="3572"/>
                      <a:pt x="36056" y="1191"/>
                    </a:cubicBezTo>
                    <a:close/>
                    <a:moveTo>
                      <a:pt x="29555" y="1191"/>
                    </a:moveTo>
                    <a:cubicBezTo>
                      <a:pt x="29555" y="1191"/>
                      <a:pt x="31804" y="3572"/>
                      <a:pt x="31804" y="3572"/>
                    </a:cubicBezTo>
                    <a:cubicBezTo>
                      <a:pt x="31804" y="5954"/>
                      <a:pt x="29555" y="8335"/>
                      <a:pt x="29555" y="8335"/>
                    </a:cubicBezTo>
                    <a:lnTo>
                      <a:pt x="29478" y="8416"/>
                    </a:lnTo>
                    <a:lnTo>
                      <a:pt x="25528" y="15777"/>
                    </a:lnTo>
                    <a:lnTo>
                      <a:pt x="21443" y="16924"/>
                    </a:lnTo>
                    <a:lnTo>
                      <a:pt x="20559" y="17860"/>
                    </a:lnTo>
                    <a:cubicBezTo>
                      <a:pt x="20559" y="17860"/>
                      <a:pt x="20559" y="17860"/>
                      <a:pt x="18310" y="17860"/>
                    </a:cubicBezTo>
                    <a:cubicBezTo>
                      <a:pt x="20559" y="22623"/>
                      <a:pt x="16061" y="20242"/>
                      <a:pt x="16061" y="22623"/>
                    </a:cubicBezTo>
                    <a:lnTo>
                      <a:pt x="16001" y="22495"/>
                    </a:lnTo>
                    <a:lnTo>
                      <a:pt x="15829" y="22623"/>
                    </a:lnTo>
                    <a:cubicBezTo>
                      <a:pt x="15829" y="25004"/>
                      <a:pt x="13547" y="22623"/>
                      <a:pt x="11265" y="22623"/>
                    </a:cubicBezTo>
                    <a:cubicBezTo>
                      <a:pt x="11265" y="20242"/>
                      <a:pt x="8983" y="20242"/>
                      <a:pt x="8983" y="20242"/>
                    </a:cubicBezTo>
                    <a:cubicBezTo>
                      <a:pt x="15829" y="25004"/>
                      <a:pt x="6701" y="20242"/>
                      <a:pt x="4419" y="20242"/>
                    </a:cubicBezTo>
                    <a:cubicBezTo>
                      <a:pt x="5560" y="19051"/>
                      <a:pt x="7842" y="19051"/>
                      <a:pt x="10124" y="18753"/>
                    </a:cubicBezTo>
                    <a:lnTo>
                      <a:pt x="15829" y="15479"/>
                    </a:lnTo>
                    <a:lnTo>
                      <a:pt x="13812" y="15479"/>
                    </a:lnTo>
                    <a:cubicBezTo>
                      <a:pt x="11563" y="15479"/>
                      <a:pt x="13812" y="13098"/>
                      <a:pt x="13812" y="13098"/>
                    </a:cubicBezTo>
                    <a:lnTo>
                      <a:pt x="15946" y="15357"/>
                    </a:lnTo>
                    <a:lnTo>
                      <a:pt x="16061" y="15237"/>
                    </a:lnTo>
                    <a:lnTo>
                      <a:pt x="16061" y="13098"/>
                    </a:lnTo>
                    <a:lnTo>
                      <a:pt x="18111" y="13098"/>
                    </a:lnTo>
                    <a:lnTo>
                      <a:pt x="18111" y="13098"/>
                    </a:lnTo>
                    <a:lnTo>
                      <a:pt x="13812" y="13098"/>
                    </a:lnTo>
                    <a:lnTo>
                      <a:pt x="13812" y="13098"/>
                    </a:lnTo>
                    <a:cubicBezTo>
                      <a:pt x="13812" y="13098"/>
                      <a:pt x="11563" y="13098"/>
                      <a:pt x="11563" y="13098"/>
                    </a:cubicBezTo>
                    <a:lnTo>
                      <a:pt x="11563" y="12062"/>
                    </a:lnTo>
                    <a:lnTo>
                      <a:pt x="8983" y="10716"/>
                    </a:lnTo>
                    <a:lnTo>
                      <a:pt x="11563" y="10716"/>
                    </a:lnTo>
                    <a:lnTo>
                      <a:pt x="16061" y="10716"/>
                    </a:lnTo>
                    <a:lnTo>
                      <a:pt x="18111" y="10716"/>
                    </a:lnTo>
                    <a:lnTo>
                      <a:pt x="17479" y="10277"/>
                    </a:lnTo>
                    <a:lnTo>
                      <a:pt x="13812" y="8335"/>
                    </a:lnTo>
                    <a:lnTo>
                      <a:pt x="13812" y="7725"/>
                    </a:lnTo>
                    <a:lnTo>
                      <a:pt x="11265" y="5954"/>
                    </a:lnTo>
                    <a:cubicBezTo>
                      <a:pt x="8983" y="3572"/>
                      <a:pt x="6701" y="3572"/>
                      <a:pt x="4419" y="3572"/>
                    </a:cubicBezTo>
                    <a:cubicBezTo>
                      <a:pt x="6701" y="3572"/>
                      <a:pt x="8983" y="3572"/>
                      <a:pt x="11265" y="3572"/>
                    </a:cubicBezTo>
                    <a:cubicBezTo>
                      <a:pt x="13547" y="5954"/>
                      <a:pt x="15829" y="5954"/>
                      <a:pt x="18111" y="5954"/>
                    </a:cubicBezTo>
                    <a:cubicBezTo>
                      <a:pt x="18111" y="5954"/>
                      <a:pt x="18111" y="5954"/>
                      <a:pt x="18111" y="3572"/>
                    </a:cubicBezTo>
                    <a:lnTo>
                      <a:pt x="18310" y="3572"/>
                    </a:lnTo>
                    <a:lnTo>
                      <a:pt x="20559" y="3572"/>
                    </a:lnTo>
                    <a:lnTo>
                      <a:pt x="27240" y="3572"/>
                    </a:lnTo>
                    <a:lnTo>
                      <a:pt x="27306" y="3572"/>
                    </a:lnTo>
                    <a:cubicBezTo>
                      <a:pt x="27306" y="3572"/>
                      <a:pt x="27306" y="1191"/>
                      <a:pt x="29555" y="1191"/>
                    </a:cubicBezTo>
                    <a:close/>
                    <a:moveTo>
                      <a:pt x="11563" y="1191"/>
                    </a:moveTo>
                    <a:lnTo>
                      <a:pt x="13706" y="2619"/>
                    </a:lnTo>
                    <a:lnTo>
                      <a:pt x="15134" y="1191"/>
                    </a:lnTo>
                    <a:lnTo>
                      <a:pt x="15134" y="3571"/>
                    </a:lnTo>
                    <a:lnTo>
                      <a:pt x="15135" y="3572"/>
                    </a:lnTo>
                    <a:lnTo>
                      <a:pt x="15134" y="3572"/>
                    </a:lnTo>
                    <a:lnTo>
                      <a:pt x="13349" y="3572"/>
                    </a:lnTo>
                    <a:lnTo>
                      <a:pt x="12753" y="3572"/>
                    </a:lnTo>
                    <a:lnTo>
                      <a:pt x="13093" y="3232"/>
                    </a:lnTo>
                    <a:close/>
                    <a:moveTo>
                      <a:pt x="19897" y="0"/>
                    </a:moveTo>
                    <a:cubicBezTo>
                      <a:pt x="22278" y="1191"/>
                      <a:pt x="24660" y="0"/>
                      <a:pt x="27041" y="1191"/>
                    </a:cubicBezTo>
                    <a:cubicBezTo>
                      <a:pt x="24660" y="1191"/>
                      <a:pt x="24660" y="1191"/>
                      <a:pt x="22278" y="1191"/>
                    </a:cubicBezTo>
                    <a:cubicBezTo>
                      <a:pt x="22278" y="1191"/>
                      <a:pt x="19897" y="1191"/>
                      <a:pt x="19897" y="0"/>
                    </a:cubicBezTo>
                    <a:close/>
                  </a:path>
                </a:pathLst>
              </a:custGeom>
              <a:grpFill/>
              <a:ln w="3175">
                <a:solidFill>
                  <a:schemeClr val="accent2">
                    <a:lumMod val="75000"/>
                  </a:schemeClr>
                </a:solidFill>
              </a:ln>
            </p:spPr>
            <p:txBody>
              <a:bodyPr vert="horz" wrap="square" lIns="91273" tIns="45637" rIns="91273" bIns="4563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97" b="0" i="0" u="none" strike="noStrike" kern="1200" cap="none" spc="0" normalizeH="0" baseline="0" noProof="0" dirty="0">
                  <a:ln>
                    <a:noFill/>
                  </a:ln>
                  <a:solidFill>
                    <a:srgbClr val="000000"/>
                  </a:solidFill>
                  <a:effectLst/>
                  <a:uLnTx/>
                  <a:uFillTx/>
                  <a:latin typeface="Calibri"/>
                  <a:ea typeface="+mn-ea"/>
                  <a:cs typeface="+mn-cs"/>
                </a:endParaRPr>
              </a:p>
            </p:txBody>
          </p:sp>
          <p:sp>
            <p:nvSpPr>
              <p:cNvPr id="186" name="El Salvador">
                <a:extLst>
                  <a:ext uri="{FF2B5EF4-FFF2-40B4-BE49-F238E27FC236}">
                    <a16:creationId xmlns:a16="http://schemas.microsoft.com/office/drawing/2014/main" id="{8A673C23-A252-C475-056C-94219AA113A6}"/>
                  </a:ext>
                </a:extLst>
              </p:cNvPr>
              <p:cNvSpPr>
                <a:spLocks/>
              </p:cNvSpPr>
              <p:nvPr/>
            </p:nvSpPr>
            <p:spPr bwMode="auto">
              <a:xfrm>
                <a:off x="1833581" y="2986904"/>
                <a:ext cx="53387" cy="31546"/>
              </a:xfrm>
              <a:custGeom>
                <a:avLst/>
                <a:gdLst/>
                <a:ahLst/>
                <a:cxnLst>
                  <a:cxn ang="0">
                    <a:pos x="0" y="7"/>
                  </a:cxn>
                  <a:cxn ang="0">
                    <a:pos x="1" y="5"/>
                  </a:cxn>
                  <a:cxn ang="0">
                    <a:pos x="4" y="4"/>
                  </a:cxn>
                  <a:cxn ang="0">
                    <a:pos x="6" y="2"/>
                  </a:cxn>
                  <a:cxn ang="0">
                    <a:pos x="6" y="1"/>
                  </a:cxn>
                  <a:cxn ang="0">
                    <a:pos x="8" y="0"/>
                  </a:cxn>
                  <a:cxn ang="0">
                    <a:pos x="15" y="6"/>
                  </a:cxn>
                  <a:cxn ang="0">
                    <a:pos x="20" y="6"/>
                  </a:cxn>
                  <a:cxn ang="0">
                    <a:pos x="22" y="7"/>
                  </a:cxn>
                  <a:cxn ang="0">
                    <a:pos x="21" y="11"/>
                  </a:cxn>
                  <a:cxn ang="0">
                    <a:pos x="19" y="14"/>
                  </a:cxn>
                  <a:cxn ang="0">
                    <a:pos x="13" y="13"/>
                  </a:cxn>
                  <a:cxn ang="0">
                    <a:pos x="11" y="13"/>
                  </a:cxn>
                  <a:cxn ang="0">
                    <a:pos x="7" y="10"/>
                  </a:cxn>
                  <a:cxn ang="0">
                    <a:pos x="3" y="10"/>
                  </a:cxn>
                  <a:cxn ang="0">
                    <a:pos x="0" y="7"/>
                  </a:cxn>
                </a:cxnLst>
                <a:rect l="0" t="0" r="r" b="b"/>
                <a:pathLst>
                  <a:path w="23" h="14">
                    <a:moveTo>
                      <a:pt x="0" y="7"/>
                    </a:moveTo>
                    <a:cubicBezTo>
                      <a:pt x="0" y="6"/>
                      <a:pt x="0" y="6"/>
                      <a:pt x="1" y="5"/>
                    </a:cubicBezTo>
                    <a:cubicBezTo>
                      <a:pt x="2" y="4"/>
                      <a:pt x="3" y="5"/>
                      <a:pt x="4" y="4"/>
                    </a:cubicBezTo>
                    <a:cubicBezTo>
                      <a:pt x="4" y="4"/>
                      <a:pt x="5" y="3"/>
                      <a:pt x="6" y="2"/>
                    </a:cubicBezTo>
                    <a:cubicBezTo>
                      <a:pt x="6" y="2"/>
                      <a:pt x="6" y="1"/>
                      <a:pt x="6" y="1"/>
                    </a:cubicBezTo>
                    <a:cubicBezTo>
                      <a:pt x="6" y="0"/>
                      <a:pt x="8" y="0"/>
                      <a:pt x="8" y="0"/>
                    </a:cubicBezTo>
                    <a:cubicBezTo>
                      <a:pt x="10" y="1"/>
                      <a:pt x="16" y="5"/>
                      <a:pt x="15" y="6"/>
                    </a:cubicBezTo>
                    <a:cubicBezTo>
                      <a:pt x="16" y="6"/>
                      <a:pt x="19" y="4"/>
                      <a:pt x="20" y="6"/>
                    </a:cubicBezTo>
                    <a:cubicBezTo>
                      <a:pt x="21" y="5"/>
                      <a:pt x="23" y="6"/>
                      <a:pt x="22" y="7"/>
                    </a:cubicBezTo>
                    <a:cubicBezTo>
                      <a:pt x="22" y="8"/>
                      <a:pt x="21" y="12"/>
                      <a:pt x="21" y="11"/>
                    </a:cubicBezTo>
                    <a:cubicBezTo>
                      <a:pt x="20" y="12"/>
                      <a:pt x="22" y="13"/>
                      <a:pt x="19" y="14"/>
                    </a:cubicBezTo>
                    <a:cubicBezTo>
                      <a:pt x="17" y="14"/>
                      <a:pt x="15" y="12"/>
                      <a:pt x="13" y="13"/>
                    </a:cubicBezTo>
                    <a:cubicBezTo>
                      <a:pt x="15" y="13"/>
                      <a:pt x="12" y="13"/>
                      <a:pt x="11" y="13"/>
                    </a:cubicBezTo>
                    <a:cubicBezTo>
                      <a:pt x="10" y="12"/>
                      <a:pt x="9" y="11"/>
                      <a:pt x="7" y="10"/>
                    </a:cubicBezTo>
                    <a:cubicBezTo>
                      <a:pt x="6" y="10"/>
                      <a:pt x="4" y="11"/>
                      <a:pt x="3" y="10"/>
                    </a:cubicBezTo>
                    <a:cubicBezTo>
                      <a:pt x="2" y="9"/>
                      <a:pt x="1" y="8"/>
                      <a:pt x="0" y="7"/>
                    </a:cubicBezTo>
                  </a:path>
                </a:pathLst>
              </a:custGeom>
              <a:grpFill/>
              <a:ln w="3175">
                <a:solidFill>
                  <a:schemeClr val="accent2">
                    <a:lumMod val="75000"/>
                  </a:schemeClr>
                </a:solidFill>
              </a:ln>
            </p:spPr>
            <p:txBody>
              <a:bodyPr vert="horz" wrap="square" lIns="91273" tIns="45637" rIns="91273" bIns="4563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97" b="0" i="0" u="none" strike="noStrike" kern="1200" cap="none" spc="0" normalizeH="0" baseline="0" noProof="0" dirty="0">
                  <a:ln>
                    <a:noFill/>
                  </a:ln>
                  <a:solidFill>
                    <a:srgbClr val="000000"/>
                  </a:solidFill>
                  <a:effectLst/>
                  <a:uLnTx/>
                  <a:uFillTx/>
                  <a:latin typeface="Calibri"/>
                  <a:ea typeface="+mn-ea"/>
                  <a:cs typeface="+mn-cs"/>
                </a:endParaRPr>
              </a:p>
            </p:txBody>
          </p:sp>
          <p:sp>
            <p:nvSpPr>
              <p:cNvPr id="187" name="Ecuador">
                <a:extLst>
                  <a:ext uri="{FF2B5EF4-FFF2-40B4-BE49-F238E27FC236}">
                    <a16:creationId xmlns:a16="http://schemas.microsoft.com/office/drawing/2014/main" id="{CC16F294-B8E6-AB91-AE00-863239A9FBAF}"/>
                  </a:ext>
                </a:extLst>
              </p:cNvPr>
              <p:cNvSpPr>
                <a:spLocks/>
              </p:cNvSpPr>
              <p:nvPr/>
            </p:nvSpPr>
            <p:spPr bwMode="auto">
              <a:xfrm>
                <a:off x="2014369" y="3310865"/>
                <a:ext cx="127401" cy="157734"/>
              </a:xfrm>
              <a:custGeom>
                <a:avLst/>
                <a:gdLst/>
                <a:ahLst/>
                <a:cxnLst>
                  <a:cxn ang="0">
                    <a:pos x="1" y="38"/>
                  </a:cxn>
                  <a:cxn ang="0">
                    <a:pos x="3" y="35"/>
                  </a:cxn>
                  <a:cxn ang="0">
                    <a:pos x="2" y="33"/>
                  </a:cxn>
                  <a:cxn ang="0">
                    <a:pos x="2" y="29"/>
                  </a:cxn>
                  <a:cxn ang="0">
                    <a:pos x="3" y="25"/>
                  </a:cxn>
                  <a:cxn ang="0">
                    <a:pos x="5" y="23"/>
                  </a:cxn>
                  <a:cxn ang="0">
                    <a:pos x="7" y="22"/>
                  </a:cxn>
                  <a:cxn ang="0">
                    <a:pos x="6" y="18"/>
                  </a:cxn>
                  <a:cxn ang="0">
                    <a:pos x="9" y="11"/>
                  </a:cxn>
                  <a:cxn ang="0">
                    <a:pos x="9" y="6"/>
                  </a:cxn>
                  <a:cxn ang="0">
                    <a:pos x="13" y="6"/>
                  </a:cxn>
                  <a:cxn ang="0">
                    <a:pos x="16" y="3"/>
                  </a:cxn>
                  <a:cxn ang="0">
                    <a:pos x="19" y="3"/>
                  </a:cxn>
                  <a:cxn ang="0">
                    <a:pos x="21" y="0"/>
                  </a:cxn>
                  <a:cxn ang="0">
                    <a:pos x="31" y="6"/>
                  </a:cxn>
                  <a:cxn ang="0">
                    <a:pos x="33" y="8"/>
                  </a:cxn>
                  <a:cxn ang="0">
                    <a:pos x="36" y="11"/>
                  </a:cxn>
                  <a:cxn ang="0">
                    <a:pos x="42" y="12"/>
                  </a:cxn>
                  <a:cxn ang="0">
                    <a:pos x="44" y="12"/>
                  </a:cxn>
                  <a:cxn ang="0">
                    <a:pos x="44" y="11"/>
                  </a:cxn>
                  <a:cxn ang="0">
                    <a:pos x="48" y="13"/>
                  </a:cxn>
                  <a:cxn ang="0">
                    <a:pos x="54" y="16"/>
                  </a:cxn>
                  <a:cxn ang="0">
                    <a:pos x="51" y="16"/>
                  </a:cxn>
                  <a:cxn ang="0">
                    <a:pos x="54" y="20"/>
                  </a:cxn>
                  <a:cxn ang="0">
                    <a:pos x="55" y="25"/>
                  </a:cxn>
                  <a:cxn ang="0">
                    <a:pos x="53" y="25"/>
                  </a:cxn>
                  <a:cxn ang="0">
                    <a:pos x="42" y="42"/>
                  </a:cxn>
                  <a:cxn ang="0">
                    <a:pos x="32" y="46"/>
                  </a:cxn>
                  <a:cxn ang="0">
                    <a:pos x="28" y="49"/>
                  </a:cxn>
                  <a:cxn ang="0">
                    <a:pos x="27" y="51"/>
                  </a:cxn>
                  <a:cxn ang="0">
                    <a:pos x="27" y="53"/>
                  </a:cxn>
                  <a:cxn ang="0">
                    <a:pos x="25" y="56"/>
                  </a:cxn>
                  <a:cxn ang="0">
                    <a:pos x="23" y="62"/>
                  </a:cxn>
                  <a:cxn ang="0">
                    <a:pos x="21" y="66"/>
                  </a:cxn>
                  <a:cxn ang="0">
                    <a:pos x="19" y="68"/>
                  </a:cxn>
                  <a:cxn ang="0">
                    <a:pos x="15" y="64"/>
                  </a:cxn>
                  <a:cxn ang="0">
                    <a:pos x="12" y="63"/>
                  </a:cxn>
                  <a:cxn ang="0">
                    <a:pos x="9" y="62"/>
                  </a:cxn>
                  <a:cxn ang="0">
                    <a:pos x="7" y="60"/>
                  </a:cxn>
                  <a:cxn ang="0">
                    <a:pos x="6" y="58"/>
                  </a:cxn>
                  <a:cxn ang="0">
                    <a:pos x="9" y="57"/>
                  </a:cxn>
                  <a:cxn ang="0">
                    <a:pos x="7" y="51"/>
                  </a:cxn>
                  <a:cxn ang="0">
                    <a:pos x="10" y="49"/>
                  </a:cxn>
                  <a:cxn ang="0">
                    <a:pos x="12" y="45"/>
                  </a:cxn>
                  <a:cxn ang="0">
                    <a:pos x="12" y="41"/>
                  </a:cxn>
                  <a:cxn ang="0">
                    <a:pos x="12" y="37"/>
                  </a:cxn>
                  <a:cxn ang="0">
                    <a:pos x="11" y="41"/>
                  </a:cxn>
                  <a:cxn ang="0">
                    <a:pos x="11" y="42"/>
                  </a:cxn>
                  <a:cxn ang="0">
                    <a:pos x="10" y="40"/>
                  </a:cxn>
                  <a:cxn ang="0">
                    <a:pos x="8" y="44"/>
                  </a:cxn>
                  <a:cxn ang="0">
                    <a:pos x="3" y="41"/>
                  </a:cxn>
                  <a:cxn ang="0">
                    <a:pos x="1" y="38"/>
                  </a:cxn>
                </a:cxnLst>
                <a:rect l="0" t="0" r="r" b="b"/>
                <a:pathLst>
                  <a:path w="55" h="68">
                    <a:moveTo>
                      <a:pt x="1" y="38"/>
                    </a:moveTo>
                    <a:cubicBezTo>
                      <a:pt x="3" y="39"/>
                      <a:pt x="3" y="36"/>
                      <a:pt x="3" y="35"/>
                    </a:cubicBezTo>
                    <a:cubicBezTo>
                      <a:pt x="3" y="34"/>
                      <a:pt x="2" y="33"/>
                      <a:pt x="2" y="33"/>
                    </a:cubicBezTo>
                    <a:cubicBezTo>
                      <a:pt x="1" y="31"/>
                      <a:pt x="3" y="30"/>
                      <a:pt x="2" y="29"/>
                    </a:cubicBezTo>
                    <a:cubicBezTo>
                      <a:pt x="2" y="27"/>
                      <a:pt x="0" y="25"/>
                      <a:pt x="3" y="25"/>
                    </a:cubicBezTo>
                    <a:cubicBezTo>
                      <a:pt x="4" y="25"/>
                      <a:pt x="5" y="24"/>
                      <a:pt x="5" y="23"/>
                    </a:cubicBezTo>
                    <a:cubicBezTo>
                      <a:pt x="5" y="22"/>
                      <a:pt x="6" y="22"/>
                      <a:pt x="7" y="22"/>
                    </a:cubicBezTo>
                    <a:cubicBezTo>
                      <a:pt x="5" y="22"/>
                      <a:pt x="5" y="19"/>
                      <a:pt x="6" y="18"/>
                    </a:cubicBezTo>
                    <a:cubicBezTo>
                      <a:pt x="8" y="16"/>
                      <a:pt x="9" y="14"/>
                      <a:pt x="9" y="11"/>
                    </a:cubicBezTo>
                    <a:cubicBezTo>
                      <a:pt x="9" y="11"/>
                      <a:pt x="8" y="7"/>
                      <a:pt x="9" y="6"/>
                    </a:cubicBezTo>
                    <a:cubicBezTo>
                      <a:pt x="10" y="6"/>
                      <a:pt x="13" y="3"/>
                      <a:pt x="13" y="6"/>
                    </a:cubicBezTo>
                    <a:cubicBezTo>
                      <a:pt x="13" y="4"/>
                      <a:pt x="15" y="4"/>
                      <a:pt x="16" y="3"/>
                    </a:cubicBezTo>
                    <a:cubicBezTo>
                      <a:pt x="17" y="3"/>
                      <a:pt x="19" y="2"/>
                      <a:pt x="19" y="3"/>
                    </a:cubicBezTo>
                    <a:cubicBezTo>
                      <a:pt x="20" y="2"/>
                      <a:pt x="20" y="1"/>
                      <a:pt x="21" y="0"/>
                    </a:cubicBezTo>
                    <a:cubicBezTo>
                      <a:pt x="24" y="2"/>
                      <a:pt x="27" y="6"/>
                      <a:pt x="31" y="6"/>
                    </a:cubicBezTo>
                    <a:cubicBezTo>
                      <a:pt x="32" y="6"/>
                      <a:pt x="32" y="7"/>
                      <a:pt x="33" y="8"/>
                    </a:cubicBezTo>
                    <a:cubicBezTo>
                      <a:pt x="35" y="8"/>
                      <a:pt x="34" y="11"/>
                      <a:pt x="36" y="11"/>
                    </a:cubicBezTo>
                    <a:cubicBezTo>
                      <a:pt x="38" y="11"/>
                      <a:pt x="40" y="12"/>
                      <a:pt x="42" y="12"/>
                    </a:cubicBezTo>
                    <a:cubicBezTo>
                      <a:pt x="42" y="12"/>
                      <a:pt x="44" y="13"/>
                      <a:pt x="44" y="12"/>
                    </a:cubicBezTo>
                    <a:cubicBezTo>
                      <a:pt x="44" y="11"/>
                      <a:pt x="44" y="11"/>
                      <a:pt x="44" y="11"/>
                    </a:cubicBezTo>
                    <a:cubicBezTo>
                      <a:pt x="46" y="10"/>
                      <a:pt x="47" y="12"/>
                      <a:pt x="48" y="13"/>
                    </a:cubicBezTo>
                    <a:cubicBezTo>
                      <a:pt x="50" y="15"/>
                      <a:pt x="52" y="15"/>
                      <a:pt x="54" y="16"/>
                    </a:cubicBezTo>
                    <a:cubicBezTo>
                      <a:pt x="53" y="17"/>
                      <a:pt x="52" y="16"/>
                      <a:pt x="51" y="16"/>
                    </a:cubicBezTo>
                    <a:cubicBezTo>
                      <a:pt x="51" y="17"/>
                      <a:pt x="53" y="19"/>
                      <a:pt x="54" y="20"/>
                    </a:cubicBezTo>
                    <a:cubicBezTo>
                      <a:pt x="55" y="22"/>
                      <a:pt x="54" y="23"/>
                      <a:pt x="55" y="25"/>
                    </a:cubicBezTo>
                    <a:cubicBezTo>
                      <a:pt x="54" y="26"/>
                      <a:pt x="54" y="25"/>
                      <a:pt x="53" y="25"/>
                    </a:cubicBezTo>
                    <a:cubicBezTo>
                      <a:pt x="52" y="32"/>
                      <a:pt x="48" y="38"/>
                      <a:pt x="42" y="42"/>
                    </a:cubicBezTo>
                    <a:cubicBezTo>
                      <a:pt x="39" y="44"/>
                      <a:pt x="35" y="45"/>
                      <a:pt x="32" y="46"/>
                    </a:cubicBezTo>
                    <a:cubicBezTo>
                      <a:pt x="30" y="47"/>
                      <a:pt x="30" y="48"/>
                      <a:pt x="28" y="49"/>
                    </a:cubicBezTo>
                    <a:cubicBezTo>
                      <a:pt x="28" y="50"/>
                      <a:pt x="28" y="50"/>
                      <a:pt x="27" y="51"/>
                    </a:cubicBezTo>
                    <a:cubicBezTo>
                      <a:pt x="27" y="51"/>
                      <a:pt x="28" y="52"/>
                      <a:pt x="27" y="53"/>
                    </a:cubicBezTo>
                    <a:cubicBezTo>
                      <a:pt x="27" y="50"/>
                      <a:pt x="25" y="55"/>
                      <a:pt x="25" y="56"/>
                    </a:cubicBezTo>
                    <a:cubicBezTo>
                      <a:pt x="24" y="57"/>
                      <a:pt x="23" y="60"/>
                      <a:pt x="23" y="62"/>
                    </a:cubicBezTo>
                    <a:cubicBezTo>
                      <a:pt x="23" y="64"/>
                      <a:pt x="22" y="64"/>
                      <a:pt x="21" y="66"/>
                    </a:cubicBezTo>
                    <a:cubicBezTo>
                      <a:pt x="20" y="68"/>
                      <a:pt x="21" y="68"/>
                      <a:pt x="19" y="68"/>
                    </a:cubicBezTo>
                    <a:cubicBezTo>
                      <a:pt x="16" y="68"/>
                      <a:pt x="16" y="66"/>
                      <a:pt x="15" y="64"/>
                    </a:cubicBezTo>
                    <a:cubicBezTo>
                      <a:pt x="14" y="62"/>
                      <a:pt x="13" y="64"/>
                      <a:pt x="12" y="63"/>
                    </a:cubicBezTo>
                    <a:cubicBezTo>
                      <a:pt x="11" y="62"/>
                      <a:pt x="10" y="60"/>
                      <a:pt x="9" y="62"/>
                    </a:cubicBezTo>
                    <a:cubicBezTo>
                      <a:pt x="7" y="63"/>
                      <a:pt x="5" y="63"/>
                      <a:pt x="7" y="60"/>
                    </a:cubicBezTo>
                    <a:cubicBezTo>
                      <a:pt x="6" y="60"/>
                      <a:pt x="5" y="59"/>
                      <a:pt x="6" y="58"/>
                    </a:cubicBezTo>
                    <a:cubicBezTo>
                      <a:pt x="7" y="57"/>
                      <a:pt x="8" y="58"/>
                      <a:pt x="9" y="57"/>
                    </a:cubicBezTo>
                    <a:cubicBezTo>
                      <a:pt x="10" y="56"/>
                      <a:pt x="8" y="52"/>
                      <a:pt x="7" y="51"/>
                    </a:cubicBezTo>
                    <a:cubicBezTo>
                      <a:pt x="8" y="50"/>
                      <a:pt x="10" y="51"/>
                      <a:pt x="10" y="49"/>
                    </a:cubicBezTo>
                    <a:cubicBezTo>
                      <a:pt x="11" y="48"/>
                      <a:pt x="11" y="46"/>
                      <a:pt x="12" y="45"/>
                    </a:cubicBezTo>
                    <a:cubicBezTo>
                      <a:pt x="12" y="43"/>
                      <a:pt x="12" y="43"/>
                      <a:pt x="12" y="41"/>
                    </a:cubicBezTo>
                    <a:cubicBezTo>
                      <a:pt x="11" y="40"/>
                      <a:pt x="11" y="38"/>
                      <a:pt x="12" y="37"/>
                    </a:cubicBezTo>
                    <a:cubicBezTo>
                      <a:pt x="10" y="37"/>
                      <a:pt x="11" y="40"/>
                      <a:pt x="11" y="41"/>
                    </a:cubicBezTo>
                    <a:cubicBezTo>
                      <a:pt x="11" y="44"/>
                      <a:pt x="9" y="42"/>
                      <a:pt x="11" y="42"/>
                    </a:cubicBezTo>
                    <a:cubicBezTo>
                      <a:pt x="10" y="41"/>
                      <a:pt x="10" y="41"/>
                      <a:pt x="10" y="40"/>
                    </a:cubicBezTo>
                    <a:cubicBezTo>
                      <a:pt x="9" y="41"/>
                      <a:pt x="7" y="43"/>
                      <a:pt x="8" y="44"/>
                    </a:cubicBezTo>
                    <a:cubicBezTo>
                      <a:pt x="6" y="43"/>
                      <a:pt x="5" y="42"/>
                      <a:pt x="3" y="41"/>
                    </a:cubicBezTo>
                    <a:cubicBezTo>
                      <a:pt x="2" y="40"/>
                      <a:pt x="1" y="40"/>
                      <a:pt x="1" y="38"/>
                    </a:cubicBezTo>
                  </a:path>
                </a:pathLst>
              </a:custGeom>
              <a:grpFill/>
              <a:ln w="3175">
                <a:solidFill>
                  <a:schemeClr val="accent2">
                    <a:lumMod val="75000"/>
                  </a:schemeClr>
                </a:solidFill>
              </a:ln>
            </p:spPr>
            <p:txBody>
              <a:bodyPr vert="horz" wrap="square" lIns="91273" tIns="45637" rIns="91273" bIns="4563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97" b="0" i="0" u="none" strike="noStrike" kern="1200" cap="none" spc="0" normalizeH="0" baseline="0" noProof="0" dirty="0">
                  <a:ln>
                    <a:noFill/>
                  </a:ln>
                  <a:solidFill>
                    <a:srgbClr val="000000"/>
                  </a:solidFill>
                  <a:effectLst/>
                  <a:uLnTx/>
                  <a:uFillTx/>
                  <a:latin typeface="Calibri"/>
                  <a:ea typeface="+mn-ea"/>
                  <a:cs typeface="+mn-cs"/>
                </a:endParaRPr>
              </a:p>
            </p:txBody>
          </p:sp>
          <p:sp>
            <p:nvSpPr>
              <p:cNvPr id="188" name="Dominican Republic">
                <a:extLst>
                  <a:ext uri="{FF2B5EF4-FFF2-40B4-BE49-F238E27FC236}">
                    <a16:creationId xmlns:a16="http://schemas.microsoft.com/office/drawing/2014/main" id="{E10656B6-4C34-F329-47E2-89C830CAD7ED}"/>
                  </a:ext>
                </a:extLst>
              </p:cNvPr>
              <p:cNvSpPr>
                <a:spLocks/>
              </p:cNvSpPr>
              <p:nvPr/>
            </p:nvSpPr>
            <p:spPr bwMode="auto">
              <a:xfrm>
                <a:off x="2238835" y="2847370"/>
                <a:ext cx="83721" cy="60666"/>
              </a:xfrm>
              <a:custGeom>
                <a:avLst/>
                <a:gdLst/>
                <a:ahLst/>
                <a:cxnLst>
                  <a:cxn ang="0">
                    <a:pos x="2" y="21"/>
                  </a:cxn>
                  <a:cxn ang="0">
                    <a:pos x="2" y="18"/>
                  </a:cxn>
                  <a:cxn ang="0">
                    <a:pos x="0" y="15"/>
                  </a:cxn>
                  <a:cxn ang="0">
                    <a:pos x="3" y="12"/>
                  </a:cxn>
                  <a:cxn ang="0">
                    <a:pos x="4" y="8"/>
                  </a:cxn>
                  <a:cxn ang="0">
                    <a:pos x="4" y="6"/>
                  </a:cxn>
                  <a:cxn ang="0">
                    <a:pos x="4" y="3"/>
                  </a:cxn>
                  <a:cxn ang="0">
                    <a:pos x="9" y="2"/>
                  </a:cxn>
                  <a:cxn ang="0">
                    <a:pos x="13" y="2"/>
                  </a:cxn>
                  <a:cxn ang="0">
                    <a:pos x="17" y="3"/>
                  </a:cxn>
                  <a:cxn ang="0">
                    <a:pos x="20" y="4"/>
                  </a:cxn>
                  <a:cxn ang="0">
                    <a:pos x="21" y="5"/>
                  </a:cxn>
                  <a:cxn ang="0">
                    <a:pos x="25" y="8"/>
                  </a:cxn>
                  <a:cxn ang="0">
                    <a:pos x="28" y="8"/>
                  </a:cxn>
                  <a:cxn ang="0">
                    <a:pos x="25" y="9"/>
                  </a:cxn>
                  <a:cxn ang="0">
                    <a:pos x="24" y="10"/>
                  </a:cxn>
                  <a:cxn ang="0">
                    <a:pos x="29" y="11"/>
                  </a:cxn>
                  <a:cxn ang="0">
                    <a:pos x="34" y="14"/>
                  </a:cxn>
                  <a:cxn ang="0">
                    <a:pos x="32" y="19"/>
                  </a:cxn>
                  <a:cxn ang="0">
                    <a:pos x="30" y="18"/>
                  </a:cxn>
                  <a:cxn ang="0">
                    <a:pos x="27" y="17"/>
                  </a:cxn>
                  <a:cxn ang="0">
                    <a:pos x="25" y="17"/>
                  </a:cxn>
                  <a:cxn ang="0">
                    <a:pos x="23" y="17"/>
                  </a:cxn>
                  <a:cxn ang="0">
                    <a:pos x="17" y="19"/>
                  </a:cxn>
                  <a:cxn ang="0">
                    <a:pos x="14" y="19"/>
                  </a:cxn>
                  <a:cxn ang="0">
                    <a:pos x="13" y="17"/>
                  </a:cxn>
                  <a:cxn ang="0">
                    <a:pos x="10" y="19"/>
                  </a:cxn>
                  <a:cxn ang="0">
                    <a:pos x="9" y="19"/>
                  </a:cxn>
                  <a:cxn ang="0">
                    <a:pos x="5" y="26"/>
                  </a:cxn>
                  <a:cxn ang="0">
                    <a:pos x="3" y="24"/>
                  </a:cxn>
                  <a:cxn ang="0">
                    <a:pos x="2" y="21"/>
                  </a:cxn>
                </a:cxnLst>
                <a:rect l="0" t="0" r="r" b="b"/>
                <a:pathLst>
                  <a:path w="36" h="26">
                    <a:moveTo>
                      <a:pt x="2" y="21"/>
                    </a:moveTo>
                    <a:cubicBezTo>
                      <a:pt x="2" y="21"/>
                      <a:pt x="3" y="19"/>
                      <a:pt x="2" y="18"/>
                    </a:cubicBezTo>
                    <a:cubicBezTo>
                      <a:pt x="2" y="17"/>
                      <a:pt x="1" y="16"/>
                      <a:pt x="0" y="15"/>
                    </a:cubicBezTo>
                    <a:cubicBezTo>
                      <a:pt x="2" y="15"/>
                      <a:pt x="4" y="13"/>
                      <a:pt x="3" y="12"/>
                    </a:cubicBezTo>
                    <a:cubicBezTo>
                      <a:pt x="2" y="11"/>
                      <a:pt x="6" y="10"/>
                      <a:pt x="4" y="8"/>
                    </a:cubicBezTo>
                    <a:cubicBezTo>
                      <a:pt x="4" y="8"/>
                      <a:pt x="4" y="6"/>
                      <a:pt x="4" y="6"/>
                    </a:cubicBezTo>
                    <a:cubicBezTo>
                      <a:pt x="5" y="5"/>
                      <a:pt x="4" y="4"/>
                      <a:pt x="4" y="3"/>
                    </a:cubicBezTo>
                    <a:cubicBezTo>
                      <a:pt x="5" y="0"/>
                      <a:pt x="8" y="2"/>
                      <a:pt x="9" y="2"/>
                    </a:cubicBezTo>
                    <a:cubicBezTo>
                      <a:pt x="11" y="1"/>
                      <a:pt x="12" y="1"/>
                      <a:pt x="13" y="2"/>
                    </a:cubicBezTo>
                    <a:cubicBezTo>
                      <a:pt x="14" y="2"/>
                      <a:pt x="16" y="3"/>
                      <a:pt x="17" y="3"/>
                    </a:cubicBezTo>
                    <a:cubicBezTo>
                      <a:pt x="18" y="4"/>
                      <a:pt x="18" y="4"/>
                      <a:pt x="20" y="4"/>
                    </a:cubicBezTo>
                    <a:cubicBezTo>
                      <a:pt x="21" y="4"/>
                      <a:pt x="21" y="4"/>
                      <a:pt x="21" y="5"/>
                    </a:cubicBezTo>
                    <a:cubicBezTo>
                      <a:pt x="22" y="8"/>
                      <a:pt x="23" y="8"/>
                      <a:pt x="25" y="8"/>
                    </a:cubicBezTo>
                    <a:cubicBezTo>
                      <a:pt x="26" y="8"/>
                      <a:pt x="27" y="7"/>
                      <a:pt x="28" y="8"/>
                    </a:cubicBezTo>
                    <a:cubicBezTo>
                      <a:pt x="27" y="9"/>
                      <a:pt x="26" y="9"/>
                      <a:pt x="25" y="9"/>
                    </a:cubicBezTo>
                    <a:cubicBezTo>
                      <a:pt x="24" y="9"/>
                      <a:pt x="22" y="9"/>
                      <a:pt x="24" y="10"/>
                    </a:cubicBezTo>
                    <a:cubicBezTo>
                      <a:pt x="25" y="10"/>
                      <a:pt x="28" y="11"/>
                      <a:pt x="29" y="11"/>
                    </a:cubicBezTo>
                    <a:cubicBezTo>
                      <a:pt x="31" y="10"/>
                      <a:pt x="32" y="13"/>
                      <a:pt x="34" y="14"/>
                    </a:cubicBezTo>
                    <a:cubicBezTo>
                      <a:pt x="36" y="16"/>
                      <a:pt x="32" y="18"/>
                      <a:pt x="32" y="19"/>
                    </a:cubicBezTo>
                    <a:cubicBezTo>
                      <a:pt x="31" y="20"/>
                      <a:pt x="30" y="19"/>
                      <a:pt x="30" y="18"/>
                    </a:cubicBezTo>
                    <a:cubicBezTo>
                      <a:pt x="29" y="17"/>
                      <a:pt x="28" y="18"/>
                      <a:pt x="27" y="17"/>
                    </a:cubicBezTo>
                    <a:cubicBezTo>
                      <a:pt x="27" y="17"/>
                      <a:pt x="26" y="17"/>
                      <a:pt x="25" y="17"/>
                    </a:cubicBezTo>
                    <a:cubicBezTo>
                      <a:pt x="25" y="17"/>
                      <a:pt x="24" y="18"/>
                      <a:pt x="23" y="17"/>
                    </a:cubicBezTo>
                    <a:cubicBezTo>
                      <a:pt x="20" y="15"/>
                      <a:pt x="19" y="19"/>
                      <a:pt x="17" y="19"/>
                    </a:cubicBezTo>
                    <a:cubicBezTo>
                      <a:pt x="16" y="20"/>
                      <a:pt x="14" y="20"/>
                      <a:pt x="14" y="19"/>
                    </a:cubicBezTo>
                    <a:cubicBezTo>
                      <a:pt x="13" y="19"/>
                      <a:pt x="14" y="18"/>
                      <a:pt x="13" y="17"/>
                    </a:cubicBezTo>
                    <a:cubicBezTo>
                      <a:pt x="12" y="18"/>
                      <a:pt x="11" y="18"/>
                      <a:pt x="10" y="19"/>
                    </a:cubicBezTo>
                    <a:cubicBezTo>
                      <a:pt x="10" y="19"/>
                      <a:pt x="9" y="18"/>
                      <a:pt x="9" y="19"/>
                    </a:cubicBezTo>
                    <a:cubicBezTo>
                      <a:pt x="8" y="22"/>
                      <a:pt x="7" y="24"/>
                      <a:pt x="5" y="26"/>
                    </a:cubicBezTo>
                    <a:cubicBezTo>
                      <a:pt x="4" y="25"/>
                      <a:pt x="3" y="25"/>
                      <a:pt x="3" y="24"/>
                    </a:cubicBezTo>
                    <a:cubicBezTo>
                      <a:pt x="3" y="23"/>
                      <a:pt x="3" y="22"/>
                      <a:pt x="2" y="21"/>
                    </a:cubicBezTo>
                  </a:path>
                </a:pathLst>
              </a:custGeom>
              <a:grpFill/>
              <a:ln w="3175">
                <a:solidFill>
                  <a:schemeClr val="accent2">
                    <a:lumMod val="75000"/>
                  </a:schemeClr>
                </a:solidFill>
              </a:ln>
            </p:spPr>
            <p:txBody>
              <a:bodyPr vert="horz" wrap="square" lIns="91273" tIns="45637" rIns="91273" bIns="4563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97" b="0" i="0" u="none" strike="noStrike" kern="1200" cap="none" spc="0" normalizeH="0" baseline="0" noProof="0" dirty="0">
                  <a:ln>
                    <a:noFill/>
                  </a:ln>
                  <a:solidFill>
                    <a:srgbClr val="000000"/>
                  </a:solidFill>
                  <a:effectLst/>
                  <a:uLnTx/>
                  <a:uFillTx/>
                  <a:latin typeface="Calibri"/>
                  <a:ea typeface="+mn-ea"/>
                  <a:cs typeface="+mn-cs"/>
                </a:endParaRPr>
              </a:p>
            </p:txBody>
          </p:sp>
          <p:sp>
            <p:nvSpPr>
              <p:cNvPr id="189" name="Costa Rica">
                <a:extLst>
                  <a:ext uri="{FF2B5EF4-FFF2-40B4-BE49-F238E27FC236}">
                    <a16:creationId xmlns:a16="http://schemas.microsoft.com/office/drawing/2014/main" id="{C0A73763-052A-454D-4C16-80246832788F}"/>
                  </a:ext>
                </a:extLst>
              </p:cNvPr>
              <p:cNvSpPr>
                <a:spLocks/>
              </p:cNvSpPr>
              <p:nvPr/>
            </p:nvSpPr>
            <p:spPr bwMode="auto">
              <a:xfrm>
                <a:off x="1916088" y="3065770"/>
                <a:ext cx="72800" cy="80081"/>
              </a:xfrm>
              <a:custGeom>
                <a:avLst/>
                <a:gdLst/>
                <a:ahLst/>
                <a:cxnLst>
                  <a:cxn ang="0">
                    <a:pos x="1" y="10"/>
                  </a:cxn>
                  <a:cxn ang="0">
                    <a:pos x="3" y="7"/>
                  </a:cxn>
                  <a:cxn ang="0">
                    <a:pos x="1" y="4"/>
                  </a:cxn>
                  <a:cxn ang="0">
                    <a:pos x="3" y="1"/>
                  </a:cxn>
                  <a:cxn ang="0">
                    <a:pos x="8" y="2"/>
                  </a:cxn>
                  <a:cxn ang="0">
                    <a:pos x="12" y="2"/>
                  </a:cxn>
                  <a:cxn ang="0">
                    <a:pos x="15" y="3"/>
                  </a:cxn>
                  <a:cxn ang="0">
                    <a:pos x="18" y="5"/>
                  </a:cxn>
                  <a:cxn ang="0">
                    <a:pos x="22" y="4"/>
                  </a:cxn>
                  <a:cxn ang="0">
                    <a:pos x="22" y="7"/>
                  </a:cxn>
                  <a:cxn ang="0">
                    <a:pos x="24" y="10"/>
                  </a:cxn>
                  <a:cxn ang="0">
                    <a:pos x="27" y="14"/>
                  </a:cxn>
                  <a:cxn ang="0">
                    <a:pos x="30" y="18"/>
                  </a:cxn>
                  <a:cxn ang="0">
                    <a:pos x="30" y="19"/>
                  </a:cxn>
                  <a:cxn ang="0">
                    <a:pos x="28" y="19"/>
                  </a:cxn>
                  <a:cxn ang="0">
                    <a:pos x="27" y="23"/>
                  </a:cxn>
                  <a:cxn ang="0">
                    <a:pos x="28" y="26"/>
                  </a:cxn>
                  <a:cxn ang="0">
                    <a:pos x="27" y="30"/>
                  </a:cxn>
                  <a:cxn ang="0">
                    <a:pos x="27" y="35"/>
                  </a:cxn>
                  <a:cxn ang="0">
                    <a:pos x="26" y="32"/>
                  </a:cxn>
                  <a:cxn ang="0">
                    <a:pos x="25" y="31"/>
                  </a:cxn>
                  <a:cxn ang="0">
                    <a:pos x="25" y="30"/>
                  </a:cxn>
                  <a:cxn ang="0">
                    <a:pos x="22" y="28"/>
                  </a:cxn>
                  <a:cxn ang="0">
                    <a:pos x="23" y="31"/>
                  </a:cxn>
                  <a:cxn ang="0">
                    <a:pos x="20" y="29"/>
                  </a:cxn>
                  <a:cxn ang="0">
                    <a:pos x="21" y="26"/>
                  </a:cxn>
                  <a:cxn ang="0">
                    <a:pos x="17" y="21"/>
                  </a:cxn>
                  <a:cxn ang="0">
                    <a:pos x="14" y="19"/>
                  </a:cxn>
                  <a:cxn ang="0">
                    <a:pos x="12" y="17"/>
                  </a:cxn>
                  <a:cxn ang="0">
                    <a:pos x="6" y="11"/>
                  </a:cxn>
                  <a:cxn ang="0">
                    <a:pos x="7" y="13"/>
                  </a:cxn>
                  <a:cxn ang="0">
                    <a:pos x="9" y="14"/>
                  </a:cxn>
                  <a:cxn ang="0">
                    <a:pos x="8" y="18"/>
                  </a:cxn>
                  <a:cxn ang="0">
                    <a:pos x="4" y="15"/>
                  </a:cxn>
                  <a:cxn ang="0">
                    <a:pos x="1" y="10"/>
                  </a:cxn>
                </a:cxnLst>
                <a:rect l="0" t="0" r="r" b="b"/>
                <a:pathLst>
                  <a:path w="31" h="35">
                    <a:moveTo>
                      <a:pt x="1" y="10"/>
                    </a:moveTo>
                    <a:cubicBezTo>
                      <a:pt x="1" y="9"/>
                      <a:pt x="3" y="7"/>
                      <a:pt x="3" y="7"/>
                    </a:cubicBezTo>
                    <a:cubicBezTo>
                      <a:pt x="3" y="6"/>
                      <a:pt x="0" y="4"/>
                      <a:pt x="1" y="4"/>
                    </a:cubicBezTo>
                    <a:cubicBezTo>
                      <a:pt x="2" y="3"/>
                      <a:pt x="3" y="2"/>
                      <a:pt x="3" y="1"/>
                    </a:cubicBezTo>
                    <a:cubicBezTo>
                      <a:pt x="4" y="0"/>
                      <a:pt x="7" y="2"/>
                      <a:pt x="8" y="2"/>
                    </a:cubicBezTo>
                    <a:cubicBezTo>
                      <a:pt x="10" y="4"/>
                      <a:pt x="10" y="3"/>
                      <a:pt x="12" y="2"/>
                    </a:cubicBezTo>
                    <a:cubicBezTo>
                      <a:pt x="13" y="2"/>
                      <a:pt x="14" y="4"/>
                      <a:pt x="15" y="3"/>
                    </a:cubicBezTo>
                    <a:cubicBezTo>
                      <a:pt x="16" y="4"/>
                      <a:pt x="16" y="5"/>
                      <a:pt x="18" y="5"/>
                    </a:cubicBezTo>
                    <a:cubicBezTo>
                      <a:pt x="19" y="6"/>
                      <a:pt x="22" y="6"/>
                      <a:pt x="22" y="4"/>
                    </a:cubicBezTo>
                    <a:cubicBezTo>
                      <a:pt x="22" y="5"/>
                      <a:pt x="22" y="5"/>
                      <a:pt x="22" y="7"/>
                    </a:cubicBezTo>
                    <a:cubicBezTo>
                      <a:pt x="23" y="7"/>
                      <a:pt x="23" y="9"/>
                      <a:pt x="24" y="10"/>
                    </a:cubicBezTo>
                    <a:cubicBezTo>
                      <a:pt x="25" y="12"/>
                      <a:pt x="26" y="12"/>
                      <a:pt x="27" y="14"/>
                    </a:cubicBezTo>
                    <a:cubicBezTo>
                      <a:pt x="28" y="15"/>
                      <a:pt x="29" y="17"/>
                      <a:pt x="30" y="18"/>
                    </a:cubicBezTo>
                    <a:cubicBezTo>
                      <a:pt x="31" y="18"/>
                      <a:pt x="31" y="19"/>
                      <a:pt x="30" y="19"/>
                    </a:cubicBezTo>
                    <a:cubicBezTo>
                      <a:pt x="29" y="19"/>
                      <a:pt x="29" y="18"/>
                      <a:pt x="28" y="19"/>
                    </a:cubicBezTo>
                    <a:cubicBezTo>
                      <a:pt x="28" y="19"/>
                      <a:pt x="27" y="21"/>
                      <a:pt x="27" y="23"/>
                    </a:cubicBezTo>
                    <a:cubicBezTo>
                      <a:pt x="27" y="24"/>
                      <a:pt x="31" y="25"/>
                      <a:pt x="28" y="26"/>
                    </a:cubicBezTo>
                    <a:cubicBezTo>
                      <a:pt x="27" y="27"/>
                      <a:pt x="29" y="29"/>
                      <a:pt x="27" y="30"/>
                    </a:cubicBezTo>
                    <a:cubicBezTo>
                      <a:pt x="26" y="32"/>
                      <a:pt x="27" y="33"/>
                      <a:pt x="27" y="35"/>
                    </a:cubicBezTo>
                    <a:cubicBezTo>
                      <a:pt x="27" y="34"/>
                      <a:pt x="27" y="33"/>
                      <a:pt x="26" y="32"/>
                    </a:cubicBezTo>
                    <a:cubicBezTo>
                      <a:pt x="26" y="32"/>
                      <a:pt x="25" y="32"/>
                      <a:pt x="25" y="31"/>
                    </a:cubicBezTo>
                    <a:cubicBezTo>
                      <a:pt x="25" y="31"/>
                      <a:pt x="25" y="31"/>
                      <a:pt x="25" y="30"/>
                    </a:cubicBezTo>
                    <a:cubicBezTo>
                      <a:pt x="25" y="29"/>
                      <a:pt x="23" y="27"/>
                      <a:pt x="22" y="28"/>
                    </a:cubicBezTo>
                    <a:cubicBezTo>
                      <a:pt x="22" y="29"/>
                      <a:pt x="24" y="29"/>
                      <a:pt x="23" y="31"/>
                    </a:cubicBezTo>
                    <a:cubicBezTo>
                      <a:pt x="22" y="31"/>
                      <a:pt x="20" y="30"/>
                      <a:pt x="20" y="29"/>
                    </a:cubicBezTo>
                    <a:cubicBezTo>
                      <a:pt x="20" y="28"/>
                      <a:pt x="21" y="27"/>
                      <a:pt x="21" y="26"/>
                    </a:cubicBezTo>
                    <a:cubicBezTo>
                      <a:pt x="21" y="23"/>
                      <a:pt x="18" y="22"/>
                      <a:pt x="17" y="21"/>
                    </a:cubicBezTo>
                    <a:cubicBezTo>
                      <a:pt x="16" y="20"/>
                      <a:pt x="15" y="19"/>
                      <a:pt x="14" y="19"/>
                    </a:cubicBezTo>
                    <a:cubicBezTo>
                      <a:pt x="12" y="19"/>
                      <a:pt x="11" y="18"/>
                      <a:pt x="12" y="17"/>
                    </a:cubicBezTo>
                    <a:cubicBezTo>
                      <a:pt x="12" y="13"/>
                      <a:pt x="7" y="13"/>
                      <a:pt x="6" y="11"/>
                    </a:cubicBezTo>
                    <a:cubicBezTo>
                      <a:pt x="6" y="11"/>
                      <a:pt x="6" y="12"/>
                      <a:pt x="7" y="13"/>
                    </a:cubicBezTo>
                    <a:cubicBezTo>
                      <a:pt x="7" y="14"/>
                      <a:pt x="8" y="14"/>
                      <a:pt x="9" y="14"/>
                    </a:cubicBezTo>
                    <a:cubicBezTo>
                      <a:pt x="10" y="15"/>
                      <a:pt x="9" y="17"/>
                      <a:pt x="8" y="18"/>
                    </a:cubicBezTo>
                    <a:cubicBezTo>
                      <a:pt x="6" y="18"/>
                      <a:pt x="5" y="16"/>
                      <a:pt x="4" y="15"/>
                    </a:cubicBezTo>
                    <a:cubicBezTo>
                      <a:pt x="2" y="15"/>
                      <a:pt x="0" y="12"/>
                      <a:pt x="1" y="10"/>
                    </a:cubicBezTo>
                  </a:path>
                </a:pathLst>
              </a:custGeom>
              <a:grpFill/>
              <a:ln w="3175">
                <a:solidFill>
                  <a:schemeClr val="accent2">
                    <a:lumMod val="75000"/>
                  </a:schemeClr>
                </a:solidFill>
              </a:ln>
            </p:spPr>
            <p:txBody>
              <a:bodyPr vert="horz" wrap="square" lIns="91273" tIns="45637" rIns="91273" bIns="4563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97" b="0" i="0" u="none" strike="noStrike" kern="1200" cap="none" spc="0" normalizeH="0" baseline="0" noProof="0" dirty="0">
                  <a:ln>
                    <a:noFill/>
                  </a:ln>
                  <a:solidFill>
                    <a:srgbClr val="000000"/>
                  </a:solidFill>
                  <a:effectLst/>
                  <a:uLnTx/>
                  <a:uFillTx/>
                  <a:latin typeface="Calibri"/>
                  <a:ea typeface="+mn-ea"/>
                  <a:cs typeface="+mn-cs"/>
                </a:endParaRPr>
              </a:p>
            </p:txBody>
          </p:sp>
          <p:sp>
            <p:nvSpPr>
              <p:cNvPr id="190" name="Cuba">
                <a:extLst>
                  <a:ext uri="{FF2B5EF4-FFF2-40B4-BE49-F238E27FC236}">
                    <a16:creationId xmlns:a16="http://schemas.microsoft.com/office/drawing/2014/main" id="{1F1A6A0F-5362-F646-8889-809A5B1709FA}"/>
                  </a:ext>
                </a:extLst>
              </p:cNvPr>
              <p:cNvSpPr>
                <a:spLocks/>
              </p:cNvSpPr>
              <p:nvPr/>
            </p:nvSpPr>
            <p:spPr bwMode="auto">
              <a:xfrm>
                <a:off x="1971900" y="2768502"/>
                <a:ext cx="226248" cy="83721"/>
              </a:xfrm>
              <a:custGeom>
                <a:avLst/>
                <a:gdLst>
                  <a:gd name="connsiteX0" fmla="*/ 154565 w 222012"/>
                  <a:gd name="connsiteY0" fmla="*/ 34231 h 82154"/>
                  <a:gd name="connsiteX1" fmla="*/ 163658 w 222012"/>
                  <a:gd name="connsiteY1" fmla="*/ 38795 h 82154"/>
                  <a:gd name="connsiteX2" fmla="*/ 159111 w 222012"/>
                  <a:gd name="connsiteY2" fmla="*/ 38795 h 82154"/>
                  <a:gd name="connsiteX3" fmla="*/ 154565 w 222012"/>
                  <a:gd name="connsiteY3" fmla="*/ 34231 h 82154"/>
                  <a:gd name="connsiteX4" fmla="*/ 45641 w 222012"/>
                  <a:gd name="connsiteY4" fmla="*/ 31948 h 82154"/>
                  <a:gd name="connsiteX5" fmla="*/ 50007 w 222012"/>
                  <a:gd name="connsiteY5" fmla="*/ 38496 h 82154"/>
                  <a:gd name="connsiteX6" fmla="*/ 41276 w 222012"/>
                  <a:gd name="connsiteY6" fmla="*/ 42862 h 82154"/>
                  <a:gd name="connsiteX7" fmla="*/ 36910 w 222012"/>
                  <a:gd name="connsiteY7" fmla="*/ 38496 h 82154"/>
                  <a:gd name="connsiteX8" fmla="*/ 39093 w 222012"/>
                  <a:gd name="connsiteY8" fmla="*/ 34131 h 82154"/>
                  <a:gd name="connsiteX9" fmla="*/ 45641 w 222012"/>
                  <a:gd name="connsiteY9" fmla="*/ 31948 h 82154"/>
                  <a:gd name="connsiteX10" fmla="*/ 139303 w 222012"/>
                  <a:gd name="connsiteY10" fmla="*/ 15851 h 82154"/>
                  <a:gd name="connsiteX11" fmla="*/ 144066 w 222012"/>
                  <a:gd name="connsiteY11" fmla="*/ 17860 h 82154"/>
                  <a:gd name="connsiteX12" fmla="*/ 141686 w 222012"/>
                  <a:gd name="connsiteY12" fmla="*/ 17860 h 82154"/>
                  <a:gd name="connsiteX13" fmla="*/ 139303 w 222012"/>
                  <a:gd name="connsiteY13" fmla="*/ 17860 h 82154"/>
                  <a:gd name="connsiteX14" fmla="*/ 134541 w 222012"/>
                  <a:gd name="connsiteY14" fmla="*/ 17860 h 82154"/>
                  <a:gd name="connsiteX15" fmla="*/ 139303 w 222012"/>
                  <a:gd name="connsiteY15" fmla="*/ 15851 h 82154"/>
                  <a:gd name="connsiteX16" fmla="*/ 63645 w 222012"/>
                  <a:gd name="connsiteY16" fmla="*/ 0 h 82154"/>
                  <a:gd name="connsiteX17" fmla="*/ 75010 w 222012"/>
                  <a:gd name="connsiteY17" fmla="*/ 2282 h 82154"/>
                  <a:gd name="connsiteX18" fmla="*/ 84102 w 222012"/>
                  <a:gd name="connsiteY18" fmla="*/ 0 h 82154"/>
                  <a:gd name="connsiteX19" fmla="*/ 86375 w 222012"/>
                  <a:gd name="connsiteY19" fmla="*/ 2282 h 82154"/>
                  <a:gd name="connsiteX20" fmla="*/ 95467 w 222012"/>
                  <a:gd name="connsiteY20" fmla="*/ 2282 h 82154"/>
                  <a:gd name="connsiteX21" fmla="*/ 101712 w 222012"/>
                  <a:gd name="connsiteY21" fmla="*/ 6462 h 82154"/>
                  <a:gd name="connsiteX22" fmla="*/ 100013 w 222012"/>
                  <a:gd name="connsiteY22" fmla="*/ 4763 h 82154"/>
                  <a:gd name="connsiteX23" fmla="*/ 102394 w 222012"/>
                  <a:gd name="connsiteY23" fmla="*/ 4763 h 82154"/>
                  <a:gd name="connsiteX24" fmla="*/ 102394 w 222012"/>
                  <a:gd name="connsiteY24" fmla="*/ 6846 h 82154"/>
                  <a:gd name="connsiteX25" fmla="*/ 111378 w 222012"/>
                  <a:gd name="connsiteY25" fmla="*/ 6846 h 82154"/>
                  <a:gd name="connsiteX26" fmla="*/ 109105 w 222012"/>
                  <a:gd name="connsiteY26" fmla="*/ 9128 h 82154"/>
                  <a:gd name="connsiteX27" fmla="*/ 115924 w 222012"/>
                  <a:gd name="connsiteY27" fmla="*/ 15974 h 82154"/>
                  <a:gd name="connsiteX28" fmla="*/ 129562 w 222012"/>
                  <a:gd name="connsiteY28" fmla="*/ 20538 h 82154"/>
                  <a:gd name="connsiteX29" fmla="*/ 140927 w 222012"/>
                  <a:gd name="connsiteY29" fmla="*/ 25103 h 82154"/>
                  <a:gd name="connsiteX30" fmla="*/ 145473 w 222012"/>
                  <a:gd name="connsiteY30" fmla="*/ 27385 h 82154"/>
                  <a:gd name="connsiteX31" fmla="*/ 149821 w 222012"/>
                  <a:gd name="connsiteY31" fmla="*/ 29567 h 82154"/>
                  <a:gd name="connsiteX32" fmla="*/ 147638 w 222012"/>
                  <a:gd name="connsiteY32" fmla="*/ 27384 h 82154"/>
                  <a:gd name="connsiteX33" fmla="*/ 152401 w 222012"/>
                  <a:gd name="connsiteY33" fmla="*/ 32147 h 82154"/>
                  <a:gd name="connsiteX34" fmla="*/ 150118 w 222012"/>
                  <a:gd name="connsiteY34" fmla="*/ 29864 h 82154"/>
                  <a:gd name="connsiteX35" fmla="*/ 152292 w 222012"/>
                  <a:gd name="connsiteY35" fmla="*/ 34231 h 82154"/>
                  <a:gd name="connsiteX36" fmla="*/ 159111 w 222012"/>
                  <a:gd name="connsiteY36" fmla="*/ 38795 h 82154"/>
                  <a:gd name="connsiteX37" fmla="*/ 161385 w 222012"/>
                  <a:gd name="connsiteY37" fmla="*/ 43359 h 82154"/>
                  <a:gd name="connsiteX38" fmla="*/ 168204 w 222012"/>
                  <a:gd name="connsiteY38" fmla="*/ 43359 h 82154"/>
                  <a:gd name="connsiteX39" fmla="*/ 168204 w 222012"/>
                  <a:gd name="connsiteY39" fmla="*/ 45641 h 82154"/>
                  <a:gd name="connsiteX40" fmla="*/ 170477 w 222012"/>
                  <a:gd name="connsiteY40" fmla="*/ 45641 h 82154"/>
                  <a:gd name="connsiteX41" fmla="*/ 170477 w 222012"/>
                  <a:gd name="connsiteY41" fmla="*/ 47923 h 82154"/>
                  <a:gd name="connsiteX42" fmla="*/ 175023 w 222012"/>
                  <a:gd name="connsiteY42" fmla="*/ 50205 h 82154"/>
                  <a:gd name="connsiteX43" fmla="*/ 184115 w 222012"/>
                  <a:gd name="connsiteY43" fmla="*/ 50205 h 82154"/>
                  <a:gd name="connsiteX44" fmla="*/ 190934 w 222012"/>
                  <a:gd name="connsiteY44" fmla="*/ 50205 h 82154"/>
                  <a:gd name="connsiteX45" fmla="*/ 190934 w 222012"/>
                  <a:gd name="connsiteY45" fmla="*/ 57052 h 82154"/>
                  <a:gd name="connsiteX46" fmla="*/ 193207 w 222012"/>
                  <a:gd name="connsiteY46" fmla="*/ 57052 h 82154"/>
                  <a:gd name="connsiteX47" fmla="*/ 188661 w 222012"/>
                  <a:gd name="connsiteY47" fmla="*/ 59334 h 82154"/>
                  <a:gd name="connsiteX48" fmla="*/ 209118 w 222012"/>
                  <a:gd name="connsiteY48" fmla="*/ 63898 h 82154"/>
                  <a:gd name="connsiteX49" fmla="*/ 220483 w 222012"/>
                  <a:gd name="connsiteY49" fmla="*/ 70744 h 82154"/>
                  <a:gd name="connsiteX50" fmla="*/ 215937 w 222012"/>
                  <a:gd name="connsiteY50" fmla="*/ 77590 h 82154"/>
                  <a:gd name="connsiteX51" fmla="*/ 200026 w 222012"/>
                  <a:gd name="connsiteY51" fmla="*/ 79872 h 82154"/>
                  <a:gd name="connsiteX52" fmla="*/ 202299 w 222012"/>
                  <a:gd name="connsiteY52" fmla="*/ 77590 h 82154"/>
                  <a:gd name="connsiteX53" fmla="*/ 195480 w 222012"/>
                  <a:gd name="connsiteY53" fmla="*/ 82154 h 82154"/>
                  <a:gd name="connsiteX54" fmla="*/ 181842 w 222012"/>
                  <a:gd name="connsiteY54" fmla="*/ 79872 h 82154"/>
                  <a:gd name="connsiteX55" fmla="*/ 145473 w 222012"/>
                  <a:gd name="connsiteY55" fmla="*/ 82154 h 82154"/>
                  <a:gd name="connsiteX56" fmla="*/ 156838 w 222012"/>
                  <a:gd name="connsiteY56" fmla="*/ 70744 h 82154"/>
                  <a:gd name="connsiteX57" fmla="*/ 159111 w 222012"/>
                  <a:gd name="connsiteY57" fmla="*/ 66180 h 82154"/>
                  <a:gd name="connsiteX58" fmla="*/ 154565 w 222012"/>
                  <a:gd name="connsiteY58" fmla="*/ 61616 h 82154"/>
                  <a:gd name="connsiteX59" fmla="*/ 134108 w 222012"/>
                  <a:gd name="connsiteY59" fmla="*/ 54769 h 82154"/>
                  <a:gd name="connsiteX60" fmla="*/ 131835 w 222012"/>
                  <a:gd name="connsiteY60" fmla="*/ 45641 h 82154"/>
                  <a:gd name="connsiteX61" fmla="*/ 131835 w 222012"/>
                  <a:gd name="connsiteY61" fmla="*/ 41077 h 82154"/>
                  <a:gd name="connsiteX62" fmla="*/ 129562 w 222012"/>
                  <a:gd name="connsiteY62" fmla="*/ 38795 h 82154"/>
                  <a:gd name="connsiteX63" fmla="*/ 120470 w 222012"/>
                  <a:gd name="connsiteY63" fmla="*/ 41077 h 82154"/>
                  <a:gd name="connsiteX64" fmla="*/ 109105 w 222012"/>
                  <a:gd name="connsiteY64" fmla="*/ 36513 h 82154"/>
                  <a:gd name="connsiteX65" fmla="*/ 102286 w 222012"/>
                  <a:gd name="connsiteY65" fmla="*/ 34231 h 82154"/>
                  <a:gd name="connsiteX66" fmla="*/ 95467 w 222012"/>
                  <a:gd name="connsiteY66" fmla="*/ 25103 h 82154"/>
                  <a:gd name="connsiteX67" fmla="*/ 79556 w 222012"/>
                  <a:gd name="connsiteY67" fmla="*/ 22820 h 82154"/>
                  <a:gd name="connsiteX68" fmla="*/ 79556 w 222012"/>
                  <a:gd name="connsiteY68" fmla="*/ 27385 h 82154"/>
                  <a:gd name="connsiteX69" fmla="*/ 77283 w 222012"/>
                  <a:gd name="connsiteY69" fmla="*/ 25103 h 82154"/>
                  <a:gd name="connsiteX70" fmla="*/ 70464 w 222012"/>
                  <a:gd name="connsiteY70" fmla="*/ 25103 h 82154"/>
                  <a:gd name="connsiteX71" fmla="*/ 61371 w 222012"/>
                  <a:gd name="connsiteY71" fmla="*/ 20538 h 82154"/>
                  <a:gd name="connsiteX72" fmla="*/ 68191 w 222012"/>
                  <a:gd name="connsiteY72" fmla="*/ 18256 h 82154"/>
                  <a:gd name="connsiteX73" fmla="*/ 68191 w 222012"/>
                  <a:gd name="connsiteY73" fmla="*/ 13692 h 82154"/>
                  <a:gd name="connsiteX74" fmla="*/ 45460 w 222012"/>
                  <a:gd name="connsiteY74" fmla="*/ 15974 h 82154"/>
                  <a:gd name="connsiteX75" fmla="*/ 36368 w 222012"/>
                  <a:gd name="connsiteY75" fmla="*/ 22820 h 82154"/>
                  <a:gd name="connsiteX76" fmla="*/ 27276 w 222012"/>
                  <a:gd name="connsiteY76" fmla="*/ 25103 h 82154"/>
                  <a:gd name="connsiteX77" fmla="*/ 22730 w 222012"/>
                  <a:gd name="connsiteY77" fmla="*/ 25103 h 82154"/>
                  <a:gd name="connsiteX78" fmla="*/ 20457 w 222012"/>
                  <a:gd name="connsiteY78" fmla="*/ 29667 h 82154"/>
                  <a:gd name="connsiteX79" fmla="*/ 9092 w 222012"/>
                  <a:gd name="connsiteY79" fmla="*/ 34231 h 82154"/>
                  <a:gd name="connsiteX80" fmla="*/ 0 w 222012"/>
                  <a:gd name="connsiteY80" fmla="*/ 31949 h 82154"/>
                  <a:gd name="connsiteX81" fmla="*/ 13638 w 222012"/>
                  <a:gd name="connsiteY81" fmla="*/ 29667 h 82154"/>
                  <a:gd name="connsiteX82" fmla="*/ 13638 w 222012"/>
                  <a:gd name="connsiteY82" fmla="*/ 20538 h 82154"/>
                  <a:gd name="connsiteX83" fmla="*/ 22730 w 222012"/>
                  <a:gd name="connsiteY83" fmla="*/ 11410 h 82154"/>
                  <a:gd name="connsiteX84" fmla="*/ 34095 w 222012"/>
                  <a:gd name="connsiteY84" fmla="*/ 6846 h 82154"/>
                  <a:gd name="connsiteX85" fmla="*/ 43187 w 222012"/>
                  <a:gd name="connsiteY85" fmla="*/ 4564 h 82154"/>
                  <a:gd name="connsiteX86" fmla="*/ 63645 w 222012"/>
                  <a:gd name="connsiteY86" fmla="*/ 0 h 82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22012" h="82154">
                    <a:moveTo>
                      <a:pt x="154565" y="34231"/>
                    </a:moveTo>
                    <a:cubicBezTo>
                      <a:pt x="156838" y="34231"/>
                      <a:pt x="163658" y="36513"/>
                      <a:pt x="163658" y="38795"/>
                    </a:cubicBezTo>
                    <a:cubicBezTo>
                      <a:pt x="161385" y="38795"/>
                      <a:pt x="161385" y="38795"/>
                      <a:pt x="159111" y="38795"/>
                    </a:cubicBezTo>
                    <a:cubicBezTo>
                      <a:pt x="159111" y="36513"/>
                      <a:pt x="156838" y="34231"/>
                      <a:pt x="154565" y="34231"/>
                    </a:cubicBezTo>
                    <a:close/>
                    <a:moveTo>
                      <a:pt x="45641" y="31948"/>
                    </a:moveTo>
                    <a:cubicBezTo>
                      <a:pt x="47824" y="31948"/>
                      <a:pt x="50007" y="36314"/>
                      <a:pt x="50007" y="38496"/>
                    </a:cubicBezTo>
                    <a:cubicBezTo>
                      <a:pt x="50007" y="42862"/>
                      <a:pt x="43458" y="42862"/>
                      <a:pt x="41276" y="42862"/>
                    </a:cubicBezTo>
                    <a:cubicBezTo>
                      <a:pt x="39093" y="42862"/>
                      <a:pt x="36910" y="40679"/>
                      <a:pt x="36910" y="38496"/>
                    </a:cubicBezTo>
                    <a:cubicBezTo>
                      <a:pt x="41276" y="42862"/>
                      <a:pt x="39093" y="36314"/>
                      <a:pt x="39093" y="34131"/>
                    </a:cubicBezTo>
                    <a:cubicBezTo>
                      <a:pt x="39093" y="31948"/>
                      <a:pt x="43458" y="29765"/>
                      <a:pt x="45641" y="31948"/>
                    </a:cubicBezTo>
                    <a:close/>
                    <a:moveTo>
                      <a:pt x="139303" y="15851"/>
                    </a:moveTo>
                    <a:cubicBezTo>
                      <a:pt x="141089" y="15627"/>
                      <a:pt x="142875" y="16074"/>
                      <a:pt x="144066" y="17860"/>
                    </a:cubicBezTo>
                    <a:lnTo>
                      <a:pt x="141686" y="17860"/>
                    </a:lnTo>
                    <a:lnTo>
                      <a:pt x="139303" y="17860"/>
                    </a:lnTo>
                    <a:cubicBezTo>
                      <a:pt x="136922" y="17860"/>
                      <a:pt x="136922" y="17860"/>
                      <a:pt x="134541" y="17860"/>
                    </a:cubicBezTo>
                    <a:cubicBezTo>
                      <a:pt x="135732" y="16967"/>
                      <a:pt x="137518" y="16074"/>
                      <a:pt x="139303" y="15851"/>
                    </a:cubicBezTo>
                    <a:close/>
                    <a:moveTo>
                      <a:pt x="63645" y="0"/>
                    </a:moveTo>
                    <a:cubicBezTo>
                      <a:pt x="65918" y="0"/>
                      <a:pt x="70464" y="0"/>
                      <a:pt x="75010" y="2282"/>
                    </a:cubicBezTo>
                    <a:cubicBezTo>
                      <a:pt x="77283" y="2282"/>
                      <a:pt x="81829" y="2282"/>
                      <a:pt x="84102" y="0"/>
                    </a:cubicBezTo>
                    <a:cubicBezTo>
                      <a:pt x="79556" y="2282"/>
                      <a:pt x="84102" y="4564"/>
                      <a:pt x="86375" y="2282"/>
                    </a:cubicBezTo>
                    <a:cubicBezTo>
                      <a:pt x="88648" y="2282"/>
                      <a:pt x="95467" y="2282"/>
                      <a:pt x="95467" y="2282"/>
                    </a:cubicBezTo>
                    <a:lnTo>
                      <a:pt x="101712" y="6462"/>
                    </a:lnTo>
                    <a:lnTo>
                      <a:pt x="100013" y="4763"/>
                    </a:lnTo>
                    <a:lnTo>
                      <a:pt x="102394" y="4763"/>
                    </a:lnTo>
                    <a:lnTo>
                      <a:pt x="102394" y="6846"/>
                    </a:lnTo>
                    <a:lnTo>
                      <a:pt x="111378" y="6846"/>
                    </a:lnTo>
                    <a:cubicBezTo>
                      <a:pt x="109105" y="9128"/>
                      <a:pt x="109105" y="9128"/>
                      <a:pt x="109105" y="9128"/>
                    </a:cubicBezTo>
                    <a:cubicBezTo>
                      <a:pt x="113651" y="11410"/>
                      <a:pt x="113651" y="13692"/>
                      <a:pt x="115924" y="15974"/>
                    </a:cubicBezTo>
                    <a:cubicBezTo>
                      <a:pt x="120470" y="20538"/>
                      <a:pt x="122743" y="20538"/>
                      <a:pt x="129562" y="20538"/>
                    </a:cubicBezTo>
                    <a:cubicBezTo>
                      <a:pt x="134108" y="20538"/>
                      <a:pt x="136381" y="22820"/>
                      <a:pt x="140927" y="25103"/>
                    </a:cubicBezTo>
                    <a:cubicBezTo>
                      <a:pt x="140927" y="27385"/>
                      <a:pt x="143200" y="25103"/>
                      <a:pt x="145473" y="27385"/>
                    </a:cubicBezTo>
                    <a:lnTo>
                      <a:pt x="149821" y="29567"/>
                    </a:lnTo>
                    <a:lnTo>
                      <a:pt x="147638" y="27384"/>
                    </a:lnTo>
                    <a:cubicBezTo>
                      <a:pt x="150019" y="25003"/>
                      <a:pt x="157163" y="29766"/>
                      <a:pt x="152401" y="32147"/>
                    </a:cubicBezTo>
                    <a:lnTo>
                      <a:pt x="150118" y="29864"/>
                    </a:lnTo>
                    <a:lnTo>
                      <a:pt x="152292" y="34231"/>
                    </a:lnTo>
                    <a:cubicBezTo>
                      <a:pt x="156838" y="34231"/>
                      <a:pt x="156838" y="36513"/>
                      <a:pt x="159111" y="38795"/>
                    </a:cubicBezTo>
                    <a:cubicBezTo>
                      <a:pt x="159111" y="38795"/>
                      <a:pt x="161385" y="41077"/>
                      <a:pt x="161385" y="43359"/>
                    </a:cubicBezTo>
                    <a:cubicBezTo>
                      <a:pt x="163658" y="36513"/>
                      <a:pt x="165931" y="43359"/>
                      <a:pt x="168204" y="43359"/>
                    </a:cubicBezTo>
                    <a:cubicBezTo>
                      <a:pt x="168204" y="45641"/>
                      <a:pt x="168204" y="45641"/>
                      <a:pt x="168204" y="45641"/>
                    </a:cubicBezTo>
                    <a:cubicBezTo>
                      <a:pt x="168204" y="45641"/>
                      <a:pt x="170477" y="45641"/>
                      <a:pt x="170477" y="45641"/>
                    </a:cubicBezTo>
                    <a:cubicBezTo>
                      <a:pt x="170477" y="47923"/>
                      <a:pt x="170477" y="47923"/>
                      <a:pt x="170477" y="47923"/>
                    </a:cubicBezTo>
                    <a:cubicBezTo>
                      <a:pt x="172750" y="47923"/>
                      <a:pt x="172750" y="47923"/>
                      <a:pt x="175023" y="50205"/>
                    </a:cubicBezTo>
                    <a:cubicBezTo>
                      <a:pt x="175023" y="43359"/>
                      <a:pt x="181842" y="50205"/>
                      <a:pt x="184115" y="50205"/>
                    </a:cubicBezTo>
                    <a:cubicBezTo>
                      <a:pt x="186388" y="52487"/>
                      <a:pt x="188661" y="50205"/>
                      <a:pt x="190934" y="50205"/>
                    </a:cubicBezTo>
                    <a:cubicBezTo>
                      <a:pt x="193207" y="50205"/>
                      <a:pt x="195480" y="54769"/>
                      <a:pt x="190934" y="57052"/>
                    </a:cubicBezTo>
                    <a:cubicBezTo>
                      <a:pt x="193207" y="57052"/>
                      <a:pt x="193207" y="57052"/>
                      <a:pt x="193207" y="57052"/>
                    </a:cubicBezTo>
                    <a:cubicBezTo>
                      <a:pt x="190934" y="57052"/>
                      <a:pt x="190934" y="59334"/>
                      <a:pt x="188661" y="59334"/>
                    </a:cubicBezTo>
                    <a:cubicBezTo>
                      <a:pt x="195480" y="61616"/>
                      <a:pt x="204572" y="59334"/>
                      <a:pt x="209118" y="63898"/>
                    </a:cubicBezTo>
                    <a:cubicBezTo>
                      <a:pt x="213664" y="66180"/>
                      <a:pt x="213664" y="70744"/>
                      <a:pt x="220483" y="70744"/>
                    </a:cubicBezTo>
                    <a:cubicBezTo>
                      <a:pt x="225029" y="73026"/>
                      <a:pt x="218210" y="75308"/>
                      <a:pt x="215937" y="77590"/>
                    </a:cubicBezTo>
                    <a:cubicBezTo>
                      <a:pt x="200026" y="79872"/>
                      <a:pt x="200026" y="79872"/>
                      <a:pt x="200026" y="79872"/>
                    </a:cubicBezTo>
                    <a:cubicBezTo>
                      <a:pt x="202299" y="77590"/>
                      <a:pt x="202299" y="77590"/>
                      <a:pt x="202299" y="77590"/>
                    </a:cubicBezTo>
                    <a:cubicBezTo>
                      <a:pt x="197753" y="77590"/>
                      <a:pt x="197753" y="82154"/>
                      <a:pt x="195480" y="82154"/>
                    </a:cubicBezTo>
                    <a:cubicBezTo>
                      <a:pt x="190934" y="79872"/>
                      <a:pt x="186388" y="79872"/>
                      <a:pt x="181842" y="79872"/>
                    </a:cubicBezTo>
                    <a:cubicBezTo>
                      <a:pt x="168204" y="77590"/>
                      <a:pt x="156838" y="82154"/>
                      <a:pt x="145473" y="82154"/>
                    </a:cubicBezTo>
                    <a:cubicBezTo>
                      <a:pt x="145473" y="75308"/>
                      <a:pt x="152292" y="75308"/>
                      <a:pt x="156838" y="70744"/>
                    </a:cubicBezTo>
                    <a:cubicBezTo>
                      <a:pt x="159111" y="70744"/>
                      <a:pt x="161385" y="68462"/>
                      <a:pt x="159111" y="66180"/>
                    </a:cubicBezTo>
                    <a:cubicBezTo>
                      <a:pt x="156838" y="63898"/>
                      <a:pt x="159111" y="59334"/>
                      <a:pt x="154565" y="61616"/>
                    </a:cubicBezTo>
                    <a:cubicBezTo>
                      <a:pt x="147746" y="63898"/>
                      <a:pt x="138654" y="61616"/>
                      <a:pt x="134108" y="54769"/>
                    </a:cubicBezTo>
                    <a:cubicBezTo>
                      <a:pt x="134108" y="52487"/>
                      <a:pt x="134108" y="47923"/>
                      <a:pt x="131835" y="45641"/>
                    </a:cubicBezTo>
                    <a:cubicBezTo>
                      <a:pt x="131835" y="43359"/>
                      <a:pt x="131835" y="43359"/>
                      <a:pt x="131835" y="41077"/>
                    </a:cubicBezTo>
                    <a:cubicBezTo>
                      <a:pt x="129562" y="38795"/>
                      <a:pt x="127289" y="41077"/>
                      <a:pt x="129562" y="38795"/>
                    </a:cubicBezTo>
                    <a:cubicBezTo>
                      <a:pt x="127289" y="36513"/>
                      <a:pt x="122743" y="41077"/>
                      <a:pt x="120470" y="41077"/>
                    </a:cubicBezTo>
                    <a:cubicBezTo>
                      <a:pt x="115924" y="41077"/>
                      <a:pt x="113651" y="36513"/>
                      <a:pt x="109105" y="36513"/>
                    </a:cubicBezTo>
                    <a:cubicBezTo>
                      <a:pt x="106832" y="36513"/>
                      <a:pt x="104559" y="36513"/>
                      <a:pt x="102286" y="34231"/>
                    </a:cubicBezTo>
                    <a:cubicBezTo>
                      <a:pt x="100013" y="31949"/>
                      <a:pt x="95467" y="31949"/>
                      <a:pt x="95467" y="25103"/>
                    </a:cubicBezTo>
                    <a:cubicBezTo>
                      <a:pt x="95467" y="29667"/>
                      <a:pt x="81829" y="29667"/>
                      <a:pt x="79556" y="22820"/>
                    </a:cubicBezTo>
                    <a:cubicBezTo>
                      <a:pt x="79556" y="25103"/>
                      <a:pt x="79556" y="25103"/>
                      <a:pt x="79556" y="27385"/>
                    </a:cubicBezTo>
                    <a:cubicBezTo>
                      <a:pt x="77283" y="27385"/>
                      <a:pt x="77283" y="27385"/>
                      <a:pt x="77283" y="25103"/>
                    </a:cubicBezTo>
                    <a:cubicBezTo>
                      <a:pt x="75010" y="25103"/>
                      <a:pt x="72737" y="25103"/>
                      <a:pt x="70464" y="25103"/>
                    </a:cubicBezTo>
                    <a:cubicBezTo>
                      <a:pt x="65918" y="25103"/>
                      <a:pt x="63645" y="22820"/>
                      <a:pt x="61371" y="20538"/>
                    </a:cubicBezTo>
                    <a:cubicBezTo>
                      <a:pt x="63645" y="18256"/>
                      <a:pt x="65918" y="18256"/>
                      <a:pt x="68191" y="18256"/>
                    </a:cubicBezTo>
                    <a:cubicBezTo>
                      <a:pt x="72737" y="18256"/>
                      <a:pt x="72737" y="13692"/>
                      <a:pt x="68191" y="13692"/>
                    </a:cubicBezTo>
                    <a:cubicBezTo>
                      <a:pt x="63645" y="11410"/>
                      <a:pt x="50006" y="11410"/>
                      <a:pt x="45460" y="15974"/>
                    </a:cubicBezTo>
                    <a:cubicBezTo>
                      <a:pt x="40914" y="18256"/>
                      <a:pt x="38641" y="20538"/>
                      <a:pt x="36368" y="22820"/>
                    </a:cubicBezTo>
                    <a:cubicBezTo>
                      <a:pt x="31822" y="25103"/>
                      <a:pt x="31822" y="22820"/>
                      <a:pt x="27276" y="25103"/>
                    </a:cubicBezTo>
                    <a:cubicBezTo>
                      <a:pt x="25003" y="25103"/>
                      <a:pt x="25003" y="25103"/>
                      <a:pt x="22730" y="25103"/>
                    </a:cubicBezTo>
                    <a:cubicBezTo>
                      <a:pt x="20457" y="27385"/>
                      <a:pt x="20457" y="27385"/>
                      <a:pt x="20457" y="29667"/>
                    </a:cubicBezTo>
                    <a:cubicBezTo>
                      <a:pt x="18184" y="31949"/>
                      <a:pt x="13638" y="31949"/>
                      <a:pt x="9092" y="34231"/>
                    </a:cubicBezTo>
                    <a:cubicBezTo>
                      <a:pt x="11365" y="27385"/>
                      <a:pt x="0" y="36513"/>
                      <a:pt x="0" y="31949"/>
                    </a:cubicBezTo>
                    <a:cubicBezTo>
                      <a:pt x="4546" y="31949"/>
                      <a:pt x="9092" y="27385"/>
                      <a:pt x="13638" y="29667"/>
                    </a:cubicBezTo>
                    <a:cubicBezTo>
                      <a:pt x="13638" y="27385"/>
                      <a:pt x="11365" y="22820"/>
                      <a:pt x="13638" y="20538"/>
                    </a:cubicBezTo>
                    <a:cubicBezTo>
                      <a:pt x="15911" y="18256"/>
                      <a:pt x="18184" y="13692"/>
                      <a:pt x="22730" y="11410"/>
                    </a:cubicBezTo>
                    <a:cubicBezTo>
                      <a:pt x="25003" y="9128"/>
                      <a:pt x="29549" y="9128"/>
                      <a:pt x="34095" y="6846"/>
                    </a:cubicBezTo>
                    <a:cubicBezTo>
                      <a:pt x="36368" y="6846"/>
                      <a:pt x="38641" y="4564"/>
                      <a:pt x="43187" y="4564"/>
                    </a:cubicBezTo>
                    <a:cubicBezTo>
                      <a:pt x="50006" y="4564"/>
                      <a:pt x="56825" y="0"/>
                      <a:pt x="63645" y="0"/>
                    </a:cubicBezTo>
                    <a:close/>
                  </a:path>
                </a:pathLst>
              </a:custGeom>
              <a:grpFill/>
              <a:ln w="3175">
                <a:solidFill>
                  <a:schemeClr val="accent2">
                    <a:lumMod val="75000"/>
                  </a:schemeClr>
                </a:solidFill>
              </a:ln>
            </p:spPr>
            <p:txBody>
              <a:bodyPr vert="horz" wrap="square" lIns="91273" tIns="45637" rIns="91273" bIns="4563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97" b="0" i="0" u="none" strike="noStrike" kern="1200" cap="none" spc="0" normalizeH="0" baseline="0" noProof="0" dirty="0">
                  <a:ln>
                    <a:noFill/>
                  </a:ln>
                  <a:solidFill>
                    <a:srgbClr val="000000"/>
                  </a:solidFill>
                  <a:effectLst/>
                  <a:uLnTx/>
                  <a:uFillTx/>
                  <a:latin typeface="Calibri"/>
                  <a:ea typeface="+mn-ea"/>
                  <a:cs typeface="+mn-cs"/>
                </a:endParaRPr>
              </a:p>
            </p:txBody>
          </p:sp>
          <p:sp>
            <p:nvSpPr>
              <p:cNvPr id="191" name="Columbia">
                <a:extLst>
                  <a:ext uri="{FF2B5EF4-FFF2-40B4-BE49-F238E27FC236}">
                    <a16:creationId xmlns:a16="http://schemas.microsoft.com/office/drawing/2014/main" id="{B5E4D6FB-EF68-BC40-A0B6-692C5078D06C}"/>
                  </a:ext>
                </a:extLst>
              </p:cNvPr>
              <p:cNvSpPr>
                <a:spLocks/>
              </p:cNvSpPr>
              <p:nvPr/>
            </p:nvSpPr>
            <p:spPr bwMode="auto">
              <a:xfrm>
                <a:off x="2058047" y="3035437"/>
                <a:ext cx="268149" cy="414962"/>
              </a:xfrm>
              <a:custGeom>
                <a:avLst/>
                <a:gdLst/>
                <a:ahLst/>
                <a:cxnLst>
                  <a:cxn ang="0">
                    <a:pos x="4" y="115"/>
                  </a:cxn>
                  <a:cxn ang="0">
                    <a:pos x="11" y="106"/>
                  </a:cxn>
                  <a:cxn ang="0">
                    <a:pos x="16" y="97"/>
                  </a:cxn>
                  <a:cxn ang="0">
                    <a:pos x="17" y="92"/>
                  </a:cxn>
                  <a:cxn ang="0">
                    <a:pos x="18" y="88"/>
                  </a:cxn>
                  <a:cxn ang="0">
                    <a:pos x="16" y="74"/>
                  </a:cxn>
                  <a:cxn ang="0">
                    <a:pos x="16" y="62"/>
                  </a:cxn>
                  <a:cxn ang="0">
                    <a:pos x="15" y="51"/>
                  </a:cxn>
                  <a:cxn ang="0">
                    <a:pos x="19" y="41"/>
                  </a:cxn>
                  <a:cxn ang="0">
                    <a:pos x="23" y="42"/>
                  </a:cxn>
                  <a:cxn ang="0">
                    <a:pos x="36" y="32"/>
                  </a:cxn>
                  <a:cxn ang="0">
                    <a:pos x="37" y="24"/>
                  </a:cxn>
                  <a:cxn ang="0">
                    <a:pos x="44" y="15"/>
                  </a:cxn>
                  <a:cxn ang="0">
                    <a:pos x="50" y="15"/>
                  </a:cxn>
                  <a:cxn ang="0">
                    <a:pos x="70" y="3"/>
                  </a:cxn>
                  <a:cxn ang="0">
                    <a:pos x="78" y="2"/>
                  </a:cxn>
                  <a:cxn ang="0">
                    <a:pos x="66" y="15"/>
                  </a:cxn>
                  <a:cxn ang="0">
                    <a:pos x="57" y="36"/>
                  </a:cxn>
                  <a:cxn ang="0">
                    <a:pos x="64" y="42"/>
                  </a:cxn>
                  <a:cxn ang="0">
                    <a:pos x="69" y="59"/>
                  </a:cxn>
                  <a:cxn ang="0">
                    <a:pos x="81" y="58"/>
                  </a:cxn>
                  <a:cxn ang="0">
                    <a:pos x="89" y="63"/>
                  </a:cxn>
                  <a:cxn ang="0">
                    <a:pos x="99" y="68"/>
                  </a:cxn>
                  <a:cxn ang="0">
                    <a:pos x="111" y="69"/>
                  </a:cxn>
                  <a:cxn ang="0">
                    <a:pos x="107" y="84"/>
                  </a:cxn>
                  <a:cxn ang="0">
                    <a:pos x="106" y="104"/>
                  </a:cxn>
                  <a:cxn ang="0">
                    <a:pos x="113" y="112"/>
                  </a:cxn>
                  <a:cxn ang="0">
                    <a:pos x="114" y="121"/>
                  </a:cxn>
                  <a:cxn ang="0">
                    <a:pos x="104" y="114"/>
                  </a:cxn>
                  <a:cxn ang="0">
                    <a:pos x="92" y="115"/>
                  </a:cxn>
                  <a:cxn ang="0">
                    <a:pos x="93" y="124"/>
                  </a:cxn>
                  <a:cxn ang="0">
                    <a:pos x="85" y="129"/>
                  </a:cxn>
                  <a:cxn ang="0">
                    <a:pos x="91" y="145"/>
                  </a:cxn>
                  <a:cxn ang="0">
                    <a:pos x="84" y="176"/>
                  </a:cxn>
                  <a:cxn ang="0">
                    <a:pos x="84" y="163"/>
                  </a:cxn>
                  <a:cxn ang="0">
                    <a:pos x="74" y="159"/>
                  </a:cxn>
                  <a:cxn ang="0">
                    <a:pos x="61" y="160"/>
                  </a:cxn>
                  <a:cxn ang="0">
                    <a:pos x="53" y="153"/>
                  </a:cxn>
                  <a:cxn ang="0">
                    <a:pos x="46" y="145"/>
                  </a:cxn>
                  <a:cxn ang="0">
                    <a:pos x="36" y="135"/>
                  </a:cxn>
                  <a:cxn ang="0">
                    <a:pos x="25" y="131"/>
                  </a:cxn>
                  <a:cxn ang="0">
                    <a:pos x="11" y="125"/>
                  </a:cxn>
                </a:cxnLst>
                <a:rect l="0" t="0" r="r" b="b"/>
                <a:pathLst>
                  <a:path w="116" h="179">
                    <a:moveTo>
                      <a:pt x="1" y="117"/>
                    </a:moveTo>
                    <a:cubicBezTo>
                      <a:pt x="0" y="117"/>
                      <a:pt x="0" y="117"/>
                      <a:pt x="0" y="117"/>
                    </a:cubicBezTo>
                    <a:cubicBezTo>
                      <a:pt x="0" y="115"/>
                      <a:pt x="3" y="114"/>
                      <a:pt x="4" y="115"/>
                    </a:cubicBezTo>
                    <a:cubicBezTo>
                      <a:pt x="5" y="113"/>
                      <a:pt x="3" y="111"/>
                      <a:pt x="4" y="110"/>
                    </a:cubicBezTo>
                    <a:cubicBezTo>
                      <a:pt x="5" y="107"/>
                      <a:pt x="8" y="107"/>
                      <a:pt x="10" y="107"/>
                    </a:cubicBezTo>
                    <a:cubicBezTo>
                      <a:pt x="10" y="107"/>
                      <a:pt x="10" y="106"/>
                      <a:pt x="11" y="106"/>
                    </a:cubicBezTo>
                    <a:cubicBezTo>
                      <a:pt x="11" y="106"/>
                      <a:pt x="12" y="107"/>
                      <a:pt x="12" y="106"/>
                    </a:cubicBezTo>
                    <a:cubicBezTo>
                      <a:pt x="12" y="104"/>
                      <a:pt x="14" y="102"/>
                      <a:pt x="13" y="102"/>
                    </a:cubicBezTo>
                    <a:cubicBezTo>
                      <a:pt x="15" y="101"/>
                      <a:pt x="15" y="99"/>
                      <a:pt x="16" y="97"/>
                    </a:cubicBezTo>
                    <a:cubicBezTo>
                      <a:pt x="17" y="96"/>
                      <a:pt x="18" y="95"/>
                      <a:pt x="19" y="95"/>
                    </a:cubicBezTo>
                    <a:cubicBezTo>
                      <a:pt x="17" y="94"/>
                      <a:pt x="19" y="93"/>
                      <a:pt x="19" y="92"/>
                    </a:cubicBezTo>
                    <a:cubicBezTo>
                      <a:pt x="18" y="92"/>
                      <a:pt x="17" y="93"/>
                      <a:pt x="17" y="92"/>
                    </a:cubicBezTo>
                    <a:cubicBezTo>
                      <a:pt x="18" y="92"/>
                      <a:pt x="18" y="91"/>
                      <a:pt x="18" y="90"/>
                    </a:cubicBezTo>
                    <a:cubicBezTo>
                      <a:pt x="17" y="90"/>
                      <a:pt x="16" y="92"/>
                      <a:pt x="16" y="91"/>
                    </a:cubicBezTo>
                    <a:cubicBezTo>
                      <a:pt x="16" y="89"/>
                      <a:pt x="17" y="89"/>
                      <a:pt x="18" y="88"/>
                    </a:cubicBezTo>
                    <a:cubicBezTo>
                      <a:pt x="16" y="88"/>
                      <a:pt x="17" y="86"/>
                      <a:pt x="17" y="85"/>
                    </a:cubicBezTo>
                    <a:cubicBezTo>
                      <a:pt x="17" y="83"/>
                      <a:pt x="17" y="80"/>
                      <a:pt x="17" y="78"/>
                    </a:cubicBezTo>
                    <a:cubicBezTo>
                      <a:pt x="17" y="77"/>
                      <a:pt x="16" y="76"/>
                      <a:pt x="16" y="74"/>
                    </a:cubicBezTo>
                    <a:cubicBezTo>
                      <a:pt x="16" y="73"/>
                      <a:pt x="18" y="73"/>
                      <a:pt x="18" y="71"/>
                    </a:cubicBezTo>
                    <a:cubicBezTo>
                      <a:pt x="18" y="70"/>
                      <a:pt x="15" y="67"/>
                      <a:pt x="17" y="67"/>
                    </a:cubicBezTo>
                    <a:cubicBezTo>
                      <a:pt x="18" y="66"/>
                      <a:pt x="17" y="63"/>
                      <a:pt x="16" y="62"/>
                    </a:cubicBezTo>
                    <a:cubicBezTo>
                      <a:pt x="15" y="60"/>
                      <a:pt x="15" y="58"/>
                      <a:pt x="13" y="57"/>
                    </a:cubicBezTo>
                    <a:cubicBezTo>
                      <a:pt x="12" y="56"/>
                      <a:pt x="13" y="55"/>
                      <a:pt x="14" y="54"/>
                    </a:cubicBezTo>
                    <a:cubicBezTo>
                      <a:pt x="15" y="53"/>
                      <a:pt x="14" y="52"/>
                      <a:pt x="15" y="51"/>
                    </a:cubicBezTo>
                    <a:cubicBezTo>
                      <a:pt x="15" y="52"/>
                      <a:pt x="16" y="52"/>
                      <a:pt x="16" y="53"/>
                    </a:cubicBezTo>
                    <a:cubicBezTo>
                      <a:pt x="18" y="52"/>
                      <a:pt x="20" y="49"/>
                      <a:pt x="20" y="47"/>
                    </a:cubicBezTo>
                    <a:cubicBezTo>
                      <a:pt x="19" y="44"/>
                      <a:pt x="17" y="43"/>
                      <a:pt x="19" y="41"/>
                    </a:cubicBezTo>
                    <a:cubicBezTo>
                      <a:pt x="19" y="42"/>
                      <a:pt x="20" y="44"/>
                      <a:pt x="21" y="45"/>
                    </a:cubicBezTo>
                    <a:cubicBezTo>
                      <a:pt x="22" y="46"/>
                      <a:pt x="24" y="47"/>
                      <a:pt x="22" y="48"/>
                    </a:cubicBezTo>
                    <a:cubicBezTo>
                      <a:pt x="25" y="51"/>
                      <a:pt x="24" y="43"/>
                      <a:pt x="23" y="42"/>
                    </a:cubicBezTo>
                    <a:cubicBezTo>
                      <a:pt x="23" y="41"/>
                      <a:pt x="28" y="38"/>
                      <a:pt x="29" y="37"/>
                    </a:cubicBezTo>
                    <a:cubicBezTo>
                      <a:pt x="30" y="36"/>
                      <a:pt x="31" y="34"/>
                      <a:pt x="32" y="33"/>
                    </a:cubicBezTo>
                    <a:cubicBezTo>
                      <a:pt x="33" y="33"/>
                      <a:pt x="35" y="33"/>
                      <a:pt x="36" y="32"/>
                    </a:cubicBezTo>
                    <a:cubicBezTo>
                      <a:pt x="36" y="31"/>
                      <a:pt x="35" y="30"/>
                      <a:pt x="35" y="30"/>
                    </a:cubicBezTo>
                    <a:cubicBezTo>
                      <a:pt x="36" y="28"/>
                      <a:pt x="36" y="26"/>
                      <a:pt x="37" y="25"/>
                    </a:cubicBezTo>
                    <a:cubicBezTo>
                      <a:pt x="35" y="25"/>
                      <a:pt x="36" y="24"/>
                      <a:pt x="37" y="24"/>
                    </a:cubicBezTo>
                    <a:cubicBezTo>
                      <a:pt x="38" y="23"/>
                      <a:pt x="37" y="22"/>
                      <a:pt x="37" y="22"/>
                    </a:cubicBezTo>
                    <a:cubicBezTo>
                      <a:pt x="37" y="20"/>
                      <a:pt x="40" y="19"/>
                      <a:pt x="40" y="19"/>
                    </a:cubicBezTo>
                    <a:cubicBezTo>
                      <a:pt x="40" y="18"/>
                      <a:pt x="43" y="15"/>
                      <a:pt x="44" y="15"/>
                    </a:cubicBezTo>
                    <a:cubicBezTo>
                      <a:pt x="46" y="15"/>
                      <a:pt x="47" y="16"/>
                      <a:pt x="48" y="16"/>
                    </a:cubicBezTo>
                    <a:cubicBezTo>
                      <a:pt x="47" y="16"/>
                      <a:pt x="47" y="17"/>
                      <a:pt x="46" y="17"/>
                    </a:cubicBezTo>
                    <a:cubicBezTo>
                      <a:pt x="47" y="21"/>
                      <a:pt x="49" y="16"/>
                      <a:pt x="50" y="15"/>
                    </a:cubicBezTo>
                    <a:cubicBezTo>
                      <a:pt x="51" y="12"/>
                      <a:pt x="52" y="12"/>
                      <a:pt x="55" y="13"/>
                    </a:cubicBezTo>
                    <a:cubicBezTo>
                      <a:pt x="60" y="14"/>
                      <a:pt x="61" y="11"/>
                      <a:pt x="64" y="9"/>
                    </a:cubicBezTo>
                    <a:cubicBezTo>
                      <a:pt x="66" y="7"/>
                      <a:pt x="72" y="6"/>
                      <a:pt x="70" y="3"/>
                    </a:cubicBezTo>
                    <a:cubicBezTo>
                      <a:pt x="71" y="3"/>
                      <a:pt x="73" y="2"/>
                      <a:pt x="72" y="3"/>
                    </a:cubicBezTo>
                    <a:cubicBezTo>
                      <a:pt x="73" y="3"/>
                      <a:pt x="72" y="2"/>
                      <a:pt x="74" y="1"/>
                    </a:cubicBezTo>
                    <a:cubicBezTo>
                      <a:pt x="75" y="0"/>
                      <a:pt x="77" y="0"/>
                      <a:pt x="78" y="2"/>
                    </a:cubicBezTo>
                    <a:cubicBezTo>
                      <a:pt x="84" y="6"/>
                      <a:pt x="73" y="8"/>
                      <a:pt x="71" y="10"/>
                    </a:cubicBezTo>
                    <a:cubicBezTo>
                      <a:pt x="70" y="11"/>
                      <a:pt x="70" y="13"/>
                      <a:pt x="69" y="14"/>
                    </a:cubicBezTo>
                    <a:cubicBezTo>
                      <a:pt x="68" y="14"/>
                      <a:pt x="67" y="14"/>
                      <a:pt x="66" y="15"/>
                    </a:cubicBezTo>
                    <a:cubicBezTo>
                      <a:pt x="65" y="16"/>
                      <a:pt x="64" y="18"/>
                      <a:pt x="63" y="20"/>
                    </a:cubicBezTo>
                    <a:cubicBezTo>
                      <a:pt x="62" y="23"/>
                      <a:pt x="62" y="25"/>
                      <a:pt x="61" y="28"/>
                    </a:cubicBezTo>
                    <a:cubicBezTo>
                      <a:pt x="60" y="30"/>
                      <a:pt x="58" y="33"/>
                      <a:pt x="57" y="36"/>
                    </a:cubicBezTo>
                    <a:cubicBezTo>
                      <a:pt x="58" y="36"/>
                      <a:pt x="59" y="35"/>
                      <a:pt x="60" y="34"/>
                    </a:cubicBezTo>
                    <a:cubicBezTo>
                      <a:pt x="60" y="35"/>
                      <a:pt x="60" y="35"/>
                      <a:pt x="60" y="36"/>
                    </a:cubicBezTo>
                    <a:cubicBezTo>
                      <a:pt x="63" y="35"/>
                      <a:pt x="62" y="40"/>
                      <a:pt x="64" y="42"/>
                    </a:cubicBezTo>
                    <a:cubicBezTo>
                      <a:pt x="66" y="44"/>
                      <a:pt x="66" y="46"/>
                      <a:pt x="65" y="49"/>
                    </a:cubicBezTo>
                    <a:cubicBezTo>
                      <a:pt x="64" y="50"/>
                      <a:pt x="63" y="54"/>
                      <a:pt x="66" y="54"/>
                    </a:cubicBezTo>
                    <a:cubicBezTo>
                      <a:pt x="68" y="55"/>
                      <a:pt x="67" y="58"/>
                      <a:pt x="69" y="59"/>
                    </a:cubicBezTo>
                    <a:cubicBezTo>
                      <a:pt x="70" y="59"/>
                      <a:pt x="71" y="58"/>
                      <a:pt x="72" y="58"/>
                    </a:cubicBezTo>
                    <a:cubicBezTo>
                      <a:pt x="74" y="58"/>
                      <a:pt x="75" y="59"/>
                      <a:pt x="77" y="59"/>
                    </a:cubicBezTo>
                    <a:cubicBezTo>
                      <a:pt x="78" y="59"/>
                      <a:pt x="79" y="58"/>
                      <a:pt x="81" y="58"/>
                    </a:cubicBezTo>
                    <a:cubicBezTo>
                      <a:pt x="82" y="58"/>
                      <a:pt x="83" y="59"/>
                      <a:pt x="84" y="59"/>
                    </a:cubicBezTo>
                    <a:cubicBezTo>
                      <a:pt x="85" y="60"/>
                      <a:pt x="86" y="59"/>
                      <a:pt x="86" y="60"/>
                    </a:cubicBezTo>
                    <a:cubicBezTo>
                      <a:pt x="88" y="60"/>
                      <a:pt x="88" y="62"/>
                      <a:pt x="89" y="63"/>
                    </a:cubicBezTo>
                    <a:cubicBezTo>
                      <a:pt x="90" y="64"/>
                      <a:pt x="90" y="65"/>
                      <a:pt x="91" y="67"/>
                    </a:cubicBezTo>
                    <a:cubicBezTo>
                      <a:pt x="92" y="68"/>
                      <a:pt x="92" y="68"/>
                      <a:pt x="94" y="68"/>
                    </a:cubicBezTo>
                    <a:cubicBezTo>
                      <a:pt x="95" y="69"/>
                      <a:pt x="97" y="67"/>
                      <a:pt x="99" y="68"/>
                    </a:cubicBezTo>
                    <a:cubicBezTo>
                      <a:pt x="100" y="68"/>
                      <a:pt x="102" y="67"/>
                      <a:pt x="103" y="67"/>
                    </a:cubicBezTo>
                    <a:cubicBezTo>
                      <a:pt x="104" y="67"/>
                      <a:pt x="106" y="68"/>
                      <a:pt x="107" y="67"/>
                    </a:cubicBezTo>
                    <a:cubicBezTo>
                      <a:pt x="109" y="66"/>
                      <a:pt x="112" y="68"/>
                      <a:pt x="111" y="69"/>
                    </a:cubicBezTo>
                    <a:cubicBezTo>
                      <a:pt x="111" y="71"/>
                      <a:pt x="109" y="71"/>
                      <a:pt x="109" y="73"/>
                    </a:cubicBezTo>
                    <a:cubicBezTo>
                      <a:pt x="109" y="74"/>
                      <a:pt x="109" y="75"/>
                      <a:pt x="108" y="76"/>
                    </a:cubicBezTo>
                    <a:cubicBezTo>
                      <a:pt x="106" y="77"/>
                      <a:pt x="107" y="82"/>
                      <a:pt x="107" y="84"/>
                    </a:cubicBezTo>
                    <a:cubicBezTo>
                      <a:pt x="107" y="86"/>
                      <a:pt x="108" y="89"/>
                      <a:pt x="108" y="91"/>
                    </a:cubicBezTo>
                    <a:cubicBezTo>
                      <a:pt x="108" y="93"/>
                      <a:pt x="112" y="96"/>
                      <a:pt x="111" y="98"/>
                    </a:cubicBezTo>
                    <a:cubicBezTo>
                      <a:pt x="111" y="100"/>
                      <a:pt x="106" y="101"/>
                      <a:pt x="106" y="104"/>
                    </a:cubicBezTo>
                    <a:cubicBezTo>
                      <a:pt x="108" y="103"/>
                      <a:pt x="112" y="107"/>
                      <a:pt x="112" y="109"/>
                    </a:cubicBezTo>
                    <a:cubicBezTo>
                      <a:pt x="112" y="109"/>
                      <a:pt x="112" y="109"/>
                      <a:pt x="112" y="110"/>
                    </a:cubicBezTo>
                    <a:cubicBezTo>
                      <a:pt x="112" y="110"/>
                      <a:pt x="113" y="111"/>
                      <a:pt x="113" y="112"/>
                    </a:cubicBezTo>
                    <a:cubicBezTo>
                      <a:pt x="113" y="113"/>
                      <a:pt x="114" y="115"/>
                      <a:pt x="114" y="117"/>
                    </a:cubicBezTo>
                    <a:cubicBezTo>
                      <a:pt x="114" y="117"/>
                      <a:pt x="115" y="120"/>
                      <a:pt x="115" y="121"/>
                    </a:cubicBezTo>
                    <a:cubicBezTo>
                      <a:pt x="116" y="121"/>
                      <a:pt x="115" y="121"/>
                      <a:pt x="114" y="121"/>
                    </a:cubicBezTo>
                    <a:cubicBezTo>
                      <a:pt x="113" y="121"/>
                      <a:pt x="113" y="121"/>
                      <a:pt x="113" y="120"/>
                    </a:cubicBezTo>
                    <a:cubicBezTo>
                      <a:pt x="113" y="119"/>
                      <a:pt x="113" y="111"/>
                      <a:pt x="110" y="111"/>
                    </a:cubicBezTo>
                    <a:cubicBezTo>
                      <a:pt x="108" y="111"/>
                      <a:pt x="105" y="118"/>
                      <a:pt x="104" y="114"/>
                    </a:cubicBezTo>
                    <a:cubicBezTo>
                      <a:pt x="104" y="113"/>
                      <a:pt x="102" y="112"/>
                      <a:pt x="102" y="114"/>
                    </a:cubicBezTo>
                    <a:cubicBezTo>
                      <a:pt x="103" y="116"/>
                      <a:pt x="100" y="115"/>
                      <a:pt x="98" y="115"/>
                    </a:cubicBezTo>
                    <a:cubicBezTo>
                      <a:pt x="96" y="115"/>
                      <a:pt x="94" y="115"/>
                      <a:pt x="92" y="115"/>
                    </a:cubicBezTo>
                    <a:cubicBezTo>
                      <a:pt x="91" y="115"/>
                      <a:pt x="89" y="115"/>
                      <a:pt x="88" y="115"/>
                    </a:cubicBezTo>
                    <a:cubicBezTo>
                      <a:pt x="86" y="116"/>
                      <a:pt x="87" y="121"/>
                      <a:pt x="87" y="123"/>
                    </a:cubicBezTo>
                    <a:cubicBezTo>
                      <a:pt x="89" y="121"/>
                      <a:pt x="93" y="122"/>
                      <a:pt x="93" y="124"/>
                    </a:cubicBezTo>
                    <a:cubicBezTo>
                      <a:pt x="94" y="125"/>
                      <a:pt x="94" y="127"/>
                      <a:pt x="93" y="127"/>
                    </a:cubicBezTo>
                    <a:cubicBezTo>
                      <a:pt x="92" y="127"/>
                      <a:pt x="91" y="126"/>
                      <a:pt x="90" y="126"/>
                    </a:cubicBezTo>
                    <a:cubicBezTo>
                      <a:pt x="88" y="127"/>
                      <a:pt x="85" y="127"/>
                      <a:pt x="85" y="129"/>
                    </a:cubicBezTo>
                    <a:cubicBezTo>
                      <a:pt x="85" y="132"/>
                      <a:pt x="84" y="136"/>
                      <a:pt x="87" y="138"/>
                    </a:cubicBezTo>
                    <a:cubicBezTo>
                      <a:pt x="88" y="139"/>
                      <a:pt x="89" y="139"/>
                      <a:pt x="89" y="141"/>
                    </a:cubicBezTo>
                    <a:cubicBezTo>
                      <a:pt x="89" y="143"/>
                      <a:pt x="90" y="143"/>
                      <a:pt x="91" y="145"/>
                    </a:cubicBezTo>
                    <a:cubicBezTo>
                      <a:pt x="92" y="148"/>
                      <a:pt x="90" y="152"/>
                      <a:pt x="90" y="156"/>
                    </a:cubicBezTo>
                    <a:cubicBezTo>
                      <a:pt x="89" y="163"/>
                      <a:pt x="89" y="172"/>
                      <a:pt x="87" y="179"/>
                    </a:cubicBezTo>
                    <a:cubicBezTo>
                      <a:pt x="86" y="178"/>
                      <a:pt x="85" y="177"/>
                      <a:pt x="84" y="176"/>
                    </a:cubicBezTo>
                    <a:cubicBezTo>
                      <a:pt x="83" y="175"/>
                      <a:pt x="81" y="176"/>
                      <a:pt x="80" y="175"/>
                    </a:cubicBezTo>
                    <a:cubicBezTo>
                      <a:pt x="79" y="174"/>
                      <a:pt x="82" y="169"/>
                      <a:pt x="82" y="168"/>
                    </a:cubicBezTo>
                    <a:cubicBezTo>
                      <a:pt x="83" y="167"/>
                      <a:pt x="86" y="164"/>
                      <a:pt x="84" y="163"/>
                    </a:cubicBezTo>
                    <a:cubicBezTo>
                      <a:pt x="84" y="162"/>
                      <a:pt x="83" y="160"/>
                      <a:pt x="82" y="161"/>
                    </a:cubicBezTo>
                    <a:cubicBezTo>
                      <a:pt x="81" y="161"/>
                      <a:pt x="79" y="159"/>
                      <a:pt x="78" y="158"/>
                    </a:cubicBezTo>
                    <a:cubicBezTo>
                      <a:pt x="77" y="157"/>
                      <a:pt x="76" y="158"/>
                      <a:pt x="74" y="159"/>
                    </a:cubicBezTo>
                    <a:cubicBezTo>
                      <a:pt x="72" y="160"/>
                      <a:pt x="71" y="158"/>
                      <a:pt x="70" y="158"/>
                    </a:cubicBezTo>
                    <a:cubicBezTo>
                      <a:pt x="69" y="158"/>
                      <a:pt x="67" y="161"/>
                      <a:pt x="64" y="161"/>
                    </a:cubicBezTo>
                    <a:cubicBezTo>
                      <a:pt x="63" y="160"/>
                      <a:pt x="62" y="160"/>
                      <a:pt x="61" y="160"/>
                    </a:cubicBezTo>
                    <a:cubicBezTo>
                      <a:pt x="59" y="161"/>
                      <a:pt x="58" y="160"/>
                      <a:pt x="57" y="159"/>
                    </a:cubicBezTo>
                    <a:cubicBezTo>
                      <a:pt x="56" y="159"/>
                      <a:pt x="57" y="156"/>
                      <a:pt x="56" y="155"/>
                    </a:cubicBezTo>
                    <a:cubicBezTo>
                      <a:pt x="56" y="153"/>
                      <a:pt x="53" y="154"/>
                      <a:pt x="53" y="153"/>
                    </a:cubicBezTo>
                    <a:cubicBezTo>
                      <a:pt x="52" y="151"/>
                      <a:pt x="52" y="150"/>
                      <a:pt x="51" y="149"/>
                    </a:cubicBezTo>
                    <a:cubicBezTo>
                      <a:pt x="51" y="148"/>
                      <a:pt x="49" y="148"/>
                      <a:pt x="49" y="147"/>
                    </a:cubicBezTo>
                    <a:cubicBezTo>
                      <a:pt x="48" y="146"/>
                      <a:pt x="47" y="146"/>
                      <a:pt x="46" y="145"/>
                    </a:cubicBezTo>
                    <a:cubicBezTo>
                      <a:pt x="45" y="145"/>
                      <a:pt x="44" y="143"/>
                      <a:pt x="44" y="142"/>
                    </a:cubicBezTo>
                    <a:cubicBezTo>
                      <a:pt x="44" y="139"/>
                      <a:pt x="39" y="135"/>
                      <a:pt x="37" y="135"/>
                    </a:cubicBezTo>
                    <a:cubicBezTo>
                      <a:pt x="37" y="135"/>
                      <a:pt x="36" y="134"/>
                      <a:pt x="36" y="135"/>
                    </a:cubicBezTo>
                    <a:cubicBezTo>
                      <a:pt x="35" y="135"/>
                      <a:pt x="35" y="135"/>
                      <a:pt x="35" y="135"/>
                    </a:cubicBezTo>
                    <a:cubicBezTo>
                      <a:pt x="33" y="134"/>
                      <a:pt x="31" y="134"/>
                      <a:pt x="30" y="133"/>
                    </a:cubicBezTo>
                    <a:cubicBezTo>
                      <a:pt x="29" y="132"/>
                      <a:pt x="26" y="127"/>
                      <a:pt x="25" y="131"/>
                    </a:cubicBezTo>
                    <a:cubicBezTo>
                      <a:pt x="25" y="133"/>
                      <a:pt x="18" y="130"/>
                      <a:pt x="16" y="130"/>
                    </a:cubicBezTo>
                    <a:cubicBezTo>
                      <a:pt x="14" y="130"/>
                      <a:pt x="16" y="128"/>
                      <a:pt x="14" y="127"/>
                    </a:cubicBezTo>
                    <a:cubicBezTo>
                      <a:pt x="13" y="126"/>
                      <a:pt x="13" y="125"/>
                      <a:pt x="11" y="125"/>
                    </a:cubicBezTo>
                    <a:cubicBezTo>
                      <a:pt x="10" y="125"/>
                      <a:pt x="7" y="123"/>
                      <a:pt x="6" y="122"/>
                    </a:cubicBezTo>
                    <a:cubicBezTo>
                      <a:pt x="4" y="121"/>
                      <a:pt x="2" y="119"/>
                      <a:pt x="1" y="117"/>
                    </a:cubicBezTo>
                  </a:path>
                </a:pathLst>
              </a:custGeom>
              <a:grpFill/>
              <a:ln w="3175">
                <a:solidFill>
                  <a:schemeClr val="accent2">
                    <a:lumMod val="75000"/>
                  </a:schemeClr>
                </a:solidFill>
              </a:ln>
            </p:spPr>
            <p:txBody>
              <a:bodyPr vert="horz" wrap="square" lIns="91273" tIns="45637" rIns="91273" bIns="4563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97" b="0" i="0" u="none" strike="noStrike" kern="1200" cap="none" spc="0" normalizeH="0" baseline="0" noProof="0" dirty="0">
                  <a:ln>
                    <a:noFill/>
                  </a:ln>
                  <a:solidFill>
                    <a:srgbClr val="000000"/>
                  </a:solidFill>
                  <a:effectLst/>
                  <a:uLnTx/>
                  <a:uFillTx/>
                  <a:latin typeface="Calibri"/>
                  <a:ea typeface="+mn-ea"/>
                  <a:cs typeface="+mn-cs"/>
                </a:endParaRPr>
              </a:p>
            </p:txBody>
          </p:sp>
          <p:sp>
            <p:nvSpPr>
              <p:cNvPr id="192" name="Chile">
                <a:extLst>
                  <a:ext uri="{FF2B5EF4-FFF2-40B4-BE49-F238E27FC236}">
                    <a16:creationId xmlns:a16="http://schemas.microsoft.com/office/drawing/2014/main" id="{FF830AF6-6C2D-8FEB-937C-1E38A1CAF845}"/>
                  </a:ext>
                </a:extLst>
              </p:cNvPr>
              <p:cNvSpPr>
                <a:spLocks/>
              </p:cNvSpPr>
              <p:nvPr/>
            </p:nvSpPr>
            <p:spPr bwMode="auto">
              <a:xfrm>
                <a:off x="2274023" y="3781637"/>
                <a:ext cx="333667" cy="942763"/>
              </a:xfrm>
              <a:custGeom>
                <a:avLst/>
                <a:gdLst>
                  <a:gd name="connsiteX0" fmla="*/ 315515 w 327421"/>
                  <a:gd name="connsiteY0" fmla="*/ 922735 h 925116"/>
                  <a:gd name="connsiteX1" fmla="*/ 320277 w 327421"/>
                  <a:gd name="connsiteY1" fmla="*/ 922735 h 925116"/>
                  <a:gd name="connsiteX2" fmla="*/ 320277 w 327421"/>
                  <a:gd name="connsiteY2" fmla="*/ 925116 h 925116"/>
                  <a:gd name="connsiteX3" fmla="*/ 315515 w 327421"/>
                  <a:gd name="connsiteY3" fmla="*/ 922735 h 925116"/>
                  <a:gd name="connsiteX4" fmla="*/ 320278 w 327421"/>
                  <a:gd name="connsiteY4" fmla="*/ 917972 h 925116"/>
                  <a:gd name="connsiteX5" fmla="*/ 325040 w 327421"/>
                  <a:gd name="connsiteY5" fmla="*/ 922735 h 925116"/>
                  <a:gd name="connsiteX6" fmla="*/ 320278 w 327421"/>
                  <a:gd name="connsiteY6" fmla="*/ 920354 h 925116"/>
                  <a:gd name="connsiteX7" fmla="*/ 320278 w 327421"/>
                  <a:gd name="connsiteY7" fmla="*/ 917972 h 925116"/>
                  <a:gd name="connsiteX8" fmla="*/ 327421 w 327421"/>
                  <a:gd name="connsiteY8" fmla="*/ 909638 h 925116"/>
                  <a:gd name="connsiteX9" fmla="*/ 327421 w 327421"/>
                  <a:gd name="connsiteY9" fmla="*/ 912019 h 925116"/>
                  <a:gd name="connsiteX10" fmla="*/ 322659 w 327421"/>
                  <a:gd name="connsiteY10" fmla="*/ 912019 h 925116"/>
                  <a:gd name="connsiteX11" fmla="*/ 327421 w 327421"/>
                  <a:gd name="connsiteY11" fmla="*/ 909638 h 925116"/>
                  <a:gd name="connsiteX12" fmla="*/ 267890 w 327421"/>
                  <a:gd name="connsiteY12" fmla="*/ 902495 h 925116"/>
                  <a:gd name="connsiteX13" fmla="*/ 278606 w 327421"/>
                  <a:gd name="connsiteY13" fmla="*/ 902495 h 925116"/>
                  <a:gd name="connsiteX14" fmla="*/ 270033 w 327421"/>
                  <a:gd name="connsiteY14" fmla="*/ 904876 h 925116"/>
                  <a:gd name="connsiteX15" fmla="*/ 267890 w 327421"/>
                  <a:gd name="connsiteY15" fmla="*/ 902495 h 925116"/>
                  <a:gd name="connsiteX16" fmla="*/ 309020 w 327421"/>
                  <a:gd name="connsiteY16" fmla="*/ 902494 h 925116"/>
                  <a:gd name="connsiteX17" fmla="*/ 320385 w 327421"/>
                  <a:gd name="connsiteY17" fmla="*/ 907257 h 925116"/>
                  <a:gd name="connsiteX18" fmla="*/ 318112 w 327421"/>
                  <a:gd name="connsiteY18" fmla="*/ 912020 h 925116"/>
                  <a:gd name="connsiteX19" fmla="*/ 313566 w 327421"/>
                  <a:gd name="connsiteY19" fmla="*/ 909638 h 925116"/>
                  <a:gd name="connsiteX20" fmla="*/ 313566 w 327421"/>
                  <a:gd name="connsiteY20" fmla="*/ 912020 h 925116"/>
                  <a:gd name="connsiteX21" fmla="*/ 309020 w 327421"/>
                  <a:gd name="connsiteY21" fmla="*/ 912020 h 925116"/>
                  <a:gd name="connsiteX22" fmla="*/ 302201 w 327421"/>
                  <a:gd name="connsiteY22" fmla="*/ 909638 h 925116"/>
                  <a:gd name="connsiteX23" fmla="*/ 297655 w 327421"/>
                  <a:gd name="connsiteY23" fmla="*/ 904876 h 925116"/>
                  <a:gd name="connsiteX24" fmla="*/ 309020 w 327421"/>
                  <a:gd name="connsiteY24" fmla="*/ 902494 h 925116"/>
                  <a:gd name="connsiteX25" fmla="*/ 292705 w 327421"/>
                  <a:gd name="connsiteY25" fmla="*/ 902494 h 925116"/>
                  <a:gd name="connsiteX26" fmla="*/ 294961 w 327421"/>
                  <a:gd name="connsiteY26" fmla="*/ 906959 h 925116"/>
                  <a:gd name="connsiteX27" fmla="*/ 285937 w 327421"/>
                  <a:gd name="connsiteY27" fmla="*/ 904727 h 925116"/>
                  <a:gd name="connsiteX28" fmla="*/ 301728 w 327421"/>
                  <a:gd name="connsiteY28" fmla="*/ 911424 h 925116"/>
                  <a:gd name="connsiteX29" fmla="*/ 294961 w 327421"/>
                  <a:gd name="connsiteY29" fmla="*/ 909192 h 925116"/>
                  <a:gd name="connsiteX30" fmla="*/ 301728 w 327421"/>
                  <a:gd name="connsiteY30" fmla="*/ 913657 h 925116"/>
                  <a:gd name="connsiteX31" fmla="*/ 310752 w 327421"/>
                  <a:gd name="connsiteY31" fmla="*/ 918122 h 925116"/>
                  <a:gd name="connsiteX32" fmla="*/ 301728 w 327421"/>
                  <a:gd name="connsiteY32" fmla="*/ 915889 h 925116"/>
                  <a:gd name="connsiteX33" fmla="*/ 292705 w 327421"/>
                  <a:gd name="connsiteY33" fmla="*/ 913657 h 925116"/>
                  <a:gd name="connsiteX34" fmla="*/ 288193 w 327421"/>
                  <a:gd name="connsiteY34" fmla="*/ 909192 h 925116"/>
                  <a:gd name="connsiteX35" fmla="*/ 279170 w 327421"/>
                  <a:gd name="connsiteY35" fmla="*/ 906959 h 925116"/>
                  <a:gd name="connsiteX36" fmla="*/ 281425 w 327421"/>
                  <a:gd name="connsiteY36" fmla="*/ 911424 h 925116"/>
                  <a:gd name="connsiteX37" fmla="*/ 285937 w 327421"/>
                  <a:gd name="connsiteY37" fmla="*/ 913657 h 925116"/>
                  <a:gd name="connsiteX38" fmla="*/ 276914 w 327421"/>
                  <a:gd name="connsiteY38" fmla="*/ 909192 h 925116"/>
                  <a:gd name="connsiteX39" fmla="*/ 267890 w 327421"/>
                  <a:gd name="connsiteY39" fmla="*/ 906959 h 925116"/>
                  <a:gd name="connsiteX40" fmla="*/ 276914 w 327421"/>
                  <a:gd name="connsiteY40" fmla="*/ 906959 h 925116"/>
                  <a:gd name="connsiteX41" fmla="*/ 283681 w 327421"/>
                  <a:gd name="connsiteY41" fmla="*/ 904727 h 925116"/>
                  <a:gd name="connsiteX42" fmla="*/ 292705 w 327421"/>
                  <a:gd name="connsiteY42" fmla="*/ 902494 h 925116"/>
                  <a:gd name="connsiteX43" fmla="*/ 247650 w 327421"/>
                  <a:gd name="connsiteY43" fmla="*/ 902494 h 925116"/>
                  <a:gd name="connsiteX44" fmla="*/ 252412 w 327421"/>
                  <a:gd name="connsiteY44" fmla="*/ 902494 h 925116"/>
                  <a:gd name="connsiteX45" fmla="*/ 254283 w 327421"/>
                  <a:gd name="connsiteY45" fmla="*/ 902494 h 925116"/>
                  <a:gd name="connsiteX46" fmla="*/ 258706 w 327421"/>
                  <a:gd name="connsiteY46" fmla="*/ 902494 h 925116"/>
                  <a:gd name="connsiteX47" fmla="*/ 256495 w 327421"/>
                  <a:gd name="connsiteY47" fmla="*/ 904875 h 925116"/>
                  <a:gd name="connsiteX48" fmla="*/ 263128 w 327421"/>
                  <a:gd name="connsiteY48" fmla="*/ 907257 h 925116"/>
                  <a:gd name="connsiteX49" fmla="*/ 260917 w 327421"/>
                  <a:gd name="connsiteY49" fmla="*/ 909638 h 925116"/>
                  <a:gd name="connsiteX50" fmla="*/ 247650 w 327421"/>
                  <a:gd name="connsiteY50" fmla="*/ 902494 h 925116"/>
                  <a:gd name="connsiteX51" fmla="*/ 240506 w 327421"/>
                  <a:gd name="connsiteY51" fmla="*/ 900113 h 925116"/>
                  <a:gd name="connsiteX52" fmla="*/ 247650 w 327421"/>
                  <a:gd name="connsiteY52" fmla="*/ 902494 h 925116"/>
                  <a:gd name="connsiteX53" fmla="*/ 240506 w 327421"/>
                  <a:gd name="connsiteY53" fmla="*/ 902494 h 925116"/>
                  <a:gd name="connsiteX54" fmla="*/ 240506 w 327421"/>
                  <a:gd name="connsiteY54" fmla="*/ 900113 h 925116"/>
                  <a:gd name="connsiteX55" fmla="*/ 213121 w 327421"/>
                  <a:gd name="connsiteY55" fmla="*/ 889397 h 925116"/>
                  <a:gd name="connsiteX56" fmla="*/ 217883 w 327421"/>
                  <a:gd name="connsiteY56" fmla="*/ 889397 h 925116"/>
                  <a:gd name="connsiteX57" fmla="*/ 215502 w 327421"/>
                  <a:gd name="connsiteY57" fmla="*/ 891778 h 925116"/>
                  <a:gd name="connsiteX58" fmla="*/ 213121 w 327421"/>
                  <a:gd name="connsiteY58" fmla="*/ 889397 h 925116"/>
                  <a:gd name="connsiteX59" fmla="*/ 213121 w 327421"/>
                  <a:gd name="connsiteY59" fmla="*/ 882254 h 925116"/>
                  <a:gd name="connsiteX60" fmla="*/ 210740 w 327421"/>
                  <a:gd name="connsiteY60" fmla="*/ 887017 h 925116"/>
                  <a:gd name="connsiteX61" fmla="*/ 213121 w 327421"/>
                  <a:gd name="connsiteY61" fmla="*/ 882254 h 925116"/>
                  <a:gd name="connsiteX62" fmla="*/ 225028 w 327421"/>
                  <a:gd name="connsiteY62" fmla="*/ 879872 h 925116"/>
                  <a:gd name="connsiteX63" fmla="*/ 231661 w 327421"/>
                  <a:gd name="connsiteY63" fmla="*/ 882253 h 925116"/>
                  <a:gd name="connsiteX64" fmla="*/ 236084 w 327421"/>
                  <a:gd name="connsiteY64" fmla="*/ 884635 h 925116"/>
                  <a:gd name="connsiteX65" fmla="*/ 240506 w 327421"/>
                  <a:gd name="connsiteY65" fmla="*/ 887016 h 925116"/>
                  <a:gd name="connsiteX66" fmla="*/ 236084 w 327421"/>
                  <a:gd name="connsiteY66" fmla="*/ 889397 h 925116"/>
                  <a:gd name="connsiteX67" fmla="*/ 231661 w 327421"/>
                  <a:gd name="connsiteY67" fmla="*/ 884635 h 925116"/>
                  <a:gd name="connsiteX68" fmla="*/ 225028 w 327421"/>
                  <a:gd name="connsiteY68" fmla="*/ 879872 h 925116"/>
                  <a:gd name="connsiteX69" fmla="*/ 242888 w 327421"/>
                  <a:gd name="connsiteY69" fmla="*/ 872728 h 925116"/>
                  <a:gd name="connsiteX70" fmla="*/ 247650 w 327421"/>
                  <a:gd name="connsiteY70" fmla="*/ 879872 h 925116"/>
                  <a:gd name="connsiteX71" fmla="*/ 242888 w 327421"/>
                  <a:gd name="connsiteY71" fmla="*/ 879872 h 925116"/>
                  <a:gd name="connsiteX72" fmla="*/ 247650 w 327421"/>
                  <a:gd name="connsiteY72" fmla="*/ 887016 h 925116"/>
                  <a:gd name="connsiteX73" fmla="*/ 235744 w 327421"/>
                  <a:gd name="connsiteY73" fmla="*/ 877491 h 925116"/>
                  <a:gd name="connsiteX74" fmla="*/ 240506 w 327421"/>
                  <a:gd name="connsiteY74" fmla="*/ 877491 h 925116"/>
                  <a:gd name="connsiteX75" fmla="*/ 242888 w 327421"/>
                  <a:gd name="connsiteY75" fmla="*/ 872728 h 925116"/>
                  <a:gd name="connsiteX76" fmla="*/ 188019 w 327421"/>
                  <a:gd name="connsiteY76" fmla="*/ 869009 h 925116"/>
                  <a:gd name="connsiteX77" fmla="*/ 190301 w 327421"/>
                  <a:gd name="connsiteY77" fmla="*/ 869009 h 925116"/>
                  <a:gd name="connsiteX78" fmla="*/ 197147 w 327421"/>
                  <a:gd name="connsiteY78" fmla="*/ 873474 h 925116"/>
                  <a:gd name="connsiteX79" fmla="*/ 201712 w 327421"/>
                  <a:gd name="connsiteY79" fmla="*/ 873474 h 925116"/>
                  <a:gd name="connsiteX80" fmla="*/ 206276 w 327421"/>
                  <a:gd name="connsiteY80" fmla="*/ 873474 h 925116"/>
                  <a:gd name="connsiteX81" fmla="*/ 213122 w 327421"/>
                  <a:gd name="connsiteY81" fmla="*/ 877939 h 925116"/>
                  <a:gd name="connsiteX82" fmla="*/ 213122 w 327421"/>
                  <a:gd name="connsiteY82" fmla="*/ 879872 h 925116"/>
                  <a:gd name="connsiteX83" fmla="*/ 219754 w 327421"/>
                  <a:gd name="connsiteY83" fmla="*/ 879872 h 925116"/>
                  <a:gd name="connsiteX84" fmla="*/ 224177 w 327421"/>
                  <a:gd name="connsiteY84" fmla="*/ 879872 h 925116"/>
                  <a:gd name="connsiteX85" fmla="*/ 226388 w 327421"/>
                  <a:gd name="connsiteY85" fmla="*/ 884635 h 925116"/>
                  <a:gd name="connsiteX86" fmla="*/ 221966 w 327421"/>
                  <a:gd name="connsiteY86" fmla="*/ 882254 h 925116"/>
                  <a:gd name="connsiteX87" fmla="*/ 221966 w 327421"/>
                  <a:gd name="connsiteY87" fmla="*/ 889397 h 925116"/>
                  <a:gd name="connsiteX88" fmla="*/ 219202 w 327421"/>
                  <a:gd name="connsiteY88" fmla="*/ 884635 h 925116"/>
                  <a:gd name="connsiteX89" fmla="*/ 213122 w 327421"/>
                  <a:gd name="connsiteY89" fmla="*/ 879873 h 925116"/>
                  <a:gd name="connsiteX90" fmla="*/ 213122 w 327421"/>
                  <a:gd name="connsiteY90" fmla="*/ 880171 h 925116"/>
                  <a:gd name="connsiteX91" fmla="*/ 203994 w 327421"/>
                  <a:gd name="connsiteY91" fmla="*/ 884636 h 925116"/>
                  <a:gd name="connsiteX92" fmla="*/ 201712 w 327421"/>
                  <a:gd name="connsiteY92" fmla="*/ 882404 h 925116"/>
                  <a:gd name="connsiteX93" fmla="*/ 203994 w 327421"/>
                  <a:gd name="connsiteY93" fmla="*/ 882404 h 925116"/>
                  <a:gd name="connsiteX94" fmla="*/ 203994 w 327421"/>
                  <a:gd name="connsiteY94" fmla="*/ 880171 h 925116"/>
                  <a:gd name="connsiteX95" fmla="*/ 203994 w 327421"/>
                  <a:gd name="connsiteY95" fmla="*/ 877939 h 925116"/>
                  <a:gd name="connsiteX96" fmla="*/ 197147 w 327421"/>
                  <a:gd name="connsiteY96" fmla="*/ 880171 h 925116"/>
                  <a:gd name="connsiteX97" fmla="*/ 192583 w 327421"/>
                  <a:gd name="connsiteY97" fmla="*/ 880171 h 925116"/>
                  <a:gd name="connsiteX98" fmla="*/ 188019 w 327421"/>
                  <a:gd name="connsiteY98" fmla="*/ 875706 h 925116"/>
                  <a:gd name="connsiteX99" fmla="*/ 185737 w 327421"/>
                  <a:gd name="connsiteY99" fmla="*/ 873474 h 925116"/>
                  <a:gd name="connsiteX100" fmla="*/ 194865 w 327421"/>
                  <a:gd name="connsiteY100" fmla="*/ 873474 h 925116"/>
                  <a:gd name="connsiteX101" fmla="*/ 188019 w 327421"/>
                  <a:gd name="connsiteY101" fmla="*/ 869009 h 925116"/>
                  <a:gd name="connsiteX102" fmla="*/ 185737 w 327421"/>
                  <a:gd name="connsiteY102" fmla="*/ 866776 h 925116"/>
                  <a:gd name="connsiteX103" fmla="*/ 178593 w 327421"/>
                  <a:gd name="connsiteY103" fmla="*/ 868562 h 925116"/>
                  <a:gd name="connsiteX104" fmla="*/ 180974 w 327421"/>
                  <a:gd name="connsiteY104" fmla="*/ 868562 h 925116"/>
                  <a:gd name="connsiteX105" fmla="*/ 185737 w 327421"/>
                  <a:gd name="connsiteY105" fmla="*/ 866776 h 925116"/>
                  <a:gd name="connsiteX106" fmla="*/ 153590 w 327421"/>
                  <a:gd name="connsiteY106" fmla="*/ 852487 h 925116"/>
                  <a:gd name="connsiteX107" fmla="*/ 165124 w 327421"/>
                  <a:gd name="connsiteY107" fmla="*/ 857250 h 925116"/>
                  <a:gd name="connsiteX108" fmla="*/ 176582 w 327421"/>
                  <a:gd name="connsiteY108" fmla="*/ 861193 h 925116"/>
                  <a:gd name="connsiteX109" fmla="*/ 178966 w 327421"/>
                  <a:gd name="connsiteY109" fmla="*/ 862013 h 925116"/>
                  <a:gd name="connsiteX110" fmla="*/ 180119 w 327421"/>
                  <a:gd name="connsiteY110" fmla="*/ 861120 h 925116"/>
                  <a:gd name="connsiteX111" fmla="*/ 181805 w 327421"/>
                  <a:gd name="connsiteY111" fmla="*/ 862288 h 925116"/>
                  <a:gd name="connsiteX112" fmla="*/ 181272 w 327421"/>
                  <a:gd name="connsiteY112" fmla="*/ 862013 h 925116"/>
                  <a:gd name="connsiteX113" fmla="*/ 182858 w 327421"/>
                  <a:gd name="connsiteY113" fmla="*/ 863017 h 925116"/>
                  <a:gd name="connsiteX114" fmla="*/ 181805 w 327421"/>
                  <a:gd name="connsiteY114" fmla="*/ 862288 h 925116"/>
                  <a:gd name="connsiteX115" fmla="*/ 190500 w 327421"/>
                  <a:gd name="connsiteY115" fmla="*/ 866775 h 925116"/>
                  <a:gd name="connsiteX116" fmla="*/ 183579 w 327421"/>
                  <a:gd name="connsiteY116" fmla="*/ 866775 h 925116"/>
                  <a:gd name="connsiteX117" fmla="*/ 176659 w 327421"/>
                  <a:gd name="connsiteY117" fmla="*/ 862013 h 925116"/>
                  <a:gd name="connsiteX118" fmla="*/ 167431 w 327421"/>
                  <a:gd name="connsiteY118" fmla="*/ 859631 h 925116"/>
                  <a:gd name="connsiteX119" fmla="*/ 153590 w 327421"/>
                  <a:gd name="connsiteY119" fmla="*/ 852487 h 925116"/>
                  <a:gd name="connsiteX120" fmla="*/ 247609 w 327421"/>
                  <a:gd name="connsiteY120" fmla="*/ 845256 h 925116"/>
                  <a:gd name="connsiteX121" fmla="*/ 254383 w 327421"/>
                  <a:gd name="connsiteY121" fmla="*/ 849842 h 925116"/>
                  <a:gd name="connsiteX122" fmla="*/ 263416 w 327421"/>
                  <a:gd name="connsiteY122" fmla="*/ 847549 h 925116"/>
                  <a:gd name="connsiteX123" fmla="*/ 267932 w 327421"/>
                  <a:gd name="connsiteY123" fmla="*/ 856722 h 925116"/>
                  <a:gd name="connsiteX124" fmla="*/ 274706 w 327421"/>
                  <a:gd name="connsiteY124" fmla="*/ 870480 h 925116"/>
                  <a:gd name="connsiteX125" fmla="*/ 290513 w 327421"/>
                  <a:gd name="connsiteY125" fmla="*/ 902583 h 925116"/>
                  <a:gd name="connsiteX126" fmla="*/ 283739 w 327421"/>
                  <a:gd name="connsiteY126" fmla="*/ 897997 h 925116"/>
                  <a:gd name="connsiteX127" fmla="*/ 288255 w 327421"/>
                  <a:gd name="connsiteY127" fmla="*/ 902583 h 925116"/>
                  <a:gd name="connsiteX128" fmla="*/ 274706 w 327421"/>
                  <a:gd name="connsiteY128" fmla="*/ 900290 h 925116"/>
                  <a:gd name="connsiteX129" fmla="*/ 267932 w 327421"/>
                  <a:gd name="connsiteY129" fmla="*/ 897997 h 925116"/>
                  <a:gd name="connsiteX130" fmla="*/ 263416 w 327421"/>
                  <a:gd name="connsiteY130" fmla="*/ 897997 h 925116"/>
                  <a:gd name="connsiteX131" fmla="*/ 265674 w 327421"/>
                  <a:gd name="connsiteY131" fmla="*/ 900290 h 925116"/>
                  <a:gd name="connsiteX132" fmla="*/ 258900 w 327421"/>
                  <a:gd name="connsiteY132" fmla="*/ 897997 h 925116"/>
                  <a:gd name="connsiteX133" fmla="*/ 249867 w 327421"/>
                  <a:gd name="connsiteY133" fmla="*/ 900290 h 925116"/>
                  <a:gd name="connsiteX134" fmla="*/ 254383 w 327421"/>
                  <a:gd name="connsiteY134" fmla="*/ 897997 h 925116"/>
                  <a:gd name="connsiteX135" fmla="*/ 245351 w 327421"/>
                  <a:gd name="connsiteY135" fmla="*/ 897997 h 925116"/>
                  <a:gd name="connsiteX136" fmla="*/ 243093 w 327421"/>
                  <a:gd name="connsiteY136" fmla="*/ 895704 h 925116"/>
                  <a:gd name="connsiteX137" fmla="*/ 236319 w 327421"/>
                  <a:gd name="connsiteY137" fmla="*/ 893411 h 925116"/>
                  <a:gd name="connsiteX138" fmla="*/ 231802 w 327421"/>
                  <a:gd name="connsiteY138" fmla="*/ 895704 h 925116"/>
                  <a:gd name="connsiteX139" fmla="*/ 227586 w 327421"/>
                  <a:gd name="connsiteY139" fmla="*/ 895704 h 925116"/>
                  <a:gd name="connsiteX140" fmla="*/ 227286 w 327421"/>
                  <a:gd name="connsiteY140" fmla="*/ 895704 h 925116"/>
                  <a:gd name="connsiteX141" fmla="*/ 225028 w 327421"/>
                  <a:gd name="connsiteY141" fmla="*/ 891118 h 925116"/>
                  <a:gd name="connsiteX142" fmla="*/ 231802 w 327421"/>
                  <a:gd name="connsiteY142" fmla="*/ 893411 h 925116"/>
                  <a:gd name="connsiteX143" fmla="*/ 243093 w 327421"/>
                  <a:gd name="connsiteY143" fmla="*/ 891118 h 925116"/>
                  <a:gd name="connsiteX144" fmla="*/ 245351 w 327421"/>
                  <a:gd name="connsiteY144" fmla="*/ 888825 h 925116"/>
                  <a:gd name="connsiteX145" fmla="*/ 249867 w 327421"/>
                  <a:gd name="connsiteY145" fmla="*/ 895704 h 925116"/>
                  <a:gd name="connsiteX146" fmla="*/ 247609 w 327421"/>
                  <a:gd name="connsiteY146" fmla="*/ 891118 h 925116"/>
                  <a:gd name="connsiteX147" fmla="*/ 258900 w 327421"/>
                  <a:gd name="connsiteY147" fmla="*/ 893411 h 925116"/>
                  <a:gd name="connsiteX148" fmla="*/ 249867 w 327421"/>
                  <a:gd name="connsiteY148" fmla="*/ 888825 h 925116"/>
                  <a:gd name="connsiteX149" fmla="*/ 240835 w 327421"/>
                  <a:gd name="connsiteY149" fmla="*/ 884238 h 925116"/>
                  <a:gd name="connsiteX150" fmla="*/ 256642 w 327421"/>
                  <a:gd name="connsiteY150" fmla="*/ 891118 h 925116"/>
                  <a:gd name="connsiteX151" fmla="*/ 258900 w 327421"/>
                  <a:gd name="connsiteY151" fmla="*/ 886532 h 925116"/>
                  <a:gd name="connsiteX152" fmla="*/ 261158 w 327421"/>
                  <a:gd name="connsiteY152" fmla="*/ 888825 h 925116"/>
                  <a:gd name="connsiteX153" fmla="*/ 264545 w 327421"/>
                  <a:gd name="connsiteY153" fmla="*/ 888825 h 925116"/>
                  <a:gd name="connsiteX154" fmla="*/ 267932 w 327421"/>
                  <a:gd name="connsiteY154" fmla="*/ 888825 h 925116"/>
                  <a:gd name="connsiteX155" fmla="*/ 272448 w 327421"/>
                  <a:gd name="connsiteY155" fmla="*/ 895704 h 925116"/>
                  <a:gd name="connsiteX156" fmla="*/ 276964 w 327421"/>
                  <a:gd name="connsiteY156" fmla="*/ 893411 h 925116"/>
                  <a:gd name="connsiteX157" fmla="*/ 279223 w 327421"/>
                  <a:gd name="connsiteY157" fmla="*/ 891118 h 925116"/>
                  <a:gd name="connsiteX158" fmla="*/ 249867 w 327421"/>
                  <a:gd name="connsiteY158" fmla="*/ 877359 h 925116"/>
                  <a:gd name="connsiteX159" fmla="*/ 258900 w 327421"/>
                  <a:gd name="connsiteY159" fmla="*/ 868187 h 925116"/>
                  <a:gd name="connsiteX160" fmla="*/ 238577 w 327421"/>
                  <a:gd name="connsiteY160" fmla="*/ 863601 h 925116"/>
                  <a:gd name="connsiteX161" fmla="*/ 236319 w 327421"/>
                  <a:gd name="connsiteY161" fmla="*/ 856722 h 925116"/>
                  <a:gd name="connsiteX162" fmla="*/ 240835 w 327421"/>
                  <a:gd name="connsiteY162" fmla="*/ 856722 h 925116"/>
                  <a:gd name="connsiteX163" fmla="*/ 234060 w 327421"/>
                  <a:gd name="connsiteY163" fmla="*/ 852135 h 925116"/>
                  <a:gd name="connsiteX164" fmla="*/ 243093 w 327421"/>
                  <a:gd name="connsiteY164" fmla="*/ 852135 h 925116"/>
                  <a:gd name="connsiteX165" fmla="*/ 247609 w 327421"/>
                  <a:gd name="connsiteY165" fmla="*/ 845256 h 925116"/>
                  <a:gd name="connsiteX166" fmla="*/ 165496 w 327421"/>
                  <a:gd name="connsiteY166" fmla="*/ 842963 h 925116"/>
                  <a:gd name="connsiteX167" fmla="*/ 167878 w 327421"/>
                  <a:gd name="connsiteY167" fmla="*/ 852488 h 925116"/>
                  <a:gd name="connsiteX168" fmla="*/ 165496 w 327421"/>
                  <a:gd name="connsiteY168" fmla="*/ 842963 h 925116"/>
                  <a:gd name="connsiteX169" fmla="*/ 249518 w 327421"/>
                  <a:gd name="connsiteY169" fmla="*/ 838948 h 925116"/>
                  <a:gd name="connsiteX170" fmla="*/ 263128 w 327421"/>
                  <a:gd name="connsiteY170" fmla="*/ 841221 h 925116"/>
                  <a:gd name="connsiteX171" fmla="*/ 248788 w 327421"/>
                  <a:gd name="connsiteY171" fmla="*/ 839261 h 925116"/>
                  <a:gd name="connsiteX172" fmla="*/ 158055 w 327421"/>
                  <a:gd name="connsiteY172" fmla="*/ 838275 h 925116"/>
                  <a:gd name="connsiteX173" fmla="*/ 163115 w 327421"/>
                  <a:gd name="connsiteY173" fmla="*/ 840880 h 925116"/>
                  <a:gd name="connsiteX174" fmla="*/ 162878 w 327421"/>
                  <a:gd name="connsiteY174" fmla="*/ 841088 h 925116"/>
                  <a:gd name="connsiteX175" fmla="*/ 167878 w 327421"/>
                  <a:gd name="connsiteY175" fmla="*/ 842963 h 925116"/>
                  <a:gd name="connsiteX176" fmla="*/ 165497 w 327421"/>
                  <a:gd name="connsiteY176" fmla="*/ 842963 h 925116"/>
                  <a:gd name="connsiteX177" fmla="*/ 162466 w 327421"/>
                  <a:gd name="connsiteY177" fmla="*/ 841448 h 925116"/>
                  <a:gd name="connsiteX178" fmla="*/ 160734 w 327421"/>
                  <a:gd name="connsiteY178" fmla="*/ 842964 h 925116"/>
                  <a:gd name="connsiteX179" fmla="*/ 158353 w 327421"/>
                  <a:gd name="connsiteY179" fmla="*/ 840880 h 925116"/>
                  <a:gd name="connsiteX180" fmla="*/ 151209 w 327421"/>
                  <a:gd name="connsiteY180" fmla="*/ 838796 h 925116"/>
                  <a:gd name="connsiteX181" fmla="*/ 158055 w 327421"/>
                  <a:gd name="connsiteY181" fmla="*/ 838275 h 925116"/>
                  <a:gd name="connsiteX182" fmla="*/ 163321 w 327421"/>
                  <a:gd name="connsiteY182" fmla="*/ 834400 h 925116"/>
                  <a:gd name="connsiteX183" fmla="*/ 172394 w 327421"/>
                  <a:gd name="connsiteY183" fmla="*/ 838948 h 925116"/>
                  <a:gd name="connsiteX184" fmla="*/ 176931 w 327421"/>
                  <a:gd name="connsiteY184" fmla="*/ 838948 h 925116"/>
                  <a:gd name="connsiteX185" fmla="*/ 180900 w 327421"/>
                  <a:gd name="connsiteY185" fmla="*/ 839516 h 925116"/>
                  <a:gd name="connsiteX186" fmla="*/ 180975 w 327421"/>
                  <a:gd name="connsiteY186" fmla="*/ 839143 h 925116"/>
                  <a:gd name="connsiteX187" fmla="*/ 181468 w 327421"/>
                  <a:gd name="connsiteY187" fmla="*/ 836674 h 925116"/>
                  <a:gd name="connsiteX188" fmla="*/ 179199 w 327421"/>
                  <a:gd name="connsiteY188" fmla="*/ 834400 h 925116"/>
                  <a:gd name="connsiteX189" fmla="*/ 185708 w 327421"/>
                  <a:gd name="connsiteY189" fmla="*/ 836575 h 925116"/>
                  <a:gd name="connsiteX190" fmla="*/ 185969 w 327421"/>
                  <a:gd name="connsiteY190" fmla="*/ 836816 h 925116"/>
                  <a:gd name="connsiteX191" fmla="*/ 183736 w 327421"/>
                  <a:gd name="connsiteY191" fmla="*/ 845769 h 925116"/>
                  <a:gd name="connsiteX192" fmla="*/ 179199 w 327421"/>
                  <a:gd name="connsiteY192" fmla="*/ 845769 h 925116"/>
                  <a:gd name="connsiteX193" fmla="*/ 179199 w 327421"/>
                  <a:gd name="connsiteY193" fmla="*/ 850316 h 925116"/>
                  <a:gd name="connsiteX194" fmla="*/ 176931 w 327421"/>
                  <a:gd name="connsiteY194" fmla="*/ 848042 h 925116"/>
                  <a:gd name="connsiteX195" fmla="*/ 172394 w 327421"/>
                  <a:gd name="connsiteY195" fmla="*/ 852589 h 925116"/>
                  <a:gd name="connsiteX196" fmla="*/ 172394 w 327421"/>
                  <a:gd name="connsiteY196" fmla="*/ 850316 h 925116"/>
                  <a:gd name="connsiteX197" fmla="*/ 163321 w 327421"/>
                  <a:gd name="connsiteY197" fmla="*/ 834400 h 925116"/>
                  <a:gd name="connsiteX198" fmla="*/ 138112 w 327421"/>
                  <a:gd name="connsiteY198" fmla="*/ 827485 h 925116"/>
                  <a:gd name="connsiteX199" fmla="*/ 142875 w 327421"/>
                  <a:gd name="connsiteY199" fmla="*/ 837010 h 925116"/>
                  <a:gd name="connsiteX200" fmla="*/ 140494 w 327421"/>
                  <a:gd name="connsiteY200" fmla="*/ 832247 h 925116"/>
                  <a:gd name="connsiteX201" fmla="*/ 138112 w 327421"/>
                  <a:gd name="connsiteY201" fmla="*/ 827485 h 925116"/>
                  <a:gd name="connsiteX202" fmla="*/ 147637 w 327421"/>
                  <a:gd name="connsiteY202" fmla="*/ 818555 h 925116"/>
                  <a:gd name="connsiteX203" fmla="*/ 151209 w 327421"/>
                  <a:gd name="connsiteY203" fmla="*/ 818555 h 925116"/>
                  <a:gd name="connsiteX204" fmla="*/ 149423 w 327421"/>
                  <a:gd name="connsiteY204" fmla="*/ 820341 h 925116"/>
                  <a:gd name="connsiteX205" fmla="*/ 147637 w 327421"/>
                  <a:gd name="connsiteY205" fmla="*/ 818555 h 925116"/>
                  <a:gd name="connsiteX206" fmla="*/ 140494 w 327421"/>
                  <a:gd name="connsiteY206" fmla="*/ 809625 h 925116"/>
                  <a:gd name="connsiteX207" fmla="*/ 145256 w 327421"/>
                  <a:gd name="connsiteY207" fmla="*/ 816769 h 925116"/>
                  <a:gd name="connsiteX208" fmla="*/ 142875 w 327421"/>
                  <a:gd name="connsiteY208" fmla="*/ 816769 h 925116"/>
                  <a:gd name="connsiteX209" fmla="*/ 140494 w 327421"/>
                  <a:gd name="connsiteY209" fmla="*/ 809625 h 925116"/>
                  <a:gd name="connsiteX210" fmla="*/ 130968 w 327421"/>
                  <a:gd name="connsiteY210" fmla="*/ 804863 h 925116"/>
                  <a:gd name="connsiteX211" fmla="*/ 140493 w 327421"/>
                  <a:gd name="connsiteY211" fmla="*/ 812007 h 925116"/>
                  <a:gd name="connsiteX212" fmla="*/ 138452 w 327421"/>
                  <a:gd name="connsiteY212" fmla="*/ 812687 h 925116"/>
                  <a:gd name="connsiteX213" fmla="*/ 133349 w 327421"/>
                  <a:gd name="connsiteY213" fmla="*/ 814388 h 925116"/>
                  <a:gd name="connsiteX214" fmla="*/ 133349 w 327421"/>
                  <a:gd name="connsiteY214" fmla="*/ 812007 h 925116"/>
                  <a:gd name="connsiteX215" fmla="*/ 126206 w 327421"/>
                  <a:gd name="connsiteY215" fmla="*/ 809625 h 925116"/>
                  <a:gd name="connsiteX216" fmla="*/ 133349 w 327421"/>
                  <a:gd name="connsiteY216" fmla="*/ 809625 h 925116"/>
                  <a:gd name="connsiteX217" fmla="*/ 130968 w 327421"/>
                  <a:gd name="connsiteY217" fmla="*/ 804863 h 925116"/>
                  <a:gd name="connsiteX218" fmla="*/ 126801 w 327421"/>
                  <a:gd name="connsiteY218" fmla="*/ 802481 h 925116"/>
                  <a:gd name="connsiteX219" fmla="*/ 130969 w 327421"/>
                  <a:gd name="connsiteY219" fmla="*/ 809625 h 925116"/>
                  <a:gd name="connsiteX220" fmla="*/ 126801 w 327421"/>
                  <a:gd name="connsiteY220" fmla="*/ 802481 h 925116"/>
                  <a:gd name="connsiteX221" fmla="*/ 128587 w 327421"/>
                  <a:gd name="connsiteY221" fmla="*/ 800100 h 925116"/>
                  <a:gd name="connsiteX222" fmla="*/ 135731 w 327421"/>
                  <a:gd name="connsiteY222" fmla="*/ 800100 h 925116"/>
                  <a:gd name="connsiteX223" fmla="*/ 135731 w 327421"/>
                  <a:gd name="connsiteY223" fmla="*/ 802481 h 925116"/>
                  <a:gd name="connsiteX224" fmla="*/ 140493 w 327421"/>
                  <a:gd name="connsiteY224" fmla="*/ 807244 h 925116"/>
                  <a:gd name="connsiteX225" fmla="*/ 133349 w 327421"/>
                  <a:gd name="connsiteY225" fmla="*/ 802481 h 925116"/>
                  <a:gd name="connsiteX226" fmla="*/ 128587 w 327421"/>
                  <a:gd name="connsiteY226" fmla="*/ 800100 h 925116"/>
                  <a:gd name="connsiteX227" fmla="*/ 113109 w 327421"/>
                  <a:gd name="connsiteY227" fmla="*/ 800100 h 925116"/>
                  <a:gd name="connsiteX228" fmla="*/ 117872 w 327421"/>
                  <a:gd name="connsiteY228" fmla="*/ 800100 h 925116"/>
                  <a:gd name="connsiteX229" fmla="*/ 120253 w 327421"/>
                  <a:gd name="connsiteY229" fmla="*/ 807244 h 925116"/>
                  <a:gd name="connsiteX230" fmla="*/ 115490 w 327421"/>
                  <a:gd name="connsiteY230" fmla="*/ 802481 h 925116"/>
                  <a:gd name="connsiteX231" fmla="*/ 113109 w 327421"/>
                  <a:gd name="connsiteY231" fmla="*/ 800100 h 925116"/>
                  <a:gd name="connsiteX232" fmla="*/ 110728 w 327421"/>
                  <a:gd name="connsiteY232" fmla="*/ 789147 h 925116"/>
                  <a:gd name="connsiteX233" fmla="*/ 115490 w 327421"/>
                  <a:gd name="connsiteY233" fmla="*/ 789147 h 925116"/>
                  <a:gd name="connsiteX234" fmla="*/ 117872 w 327421"/>
                  <a:gd name="connsiteY234" fmla="*/ 789147 h 925116"/>
                  <a:gd name="connsiteX235" fmla="*/ 122634 w 327421"/>
                  <a:gd name="connsiteY235" fmla="*/ 791290 h 925116"/>
                  <a:gd name="connsiteX236" fmla="*/ 120338 w 327421"/>
                  <a:gd name="connsiteY236" fmla="*/ 795423 h 925116"/>
                  <a:gd name="connsiteX237" fmla="*/ 120253 w 327421"/>
                  <a:gd name="connsiteY237" fmla="*/ 795577 h 925116"/>
                  <a:gd name="connsiteX238" fmla="*/ 115490 w 327421"/>
                  <a:gd name="connsiteY238" fmla="*/ 797720 h 925116"/>
                  <a:gd name="connsiteX239" fmla="*/ 113109 w 327421"/>
                  <a:gd name="connsiteY239" fmla="*/ 795577 h 925116"/>
                  <a:gd name="connsiteX240" fmla="*/ 110728 w 327421"/>
                  <a:gd name="connsiteY240" fmla="*/ 791290 h 925116"/>
                  <a:gd name="connsiteX241" fmla="*/ 115490 w 327421"/>
                  <a:gd name="connsiteY241" fmla="*/ 793433 h 925116"/>
                  <a:gd name="connsiteX242" fmla="*/ 110728 w 327421"/>
                  <a:gd name="connsiteY242" fmla="*/ 789147 h 925116"/>
                  <a:gd name="connsiteX243" fmla="*/ 101203 w 327421"/>
                  <a:gd name="connsiteY243" fmla="*/ 777479 h 925116"/>
                  <a:gd name="connsiteX244" fmla="*/ 113109 w 327421"/>
                  <a:gd name="connsiteY244" fmla="*/ 784623 h 925116"/>
                  <a:gd name="connsiteX245" fmla="*/ 105965 w 327421"/>
                  <a:gd name="connsiteY245" fmla="*/ 782242 h 925116"/>
                  <a:gd name="connsiteX246" fmla="*/ 101203 w 327421"/>
                  <a:gd name="connsiteY246" fmla="*/ 777479 h 925116"/>
                  <a:gd name="connsiteX247" fmla="*/ 120253 w 327421"/>
                  <a:gd name="connsiteY247" fmla="*/ 775097 h 925116"/>
                  <a:gd name="connsiteX248" fmla="*/ 125015 w 327421"/>
                  <a:gd name="connsiteY248" fmla="*/ 777478 h 925116"/>
                  <a:gd name="connsiteX249" fmla="*/ 122634 w 327421"/>
                  <a:gd name="connsiteY249" fmla="*/ 777478 h 925116"/>
                  <a:gd name="connsiteX250" fmla="*/ 120253 w 327421"/>
                  <a:gd name="connsiteY250" fmla="*/ 775097 h 925116"/>
                  <a:gd name="connsiteX251" fmla="*/ 92869 w 327421"/>
                  <a:gd name="connsiteY251" fmla="*/ 761604 h 925116"/>
                  <a:gd name="connsiteX252" fmla="*/ 99132 w 327421"/>
                  <a:gd name="connsiteY252" fmla="*/ 764586 h 925116"/>
                  <a:gd name="connsiteX253" fmla="*/ 99299 w 327421"/>
                  <a:gd name="connsiteY253" fmla="*/ 764381 h 925116"/>
                  <a:gd name="connsiteX254" fmla="*/ 99505 w 327421"/>
                  <a:gd name="connsiteY254" fmla="*/ 764764 h 925116"/>
                  <a:gd name="connsiteX255" fmla="*/ 101204 w 327421"/>
                  <a:gd name="connsiteY255" fmla="*/ 765573 h 925116"/>
                  <a:gd name="connsiteX256" fmla="*/ 99593 w 327421"/>
                  <a:gd name="connsiteY256" fmla="*/ 764927 h 925116"/>
                  <a:gd name="connsiteX257" fmla="*/ 100906 w 327421"/>
                  <a:gd name="connsiteY257" fmla="*/ 767358 h 925116"/>
                  <a:gd name="connsiteX258" fmla="*/ 99299 w 327421"/>
                  <a:gd name="connsiteY258" fmla="*/ 770335 h 925116"/>
                  <a:gd name="connsiteX259" fmla="*/ 96887 w 327421"/>
                  <a:gd name="connsiteY259" fmla="*/ 767358 h 925116"/>
                  <a:gd name="connsiteX260" fmla="*/ 99037 w 327421"/>
                  <a:gd name="connsiteY260" fmla="*/ 764704 h 925116"/>
                  <a:gd name="connsiteX261" fmla="*/ 96255 w 327421"/>
                  <a:gd name="connsiteY261" fmla="*/ 763588 h 925116"/>
                  <a:gd name="connsiteX262" fmla="*/ 92869 w 327421"/>
                  <a:gd name="connsiteY262" fmla="*/ 761604 h 925116"/>
                  <a:gd name="connsiteX263" fmla="*/ 97631 w 327421"/>
                  <a:gd name="connsiteY263" fmla="*/ 759619 h 925116"/>
                  <a:gd name="connsiteX264" fmla="*/ 103584 w 327421"/>
                  <a:gd name="connsiteY264" fmla="*/ 764382 h 925116"/>
                  <a:gd name="connsiteX265" fmla="*/ 101600 w 327421"/>
                  <a:gd name="connsiteY265" fmla="*/ 764382 h 925116"/>
                  <a:gd name="connsiteX266" fmla="*/ 97631 w 327421"/>
                  <a:gd name="connsiteY266" fmla="*/ 759619 h 925116"/>
                  <a:gd name="connsiteX267" fmla="*/ 90487 w 327421"/>
                  <a:gd name="connsiteY267" fmla="*/ 757237 h 925116"/>
                  <a:gd name="connsiteX268" fmla="*/ 90488 w 327421"/>
                  <a:gd name="connsiteY268" fmla="*/ 757237 h 925116"/>
                  <a:gd name="connsiteX269" fmla="*/ 97631 w 327421"/>
                  <a:gd name="connsiteY269" fmla="*/ 757237 h 925116"/>
                  <a:gd name="connsiteX270" fmla="*/ 92868 w 327421"/>
                  <a:gd name="connsiteY270" fmla="*/ 759619 h 925116"/>
                  <a:gd name="connsiteX271" fmla="*/ 90487 w 327421"/>
                  <a:gd name="connsiteY271" fmla="*/ 757238 h 925116"/>
                  <a:gd name="connsiteX272" fmla="*/ 88106 w 327421"/>
                  <a:gd name="connsiteY272" fmla="*/ 752475 h 925116"/>
                  <a:gd name="connsiteX273" fmla="*/ 95250 w 327421"/>
                  <a:gd name="connsiteY273" fmla="*/ 752475 h 925116"/>
                  <a:gd name="connsiteX274" fmla="*/ 92869 w 327421"/>
                  <a:gd name="connsiteY274" fmla="*/ 754857 h 925116"/>
                  <a:gd name="connsiteX275" fmla="*/ 110727 w 327421"/>
                  <a:gd name="connsiteY275" fmla="*/ 747713 h 925116"/>
                  <a:gd name="connsiteX276" fmla="*/ 113109 w 327421"/>
                  <a:gd name="connsiteY276" fmla="*/ 750094 h 925116"/>
                  <a:gd name="connsiteX277" fmla="*/ 110727 w 327421"/>
                  <a:gd name="connsiteY277" fmla="*/ 747713 h 925116"/>
                  <a:gd name="connsiteX278" fmla="*/ 85725 w 327421"/>
                  <a:gd name="connsiteY278" fmla="*/ 743844 h 925116"/>
                  <a:gd name="connsiteX279" fmla="*/ 98992 w 327421"/>
                  <a:gd name="connsiteY279" fmla="*/ 757239 h 925116"/>
                  <a:gd name="connsiteX280" fmla="*/ 94570 w 327421"/>
                  <a:gd name="connsiteY280" fmla="*/ 750541 h 925116"/>
                  <a:gd name="connsiteX281" fmla="*/ 87936 w 327421"/>
                  <a:gd name="connsiteY281" fmla="*/ 750541 h 925116"/>
                  <a:gd name="connsiteX282" fmla="*/ 87936 w 327421"/>
                  <a:gd name="connsiteY282" fmla="*/ 746076 h 925116"/>
                  <a:gd name="connsiteX283" fmla="*/ 85725 w 327421"/>
                  <a:gd name="connsiteY283" fmla="*/ 743844 h 925116"/>
                  <a:gd name="connsiteX284" fmla="*/ 92869 w 327421"/>
                  <a:gd name="connsiteY284" fmla="*/ 742950 h 925116"/>
                  <a:gd name="connsiteX285" fmla="*/ 99417 w 327421"/>
                  <a:gd name="connsiteY285" fmla="*/ 750094 h 925116"/>
                  <a:gd name="connsiteX286" fmla="*/ 92869 w 327421"/>
                  <a:gd name="connsiteY286" fmla="*/ 742950 h 925116"/>
                  <a:gd name="connsiteX287" fmla="*/ 103584 w 327421"/>
                  <a:gd name="connsiteY287" fmla="*/ 742950 h 925116"/>
                  <a:gd name="connsiteX288" fmla="*/ 108347 w 327421"/>
                  <a:gd name="connsiteY288" fmla="*/ 747713 h 925116"/>
                  <a:gd name="connsiteX289" fmla="*/ 103584 w 327421"/>
                  <a:gd name="connsiteY289" fmla="*/ 742950 h 925116"/>
                  <a:gd name="connsiteX290" fmla="*/ 102195 w 327421"/>
                  <a:gd name="connsiteY290" fmla="*/ 742950 h 925116"/>
                  <a:gd name="connsiteX291" fmla="*/ 107106 w 327421"/>
                  <a:gd name="connsiteY291" fmla="*/ 750094 h 925116"/>
                  <a:gd name="connsiteX292" fmla="*/ 108516 w 327421"/>
                  <a:gd name="connsiteY292" fmla="*/ 756247 h 925116"/>
                  <a:gd name="connsiteX293" fmla="*/ 108770 w 327421"/>
                  <a:gd name="connsiteY293" fmla="*/ 756089 h 925116"/>
                  <a:gd name="connsiteX294" fmla="*/ 111002 w 327421"/>
                  <a:gd name="connsiteY294" fmla="*/ 759339 h 925116"/>
                  <a:gd name="connsiteX295" fmla="*/ 113200 w 327421"/>
                  <a:gd name="connsiteY295" fmla="*/ 761650 h 925116"/>
                  <a:gd name="connsiteX296" fmla="*/ 115398 w 327421"/>
                  <a:gd name="connsiteY296" fmla="*/ 766273 h 925116"/>
                  <a:gd name="connsiteX297" fmla="*/ 121993 w 327421"/>
                  <a:gd name="connsiteY297" fmla="*/ 782451 h 925116"/>
                  <a:gd name="connsiteX298" fmla="*/ 121993 w 327421"/>
                  <a:gd name="connsiteY298" fmla="*/ 787074 h 925116"/>
                  <a:gd name="connsiteX299" fmla="*/ 117597 w 327421"/>
                  <a:gd name="connsiteY299" fmla="*/ 782451 h 925116"/>
                  <a:gd name="connsiteX300" fmla="*/ 115398 w 327421"/>
                  <a:gd name="connsiteY300" fmla="*/ 780140 h 925116"/>
                  <a:gd name="connsiteX301" fmla="*/ 117597 w 327421"/>
                  <a:gd name="connsiteY301" fmla="*/ 780140 h 925116"/>
                  <a:gd name="connsiteX302" fmla="*/ 113200 w 327421"/>
                  <a:gd name="connsiteY302" fmla="*/ 775517 h 925116"/>
                  <a:gd name="connsiteX303" fmla="*/ 115398 w 327421"/>
                  <a:gd name="connsiteY303" fmla="*/ 773206 h 925116"/>
                  <a:gd name="connsiteX304" fmla="*/ 111002 w 327421"/>
                  <a:gd name="connsiteY304" fmla="*/ 777829 h 925116"/>
                  <a:gd name="connsiteX305" fmla="*/ 115398 w 327421"/>
                  <a:gd name="connsiteY305" fmla="*/ 784762 h 925116"/>
                  <a:gd name="connsiteX306" fmla="*/ 106606 w 327421"/>
                  <a:gd name="connsiteY306" fmla="*/ 777829 h 925116"/>
                  <a:gd name="connsiteX307" fmla="*/ 102210 w 327421"/>
                  <a:gd name="connsiteY307" fmla="*/ 770895 h 925116"/>
                  <a:gd name="connsiteX308" fmla="*/ 106606 w 327421"/>
                  <a:gd name="connsiteY308" fmla="*/ 773206 h 925116"/>
                  <a:gd name="connsiteX309" fmla="*/ 106606 w 327421"/>
                  <a:gd name="connsiteY309" fmla="*/ 770895 h 925116"/>
                  <a:gd name="connsiteX310" fmla="*/ 106606 w 327421"/>
                  <a:gd name="connsiteY310" fmla="*/ 769643 h 925116"/>
                  <a:gd name="connsiteX311" fmla="*/ 105072 w 327421"/>
                  <a:gd name="connsiteY311" fmla="*/ 769033 h 925116"/>
                  <a:gd name="connsiteX312" fmla="*/ 103584 w 327421"/>
                  <a:gd name="connsiteY312" fmla="*/ 766167 h 925116"/>
                  <a:gd name="connsiteX313" fmla="*/ 108347 w 327421"/>
                  <a:gd name="connsiteY313" fmla="*/ 770335 h 925116"/>
                  <a:gd name="connsiteX314" fmla="*/ 108226 w 327421"/>
                  <a:gd name="connsiteY314" fmla="*/ 770287 h 925116"/>
                  <a:gd name="connsiteX315" fmla="*/ 111002 w 327421"/>
                  <a:gd name="connsiteY315" fmla="*/ 773206 h 925116"/>
                  <a:gd name="connsiteX316" fmla="*/ 108804 w 327421"/>
                  <a:gd name="connsiteY316" fmla="*/ 761650 h 925116"/>
                  <a:gd name="connsiteX317" fmla="*/ 106606 w 327421"/>
                  <a:gd name="connsiteY317" fmla="*/ 759339 h 925116"/>
                  <a:gd name="connsiteX318" fmla="*/ 106331 w 327421"/>
                  <a:gd name="connsiteY318" fmla="*/ 757605 h 925116"/>
                  <a:gd name="connsiteX319" fmla="*/ 107594 w 327421"/>
                  <a:gd name="connsiteY319" fmla="*/ 756820 h 925116"/>
                  <a:gd name="connsiteX320" fmla="*/ 102195 w 327421"/>
                  <a:gd name="connsiteY320" fmla="*/ 754857 h 925116"/>
                  <a:gd name="connsiteX321" fmla="*/ 104378 w 327421"/>
                  <a:gd name="connsiteY321" fmla="*/ 752475 h 925116"/>
                  <a:gd name="connsiteX322" fmla="*/ 102195 w 327421"/>
                  <a:gd name="connsiteY322" fmla="*/ 747713 h 925116"/>
                  <a:gd name="connsiteX323" fmla="*/ 102195 w 327421"/>
                  <a:gd name="connsiteY323" fmla="*/ 742950 h 925116"/>
                  <a:gd name="connsiteX324" fmla="*/ 120222 w 327421"/>
                  <a:gd name="connsiteY324" fmla="*/ 738910 h 925116"/>
                  <a:gd name="connsiteX325" fmla="*/ 129296 w 327421"/>
                  <a:gd name="connsiteY325" fmla="*/ 741184 h 925116"/>
                  <a:gd name="connsiteX326" fmla="*/ 120222 w 327421"/>
                  <a:gd name="connsiteY326" fmla="*/ 738910 h 925116"/>
                  <a:gd name="connsiteX327" fmla="*/ 103584 w 327421"/>
                  <a:gd name="connsiteY327" fmla="*/ 736997 h 925116"/>
                  <a:gd name="connsiteX328" fmla="*/ 115490 w 327421"/>
                  <a:gd name="connsiteY328" fmla="*/ 736997 h 925116"/>
                  <a:gd name="connsiteX329" fmla="*/ 108346 w 327421"/>
                  <a:gd name="connsiteY329" fmla="*/ 739378 h 925116"/>
                  <a:gd name="connsiteX330" fmla="*/ 103584 w 327421"/>
                  <a:gd name="connsiteY330" fmla="*/ 736997 h 925116"/>
                  <a:gd name="connsiteX331" fmla="*/ 95249 w 327421"/>
                  <a:gd name="connsiteY331" fmla="*/ 736997 h 925116"/>
                  <a:gd name="connsiteX332" fmla="*/ 97631 w 327421"/>
                  <a:gd name="connsiteY332" fmla="*/ 740569 h 925116"/>
                  <a:gd name="connsiteX333" fmla="*/ 92869 w 327421"/>
                  <a:gd name="connsiteY333" fmla="*/ 740569 h 925116"/>
                  <a:gd name="connsiteX334" fmla="*/ 90487 w 327421"/>
                  <a:gd name="connsiteY334" fmla="*/ 740569 h 925116"/>
                  <a:gd name="connsiteX335" fmla="*/ 95249 w 327421"/>
                  <a:gd name="connsiteY335" fmla="*/ 738783 h 925116"/>
                  <a:gd name="connsiteX336" fmla="*/ 95249 w 327421"/>
                  <a:gd name="connsiteY336" fmla="*/ 736997 h 925116"/>
                  <a:gd name="connsiteX337" fmla="*/ 90487 w 327421"/>
                  <a:gd name="connsiteY337" fmla="*/ 732235 h 925116"/>
                  <a:gd name="connsiteX338" fmla="*/ 90487 w 327421"/>
                  <a:gd name="connsiteY338" fmla="*/ 734616 h 925116"/>
                  <a:gd name="connsiteX339" fmla="*/ 90487 w 327421"/>
                  <a:gd name="connsiteY339" fmla="*/ 736998 h 925116"/>
                  <a:gd name="connsiteX340" fmla="*/ 88106 w 327421"/>
                  <a:gd name="connsiteY340" fmla="*/ 734616 h 925116"/>
                  <a:gd name="connsiteX341" fmla="*/ 90487 w 327421"/>
                  <a:gd name="connsiteY341" fmla="*/ 732235 h 925116"/>
                  <a:gd name="connsiteX342" fmla="*/ 72007 w 327421"/>
                  <a:gd name="connsiteY342" fmla="*/ 711984 h 925116"/>
                  <a:gd name="connsiteX343" fmla="*/ 75706 w 327421"/>
                  <a:gd name="connsiteY343" fmla="*/ 712764 h 925116"/>
                  <a:gd name="connsiteX344" fmla="*/ 72587 w 327421"/>
                  <a:gd name="connsiteY344" fmla="*/ 713901 h 925116"/>
                  <a:gd name="connsiteX345" fmla="*/ 71549 w 327421"/>
                  <a:gd name="connsiteY345" fmla="*/ 710467 h 925116"/>
                  <a:gd name="connsiteX346" fmla="*/ 72007 w 327421"/>
                  <a:gd name="connsiteY346" fmla="*/ 711984 h 925116"/>
                  <a:gd name="connsiteX347" fmla="*/ 70319 w 327421"/>
                  <a:gd name="connsiteY347" fmla="*/ 711628 h 925116"/>
                  <a:gd name="connsiteX348" fmla="*/ 95846 w 327421"/>
                  <a:gd name="connsiteY348" fmla="*/ 688330 h 925116"/>
                  <a:gd name="connsiteX349" fmla="*/ 100013 w 327421"/>
                  <a:gd name="connsiteY349" fmla="*/ 688777 h 925116"/>
                  <a:gd name="connsiteX350" fmla="*/ 95250 w 327421"/>
                  <a:gd name="connsiteY350" fmla="*/ 690563 h 925116"/>
                  <a:gd name="connsiteX351" fmla="*/ 95846 w 327421"/>
                  <a:gd name="connsiteY351" fmla="*/ 688330 h 925116"/>
                  <a:gd name="connsiteX352" fmla="*/ 88106 w 327421"/>
                  <a:gd name="connsiteY352" fmla="*/ 682229 h 925116"/>
                  <a:gd name="connsiteX353" fmla="*/ 90487 w 327421"/>
                  <a:gd name="connsiteY353" fmla="*/ 686992 h 925116"/>
                  <a:gd name="connsiteX354" fmla="*/ 88106 w 327421"/>
                  <a:gd name="connsiteY354" fmla="*/ 682229 h 925116"/>
                  <a:gd name="connsiteX355" fmla="*/ 78581 w 327421"/>
                  <a:gd name="connsiteY355" fmla="*/ 682229 h 925116"/>
                  <a:gd name="connsiteX356" fmla="*/ 78581 w 327421"/>
                  <a:gd name="connsiteY356" fmla="*/ 686992 h 925116"/>
                  <a:gd name="connsiteX357" fmla="*/ 76200 w 327421"/>
                  <a:gd name="connsiteY357" fmla="*/ 686992 h 925116"/>
                  <a:gd name="connsiteX358" fmla="*/ 78581 w 327421"/>
                  <a:gd name="connsiteY358" fmla="*/ 682229 h 925116"/>
                  <a:gd name="connsiteX359" fmla="*/ 95250 w 327421"/>
                  <a:gd name="connsiteY359" fmla="*/ 679847 h 925116"/>
                  <a:gd name="connsiteX360" fmla="*/ 97631 w 327421"/>
                  <a:gd name="connsiteY360" fmla="*/ 686991 h 925116"/>
                  <a:gd name="connsiteX361" fmla="*/ 95250 w 327421"/>
                  <a:gd name="connsiteY361" fmla="*/ 679847 h 925116"/>
                  <a:gd name="connsiteX362" fmla="*/ 88702 w 327421"/>
                  <a:gd name="connsiteY362" fmla="*/ 679550 h 925116"/>
                  <a:gd name="connsiteX363" fmla="*/ 92869 w 327421"/>
                  <a:gd name="connsiteY363" fmla="*/ 682229 h 925116"/>
                  <a:gd name="connsiteX364" fmla="*/ 88106 w 327421"/>
                  <a:gd name="connsiteY364" fmla="*/ 682229 h 925116"/>
                  <a:gd name="connsiteX365" fmla="*/ 88702 w 327421"/>
                  <a:gd name="connsiteY365" fmla="*/ 679550 h 925116"/>
                  <a:gd name="connsiteX366" fmla="*/ 83344 w 327421"/>
                  <a:gd name="connsiteY366" fmla="*/ 675085 h 925116"/>
                  <a:gd name="connsiteX367" fmla="*/ 90488 w 327421"/>
                  <a:gd name="connsiteY367" fmla="*/ 677467 h 925116"/>
                  <a:gd name="connsiteX368" fmla="*/ 88107 w 327421"/>
                  <a:gd name="connsiteY368" fmla="*/ 677467 h 925116"/>
                  <a:gd name="connsiteX369" fmla="*/ 88107 w 327421"/>
                  <a:gd name="connsiteY369" fmla="*/ 677467 h 925116"/>
                  <a:gd name="connsiteX370" fmla="*/ 83344 w 327421"/>
                  <a:gd name="connsiteY370" fmla="*/ 675085 h 925116"/>
                  <a:gd name="connsiteX371" fmla="*/ 85725 w 327421"/>
                  <a:gd name="connsiteY371" fmla="*/ 667941 h 925116"/>
                  <a:gd name="connsiteX372" fmla="*/ 90487 w 327421"/>
                  <a:gd name="connsiteY372" fmla="*/ 672704 h 925116"/>
                  <a:gd name="connsiteX373" fmla="*/ 78581 w 327421"/>
                  <a:gd name="connsiteY373" fmla="*/ 670322 h 925116"/>
                  <a:gd name="connsiteX374" fmla="*/ 85725 w 327421"/>
                  <a:gd name="connsiteY374" fmla="*/ 667941 h 925116"/>
                  <a:gd name="connsiteX375" fmla="*/ 78581 w 327421"/>
                  <a:gd name="connsiteY375" fmla="*/ 664369 h 925116"/>
                  <a:gd name="connsiteX376" fmla="*/ 80962 w 327421"/>
                  <a:gd name="connsiteY376" fmla="*/ 664369 h 925116"/>
                  <a:gd name="connsiteX377" fmla="*/ 80962 w 327421"/>
                  <a:gd name="connsiteY377" fmla="*/ 665560 h 925116"/>
                  <a:gd name="connsiteX378" fmla="*/ 88106 w 327421"/>
                  <a:gd name="connsiteY378" fmla="*/ 661988 h 925116"/>
                  <a:gd name="connsiteX379" fmla="*/ 90487 w 327421"/>
                  <a:gd name="connsiteY379" fmla="*/ 664369 h 925116"/>
                  <a:gd name="connsiteX380" fmla="*/ 88106 w 327421"/>
                  <a:gd name="connsiteY380" fmla="*/ 664369 h 925116"/>
                  <a:gd name="connsiteX381" fmla="*/ 88106 w 327421"/>
                  <a:gd name="connsiteY381" fmla="*/ 661988 h 925116"/>
                  <a:gd name="connsiteX382" fmla="*/ 72628 w 327421"/>
                  <a:gd name="connsiteY382" fmla="*/ 661988 h 925116"/>
                  <a:gd name="connsiteX383" fmla="*/ 74414 w 327421"/>
                  <a:gd name="connsiteY383" fmla="*/ 665560 h 925116"/>
                  <a:gd name="connsiteX384" fmla="*/ 72628 w 327421"/>
                  <a:gd name="connsiteY384" fmla="*/ 661988 h 925116"/>
                  <a:gd name="connsiteX385" fmla="*/ 74612 w 327421"/>
                  <a:gd name="connsiteY385" fmla="*/ 659606 h 925116"/>
                  <a:gd name="connsiteX386" fmla="*/ 83343 w 327421"/>
                  <a:gd name="connsiteY386" fmla="*/ 661987 h 925116"/>
                  <a:gd name="connsiteX387" fmla="*/ 76794 w 327421"/>
                  <a:gd name="connsiteY387" fmla="*/ 664369 h 925116"/>
                  <a:gd name="connsiteX388" fmla="*/ 74612 w 327421"/>
                  <a:gd name="connsiteY388" fmla="*/ 659606 h 925116"/>
                  <a:gd name="connsiteX389" fmla="*/ 84236 w 327421"/>
                  <a:gd name="connsiteY389" fmla="*/ 659309 h 925116"/>
                  <a:gd name="connsiteX390" fmla="*/ 88106 w 327421"/>
                  <a:gd name="connsiteY390" fmla="*/ 661988 h 925116"/>
                  <a:gd name="connsiteX391" fmla="*/ 85725 w 327421"/>
                  <a:gd name="connsiteY391" fmla="*/ 661988 h 925116"/>
                  <a:gd name="connsiteX392" fmla="*/ 84236 w 327421"/>
                  <a:gd name="connsiteY392" fmla="*/ 659309 h 925116"/>
                  <a:gd name="connsiteX393" fmla="*/ 67865 w 327421"/>
                  <a:gd name="connsiteY393" fmla="*/ 654844 h 925116"/>
                  <a:gd name="connsiteX394" fmla="*/ 72627 w 327421"/>
                  <a:gd name="connsiteY394" fmla="*/ 654844 h 925116"/>
                  <a:gd name="connsiteX395" fmla="*/ 72627 w 327421"/>
                  <a:gd name="connsiteY395" fmla="*/ 657225 h 925116"/>
                  <a:gd name="connsiteX396" fmla="*/ 67865 w 327421"/>
                  <a:gd name="connsiteY396" fmla="*/ 654844 h 925116"/>
                  <a:gd name="connsiteX397" fmla="*/ 92670 w 327421"/>
                  <a:gd name="connsiteY397" fmla="*/ 654646 h 925116"/>
                  <a:gd name="connsiteX398" fmla="*/ 99218 w 327421"/>
                  <a:gd name="connsiteY398" fmla="*/ 654646 h 925116"/>
                  <a:gd name="connsiteX399" fmla="*/ 101401 w 327421"/>
                  <a:gd name="connsiteY399" fmla="*/ 654646 h 925116"/>
                  <a:gd name="connsiteX400" fmla="*/ 101401 w 327421"/>
                  <a:gd name="connsiteY400" fmla="*/ 659011 h 925116"/>
                  <a:gd name="connsiteX401" fmla="*/ 103584 w 327421"/>
                  <a:gd name="connsiteY401" fmla="*/ 661194 h 925116"/>
                  <a:gd name="connsiteX402" fmla="*/ 97035 w 327421"/>
                  <a:gd name="connsiteY402" fmla="*/ 665560 h 925116"/>
                  <a:gd name="connsiteX403" fmla="*/ 94853 w 327421"/>
                  <a:gd name="connsiteY403" fmla="*/ 663377 h 925116"/>
                  <a:gd name="connsiteX404" fmla="*/ 90487 w 327421"/>
                  <a:gd name="connsiteY404" fmla="*/ 659011 h 925116"/>
                  <a:gd name="connsiteX405" fmla="*/ 94853 w 327421"/>
                  <a:gd name="connsiteY405" fmla="*/ 656829 h 925116"/>
                  <a:gd name="connsiteX406" fmla="*/ 92670 w 327421"/>
                  <a:gd name="connsiteY406" fmla="*/ 654646 h 925116"/>
                  <a:gd name="connsiteX407" fmla="*/ 75009 w 327421"/>
                  <a:gd name="connsiteY407" fmla="*/ 650081 h 925116"/>
                  <a:gd name="connsiteX408" fmla="*/ 78581 w 327421"/>
                  <a:gd name="connsiteY408" fmla="*/ 650081 h 925116"/>
                  <a:gd name="connsiteX409" fmla="*/ 76795 w 327421"/>
                  <a:gd name="connsiteY409" fmla="*/ 652463 h 925116"/>
                  <a:gd name="connsiteX410" fmla="*/ 75009 w 327421"/>
                  <a:gd name="connsiteY410" fmla="*/ 650081 h 925116"/>
                  <a:gd name="connsiteX411" fmla="*/ 70246 w 327421"/>
                  <a:gd name="connsiteY411" fmla="*/ 641152 h 925116"/>
                  <a:gd name="connsiteX412" fmla="*/ 76199 w 327421"/>
                  <a:gd name="connsiteY412" fmla="*/ 641152 h 925116"/>
                  <a:gd name="connsiteX413" fmla="*/ 74215 w 327421"/>
                  <a:gd name="connsiteY413" fmla="*/ 642938 h 925116"/>
                  <a:gd name="connsiteX414" fmla="*/ 70246 w 327421"/>
                  <a:gd name="connsiteY414" fmla="*/ 641152 h 925116"/>
                  <a:gd name="connsiteX415" fmla="*/ 53578 w 327421"/>
                  <a:gd name="connsiteY415" fmla="*/ 634604 h 925116"/>
                  <a:gd name="connsiteX416" fmla="*/ 58340 w 327421"/>
                  <a:gd name="connsiteY416" fmla="*/ 634604 h 925116"/>
                  <a:gd name="connsiteX417" fmla="*/ 55959 w 327421"/>
                  <a:gd name="connsiteY417" fmla="*/ 636985 h 925116"/>
                  <a:gd name="connsiteX418" fmla="*/ 53578 w 327421"/>
                  <a:gd name="connsiteY418" fmla="*/ 634604 h 925116"/>
                  <a:gd name="connsiteX419" fmla="*/ 51196 w 327421"/>
                  <a:gd name="connsiteY419" fmla="*/ 590550 h 925116"/>
                  <a:gd name="connsiteX420" fmla="*/ 58015 w 327421"/>
                  <a:gd name="connsiteY420" fmla="*/ 592861 h 925116"/>
                  <a:gd name="connsiteX421" fmla="*/ 62561 w 327421"/>
                  <a:gd name="connsiteY421" fmla="*/ 592861 h 925116"/>
                  <a:gd name="connsiteX422" fmla="*/ 69380 w 327421"/>
                  <a:gd name="connsiteY422" fmla="*/ 602106 h 925116"/>
                  <a:gd name="connsiteX423" fmla="*/ 67107 w 327421"/>
                  <a:gd name="connsiteY423" fmla="*/ 609040 h 925116"/>
                  <a:gd name="connsiteX424" fmla="*/ 73926 w 327421"/>
                  <a:gd name="connsiteY424" fmla="*/ 618285 h 925116"/>
                  <a:gd name="connsiteX425" fmla="*/ 73153 w 327421"/>
                  <a:gd name="connsiteY425" fmla="*/ 618285 h 925116"/>
                  <a:gd name="connsiteX426" fmla="*/ 69380 w 327421"/>
                  <a:gd name="connsiteY426" fmla="*/ 618285 h 925116"/>
                  <a:gd name="connsiteX427" fmla="*/ 71653 w 327421"/>
                  <a:gd name="connsiteY427" fmla="*/ 622907 h 925116"/>
                  <a:gd name="connsiteX428" fmla="*/ 69380 w 327421"/>
                  <a:gd name="connsiteY428" fmla="*/ 629841 h 925116"/>
                  <a:gd name="connsiteX429" fmla="*/ 64834 w 327421"/>
                  <a:gd name="connsiteY429" fmla="*/ 629841 h 925116"/>
                  <a:gd name="connsiteX430" fmla="*/ 58015 w 327421"/>
                  <a:gd name="connsiteY430" fmla="*/ 625218 h 925116"/>
                  <a:gd name="connsiteX431" fmla="*/ 60288 w 327421"/>
                  <a:gd name="connsiteY431" fmla="*/ 620596 h 925116"/>
                  <a:gd name="connsiteX432" fmla="*/ 53469 w 327421"/>
                  <a:gd name="connsiteY432" fmla="*/ 602106 h 925116"/>
                  <a:gd name="connsiteX433" fmla="*/ 51196 w 327421"/>
                  <a:gd name="connsiteY433" fmla="*/ 590550 h 925116"/>
                  <a:gd name="connsiteX434" fmla="*/ 15878 w 327421"/>
                  <a:gd name="connsiteY434" fmla="*/ 0 h 925116"/>
                  <a:gd name="connsiteX435" fmla="*/ 22683 w 327421"/>
                  <a:gd name="connsiteY435" fmla="*/ 6821 h 925116"/>
                  <a:gd name="connsiteX436" fmla="*/ 27220 w 327421"/>
                  <a:gd name="connsiteY436" fmla="*/ 11368 h 925116"/>
                  <a:gd name="connsiteX437" fmla="*/ 29488 w 327421"/>
                  <a:gd name="connsiteY437" fmla="*/ 25009 h 925116"/>
                  <a:gd name="connsiteX438" fmla="*/ 40830 w 327421"/>
                  <a:gd name="connsiteY438" fmla="*/ 40924 h 925116"/>
                  <a:gd name="connsiteX439" fmla="*/ 40830 w 327421"/>
                  <a:gd name="connsiteY439" fmla="*/ 54566 h 925116"/>
                  <a:gd name="connsiteX440" fmla="*/ 45367 w 327421"/>
                  <a:gd name="connsiteY440" fmla="*/ 59113 h 925116"/>
                  <a:gd name="connsiteX441" fmla="*/ 38562 w 327421"/>
                  <a:gd name="connsiteY441" fmla="*/ 63660 h 925116"/>
                  <a:gd name="connsiteX442" fmla="*/ 40830 w 327421"/>
                  <a:gd name="connsiteY442" fmla="*/ 72754 h 925116"/>
                  <a:gd name="connsiteX443" fmla="*/ 45367 w 327421"/>
                  <a:gd name="connsiteY443" fmla="*/ 75028 h 925116"/>
                  <a:gd name="connsiteX444" fmla="*/ 45367 w 327421"/>
                  <a:gd name="connsiteY444" fmla="*/ 79575 h 925116"/>
                  <a:gd name="connsiteX445" fmla="*/ 56709 w 327421"/>
                  <a:gd name="connsiteY445" fmla="*/ 95490 h 925116"/>
                  <a:gd name="connsiteX446" fmla="*/ 65782 w 327421"/>
                  <a:gd name="connsiteY446" fmla="*/ 118226 h 925116"/>
                  <a:gd name="connsiteX447" fmla="*/ 74855 w 327421"/>
                  <a:gd name="connsiteY447" fmla="*/ 129593 h 925116"/>
                  <a:gd name="connsiteX448" fmla="*/ 83929 w 327421"/>
                  <a:gd name="connsiteY448" fmla="*/ 140961 h 925116"/>
                  <a:gd name="connsiteX449" fmla="*/ 79392 w 327421"/>
                  <a:gd name="connsiteY449" fmla="*/ 161423 h 925116"/>
                  <a:gd name="connsiteX450" fmla="*/ 58977 w 327421"/>
                  <a:gd name="connsiteY450" fmla="*/ 175065 h 925116"/>
                  <a:gd name="connsiteX451" fmla="*/ 63514 w 327421"/>
                  <a:gd name="connsiteY451" fmla="*/ 186433 h 925116"/>
                  <a:gd name="connsiteX452" fmla="*/ 63514 w 327421"/>
                  <a:gd name="connsiteY452" fmla="*/ 200074 h 925116"/>
                  <a:gd name="connsiteX453" fmla="*/ 68050 w 327421"/>
                  <a:gd name="connsiteY453" fmla="*/ 209168 h 925116"/>
                  <a:gd name="connsiteX454" fmla="*/ 65782 w 327421"/>
                  <a:gd name="connsiteY454" fmla="*/ 215989 h 925116"/>
                  <a:gd name="connsiteX455" fmla="*/ 72587 w 327421"/>
                  <a:gd name="connsiteY455" fmla="*/ 229631 h 925116"/>
                  <a:gd name="connsiteX456" fmla="*/ 65782 w 327421"/>
                  <a:gd name="connsiteY456" fmla="*/ 234178 h 925116"/>
                  <a:gd name="connsiteX457" fmla="*/ 61245 w 327421"/>
                  <a:gd name="connsiteY457" fmla="*/ 243272 h 925116"/>
                  <a:gd name="connsiteX458" fmla="*/ 52172 w 327421"/>
                  <a:gd name="connsiteY458" fmla="*/ 266008 h 925116"/>
                  <a:gd name="connsiteX459" fmla="*/ 52172 w 327421"/>
                  <a:gd name="connsiteY459" fmla="*/ 281923 h 925116"/>
                  <a:gd name="connsiteX460" fmla="*/ 47635 w 327421"/>
                  <a:gd name="connsiteY460" fmla="*/ 288743 h 925116"/>
                  <a:gd name="connsiteX461" fmla="*/ 52172 w 327421"/>
                  <a:gd name="connsiteY461" fmla="*/ 297838 h 925116"/>
                  <a:gd name="connsiteX462" fmla="*/ 54440 w 327421"/>
                  <a:gd name="connsiteY462" fmla="*/ 304658 h 925116"/>
                  <a:gd name="connsiteX463" fmla="*/ 56709 w 327421"/>
                  <a:gd name="connsiteY463" fmla="*/ 309206 h 925116"/>
                  <a:gd name="connsiteX464" fmla="*/ 49904 w 327421"/>
                  <a:gd name="connsiteY464" fmla="*/ 313753 h 925116"/>
                  <a:gd name="connsiteX465" fmla="*/ 49904 w 327421"/>
                  <a:gd name="connsiteY465" fmla="*/ 325121 h 925116"/>
                  <a:gd name="connsiteX466" fmla="*/ 49904 w 327421"/>
                  <a:gd name="connsiteY466" fmla="*/ 331941 h 925116"/>
                  <a:gd name="connsiteX467" fmla="*/ 47635 w 327421"/>
                  <a:gd name="connsiteY467" fmla="*/ 334215 h 925116"/>
                  <a:gd name="connsiteX468" fmla="*/ 54440 w 327421"/>
                  <a:gd name="connsiteY468" fmla="*/ 347856 h 925116"/>
                  <a:gd name="connsiteX469" fmla="*/ 56709 w 327421"/>
                  <a:gd name="connsiteY469" fmla="*/ 352403 h 925116"/>
                  <a:gd name="connsiteX470" fmla="*/ 56709 w 327421"/>
                  <a:gd name="connsiteY470" fmla="*/ 354677 h 925116"/>
                  <a:gd name="connsiteX471" fmla="*/ 63514 w 327421"/>
                  <a:gd name="connsiteY471" fmla="*/ 368318 h 925116"/>
                  <a:gd name="connsiteX472" fmla="*/ 68050 w 327421"/>
                  <a:gd name="connsiteY472" fmla="*/ 372866 h 925116"/>
                  <a:gd name="connsiteX473" fmla="*/ 68050 w 327421"/>
                  <a:gd name="connsiteY473" fmla="*/ 379686 h 925116"/>
                  <a:gd name="connsiteX474" fmla="*/ 77124 w 327421"/>
                  <a:gd name="connsiteY474" fmla="*/ 388781 h 925116"/>
                  <a:gd name="connsiteX475" fmla="*/ 79392 w 327421"/>
                  <a:gd name="connsiteY475" fmla="*/ 404696 h 925116"/>
                  <a:gd name="connsiteX476" fmla="*/ 79392 w 327421"/>
                  <a:gd name="connsiteY476" fmla="*/ 409243 h 925116"/>
                  <a:gd name="connsiteX477" fmla="*/ 74855 w 327421"/>
                  <a:gd name="connsiteY477" fmla="*/ 411516 h 925116"/>
                  <a:gd name="connsiteX478" fmla="*/ 74855 w 327421"/>
                  <a:gd name="connsiteY478" fmla="*/ 418337 h 925116"/>
                  <a:gd name="connsiteX479" fmla="*/ 74855 w 327421"/>
                  <a:gd name="connsiteY479" fmla="*/ 427431 h 925116"/>
                  <a:gd name="connsiteX480" fmla="*/ 72587 w 327421"/>
                  <a:gd name="connsiteY480" fmla="*/ 431978 h 925116"/>
                  <a:gd name="connsiteX481" fmla="*/ 74855 w 327421"/>
                  <a:gd name="connsiteY481" fmla="*/ 434252 h 925116"/>
                  <a:gd name="connsiteX482" fmla="*/ 81660 w 327421"/>
                  <a:gd name="connsiteY482" fmla="*/ 452441 h 925116"/>
                  <a:gd name="connsiteX483" fmla="*/ 79392 w 327421"/>
                  <a:gd name="connsiteY483" fmla="*/ 454714 h 925116"/>
                  <a:gd name="connsiteX484" fmla="*/ 77124 w 327421"/>
                  <a:gd name="connsiteY484" fmla="*/ 459261 h 925116"/>
                  <a:gd name="connsiteX485" fmla="*/ 70319 w 327421"/>
                  <a:gd name="connsiteY485" fmla="*/ 463808 h 925116"/>
                  <a:gd name="connsiteX486" fmla="*/ 72587 w 327421"/>
                  <a:gd name="connsiteY486" fmla="*/ 472903 h 925116"/>
                  <a:gd name="connsiteX487" fmla="*/ 72587 w 327421"/>
                  <a:gd name="connsiteY487" fmla="*/ 479723 h 925116"/>
                  <a:gd name="connsiteX488" fmla="*/ 77124 w 327421"/>
                  <a:gd name="connsiteY488" fmla="*/ 491091 h 925116"/>
                  <a:gd name="connsiteX489" fmla="*/ 83929 w 327421"/>
                  <a:gd name="connsiteY489" fmla="*/ 502459 h 925116"/>
                  <a:gd name="connsiteX490" fmla="*/ 88465 w 327421"/>
                  <a:gd name="connsiteY490" fmla="*/ 509280 h 925116"/>
                  <a:gd name="connsiteX491" fmla="*/ 90734 w 327421"/>
                  <a:gd name="connsiteY491" fmla="*/ 516100 h 925116"/>
                  <a:gd name="connsiteX492" fmla="*/ 83929 w 327421"/>
                  <a:gd name="connsiteY492" fmla="*/ 525195 h 925116"/>
                  <a:gd name="connsiteX493" fmla="*/ 83929 w 327421"/>
                  <a:gd name="connsiteY493" fmla="*/ 538836 h 925116"/>
                  <a:gd name="connsiteX494" fmla="*/ 81660 w 327421"/>
                  <a:gd name="connsiteY494" fmla="*/ 541110 h 925116"/>
                  <a:gd name="connsiteX495" fmla="*/ 83929 w 327421"/>
                  <a:gd name="connsiteY495" fmla="*/ 550204 h 925116"/>
                  <a:gd name="connsiteX496" fmla="*/ 86197 w 327421"/>
                  <a:gd name="connsiteY496" fmla="*/ 554751 h 925116"/>
                  <a:gd name="connsiteX497" fmla="*/ 86197 w 327421"/>
                  <a:gd name="connsiteY497" fmla="*/ 561572 h 925116"/>
                  <a:gd name="connsiteX498" fmla="*/ 90734 w 327421"/>
                  <a:gd name="connsiteY498" fmla="*/ 575213 h 925116"/>
                  <a:gd name="connsiteX499" fmla="*/ 95270 w 327421"/>
                  <a:gd name="connsiteY499" fmla="*/ 588855 h 925116"/>
                  <a:gd name="connsiteX500" fmla="*/ 102075 w 327421"/>
                  <a:gd name="connsiteY500" fmla="*/ 597949 h 925116"/>
                  <a:gd name="connsiteX501" fmla="*/ 95270 w 327421"/>
                  <a:gd name="connsiteY501" fmla="*/ 602496 h 925116"/>
                  <a:gd name="connsiteX502" fmla="*/ 99807 w 327421"/>
                  <a:gd name="connsiteY502" fmla="*/ 611590 h 925116"/>
                  <a:gd name="connsiteX503" fmla="*/ 104344 w 327421"/>
                  <a:gd name="connsiteY503" fmla="*/ 622958 h 925116"/>
                  <a:gd name="connsiteX504" fmla="*/ 111149 w 327421"/>
                  <a:gd name="connsiteY504" fmla="*/ 627505 h 925116"/>
                  <a:gd name="connsiteX505" fmla="*/ 111149 w 327421"/>
                  <a:gd name="connsiteY505" fmla="*/ 632053 h 925116"/>
                  <a:gd name="connsiteX506" fmla="*/ 115686 w 327421"/>
                  <a:gd name="connsiteY506" fmla="*/ 636600 h 925116"/>
                  <a:gd name="connsiteX507" fmla="*/ 115686 w 327421"/>
                  <a:gd name="connsiteY507" fmla="*/ 638873 h 925116"/>
                  <a:gd name="connsiteX508" fmla="*/ 117954 w 327421"/>
                  <a:gd name="connsiteY508" fmla="*/ 643420 h 925116"/>
                  <a:gd name="connsiteX509" fmla="*/ 117954 w 327421"/>
                  <a:gd name="connsiteY509" fmla="*/ 647968 h 925116"/>
                  <a:gd name="connsiteX510" fmla="*/ 122491 w 327421"/>
                  <a:gd name="connsiteY510" fmla="*/ 654788 h 925116"/>
                  <a:gd name="connsiteX511" fmla="*/ 136101 w 327421"/>
                  <a:gd name="connsiteY511" fmla="*/ 657062 h 925116"/>
                  <a:gd name="connsiteX512" fmla="*/ 133832 w 327421"/>
                  <a:gd name="connsiteY512" fmla="*/ 661609 h 925116"/>
                  <a:gd name="connsiteX513" fmla="*/ 124759 w 327421"/>
                  <a:gd name="connsiteY513" fmla="*/ 663883 h 925116"/>
                  <a:gd name="connsiteX514" fmla="*/ 127027 w 327421"/>
                  <a:gd name="connsiteY514" fmla="*/ 666156 h 925116"/>
                  <a:gd name="connsiteX515" fmla="*/ 136101 w 327421"/>
                  <a:gd name="connsiteY515" fmla="*/ 682071 h 925116"/>
                  <a:gd name="connsiteX516" fmla="*/ 133832 w 327421"/>
                  <a:gd name="connsiteY516" fmla="*/ 682071 h 925116"/>
                  <a:gd name="connsiteX517" fmla="*/ 136101 w 327421"/>
                  <a:gd name="connsiteY517" fmla="*/ 686618 h 925116"/>
                  <a:gd name="connsiteX518" fmla="*/ 138369 w 327421"/>
                  <a:gd name="connsiteY518" fmla="*/ 691165 h 925116"/>
                  <a:gd name="connsiteX519" fmla="*/ 136101 w 327421"/>
                  <a:gd name="connsiteY519" fmla="*/ 695713 h 925116"/>
                  <a:gd name="connsiteX520" fmla="*/ 145174 w 327421"/>
                  <a:gd name="connsiteY520" fmla="*/ 709354 h 925116"/>
                  <a:gd name="connsiteX521" fmla="*/ 142906 w 327421"/>
                  <a:gd name="connsiteY521" fmla="*/ 713901 h 925116"/>
                  <a:gd name="connsiteX522" fmla="*/ 145174 w 327421"/>
                  <a:gd name="connsiteY522" fmla="*/ 718448 h 925116"/>
                  <a:gd name="connsiteX523" fmla="*/ 147442 w 327421"/>
                  <a:gd name="connsiteY523" fmla="*/ 720722 h 925116"/>
                  <a:gd name="connsiteX524" fmla="*/ 140637 w 327421"/>
                  <a:gd name="connsiteY524" fmla="*/ 732090 h 925116"/>
                  <a:gd name="connsiteX525" fmla="*/ 142906 w 327421"/>
                  <a:gd name="connsiteY525" fmla="*/ 738910 h 925116"/>
                  <a:gd name="connsiteX526" fmla="*/ 149711 w 327421"/>
                  <a:gd name="connsiteY526" fmla="*/ 748005 h 925116"/>
                  <a:gd name="connsiteX527" fmla="*/ 147442 w 327421"/>
                  <a:gd name="connsiteY527" fmla="*/ 752552 h 925116"/>
                  <a:gd name="connsiteX528" fmla="*/ 149711 w 327421"/>
                  <a:gd name="connsiteY528" fmla="*/ 761646 h 925116"/>
                  <a:gd name="connsiteX529" fmla="*/ 145174 w 327421"/>
                  <a:gd name="connsiteY529" fmla="*/ 763920 h 925116"/>
                  <a:gd name="connsiteX530" fmla="*/ 138369 w 327421"/>
                  <a:gd name="connsiteY530" fmla="*/ 770740 h 925116"/>
                  <a:gd name="connsiteX531" fmla="*/ 140637 w 327421"/>
                  <a:gd name="connsiteY531" fmla="*/ 779835 h 925116"/>
                  <a:gd name="connsiteX532" fmla="*/ 145174 w 327421"/>
                  <a:gd name="connsiteY532" fmla="*/ 788929 h 925116"/>
                  <a:gd name="connsiteX533" fmla="*/ 154247 w 327421"/>
                  <a:gd name="connsiteY533" fmla="*/ 795750 h 925116"/>
                  <a:gd name="connsiteX534" fmla="*/ 158784 w 327421"/>
                  <a:gd name="connsiteY534" fmla="*/ 804844 h 925116"/>
                  <a:gd name="connsiteX535" fmla="*/ 163321 w 327421"/>
                  <a:gd name="connsiteY535" fmla="*/ 802570 h 925116"/>
                  <a:gd name="connsiteX536" fmla="*/ 170126 w 327421"/>
                  <a:gd name="connsiteY536" fmla="*/ 802570 h 925116"/>
                  <a:gd name="connsiteX537" fmla="*/ 176931 w 327421"/>
                  <a:gd name="connsiteY537" fmla="*/ 807118 h 925116"/>
                  <a:gd name="connsiteX538" fmla="*/ 179199 w 327421"/>
                  <a:gd name="connsiteY538" fmla="*/ 813938 h 925116"/>
                  <a:gd name="connsiteX539" fmla="*/ 181468 w 327421"/>
                  <a:gd name="connsiteY539" fmla="*/ 823033 h 925116"/>
                  <a:gd name="connsiteX540" fmla="*/ 195078 w 327421"/>
                  <a:gd name="connsiteY540" fmla="*/ 832127 h 925116"/>
                  <a:gd name="connsiteX541" fmla="*/ 213224 w 327421"/>
                  <a:gd name="connsiteY541" fmla="*/ 834400 h 925116"/>
                  <a:gd name="connsiteX542" fmla="*/ 248788 w 327421"/>
                  <a:gd name="connsiteY542" fmla="*/ 839261 h 925116"/>
                  <a:gd name="connsiteX543" fmla="*/ 245548 w 327421"/>
                  <a:gd name="connsiteY543" fmla="*/ 840653 h 925116"/>
                  <a:gd name="connsiteX544" fmla="*/ 244981 w 327421"/>
                  <a:gd name="connsiteY544" fmla="*/ 845769 h 925116"/>
                  <a:gd name="connsiteX545" fmla="*/ 235908 w 327421"/>
                  <a:gd name="connsiteY545" fmla="*/ 848042 h 925116"/>
                  <a:gd name="connsiteX546" fmla="*/ 224566 w 327421"/>
                  <a:gd name="connsiteY546" fmla="*/ 852589 h 925116"/>
                  <a:gd name="connsiteX547" fmla="*/ 229103 w 327421"/>
                  <a:gd name="connsiteY547" fmla="*/ 863957 h 925116"/>
                  <a:gd name="connsiteX548" fmla="*/ 233640 w 327421"/>
                  <a:gd name="connsiteY548" fmla="*/ 873051 h 925116"/>
                  <a:gd name="connsiteX549" fmla="*/ 222298 w 327421"/>
                  <a:gd name="connsiteY549" fmla="*/ 877599 h 925116"/>
                  <a:gd name="connsiteX550" fmla="*/ 204151 w 327421"/>
                  <a:gd name="connsiteY550" fmla="*/ 866231 h 925116"/>
                  <a:gd name="connsiteX551" fmla="*/ 208688 w 327421"/>
                  <a:gd name="connsiteY551" fmla="*/ 868504 h 925116"/>
                  <a:gd name="connsiteX552" fmla="*/ 210956 w 327421"/>
                  <a:gd name="connsiteY552" fmla="*/ 863957 h 925116"/>
                  <a:gd name="connsiteX553" fmla="*/ 215493 w 327421"/>
                  <a:gd name="connsiteY553" fmla="*/ 870778 h 925116"/>
                  <a:gd name="connsiteX554" fmla="*/ 220029 w 327421"/>
                  <a:gd name="connsiteY554" fmla="*/ 861684 h 925116"/>
                  <a:gd name="connsiteX555" fmla="*/ 220029 w 327421"/>
                  <a:gd name="connsiteY555" fmla="*/ 854863 h 925116"/>
                  <a:gd name="connsiteX556" fmla="*/ 215493 w 327421"/>
                  <a:gd name="connsiteY556" fmla="*/ 852589 h 925116"/>
                  <a:gd name="connsiteX557" fmla="*/ 208688 w 327421"/>
                  <a:gd name="connsiteY557" fmla="*/ 859410 h 925116"/>
                  <a:gd name="connsiteX558" fmla="*/ 197346 w 327421"/>
                  <a:gd name="connsiteY558" fmla="*/ 859410 h 925116"/>
                  <a:gd name="connsiteX559" fmla="*/ 204151 w 327421"/>
                  <a:gd name="connsiteY559" fmla="*/ 861684 h 925116"/>
                  <a:gd name="connsiteX560" fmla="*/ 199614 w 327421"/>
                  <a:gd name="connsiteY560" fmla="*/ 861684 h 925116"/>
                  <a:gd name="connsiteX561" fmla="*/ 199614 w 327421"/>
                  <a:gd name="connsiteY561" fmla="*/ 866231 h 925116"/>
                  <a:gd name="connsiteX562" fmla="*/ 206419 w 327421"/>
                  <a:gd name="connsiteY562" fmla="*/ 870778 h 925116"/>
                  <a:gd name="connsiteX563" fmla="*/ 186004 w 327421"/>
                  <a:gd name="connsiteY563" fmla="*/ 861684 h 925116"/>
                  <a:gd name="connsiteX564" fmla="*/ 195078 w 327421"/>
                  <a:gd name="connsiteY564" fmla="*/ 861684 h 925116"/>
                  <a:gd name="connsiteX565" fmla="*/ 188273 w 327421"/>
                  <a:gd name="connsiteY565" fmla="*/ 854863 h 925116"/>
                  <a:gd name="connsiteX566" fmla="*/ 192809 w 327421"/>
                  <a:gd name="connsiteY566" fmla="*/ 854863 h 925116"/>
                  <a:gd name="connsiteX567" fmla="*/ 199614 w 327421"/>
                  <a:gd name="connsiteY567" fmla="*/ 850316 h 925116"/>
                  <a:gd name="connsiteX568" fmla="*/ 210956 w 327421"/>
                  <a:gd name="connsiteY568" fmla="*/ 850316 h 925116"/>
                  <a:gd name="connsiteX569" fmla="*/ 195078 w 327421"/>
                  <a:gd name="connsiteY569" fmla="*/ 850316 h 925116"/>
                  <a:gd name="connsiteX570" fmla="*/ 192809 w 327421"/>
                  <a:gd name="connsiteY570" fmla="*/ 845769 h 925116"/>
                  <a:gd name="connsiteX571" fmla="*/ 186004 w 327421"/>
                  <a:gd name="connsiteY571" fmla="*/ 850316 h 925116"/>
                  <a:gd name="connsiteX572" fmla="*/ 190541 w 327421"/>
                  <a:gd name="connsiteY572" fmla="*/ 850316 h 925116"/>
                  <a:gd name="connsiteX573" fmla="*/ 186004 w 327421"/>
                  <a:gd name="connsiteY573" fmla="*/ 852589 h 925116"/>
                  <a:gd name="connsiteX574" fmla="*/ 186004 w 327421"/>
                  <a:gd name="connsiteY574" fmla="*/ 859410 h 925116"/>
                  <a:gd name="connsiteX575" fmla="*/ 183736 w 327421"/>
                  <a:gd name="connsiteY575" fmla="*/ 854863 h 925116"/>
                  <a:gd name="connsiteX576" fmla="*/ 176931 w 327421"/>
                  <a:gd name="connsiteY576" fmla="*/ 852589 h 925116"/>
                  <a:gd name="connsiteX577" fmla="*/ 179199 w 327421"/>
                  <a:gd name="connsiteY577" fmla="*/ 852589 h 925116"/>
                  <a:gd name="connsiteX578" fmla="*/ 183736 w 327421"/>
                  <a:gd name="connsiteY578" fmla="*/ 848042 h 925116"/>
                  <a:gd name="connsiteX579" fmla="*/ 183736 w 327421"/>
                  <a:gd name="connsiteY579" fmla="*/ 845769 h 925116"/>
                  <a:gd name="connsiteX580" fmla="*/ 190541 w 327421"/>
                  <a:gd name="connsiteY580" fmla="*/ 845769 h 925116"/>
                  <a:gd name="connsiteX581" fmla="*/ 188273 w 327421"/>
                  <a:gd name="connsiteY581" fmla="*/ 838948 h 925116"/>
                  <a:gd name="connsiteX582" fmla="*/ 185969 w 327421"/>
                  <a:gd name="connsiteY582" fmla="*/ 836816 h 925116"/>
                  <a:gd name="connsiteX583" fmla="*/ 186004 w 327421"/>
                  <a:gd name="connsiteY583" fmla="*/ 836674 h 925116"/>
                  <a:gd name="connsiteX584" fmla="*/ 185708 w 327421"/>
                  <a:gd name="connsiteY584" fmla="*/ 836575 h 925116"/>
                  <a:gd name="connsiteX585" fmla="*/ 184587 w 327421"/>
                  <a:gd name="connsiteY585" fmla="*/ 835537 h 925116"/>
                  <a:gd name="connsiteX586" fmla="*/ 186004 w 327421"/>
                  <a:gd name="connsiteY586" fmla="*/ 832127 h 925116"/>
                  <a:gd name="connsiteX587" fmla="*/ 179199 w 327421"/>
                  <a:gd name="connsiteY587" fmla="*/ 825306 h 925116"/>
                  <a:gd name="connsiteX588" fmla="*/ 167857 w 327421"/>
                  <a:gd name="connsiteY588" fmla="*/ 820759 h 925116"/>
                  <a:gd name="connsiteX589" fmla="*/ 167857 w 327421"/>
                  <a:gd name="connsiteY589" fmla="*/ 823033 h 925116"/>
                  <a:gd name="connsiteX590" fmla="*/ 181468 w 327421"/>
                  <a:gd name="connsiteY590" fmla="*/ 829853 h 925116"/>
                  <a:gd name="connsiteX591" fmla="*/ 167857 w 327421"/>
                  <a:gd name="connsiteY591" fmla="*/ 825306 h 925116"/>
                  <a:gd name="connsiteX592" fmla="*/ 172394 w 327421"/>
                  <a:gd name="connsiteY592" fmla="*/ 827580 h 925116"/>
                  <a:gd name="connsiteX593" fmla="*/ 174662 w 327421"/>
                  <a:gd name="connsiteY593" fmla="*/ 832127 h 925116"/>
                  <a:gd name="connsiteX594" fmla="*/ 172394 w 327421"/>
                  <a:gd name="connsiteY594" fmla="*/ 836674 h 925116"/>
                  <a:gd name="connsiteX595" fmla="*/ 167857 w 327421"/>
                  <a:gd name="connsiteY595" fmla="*/ 827580 h 925116"/>
                  <a:gd name="connsiteX596" fmla="*/ 172394 w 327421"/>
                  <a:gd name="connsiteY596" fmla="*/ 838948 h 925116"/>
                  <a:gd name="connsiteX597" fmla="*/ 163321 w 327421"/>
                  <a:gd name="connsiteY597" fmla="*/ 829853 h 925116"/>
                  <a:gd name="connsiteX598" fmla="*/ 167857 w 327421"/>
                  <a:gd name="connsiteY598" fmla="*/ 834400 h 925116"/>
                  <a:gd name="connsiteX599" fmla="*/ 163321 w 327421"/>
                  <a:gd name="connsiteY599" fmla="*/ 827580 h 925116"/>
                  <a:gd name="connsiteX600" fmla="*/ 158784 w 327421"/>
                  <a:gd name="connsiteY600" fmla="*/ 827580 h 925116"/>
                  <a:gd name="connsiteX601" fmla="*/ 156516 w 327421"/>
                  <a:gd name="connsiteY601" fmla="*/ 825306 h 925116"/>
                  <a:gd name="connsiteX602" fmla="*/ 151979 w 327421"/>
                  <a:gd name="connsiteY602" fmla="*/ 820759 h 925116"/>
                  <a:gd name="connsiteX603" fmla="*/ 161052 w 327421"/>
                  <a:gd name="connsiteY603" fmla="*/ 825306 h 925116"/>
                  <a:gd name="connsiteX604" fmla="*/ 154247 w 327421"/>
                  <a:gd name="connsiteY604" fmla="*/ 816212 h 925116"/>
                  <a:gd name="connsiteX605" fmla="*/ 151979 w 327421"/>
                  <a:gd name="connsiteY605" fmla="*/ 813938 h 925116"/>
                  <a:gd name="connsiteX606" fmla="*/ 151979 w 327421"/>
                  <a:gd name="connsiteY606" fmla="*/ 816212 h 925116"/>
                  <a:gd name="connsiteX607" fmla="*/ 147442 w 327421"/>
                  <a:gd name="connsiteY607" fmla="*/ 813938 h 925116"/>
                  <a:gd name="connsiteX608" fmla="*/ 142906 w 327421"/>
                  <a:gd name="connsiteY608" fmla="*/ 809391 h 925116"/>
                  <a:gd name="connsiteX609" fmla="*/ 145174 w 327421"/>
                  <a:gd name="connsiteY609" fmla="*/ 809391 h 925116"/>
                  <a:gd name="connsiteX610" fmla="*/ 147442 w 327421"/>
                  <a:gd name="connsiteY610" fmla="*/ 807118 h 925116"/>
                  <a:gd name="connsiteX611" fmla="*/ 149711 w 327421"/>
                  <a:gd name="connsiteY611" fmla="*/ 807118 h 925116"/>
                  <a:gd name="connsiteX612" fmla="*/ 149711 w 327421"/>
                  <a:gd name="connsiteY612" fmla="*/ 802570 h 925116"/>
                  <a:gd name="connsiteX613" fmla="*/ 147442 w 327421"/>
                  <a:gd name="connsiteY613" fmla="*/ 798023 h 925116"/>
                  <a:gd name="connsiteX614" fmla="*/ 145174 w 327421"/>
                  <a:gd name="connsiteY614" fmla="*/ 807118 h 925116"/>
                  <a:gd name="connsiteX615" fmla="*/ 136101 w 327421"/>
                  <a:gd name="connsiteY615" fmla="*/ 798023 h 925116"/>
                  <a:gd name="connsiteX616" fmla="*/ 140637 w 327421"/>
                  <a:gd name="connsiteY616" fmla="*/ 800297 h 925116"/>
                  <a:gd name="connsiteX617" fmla="*/ 142906 w 327421"/>
                  <a:gd name="connsiteY617" fmla="*/ 800297 h 925116"/>
                  <a:gd name="connsiteX618" fmla="*/ 133832 w 327421"/>
                  <a:gd name="connsiteY618" fmla="*/ 793476 h 925116"/>
                  <a:gd name="connsiteX619" fmla="*/ 124759 w 327421"/>
                  <a:gd name="connsiteY619" fmla="*/ 791203 h 925116"/>
                  <a:gd name="connsiteX620" fmla="*/ 140637 w 327421"/>
                  <a:gd name="connsiteY620" fmla="*/ 793476 h 925116"/>
                  <a:gd name="connsiteX621" fmla="*/ 129296 w 327421"/>
                  <a:gd name="connsiteY621" fmla="*/ 786655 h 925116"/>
                  <a:gd name="connsiteX622" fmla="*/ 138369 w 327421"/>
                  <a:gd name="connsiteY622" fmla="*/ 788929 h 925116"/>
                  <a:gd name="connsiteX623" fmla="*/ 136101 w 327421"/>
                  <a:gd name="connsiteY623" fmla="*/ 784382 h 925116"/>
                  <a:gd name="connsiteX624" fmla="*/ 131564 w 327421"/>
                  <a:gd name="connsiteY624" fmla="*/ 779835 h 925116"/>
                  <a:gd name="connsiteX625" fmla="*/ 127027 w 327421"/>
                  <a:gd name="connsiteY625" fmla="*/ 777561 h 925116"/>
                  <a:gd name="connsiteX626" fmla="*/ 138369 w 327421"/>
                  <a:gd name="connsiteY626" fmla="*/ 779835 h 925116"/>
                  <a:gd name="connsiteX627" fmla="*/ 129296 w 327421"/>
                  <a:gd name="connsiteY627" fmla="*/ 775288 h 925116"/>
                  <a:gd name="connsiteX628" fmla="*/ 127027 w 327421"/>
                  <a:gd name="connsiteY628" fmla="*/ 773014 h 925116"/>
                  <a:gd name="connsiteX629" fmla="*/ 129296 w 327421"/>
                  <a:gd name="connsiteY629" fmla="*/ 770740 h 925116"/>
                  <a:gd name="connsiteX630" fmla="*/ 129296 w 327421"/>
                  <a:gd name="connsiteY630" fmla="*/ 763920 h 925116"/>
                  <a:gd name="connsiteX631" fmla="*/ 124759 w 327421"/>
                  <a:gd name="connsiteY631" fmla="*/ 766193 h 925116"/>
                  <a:gd name="connsiteX632" fmla="*/ 124759 w 327421"/>
                  <a:gd name="connsiteY632" fmla="*/ 775288 h 925116"/>
                  <a:gd name="connsiteX633" fmla="*/ 117954 w 327421"/>
                  <a:gd name="connsiteY633" fmla="*/ 763920 h 925116"/>
                  <a:gd name="connsiteX634" fmla="*/ 115686 w 327421"/>
                  <a:gd name="connsiteY634" fmla="*/ 759373 h 925116"/>
                  <a:gd name="connsiteX635" fmla="*/ 120222 w 327421"/>
                  <a:gd name="connsiteY635" fmla="*/ 757099 h 925116"/>
                  <a:gd name="connsiteX636" fmla="*/ 113417 w 327421"/>
                  <a:gd name="connsiteY636" fmla="*/ 752552 h 925116"/>
                  <a:gd name="connsiteX637" fmla="*/ 120222 w 327421"/>
                  <a:gd name="connsiteY637" fmla="*/ 754825 h 925116"/>
                  <a:gd name="connsiteX638" fmla="*/ 120222 w 327421"/>
                  <a:gd name="connsiteY638" fmla="*/ 750278 h 925116"/>
                  <a:gd name="connsiteX639" fmla="*/ 115686 w 327421"/>
                  <a:gd name="connsiteY639" fmla="*/ 748005 h 925116"/>
                  <a:gd name="connsiteX640" fmla="*/ 102075 w 327421"/>
                  <a:gd name="connsiteY640" fmla="*/ 741184 h 925116"/>
                  <a:gd name="connsiteX641" fmla="*/ 111149 w 327421"/>
                  <a:gd name="connsiteY641" fmla="*/ 743458 h 925116"/>
                  <a:gd name="connsiteX642" fmla="*/ 108880 w 327421"/>
                  <a:gd name="connsiteY642" fmla="*/ 741184 h 925116"/>
                  <a:gd name="connsiteX643" fmla="*/ 117954 w 327421"/>
                  <a:gd name="connsiteY643" fmla="*/ 743458 h 925116"/>
                  <a:gd name="connsiteX644" fmla="*/ 122491 w 327421"/>
                  <a:gd name="connsiteY644" fmla="*/ 743458 h 925116"/>
                  <a:gd name="connsiteX645" fmla="*/ 129296 w 327421"/>
                  <a:gd name="connsiteY645" fmla="*/ 745731 h 925116"/>
                  <a:gd name="connsiteX646" fmla="*/ 129296 w 327421"/>
                  <a:gd name="connsiteY646" fmla="*/ 741184 h 925116"/>
                  <a:gd name="connsiteX647" fmla="*/ 124759 w 327421"/>
                  <a:gd name="connsiteY647" fmla="*/ 738910 h 925116"/>
                  <a:gd name="connsiteX648" fmla="*/ 120222 w 327421"/>
                  <a:gd name="connsiteY648" fmla="*/ 736637 h 925116"/>
                  <a:gd name="connsiteX649" fmla="*/ 115848 w 327421"/>
                  <a:gd name="connsiteY649" fmla="*/ 734445 h 925116"/>
                  <a:gd name="connsiteX650" fmla="*/ 116253 w 327421"/>
                  <a:gd name="connsiteY650" fmla="*/ 734079 h 925116"/>
                  <a:gd name="connsiteX651" fmla="*/ 115686 w 327421"/>
                  <a:gd name="connsiteY651" fmla="*/ 729816 h 925116"/>
                  <a:gd name="connsiteX652" fmla="*/ 115686 w 327421"/>
                  <a:gd name="connsiteY652" fmla="*/ 734363 h 925116"/>
                  <a:gd name="connsiteX653" fmla="*/ 115848 w 327421"/>
                  <a:gd name="connsiteY653" fmla="*/ 734445 h 925116"/>
                  <a:gd name="connsiteX654" fmla="*/ 113417 w 327421"/>
                  <a:gd name="connsiteY654" fmla="*/ 736637 h 925116"/>
                  <a:gd name="connsiteX655" fmla="*/ 97539 w 327421"/>
                  <a:gd name="connsiteY655" fmla="*/ 732090 h 925116"/>
                  <a:gd name="connsiteX656" fmla="*/ 99807 w 327421"/>
                  <a:gd name="connsiteY656" fmla="*/ 729816 h 925116"/>
                  <a:gd name="connsiteX657" fmla="*/ 108880 w 327421"/>
                  <a:gd name="connsiteY657" fmla="*/ 734363 h 925116"/>
                  <a:gd name="connsiteX658" fmla="*/ 108880 w 327421"/>
                  <a:gd name="connsiteY658" fmla="*/ 732090 h 925116"/>
                  <a:gd name="connsiteX659" fmla="*/ 104344 w 327421"/>
                  <a:gd name="connsiteY659" fmla="*/ 729816 h 925116"/>
                  <a:gd name="connsiteX660" fmla="*/ 99807 w 327421"/>
                  <a:gd name="connsiteY660" fmla="*/ 727543 h 925116"/>
                  <a:gd name="connsiteX661" fmla="*/ 104344 w 327421"/>
                  <a:gd name="connsiteY661" fmla="*/ 722995 h 925116"/>
                  <a:gd name="connsiteX662" fmla="*/ 106612 w 327421"/>
                  <a:gd name="connsiteY662" fmla="*/ 720722 h 925116"/>
                  <a:gd name="connsiteX663" fmla="*/ 104344 w 327421"/>
                  <a:gd name="connsiteY663" fmla="*/ 718448 h 925116"/>
                  <a:gd name="connsiteX664" fmla="*/ 99807 w 327421"/>
                  <a:gd name="connsiteY664" fmla="*/ 713901 h 925116"/>
                  <a:gd name="connsiteX665" fmla="*/ 93002 w 327421"/>
                  <a:gd name="connsiteY665" fmla="*/ 713901 h 925116"/>
                  <a:gd name="connsiteX666" fmla="*/ 83929 w 327421"/>
                  <a:gd name="connsiteY666" fmla="*/ 711628 h 925116"/>
                  <a:gd name="connsiteX667" fmla="*/ 81660 w 327421"/>
                  <a:gd name="connsiteY667" fmla="*/ 702533 h 925116"/>
                  <a:gd name="connsiteX668" fmla="*/ 75139 w 327421"/>
                  <a:gd name="connsiteY668" fmla="*/ 707080 h 925116"/>
                  <a:gd name="connsiteX669" fmla="*/ 71549 w 327421"/>
                  <a:gd name="connsiteY669" fmla="*/ 710467 h 925116"/>
                  <a:gd name="connsiteX670" fmla="*/ 69752 w 327421"/>
                  <a:gd name="connsiteY670" fmla="*/ 704523 h 925116"/>
                  <a:gd name="connsiteX671" fmla="*/ 77124 w 327421"/>
                  <a:gd name="connsiteY671" fmla="*/ 700260 h 925116"/>
                  <a:gd name="connsiteX672" fmla="*/ 77124 w 327421"/>
                  <a:gd name="connsiteY672" fmla="*/ 697986 h 925116"/>
                  <a:gd name="connsiteX673" fmla="*/ 81660 w 327421"/>
                  <a:gd name="connsiteY673" fmla="*/ 697986 h 925116"/>
                  <a:gd name="connsiteX674" fmla="*/ 79392 w 327421"/>
                  <a:gd name="connsiteY674" fmla="*/ 691165 h 925116"/>
                  <a:gd name="connsiteX675" fmla="*/ 77124 w 327421"/>
                  <a:gd name="connsiteY675" fmla="*/ 693439 h 925116"/>
                  <a:gd name="connsiteX676" fmla="*/ 72587 w 327421"/>
                  <a:gd name="connsiteY676" fmla="*/ 688892 h 925116"/>
                  <a:gd name="connsiteX677" fmla="*/ 79392 w 327421"/>
                  <a:gd name="connsiteY677" fmla="*/ 688892 h 925116"/>
                  <a:gd name="connsiteX678" fmla="*/ 86197 w 327421"/>
                  <a:gd name="connsiteY678" fmla="*/ 691165 h 925116"/>
                  <a:gd name="connsiteX679" fmla="*/ 88465 w 327421"/>
                  <a:gd name="connsiteY679" fmla="*/ 688892 h 925116"/>
                  <a:gd name="connsiteX680" fmla="*/ 93002 w 327421"/>
                  <a:gd name="connsiteY680" fmla="*/ 691165 h 925116"/>
                  <a:gd name="connsiteX681" fmla="*/ 86197 w 327421"/>
                  <a:gd name="connsiteY681" fmla="*/ 697986 h 925116"/>
                  <a:gd name="connsiteX682" fmla="*/ 99807 w 327421"/>
                  <a:gd name="connsiteY682" fmla="*/ 700260 h 925116"/>
                  <a:gd name="connsiteX683" fmla="*/ 97539 w 327421"/>
                  <a:gd name="connsiteY683" fmla="*/ 695713 h 925116"/>
                  <a:gd name="connsiteX684" fmla="*/ 102075 w 327421"/>
                  <a:gd name="connsiteY684" fmla="*/ 700260 h 925116"/>
                  <a:gd name="connsiteX685" fmla="*/ 102075 w 327421"/>
                  <a:gd name="connsiteY685" fmla="*/ 707080 h 925116"/>
                  <a:gd name="connsiteX686" fmla="*/ 106612 w 327421"/>
                  <a:gd name="connsiteY686" fmla="*/ 693439 h 925116"/>
                  <a:gd name="connsiteX687" fmla="*/ 102075 w 327421"/>
                  <a:gd name="connsiteY687" fmla="*/ 700260 h 925116"/>
                  <a:gd name="connsiteX688" fmla="*/ 106612 w 327421"/>
                  <a:gd name="connsiteY688" fmla="*/ 684345 h 925116"/>
                  <a:gd name="connsiteX689" fmla="*/ 99807 w 327421"/>
                  <a:gd name="connsiteY689" fmla="*/ 686618 h 925116"/>
                  <a:gd name="connsiteX690" fmla="*/ 97539 w 327421"/>
                  <a:gd name="connsiteY690" fmla="*/ 679798 h 925116"/>
                  <a:gd name="connsiteX691" fmla="*/ 100941 w 327421"/>
                  <a:gd name="connsiteY691" fmla="*/ 676387 h 925116"/>
                  <a:gd name="connsiteX692" fmla="*/ 104344 w 327421"/>
                  <a:gd name="connsiteY692" fmla="*/ 677524 h 925116"/>
                  <a:gd name="connsiteX693" fmla="*/ 105478 w 327421"/>
                  <a:gd name="connsiteY693" fmla="*/ 677524 h 925116"/>
                  <a:gd name="connsiteX694" fmla="*/ 108880 w 327421"/>
                  <a:gd name="connsiteY694" fmla="*/ 679798 h 925116"/>
                  <a:gd name="connsiteX695" fmla="*/ 108880 w 327421"/>
                  <a:gd name="connsiteY695" fmla="*/ 677524 h 925116"/>
                  <a:gd name="connsiteX696" fmla="*/ 105478 w 327421"/>
                  <a:gd name="connsiteY696" fmla="*/ 677524 h 925116"/>
                  <a:gd name="connsiteX697" fmla="*/ 102075 w 327421"/>
                  <a:gd name="connsiteY697" fmla="*/ 675250 h 925116"/>
                  <a:gd name="connsiteX698" fmla="*/ 100941 w 327421"/>
                  <a:gd name="connsiteY698" fmla="*/ 676387 h 925116"/>
                  <a:gd name="connsiteX699" fmla="*/ 97539 w 327421"/>
                  <a:gd name="connsiteY699" fmla="*/ 675250 h 925116"/>
                  <a:gd name="connsiteX700" fmla="*/ 99807 w 327421"/>
                  <a:gd name="connsiteY700" fmla="*/ 668430 h 925116"/>
                  <a:gd name="connsiteX701" fmla="*/ 104344 w 327421"/>
                  <a:gd name="connsiteY701" fmla="*/ 652515 h 925116"/>
                  <a:gd name="connsiteX702" fmla="*/ 90734 w 327421"/>
                  <a:gd name="connsiteY702" fmla="*/ 645694 h 925116"/>
                  <a:gd name="connsiteX703" fmla="*/ 93002 w 327421"/>
                  <a:gd name="connsiteY703" fmla="*/ 645694 h 925116"/>
                  <a:gd name="connsiteX704" fmla="*/ 93002 w 327421"/>
                  <a:gd name="connsiteY704" fmla="*/ 636600 h 925116"/>
                  <a:gd name="connsiteX705" fmla="*/ 90734 w 327421"/>
                  <a:gd name="connsiteY705" fmla="*/ 636600 h 925116"/>
                  <a:gd name="connsiteX706" fmla="*/ 86197 w 327421"/>
                  <a:gd name="connsiteY706" fmla="*/ 632053 h 925116"/>
                  <a:gd name="connsiteX707" fmla="*/ 88465 w 327421"/>
                  <a:gd name="connsiteY707" fmla="*/ 625232 h 925116"/>
                  <a:gd name="connsiteX708" fmla="*/ 88465 w 327421"/>
                  <a:gd name="connsiteY708" fmla="*/ 620685 h 925116"/>
                  <a:gd name="connsiteX709" fmla="*/ 86197 w 327421"/>
                  <a:gd name="connsiteY709" fmla="*/ 616138 h 925116"/>
                  <a:gd name="connsiteX710" fmla="*/ 83929 w 327421"/>
                  <a:gd name="connsiteY710" fmla="*/ 611590 h 925116"/>
                  <a:gd name="connsiteX711" fmla="*/ 88465 w 327421"/>
                  <a:gd name="connsiteY711" fmla="*/ 609317 h 925116"/>
                  <a:gd name="connsiteX712" fmla="*/ 81660 w 327421"/>
                  <a:gd name="connsiteY712" fmla="*/ 602496 h 925116"/>
                  <a:gd name="connsiteX713" fmla="*/ 90734 w 327421"/>
                  <a:gd name="connsiteY713" fmla="*/ 607043 h 925116"/>
                  <a:gd name="connsiteX714" fmla="*/ 86197 w 327421"/>
                  <a:gd name="connsiteY714" fmla="*/ 595675 h 925116"/>
                  <a:gd name="connsiteX715" fmla="*/ 79392 w 327421"/>
                  <a:gd name="connsiteY715" fmla="*/ 591128 h 925116"/>
                  <a:gd name="connsiteX716" fmla="*/ 83929 w 327421"/>
                  <a:gd name="connsiteY716" fmla="*/ 582034 h 925116"/>
                  <a:gd name="connsiteX717" fmla="*/ 72587 w 327421"/>
                  <a:gd name="connsiteY717" fmla="*/ 584308 h 925116"/>
                  <a:gd name="connsiteX718" fmla="*/ 68050 w 327421"/>
                  <a:gd name="connsiteY718" fmla="*/ 591128 h 925116"/>
                  <a:gd name="connsiteX719" fmla="*/ 61245 w 327421"/>
                  <a:gd name="connsiteY719" fmla="*/ 586581 h 925116"/>
                  <a:gd name="connsiteX720" fmla="*/ 47635 w 327421"/>
                  <a:gd name="connsiteY720" fmla="*/ 561572 h 925116"/>
                  <a:gd name="connsiteX721" fmla="*/ 45367 w 327421"/>
                  <a:gd name="connsiteY721" fmla="*/ 547930 h 925116"/>
                  <a:gd name="connsiteX722" fmla="*/ 49904 w 327421"/>
                  <a:gd name="connsiteY722" fmla="*/ 541110 h 925116"/>
                  <a:gd name="connsiteX723" fmla="*/ 49904 w 327421"/>
                  <a:gd name="connsiteY723" fmla="*/ 534289 h 925116"/>
                  <a:gd name="connsiteX724" fmla="*/ 43098 w 327421"/>
                  <a:gd name="connsiteY724" fmla="*/ 520648 h 925116"/>
                  <a:gd name="connsiteX725" fmla="*/ 34025 w 327421"/>
                  <a:gd name="connsiteY725" fmla="*/ 507006 h 925116"/>
                  <a:gd name="connsiteX726" fmla="*/ 31757 w 327421"/>
                  <a:gd name="connsiteY726" fmla="*/ 497912 h 925116"/>
                  <a:gd name="connsiteX727" fmla="*/ 27220 w 327421"/>
                  <a:gd name="connsiteY727" fmla="*/ 491091 h 925116"/>
                  <a:gd name="connsiteX728" fmla="*/ 27220 w 327421"/>
                  <a:gd name="connsiteY728" fmla="*/ 486544 h 925116"/>
                  <a:gd name="connsiteX729" fmla="*/ 24952 w 327421"/>
                  <a:gd name="connsiteY729" fmla="*/ 479723 h 925116"/>
                  <a:gd name="connsiteX730" fmla="*/ 31757 w 327421"/>
                  <a:gd name="connsiteY730" fmla="*/ 477450 h 925116"/>
                  <a:gd name="connsiteX731" fmla="*/ 29488 w 327421"/>
                  <a:gd name="connsiteY731" fmla="*/ 466082 h 925116"/>
                  <a:gd name="connsiteX732" fmla="*/ 34025 w 327421"/>
                  <a:gd name="connsiteY732" fmla="*/ 468355 h 925116"/>
                  <a:gd name="connsiteX733" fmla="*/ 31757 w 327421"/>
                  <a:gd name="connsiteY733" fmla="*/ 463808 h 925116"/>
                  <a:gd name="connsiteX734" fmla="*/ 34025 w 327421"/>
                  <a:gd name="connsiteY734" fmla="*/ 459261 h 925116"/>
                  <a:gd name="connsiteX735" fmla="*/ 34025 w 327421"/>
                  <a:gd name="connsiteY735" fmla="*/ 447893 h 925116"/>
                  <a:gd name="connsiteX736" fmla="*/ 34025 w 327421"/>
                  <a:gd name="connsiteY736" fmla="*/ 438799 h 925116"/>
                  <a:gd name="connsiteX737" fmla="*/ 36293 w 327421"/>
                  <a:gd name="connsiteY737" fmla="*/ 427431 h 925116"/>
                  <a:gd name="connsiteX738" fmla="*/ 36293 w 327421"/>
                  <a:gd name="connsiteY738" fmla="*/ 404696 h 925116"/>
                  <a:gd name="connsiteX739" fmla="*/ 38562 w 327421"/>
                  <a:gd name="connsiteY739" fmla="*/ 393328 h 925116"/>
                  <a:gd name="connsiteX740" fmla="*/ 36293 w 327421"/>
                  <a:gd name="connsiteY740" fmla="*/ 384233 h 925116"/>
                  <a:gd name="connsiteX741" fmla="*/ 36293 w 327421"/>
                  <a:gd name="connsiteY741" fmla="*/ 375139 h 925116"/>
                  <a:gd name="connsiteX742" fmla="*/ 36293 w 327421"/>
                  <a:gd name="connsiteY742" fmla="*/ 366045 h 925116"/>
                  <a:gd name="connsiteX743" fmla="*/ 36293 w 327421"/>
                  <a:gd name="connsiteY743" fmla="*/ 361498 h 925116"/>
                  <a:gd name="connsiteX744" fmla="*/ 31757 w 327421"/>
                  <a:gd name="connsiteY744" fmla="*/ 356951 h 925116"/>
                  <a:gd name="connsiteX745" fmla="*/ 27220 w 327421"/>
                  <a:gd name="connsiteY745" fmla="*/ 343309 h 925116"/>
                  <a:gd name="connsiteX746" fmla="*/ 20415 w 327421"/>
                  <a:gd name="connsiteY746" fmla="*/ 318300 h 925116"/>
                  <a:gd name="connsiteX747" fmla="*/ 22683 w 327421"/>
                  <a:gd name="connsiteY747" fmla="*/ 309206 h 925116"/>
                  <a:gd name="connsiteX748" fmla="*/ 24952 w 327421"/>
                  <a:gd name="connsiteY748" fmla="*/ 302385 h 925116"/>
                  <a:gd name="connsiteX749" fmla="*/ 18147 w 327421"/>
                  <a:gd name="connsiteY749" fmla="*/ 286470 h 925116"/>
                  <a:gd name="connsiteX750" fmla="*/ 15878 w 327421"/>
                  <a:gd name="connsiteY750" fmla="*/ 277376 h 925116"/>
                  <a:gd name="connsiteX751" fmla="*/ 20415 w 327421"/>
                  <a:gd name="connsiteY751" fmla="*/ 266008 h 925116"/>
                  <a:gd name="connsiteX752" fmla="*/ 18147 w 327421"/>
                  <a:gd name="connsiteY752" fmla="*/ 254640 h 925116"/>
                  <a:gd name="connsiteX753" fmla="*/ 20415 w 327421"/>
                  <a:gd name="connsiteY753" fmla="*/ 240998 h 925116"/>
                  <a:gd name="connsiteX754" fmla="*/ 20415 w 327421"/>
                  <a:gd name="connsiteY754" fmla="*/ 215989 h 925116"/>
                  <a:gd name="connsiteX755" fmla="*/ 18147 w 327421"/>
                  <a:gd name="connsiteY755" fmla="*/ 197801 h 925116"/>
                  <a:gd name="connsiteX756" fmla="*/ 20415 w 327421"/>
                  <a:gd name="connsiteY756" fmla="*/ 190980 h 925116"/>
                  <a:gd name="connsiteX757" fmla="*/ 15878 w 327421"/>
                  <a:gd name="connsiteY757" fmla="*/ 175065 h 925116"/>
                  <a:gd name="connsiteX758" fmla="*/ 15878 w 327421"/>
                  <a:gd name="connsiteY758" fmla="*/ 161423 h 925116"/>
                  <a:gd name="connsiteX759" fmla="*/ 15878 w 327421"/>
                  <a:gd name="connsiteY759" fmla="*/ 154603 h 925116"/>
                  <a:gd name="connsiteX760" fmla="*/ 15878 w 327421"/>
                  <a:gd name="connsiteY760" fmla="*/ 147782 h 925116"/>
                  <a:gd name="connsiteX761" fmla="*/ 11342 w 327421"/>
                  <a:gd name="connsiteY761" fmla="*/ 143235 h 925116"/>
                  <a:gd name="connsiteX762" fmla="*/ 11342 w 327421"/>
                  <a:gd name="connsiteY762" fmla="*/ 134141 h 925116"/>
                  <a:gd name="connsiteX763" fmla="*/ 15878 w 327421"/>
                  <a:gd name="connsiteY763" fmla="*/ 122773 h 925116"/>
                  <a:gd name="connsiteX764" fmla="*/ 13610 w 327421"/>
                  <a:gd name="connsiteY764" fmla="*/ 86396 h 925116"/>
                  <a:gd name="connsiteX765" fmla="*/ 6805 w 327421"/>
                  <a:gd name="connsiteY765" fmla="*/ 47745 h 925116"/>
                  <a:gd name="connsiteX766" fmla="*/ 2268 w 327421"/>
                  <a:gd name="connsiteY766" fmla="*/ 31830 h 925116"/>
                  <a:gd name="connsiteX767" fmla="*/ 0 w 327421"/>
                  <a:gd name="connsiteY767" fmla="*/ 20462 h 925116"/>
                  <a:gd name="connsiteX768" fmla="*/ 11342 w 327421"/>
                  <a:gd name="connsiteY768" fmla="*/ 13641 h 925116"/>
                  <a:gd name="connsiteX769" fmla="*/ 11342 w 327421"/>
                  <a:gd name="connsiteY769" fmla="*/ 4547 h 925116"/>
                  <a:gd name="connsiteX770" fmla="*/ 13610 w 327421"/>
                  <a:gd name="connsiteY770" fmla="*/ 4547 h 925116"/>
                  <a:gd name="connsiteX771" fmla="*/ 15878 w 327421"/>
                  <a:gd name="connsiteY771" fmla="*/ 0 h 925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Lst>
                <a:rect l="l" t="t" r="r" b="b"/>
                <a:pathLst>
                  <a:path w="327421" h="925116">
                    <a:moveTo>
                      <a:pt x="315515" y="922735"/>
                    </a:moveTo>
                    <a:cubicBezTo>
                      <a:pt x="317896" y="922735"/>
                      <a:pt x="320277" y="922735"/>
                      <a:pt x="320277" y="922735"/>
                    </a:cubicBezTo>
                    <a:cubicBezTo>
                      <a:pt x="320277" y="922735"/>
                      <a:pt x="320277" y="922735"/>
                      <a:pt x="320277" y="925116"/>
                    </a:cubicBezTo>
                    <a:cubicBezTo>
                      <a:pt x="320277" y="922735"/>
                      <a:pt x="317896" y="922735"/>
                      <a:pt x="315515" y="922735"/>
                    </a:cubicBezTo>
                    <a:close/>
                    <a:moveTo>
                      <a:pt x="320278" y="917972"/>
                    </a:moveTo>
                    <a:cubicBezTo>
                      <a:pt x="322659" y="920354"/>
                      <a:pt x="325040" y="920354"/>
                      <a:pt x="325040" y="922735"/>
                    </a:cubicBezTo>
                    <a:cubicBezTo>
                      <a:pt x="322659" y="922735"/>
                      <a:pt x="320278" y="920354"/>
                      <a:pt x="320278" y="920354"/>
                    </a:cubicBezTo>
                    <a:cubicBezTo>
                      <a:pt x="320278" y="920354"/>
                      <a:pt x="320278" y="917972"/>
                      <a:pt x="320278" y="917972"/>
                    </a:cubicBezTo>
                    <a:close/>
                    <a:moveTo>
                      <a:pt x="327421" y="909638"/>
                    </a:moveTo>
                    <a:cubicBezTo>
                      <a:pt x="327421" y="909638"/>
                      <a:pt x="327421" y="909638"/>
                      <a:pt x="327421" y="912019"/>
                    </a:cubicBezTo>
                    <a:cubicBezTo>
                      <a:pt x="327421" y="912019"/>
                      <a:pt x="325040" y="912019"/>
                      <a:pt x="322659" y="912019"/>
                    </a:cubicBezTo>
                    <a:cubicBezTo>
                      <a:pt x="325040" y="909638"/>
                      <a:pt x="325040" y="909638"/>
                      <a:pt x="327421" y="909638"/>
                    </a:cubicBezTo>
                    <a:close/>
                    <a:moveTo>
                      <a:pt x="267890" y="902495"/>
                    </a:moveTo>
                    <a:cubicBezTo>
                      <a:pt x="270033" y="900113"/>
                      <a:pt x="276463" y="902495"/>
                      <a:pt x="278606" y="902495"/>
                    </a:cubicBezTo>
                    <a:cubicBezTo>
                      <a:pt x="276463" y="904876"/>
                      <a:pt x="272176" y="904876"/>
                      <a:pt x="270033" y="904876"/>
                    </a:cubicBezTo>
                    <a:cubicBezTo>
                      <a:pt x="270033" y="904876"/>
                      <a:pt x="270033" y="904876"/>
                      <a:pt x="267890" y="902495"/>
                    </a:cubicBezTo>
                    <a:close/>
                    <a:moveTo>
                      <a:pt x="309020" y="902494"/>
                    </a:moveTo>
                    <a:cubicBezTo>
                      <a:pt x="314134" y="903090"/>
                      <a:pt x="319249" y="904876"/>
                      <a:pt x="320385" y="907257"/>
                    </a:cubicBezTo>
                    <a:cubicBezTo>
                      <a:pt x="322658" y="909638"/>
                      <a:pt x="320385" y="914401"/>
                      <a:pt x="318112" y="912020"/>
                    </a:cubicBezTo>
                    <a:cubicBezTo>
                      <a:pt x="315839" y="912020"/>
                      <a:pt x="313566" y="907257"/>
                      <a:pt x="313566" y="909638"/>
                    </a:cubicBezTo>
                    <a:cubicBezTo>
                      <a:pt x="313566" y="909638"/>
                      <a:pt x="313566" y="912020"/>
                      <a:pt x="313566" y="912020"/>
                    </a:cubicBezTo>
                    <a:cubicBezTo>
                      <a:pt x="311293" y="912020"/>
                      <a:pt x="309020" y="912020"/>
                      <a:pt x="309020" y="912020"/>
                    </a:cubicBezTo>
                    <a:cubicBezTo>
                      <a:pt x="313566" y="909638"/>
                      <a:pt x="304474" y="909638"/>
                      <a:pt x="302201" y="909638"/>
                    </a:cubicBezTo>
                    <a:cubicBezTo>
                      <a:pt x="299928" y="907257"/>
                      <a:pt x="299928" y="902494"/>
                      <a:pt x="297655" y="904876"/>
                    </a:cubicBezTo>
                    <a:cubicBezTo>
                      <a:pt x="298792" y="902494"/>
                      <a:pt x="303906" y="901899"/>
                      <a:pt x="309020" y="902494"/>
                    </a:cubicBezTo>
                    <a:close/>
                    <a:moveTo>
                      <a:pt x="292705" y="902494"/>
                    </a:moveTo>
                    <a:cubicBezTo>
                      <a:pt x="294961" y="902494"/>
                      <a:pt x="297217" y="906959"/>
                      <a:pt x="294961" y="906959"/>
                    </a:cubicBezTo>
                    <a:cubicBezTo>
                      <a:pt x="290449" y="906959"/>
                      <a:pt x="288193" y="906959"/>
                      <a:pt x="285937" y="904727"/>
                    </a:cubicBezTo>
                    <a:cubicBezTo>
                      <a:pt x="290449" y="909192"/>
                      <a:pt x="297217" y="906959"/>
                      <a:pt x="301728" y="911424"/>
                    </a:cubicBezTo>
                    <a:cubicBezTo>
                      <a:pt x="299473" y="911424"/>
                      <a:pt x="294961" y="911424"/>
                      <a:pt x="294961" y="909192"/>
                    </a:cubicBezTo>
                    <a:cubicBezTo>
                      <a:pt x="294961" y="911424"/>
                      <a:pt x="299473" y="911424"/>
                      <a:pt x="301728" y="913657"/>
                    </a:cubicBezTo>
                    <a:cubicBezTo>
                      <a:pt x="306240" y="913657"/>
                      <a:pt x="308496" y="915889"/>
                      <a:pt x="310752" y="918122"/>
                    </a:cubicBezTo>
                    <a:cubicBezTo>
                      <a:pt x="306240" y="920354"/>
                      <a:pt x="306240" y="915889"/>
                      <a:pt x="301728" y="915889"/>
                    </a:cubicBezTo>
                    <a:cubicBezTo>
                      <a:pt x="299473" y="913657"/>
                      <a:pt x="294961" y="913657"/>
                      <a:pt x="292705" y="913657"/>
                    </a:cubicBezTo>
                    <a:cubicBezTo>
                      <a:pt x="292705" y="913657"/>
                      <a:pt x="290449" y="909192"/>
                      <a:pt x="288193" y="909192"/>
                    </a:cubicBezTo>
                    <a:cubicBezTo>
                      <a:pt x="285937" y="909192"/>
                      <a:pt x="281425" y="906959"/>
                      <a:pt x="279170" y="906959"/>
                    </a:cubicBezTo>
                    <a:cubicBezTo>
                      <a:pt x="285937" y="909192"/>
                      <a:pt x="276914" y="906959"/>
                      <a:pt x="281425" y="911424"/>
                    </a:cubicBezTo>
                    <a:cubicBezTo>
                      <a:pt x="283681" y="911424"/>
                      <a:pt x="285937" y="913657"/>
                      <a:pt x="285937" y="913657"/>
                    </a:cubicBezTo>
                    <a:cubicBezTo>
                      <a:pt x="283681" y="915889"/>
                      <a:pt x="274658" y="913657"/>
                      <a:pt x="276914" y="909192"/>
                    </a:cubicBezTo>
                    <a:cubicBezTo>
                      <a:pt x="274658" y="909192"/>
                      <a:pt x="270146" y="909192"/>
                      <a:pt x="267890" y="906959"/>
                    </a:cubicBezTo>
                    <a:cubicBezTo>
                      <a:pt x="270146" y="904727"/>
                      <a:pt x="274658" y="904727"/>
                      <a:pt x="276914" y="906959"/>
                    </a:cubicBezTo>
                    <a:cubicBezTo>
                      <a:pt x="272402" y="902494"/>
                      <a:pt x="283681" y="904727"/>
                      <a:pt x="283681" y="904727"/>
                    </a:cubicBezTo>
                    <a:cubicBezTo>
                      <a:pt x="288193" y="902494"/>
                      <a:pt x="290449" y="902494"/>
                      <a:pt x="292705" y="902494"/>
                    </a:cubicBezTo>
                    <a:close/>
                    <a:moveTo>
                      <a:pt x="247650" y="902494"/>
                    </a:moveTo>
                    <a:lnTo>
                      <a:pt x="252412" y="902494"/>
                    </a:lnTo>
                    <a:lnTo>
                      <a:pt x="254283" y="902494"/>
                    </a:lnTo>
                    <a:cubicBezTo>
                      <a:pt x="256495" y="902494"/>
                      <a:pt x="256495" y="902494"/>
                      <a:pt x="258706" y="902494"/>
                    </a:cubicBezTo>
                    <a:cubicBezTo>
                      <a:pt x="258706" y="902494"/>
                      <a:pt x="256495" y="904875"/>
                      <a:pt x="256495" y="904875"/>
                    </a:cubicBezTo>
                    <a:cubicBezTo>
                      <a:pt x="258706" y="904875"/>
                      <a:pt x="263128" y="904875"/>
                      <a:pt x="263128" y="907257"/>
                    </a:cubicBezTo>
                    <a:cubicBezTo>
                      <a:pt x="260917" y="904875"/>
                      <a:pt x="260917" y="907257"/>
                      <a:pt x="260917" y="909638"/>
                    </a:cubicBezTo>
                    <a:cubicBezTo>
                      <a:pt x="258706" y="904875"/>
                      <a:pt x="249861" y="907257"/>
                      <a:pt x="247650" y="902494"/>
                    </a:cubicBezTo>
                    <a:close/>
                    <a:moveTo>
                      <a:pt x="240506" y="900113"/>
                    </a:moveTo>
                    <a:cubicBezTo>
                      <a:pt x="242887" y="900113"/>
                      <a:pt x="245269" y="902494"/>
                      <a:pt x="247650" y="902494"/>
                    </a:cubicBezTo>
                    <a:cubicBezTo>
                      <a:pt x="245269" y="900113"/>
                      <a:pt x="242887" y="900113"/>
                      <a:pt x="240506" y="902494"/>
                    </a:cubicBezTo>
                    <a:cubicBezTo>
                      <a:pt x="240506" y="902494"/>
                      <a:pt x="240506" y="902494"/>
                      <a:pt x="240506" y="900113"/>
                    </a:cubicBezTo>
                    <a:close/>
                    <a:moveTo>
                      <a:pt x="213121" y="889397"/>
                    </a:moveTo>
                    <a:cubicBezTo>
                      <a:pt x="215502" y="889397"/>
                      <a:pt x="215502" y="889397"/>
                      <a:pt x="217883" y="889397"/>
                    </a:cubicBezTo>
                    <a:cubicBezTo>
                      <a:pt x="215502" y="889397"/>
                      <a:pt x="215502" y="889397"/>
                      <a:pt x="215502" y="891778"/>
                    </a:cubicBezTo>
                    <a:cubicBezTo>
                      <a:pt x="215502" y="891778"/>
                      <a:pt x="215502" y="891778"/>
                      <a:pt x="213121" y="889397"/>
                    </a:cubicBezTo>
                    <a:close/>
                    <a:moveTo>
                      <a:pt x="213121" y="882254"/>
                    </a:moveTo>
                    <a:cubicBezTo>
                      <a:pt x="217884" y="884635"/>
                      <a:pt x="215503" y="889398"/>
                      <a:pt x="210740" y="887017"/>
                    </a:cubicBezTo>
                    <a:cubicBezTo>
                      <a:pt x="213121" y="887017"/>
                      <a:pt x="213121" y="884635"/>
                      <a:pt x="213121" y="882254"/>
                    </a:cubicBezTo>
                    <a:close/>
                    <a:moveTo>
                      <a:pt x="225028" y="879872"/>
                    </a:moveTo>
                    <a:cubicBezTo>
                      <a:pt x="227239" y="879872"/>
                      <a:pt x="229450" y="879872"/>
                      <a:pt x="231661" y="882253"/>
                    </a:cubicBezTo>
                    <a:cubicBezTo>
                      <a:pt x="231661" y="882253"/>
                      <a:pt x="233873" y="884635"/>
                      <a:pt x="236084" y="884635"/>
                    </a:cubicBezTo>
                    <a:cubicBezTo>
                      <a:pt x="233873" y="879872"/>
                      <a:pt x="238295" y="887016"/>
                      <a:pt x="240506" y="887016"/>
                    </a:cubicBezTo>
                    <a:cubicBezTo>
                      <a:pt x="238295" y="887016"/>
                      <a:pt x="236084" y="889397"/>
                      <a:pt x="236084" y="889397"/>
                    </a:cubicBezTo>
                    <a:cubicBezTo>
                      <a:pt x="236084" y="884635"/>
                      <a:pt x="231661" y="889397"/>
                      <a:pt x="231661" y="884635"/>
                    </a:cubicBezTo>
                    <a:cubicBezTo>
                      <a:pt x="231661" y="891778"/>
                      <a:pt x="225028" y="879872"/>
                      <a:pt x="225028" y="879872"/>
                    </a:cubicBezTo>
                    <a:close/>
                    <a:moveTo>
                      <a:pt x="242888" y="872728"/>
                    </a:moveTo>
                    <a:cubicBezTo>
                      <a:pt x="245269" y="875110"/>
                      <a:pt x="245269" y="879872"/>
                      <a:pt x="247650" y="879872"/>
                    </a:cubicBezTo>
                    <a:cubicBezTo>
                      <a:pt x="247650" y="882254"/>
                      <a:pt x="245269" y="882254"/>
                      <a:pt x="242888" y="879872"/>
                    </a:cubicBezTo>
                    <a:cubicBezTo>
                      <a:pt x="245269" y="882254"/>
                      <a:pt x="247650" y="884635"/>
                      <a:pt x="247650" y="887016"/>
                    </a:cubicBezTo>
                    <a:cubicBezTo>
                      <a:pt x="242888" y="884635"/>
                      <a:pt x="240506" y="882254"/>
                      <a:pt x="235744" y="877491"/>
                    </a:cubicBezTo>
                    <a:cubicBezTo>
                      <a:pt x="238125" y="877491"/>
                      <a:pt x="240506" y="877491"/>
                      <a:pt x="240506" y="877491"/>
                    </a:cubicBezTo>
                    <a:cubicBezTo>
                      <a:pt x="240506" y="877491"/>
                      <a:pt x="238125" y="870347"/>
                      <a:pt x="242888" y="872728"/>
                    </a:cubicBezTo>
                    <a:close/>
                    <a:moveTo>
                      <a:pt x="188019" y="869009"/>
                    </a:moveTo>
                    <a:cubicBezTo>
                      <a:pt x="188019" y="869009"/>
                      <a:pt x="190301" y="869009"/>
                      <a:pt x="190301" y="869009"/>
                    </a:cubicBezTo>
                    <a:cubicBezTo>
                      <a:pt x="192583" y="866776"/>
                      <a:pt x="197147" y="871241"/>
                      <a:pt x="197147" y="873474"/>
                    </a:cubicBezTo>
                    <a:cubicBezTo>
                      <a:pt x="197147" y="869009"/>
                      <a:pt x="201712" y="871241"/>
                      <a:pt x="201712" y="873474"/>
                    </a:cubicBezTo>
                    <a:cubicBezTo>
                      <a:pt x="201712" y="869009"/>
                      <a:pt x="203994" y="871241"/>
                      <a:pt x="206276" y="873474"/>
                    </a:cubicBezTo>
                    <a:cubicBezTo>
                      <a:pt x="208558" y="875706"/>
                      <a:pt x="213122" y="873474"/>
                      <a:pt x="213122" y="877939"/>
                    </a:cubicBezTo>
                    <a:lnTo>
                      <a:pt x="213122" y="879872"/>
                    </a:lnTo>
                    <a:lnTo>
                      <a:pt x="219754" y="879872"/>
                    </a:lnTo>
                    <a:cubicBezTo>
                      <a:pt x="219754" y="879872"/>
                      <a:pt x="221966" y="879872"/>
                      <a:pt x="224177" y="879872"/>
                    </a:cubicBezTo>
                    <a:cubicBezTo>
                      <a:pt x="224177" y="882254"/>
                      <a:pt x="224177" y="882254"/>
                      <a:pt x="226388" y="884635"/>
                    </a:cubicBezTo>
                    <a:cubicBezTo>
                      <a:pt x="224177" y="884635"/>
                      <a:pt x="221966" y="884635"/>
                      <a:pt x="221966" y="882254"/>
                    </a:cubicBezTo>
                    <a:cubicBezTo>
                      <a:pt x="221966" y="884635"/>
                      <a:pt x="228599" y="889397"/>
                      <a:pt x="221966" y="889397"/>
                    </a:cubicBezTo>
                    <a:cubicBezTo>
                      <a:pt x="223071" y="887016"/>
                      <a:pt x="221413" y="885825"/>
                      <a:pt x="219202" y="884635"/>
                    </a:cubicBezTo>
                    <a:lnTo>
                      <a:pt x="213122" y="879873"/>
                    </a:lnTo>
                    <a:lnTo>
                      <a:pt x="213122" y="880171"/>
                    </a:lnTo>
                    <a:cubicBezTo>
                      <a:pt x="210840" y="882404"/>
                      <a:pt x="206276" y="882404"/>
                      <a:pt x="203994" y="884636"/>
                    </a:cubicBezTo>
                    <a:cubicBezTo>
                      <a:pt x="203994" y="884636"/>
                      <a:pt x="201712" y="882404"/>
                      <a:pt x="201712" y="882404"/>
                    </a:cubicBezTo>
                    <a:cubicBezTo>
                      <a:pt x="201712" y="882404"/>
                      <a:pt x="203994" y="882404"/>
                      <a:pt x="203994" y="882404"/>
                    </a:cubicBezTo>
                    <a:cubicBezTo>
                      <a:pt x="203994" y="882404"/>
                      <a:pt x="203994" y="882404"/>
                      <a:pt x="203994" y="880171"/>
                    </a:cubicBezTo>
                    <a:cubicBezTo>
                      <a:pt x="203994" y="880171"/>
                      <a:pt x="203994" y="880171"/>
                      <a:pt x="203994" y="877939"/>
                    </a:cubicBezTo>
                    <a:cubicBezTo>
                      <a:pt x="201712" y="877939"/>
                      <a:pt x="199429" y="877939"/>
                      <a:pt x="197147" y="880171"/>
                    </a:cubicBezTo>
                    <a:cubicBezTo>
                      <a:pt x="197147" y="882404"/>
                      <a:pt x="194865" y="882404"/>
                      <a:pt x="192583" y="880171"/>
                    </a:cubicBezTo>
                    <a:cubicBezTo>
                      <a:pt x="190301" y="875706"/>
                      <a:pt x="192583" y="873474"/>
                      <a:pt x="188019" y="875706"/>
                    </a:cubicBezTo>
                    <a:cubicBezTo>
                      <a:pt x="188019" y="873474"/>
                      <a:pt x="185737" y="873474"/>
                      <a:pt x="185737" y="873474"/>
                    </a:cubicBezTo>
                    <a:cubicBezTo>
                      <a:pt x="188019" y="869009"/>
                      <a:pt x="192583" y="873474"/>
                      <a:pt x="194865" y="873474"/>
                    </a:cubicBezTo>
                    <a:cubicBezTo>
                      <a:pt x="192583" y="873474"/>
                      <a:pt x="190301" y="871241"/>
                      <a:pt x="188019" y="869009"/>
                    </a:cubicBezTo>
                    <a:close/>
                    <a:moveTo>
                      <a:pt x="185737" y="866776"/>
                    </a:moveTo>
                    <a:cubicBezTo>
                      <a:pt x="188118" y="870348"/>
                      <a:pt x="180974" y="868562"/>
                      <a:pt x="178593" y="868562"/>
                    </a:cubicBezTo>
                    <a:lnTo>
                      <a:pt x="180974" y="868562"/>
                    </a:lnTo>
                    <a:cubicBezTo>
                      <a:pt x="183355" y="866776"/>
                      <a:pt x="183355" y="866776"/>
                      <a:pt x="185737" y="866776"/>
                    </a:cubicBezTo>
                    <a:close/>
                    <a:moveTo>
                      <a:pt x="153590" y="852487"/>
                    </a:moveTo>
                    <a:cubicBezTo>
                      <a:pt x="158204" y="850106"/>
                      <a:pt x="160511" y="854869"/>
                      <a:pt x="165124" y="857250"/>
                    </a:cubicBezTo>
                    <a:lnTo>
                      <a:pt x="176582" y="861193"/>
                    </a:lnTo>
                    <a:lnTo>
                      <a:pt x="178966" y="862013"/>
                    </a:lnTo>
                    <a:cubicBezTo>
                      <a:pt x="175505" y="858441"/>
                      <a:pt x="177812" y="859631"/>
                      <a:pt x="180119" y="861120"/>
                    </a:cubicBezTo>
                    <a:lnTo>
                      <a:pt x="181805" y="862288"/>
                    </a:lnTo>
                    <a:lnTo>
                      <a:pt x="181272" y="862013"/>
                    </a:lnTo>
                    <a:cubicBezTo>
                      <a:pt x="183003" y="863203"/>
                      <a:pt x="183291" y="863352"/>
                      <a:pt x="182858" y="863017"/>
                    </a:cubicBezTo>
                    <a:lnTo>
                      <a:pt x="181805" y="862288"/>
                    </a:lnTo>
                    <a:lnTo>
                      <a:pt x="190500" y="866775"/>
                    </a:lnTo>
                    <a:cubicBezTo>
                      <a:pt x="188193" y="866775"/>
                      <a:pt x="185886" y="866775"/>
                      <a:pt x="183579" y="866775"/>
                    </a:cubicBezTo>
                    <a:cubicBezTo>
                      <a:pt x="181272" y="866775"/>
                      <a:pt x="178966" y="862013"/>
                      <a:pt x="176659" y="862013"/>
                    </a:cubicBezTo>
                    <a:cubicBezTo>
                      <a:pt x="174352" y="859631"/>
                      <a:pt x="169738" y="862013"/>
                      <a:pt x="167431" y="859631"/>
                    </a:cubicBezTo>
                    <a:cubicBezTo>
                      <a:pt x="162817" y="857250"/>
                      <a:pt x="158204" y="854869"/>
                      <a:pt x="153590" y="852487"/>
                    </a:cubicBezTo>
                    <a:close/>
                    <a:moveTo>
                      <a:pt x="247609" y="845256"/>
                    </a:moveTo>
                    <a:cubicBezTo>
                      <a:pt x="247609" y="842963"/>
                      <a:pt x="252125" y="849842"/>
                      <a:pt x="254383" y="849842"/>
                    </a:cubicBezTo>
                    <a:cubicBezTo>
                      <a:pt x="258900" y="849842"/>
                      <a:pt x="261158" y="847549"/>
                      <a:pt x="263416" y="847549"/>
                    </a:cubicBezTo>
                    <a:cubicBezTo>
                      <a:pt x="265674" y="849842"/>
                      <a:pt x="265674" y="854428"/>
                      <a:pt x="267932" y="856722"/>
                    </a:cubicBezTo>
                    <a:cubicBezTo>
                      <a:pt x="272448" y="861308"/>
                      <a:pt x="272448" y="865894"/>
                      <a:pt x="274706" y="870480"/>
                    </a:cubicBezTo>
                    <a:cubicBezTo>
                      <a:pt x="279223" y="881945"/>
                      <a:pt x="285997" y="891118"/>
                      <a:pt x="290513" y="902583"/>
                    </a:cubicBezTo>
                    <a:cubicBezTo>
                      <a:pt x="288255" y="900290"/>
                      <a:pt x="285997" y="900290"/>
                      <a:pt x="283739" y="897997"/>
                    </a:cubicBezTo>
                    <a:cubicBezTo>
                      <a:pt x="283739" y="900290"/>
                      <a:pt x="285997" y="900290"/>
                      <a:pt x="288255" y="902583"/>
                    </a:cubicBezTo>
                    <a:cubicBezTo>
                      <a:pt x="283739" y="904876"/>
                      <a:pt x="276964" y="902583"/>
                      <a:pt x="274706" y="900290"/>
                    </a:cubicBezTo>
                    <a:cubicBezTo>
                      <a:pt x="272448" y="900290"/>
                      <a:pt x="270190" y="897997"/>
                      <a:pt x="267932" y="897997"/>
                    </a:cubicBezTo>
                    <a:cubicBezTo>
                      <a:pt x="265674" y="900290"/>
                      <a:pt x="265674" y="900290"/>
                      <a:pt x="263416" y="897997"/>
                    </a:cubicBezTo>
                    <a:cubicBezTo>
                      <a:pt x="263416" y="897997"/>
                      <a:pt x="265674" y="900290"/>
                      <a:pt x="265674" y="900290"/>
                    </a:cubicBezTo>
                    <a:cubicBezTo>
                      <a:pt x="263416" y="897997"/>
                      <a:pt x="256642" y="902583"/>
                      <a:pt x="258900" y="897997"/>
                    </a:cubicBezTo>
                    <a:cubicBezTo>
                      <a:pt x="258900" y="900290"/>
                      <a:pt x="252125" y="900290"/>
                      <a:pt x="249867" y="900290"/>
                    </a:cubicBezTo>
                    <a:cubicBezTo>
                      <a:pt x="252125" y="897997"/>
                      <a:pt x="252125" y="897997"/>
                      <a:pt x="254383" y="897997"/>
                    </a:cubicBezTo>
                    <a:cubicBezTo>
                      <a:pt x="252125" y="895704"/>
                      <a:pt x="247609" y="897997"/>
                      <a:pt x="245351" y="897997"/>
                    </a:cubicBezTo>
                    <a:cubicBezTo>
                      <a:pt x="245351" y="897997"/>
                      <a:pt x="245351" y="895704"/>
                      <a:pt x="243093" y="895704"/>
                    </a:cubicBezTo>
                    <a:cubicBezTo>
                      <a:pt x="243093" y="900290"/>
                      <a:pt x="238577" y="893411"/>
                      <a:pt x="236319" y="893411"/>
                    </a:cubicBezTo>
                    <a:cubicBezTo>
                      <a:pt x="240835" y="897997"/>
                      <a:pt x="234060" y="895704"/>
                      <a:pt x="231802" y="895704"/>
                    </a:cubicBezTo>
                    <a:lnTo>
                      <a:pt x="227586" y="895704"/>
                    </a:lnTo>
                    <a:lnTo>
                      <a:pt x="227286" y="895704"/>
                    </a:lnTo>
                    <a:cubicBezTo>
                      <a:pt x="227286" y="895704"/>
                      <a:pt x="225028" y="893411"/>
                      <a:pt x="225028" y="891118"/>
                    </a:cubicBezTo>
                    <a:cubicBezTo>
                      <a:pt x="227286" y="891118"/>
                      <a:pt x="229544" y="893411"/>
                      <a:pt x="231802" y="893411"/>
                    </a:cubicBezTo>
                    <a:cubicBezTo>
                      <a:pt x="227286" y="888825"/>
                      <a:pt x="240835" y="893411"/>
                      <a:pt x="243093" y="891118"/>
                    </a:cubicBezTo>
                    <a:cubicBezTo>
                      <a:pt x="243093" y="888825"/>
                      <a:pt x="243093" y="886532"/>
                      <a:pt x="245351" y="888825"/>
                    </a:cubicBezTo>
                    <a:cubicBezTo>
                      <a:pt x="249867" y="888825"/>
                      <a:pt x="245351" y="895704"/>
                      <a:pt x="249867" y="895704"/>
                    </a:cubicBezTo>
                    <a:cubicBezTo>
                      <a:pt x="249867" y="893411"/>
                      <a:pt x="247609" y="893411"/>
                      <a:pt x="247609" y="891118"/>
                    </a:cubicBezTo>
                    <a:cubicBezTo>
                      <a:pt x="252125" y="891118"/>
                      <a:pt x="254383" y="895704"/>
                      <a:pt x="258900" y="893411"/>
                    </a:cubicBezTo>
                    <a:cubicBezTo>
                      <a:pt x="256642" y="891118"/>
                      <a:pt x="252125" y="891118"/>
                      <a:pt x="249867" y="888825"/>
                    </a:cubicBezTo>
                    <a:cubicBezTo>
                      <a:pt x="245351" y="886532"/>
                      <a:pt x="243093" y="888825"/>
                      <a:pt x="240835" y="884238"/>
                    </a:cubicBezTo>
                    <a:cubicBezTo>
                      <a:pt x="245351" y="886532"/>
                      <a:pt x="252125" y="886532"/>
                      <a:pt x="256642" y="891118"/>
                    </a:cubicBezTo>
                    <a:cubicBezTo>
                      <a:pt x="254383" y="888825"/>
                      <a:pt x="254383" y="886532"/>
                      <a:pt x="258900" y="886532"/>
                    </a:cubicBezTo>
                    <a:lnTo>
                      <a:pt x="261158" y="888825"/>
                    </a:lnTo>
                    <a:lnTo>
                      <a:pt x="264545" y="888825"/>
                    </a:lnTo>
                    <a:cubicBezTo>
                      <a:pt x="265674" y="889398"/>
                      <a:pt x="266803" y="889971"/>
                      <a:pt x="267932" y="888825"/>
                    </a:cubicBezTo>
                    <a:cubicBezTo>
                      <a:pt x="270190" y="888825"/>
                      <a:pt x="274706" y="893411"/>
                      <a:pt x="272448" y="895704"/>
                    </a:cubicBezTo>
                    <a:cubicBezTo>
                      <a:pt x="274706" y="893411"/>
                      <a:pt x="274706" y="893411"/>
                      <a:pt x="276964" y="893411"/>
                    </a:cubicBezTo>
                    <a:cubicBezTo>
                      <a:pt x="274706" y="891118"/>
                      <a:pt x="276964" y="891118"/>
                      <a:pt x="279223" y="891118"/>
                    </a:cubicBezTo>
                    <a:cubicBezTo>
                      <a:pt x="270190" y="884238"/>
                      <a:pt x="256642" y="886532"/>
                      <a:pt x="249867" y="877359"/>
                    </a:cubicBezTo>
                    <a:cubicBezTo>
                      <a:pt x="245351" y="872773"/>
                      <a:pt x="261158" y="872773"/>
                      <a:pt x="258900" y="868187"/>
                    </a:cubicBezTo>
                    <a:cubicBezTo>
                      <a:pt x="256642" y="859015"/>
                      <a:pt x="243093" y="872773"/>
                      <a:pt x="238577" y="863601"/>
                    </a:cubicBezTo>
                    <a:cubicBezTo>
                      <a:pt x="236319" y="863601"/>
                      <a:pt x="234060" y="859015"/>
                      <a:pt x="236319" y="856722"/>
                    </a:cubicBezTo>
                    <a:cubicBezTo>
                      <a:pt x="236319" y="859015"/>
                      <a:pt x="240835" y="859015"/>
                      <a:pt x="240835" y="856722"/>
                    </a:cubicBezTo>
                    <a:cubicBezTo>
                      <a:pt x="240835" y="854428"/>
                      <a:pt x="236319" y="852135"/>
                      <a:pt x="234060" y="852135"/>
                    </a:cubicBezTo>
                    <a:cubicBezTo>
                      <a:pt x="236319" y="849842"/>
                      <a:pt x="240835" y="852135"/>
                      <a:pt x="243093" y="852135"/>
                    </a:cubicBezTo>
                    <a:cubicBezTo>
                      <a:pt x="247609" y="854428"/>
                      <a:pt x="245351" y="847549"/>
                      <a:pt x="247609" y="845256"/>
                    </a:cubicBezTo>
                    <a:close/>
                    <a:moveTo>
                      <a:pt x="165496" y="842963"/>
                    </a:moveTo>
                    <a:cubicBezTo>
                      <a:pt x="170259" y="842963"/>
                      <a:pt x="170259" y="850107"/>
                      <a:pt x="167878" y="852488"/>
                    </a:cubicBezTo>
                    <a:cubicBezTo>
                      <a:pt x="167878" y="850107"/>
                      <a:pt x="163115" y="845344"/>
                      <a:pt x="165496" y="842963"/>
                    </a:cubicBezTo>
                    <a:close/>
                    <a:moveTo>
                      <a:pt x="249518" y="838948"/>
                    </a:moveTo>
                    <a:cubicBezTo>
                      <a:pt x="254055" y="841221"/>
                      <a:pt x="258591" y="841221"/>
                      <a:pt x="263128" y="841221"/>
                    </a:cubicBezTo>
                    <a:lnTo>
                      <a:pt x="248788" y="839261"/>
                    </a:lnTo>
                    <a:close/>
                    <a:moveTo>
                      <a:pt x="158055" y="838275"/>
                    </a:moveTo>
                    <a:cubicBezTo>
                      <a:pt x="160138" y="839317"/>
                      <a:pt x="161924" y="840880"/>
                      <a:pt x="163115" y="840880"/>
                    </a:cubicBezTo>
                    <a:lnTo>
                      <a:pt x="162878" y="841088"/>
                    </a:lnTo>
                    <a:lnTo>
                      <a:pt x="167878" y="842963"/>
                    </a:lnTo>
                    <a:cubicBezTo>
                      <a:pt x="167878" y="842963"/>
                      <a:pt x="167878" y="842963"/>
                      <a:pt x="165497" y="842963"/>
                    </a:cubicBezTo>
                    <a:lnTo>
                      <a:pt x="162466" y="841448"/>
                    </a:lnTo>
                    <a:lnTo>
                      <a:pt x="160734" y="842964"/>
                    </a:lnTo>
                    <a:cubicBezTo>
                      <a:pt x="158353" y="842964"/>
                      <a:pt x="153590" y="838796"/>
                      <a:pt x="158353" y="840880"/>
                    </a:cubicBezTo>
                    <a:cubicBezTo>
                      <a:pt x="155971" y="838796"/>
                      <a:pt x="153590" y="836713"/>
                      <a:pt x="151209" y="838796"/>
                    </a:cubicBezTo>
                    <a:cubicBezTo>
                      <a:pt x="153590" y="836713"/>
                      <a:pt x="155971" y="837234"/>
                      <a:pt x="158055" y="838275"/>
                    </a:cubicBezTo>
                    <a:close/>
                    <a:moveTo>
                      <a:pt x="163321" y="834400"/>
                    </a:moveTo>
                    <a:cubicBezTo>
                      <a:pt x="165589" y="836674"/>
                      <a:pt x="170126" y="838948"/>
                      <a:pt x="172394" y="838948"/>
                    </a:cubicBezTo>
                    <a:cubicBezTo>
                      <a:pt x="174662" y="838948"/>
                      <a:pt x="179199" y="834400"/>
                      <a:pt x="176931" y="838948"/>
                    </a:cubicBezTo>
                    <a:cubicBezTo>
                      <a:pt x="178065" y="838948"/>
                      <a:pt x="179766" y="839516"/>
                      <a:pt x="180900" y="839516"/>
                    </a:cubicBezTo>
                    <a:lnTo>
                      <a:pt x="180975" y="839143"/>
                    </a:lnTo>
                    <a:lnTo>
                      <a:pt x="181468" y="836674"/>
                    </a:lnTo>
                    <a:cubicBezTo>
                      <a:pt x="181468" y="841221"/>
                      <a:pt x="179199" y="836674"/>
                      <a:pt x="179199" y="834400"/>
                    </a:cubicBezTo>
                    <a:lnTo>
                      <a:pt x="185708" y="836575"/>
                    </a:lnTo>
                    <a:lnTo>
                      <a:pt x="185969" y="836816"/>
                    </a:lnTo>
                    <a:lnTo>
                      <a:pt x="183736" y="845769"/>
                    </a:lnTo>
                    <a:cubicBezTo>
                      <a:pt x="181468" y="845769"/>
                      <a:pt x="179199" y="845769"/>
                      <a:pt x="179199" y="845769"/>
                    </a:cubicBezTo>
                    <a:cubicBezTo>
                      <a:pt x="179199" y="848042"/>
                      <a:pt x="181468" y="848042"/>
                      <a:pt x="179199" y="850316"/>
                    </a:cubicBezTo>
                    <a:cubicBezTo>
                      <a:pt x="179199" y="848042"/>
                      <a:pt x="176931" y="848042"/>
                      <a:pt x="176931" y="848042"/>
                    </a:cubicBezTo>
                    <a:cubicBezTo>
                      <a:pt x="176931" y="850316"/>
                      <a:pt x="174662" y="850316"/>
                      <a:pt x="172394" y="852589"/>
                    </a:cubicBezTo>
                    <a:cubicBezTo>
                      <a:pt x="174662" y="850316"/>
                      <a:pt x="174662" y="848042"/>
                      <a:pt x="172394" y="850316"/>
                    </a:cubicBezTo>
                    <a:cubicBezTo>
                      <a:pt x="176931" y="845769"/>
                      <a:pt x="165589" y="838948"/>
                      <a:pt x="163321" y="834400"/>
                    </a:cubicBezTo>
                    <a:close/>
                    <a:moveTo>
                      <a:pt x="138112" y="827485"/>
                    </a:moveTo>
                    <a:cubicBezTo>
                      <a:pt x="142875" y="827485"/>
                      <a:pt x="142875" y="834629"/>
                      <a:pt x="142875" y="837010"/>
                    </a:cubicBezTo>
                    <a:cubicBezTo>
                      <a:pt x="140494" y="837010"/>
                      <a:pt x="135731" y="829866"/>
                      <a:pt x="140494" y="832247"/>
                    </a:cubicBezTo>
                    <a:cubicBezTo>
                      <a:pt x="140494" y="829866"/>
                      <a:pt x="138112" y="827485"/>
                      <a:pt x="138112" y="827485"/>
                    </a:cubicBezTo>
                    <a:close/>
                    <a:moveTo>
                      <a:pt x="147637" y="818555"/>
                    </a:moveTo>
                    <a:cubicBezTo>
                      <a:pt x="149423" y="816769"/>
                      <a:pt x="149423" y="816769"/>
                      <a:pt x="151209" y="818555"/>
                    </a:cubicBezTo>
                    <a:cubicBezTo>
                      <a:pt x="151209" y="818555"/>
                      <a:pt x="151209" y="818555"/>
                      <a:pt x="149423" y="820341"/>
                    </a:cubicBezTo>
                    <a:cubicBezTo>
                      <a:pt x="149423" y="820341"/>
                      <a:pt x="149423" y="820341"/>
                      <a:pt x="147637" y="818555"/>
                    </a:cubicBezTo>
                    <a:close/>
                    <a:moveTo>
                      <a:pt x="140494" y="809625"/>
                    </a:moveTo>
                    <a:cubicBezTo>
                      <a:pt x="142875" y="812006"/>
                      <a:pt x="142875" y="814388"/>
                      <a:pt x="145256" y="816769"/>
                    </a:cubicBezTo>
                    <a:cubicBezTo>
                      <a:pt x="145256" y="816769"/>
                      <a:pt x="145256" y="816769"/>
                      <a:pt x="142875" y="816769"/>
                    </a:cubicBezTo>
                    <a:cubicBezTo>
                      <a:pt x="142875" y="814388"/>
                      <a:pt x="140494" y="812006"/>
                      <a:pt x="140494" y="809625"/>
                    </a:cubicBezTo>
                    <a:close/>
                    <a:moveTo>
                      <a:pt x="130968" y="804863"/>
                    </a:moveTo>
                    <a:cubicBezTo>
                      <a:pt x="135731" y="804863"/>
                      <a:pt x="135731" y="809625"/>
                      <a:pt x="140493" y="812007"/>
                    </a:cubicBezTo>
                    <a:lnTo>
                      <a:pt x="138452" y="812687"/>
                    </a:lnTo>
                    <a:lnTo>
                      <a:pt x="133349" y="814388"/>
                    </a:lnTo>
                    <a:cubicBezTo>
                      <a:pt x="133349" y="814388"/>
                      <a:pt x="133349" y="814388"/>
                      <a:pt x="133349" y="812007"/>
                    </a:cubicBezTo>
                    <a:cubicBezTo>
                      <a:pt x="130968" y="814388"/>
                      <a:pt x="128587" y="812007"/>
                      <a:pt x="126206" y="809625"/>
                    </a:cubicBezTo>
                    <a:cubicBezTo>
                      <a:pt x="128587" y="809625"/>
                      <a:pt x="130968" y="809625"/>
                      <a:pt x="133349" y="809625"/>
                    </a:cubicBezTo>
                    <a:cubicBezTo>
                      <a:pt x="133349" y="807244"/>
                      <a:pt x="130968" y="807244"/>
                      <a:pt x="130968" y="804863"/>
                    </a:cubicBezTo>
                    <a:close/>
                    <a:moveTo>
                      <a:pt x="126801" y="802481"/>
                    </a:moveTo>
                    <a:cubicBezTo>
                      <a:pt x="126801" y="802481"/>
                      <a:pt x="130969" y="807244"/>
                      <a:pt x="130969" y="809625"/>
                    </a:cubicBezTo>
                    <a:cubicBezTo>
                      <a:pt x="130969" y="809625"/>
                      <a:pt x="122634" y="807244"/>
                      <a:pt x="126801" y="802481"/>
                    </a:cubicBezTo>
                    <a:close/>
                    <a:moveTo>
                      <a:pt x="128587" y="800100"/>
                    </a:moveTo>
                    <a:cubicBezTo>
                      <a:pt x="130968" y="797719"/>
                      <a:pt x="133349" y="797719"/>
                      <a:pt x="135731" y="800100"/>
                    </a:cubicBezTo>
                    <a:cubicBezTo>
                      <a:pt x="135731" y="802481"/>
                      <a:pt x="140493" y="802481"/>
                      <a:pt x="135731" y="802481"/>
                    </a:cubicBezTo>
                    <a:cubicBezTo>
                      <a:pt x="138112" y="804863"/>
                      <a:pt x="140493" y="804863"/>
                      <a:pt x="140493" y="807244"/>
                    </a:cubicBezTo>
                    <a:cubicBezTo>
                      <a:pt x="138112" y="804863"/>
                      <a:pt x="135731" y="807244"/>
                      <a:pt x="133349" y="802481"/>
                    </a:cubicBezTo>
                    <a:cubicBezTo>
                      <a:pt x="130968" y="802481"/>
                      <a:pt x="130968" y="800100"/>
                      <a:pt x="128587" y="800100"/>
                    </a:cubicBezTo>
                    <a:close/>
                    <a:moveTo>
                      <a:pt x="113109" y="800100"/>
                    </a:moveTo>
                    <a:lnTo>
                      <a:pt x="117872" y="800100"/>
                    </a:lnTo>
                    <a:cubicBezTo>
                      <a:pt x="117872" y="802481"/>
                      <a:pt x="120253" y="804863"/>
                      <a:pt x="120253" y="807244"/>
                    </a:cubicBezTo>
                    <a:cubicBezTo>
                      <a:pt x="117872" y="807244"/>
                      <a:pt x="117872" y="802481"/>
                      <a:pt x="115490" y="802481"/>
                    </a:cubicBezTo>
                    <a:cubicBezTo>
                      <a:pt x="115490" y="802481"/>
                      <a:pt x="115490" y="800100"/>
                      <a:pt x="113109" y="800100"/>
                    </a:cubicBezTo>
                    <a:close/>
                    <a:moveTo>
                      <a:pt x="110728" y="789147"/>
                    </a:moveTo>
                    <a:cubicBezTo>
                      <a:pt x="110728" y="789147"/>
                      <a:pt x="113109" y="787004"/>
                      <a:pt x="115490" y="789147"/>
                    </a:cubicBezTo>
                    <a:cubicBezTo>
                      <a:pt x="115490" y="789147"/>
                      <a:pt x="117872" y="789147"/>
                      <a:pt x="117872" y="789147"/>
                    </a:cubicBezTo>
                    <a:cubicBezTo>
                      <a:pt x="117872" y="791290"/>
                      <a:pt x="120253" y="793433"/>
                      <a:pt x="122634" y="791290"/>
                    </a:cubicBezTo>
                    <a:lnTo>
                      <a:pt x="120338" y="795423"/>
                    </a:lnTo>
                    <a:lnTo>
                      <a:pt x="120253" y="795577"/>
                    </a:lnTo>
                    <a:cubicBezTo>
                      <a:pt x="117872" y="795577"/>
                      <a:pt x="117872" y="797720"/>
                      <a:pt x="115490" y="797720"/>
                    </a:cubicBezTo>
                    <a:cubicBezTo>
                      <a:pt x="117872" y="793433"/>
                      <a:pt x="113109" y="795577"/>
                      <a:pt x="113109" y="795577"/>
                    </a:cubicBezTo>
                    <a:cubicBezTo>
                      <a:pt x="110728" y="793433"/>
                      <a:pt x="110728" y="791290"/>
                      <a:pt x="110728" y="791290"/>
                    </a:cubicBezTo>
                    <a:cubicBezTo>
                      <a:pt x="113109" y="791290"/>
                      <a:pt x="113109" y="793433"/>
                      <a:pt x="115490" y="793433"/>
                    </a:cubicBezTo>
                    <a:cubicBezTo>
                      <a:pt x="117872" y="791290"/>
                      <a:pt x="110728" y="791290"/>
                      <a:pt x="110728" y="789147"/>
                    </a:cubicBezTo>
                    <a:close/>
                    <a:moveTo>
                      <a:pt x="101203" y="777479"/>
                    </a:moveTo>
                    <a:cubicBezTo>
                      <a:pt x="105965" y="779860"/>
                      <a:pt x="110728" y="782242"/>
                      <a:pt x="113109" y="784623"/>
                    </a:cubicBezTo>
                    <a:cubicBezTo>
                      <a:pt x="110728" y="784623"/>
                      <a:pt x="105965" y="784623"/>
                      <a:pt x="105965" y="782242"/>
                    </a:cubicBezTo>
                    <a:cubicBezTo>
                      <a:pt x="103584" y="784623"/>
                      <a:pt x="101203" y="779860"/>
                      <a:pt x="101203" y="777479"/>
                    </a:cubicBezTo>
                    <a:close/>
                    <a:moveTo>
                      <a:pt x="120253" y="775097"/>
                    </a:moveTo>
                    <a:cubicBezTo>
                      <a:pt x="122634" y="775097"/>
                      <a:pt x="125015" y="775097"/>
                      <a:pt x="125015" y="777478"/>
                    </a:cubicBezTo>
                    <a:cubicBezTo>
                      <a:pt x="125015" y="777478"/>
                      <a:pt x="125015" y="777478"/>
                      <a:pt x="122634" y="777478"/>
                    </a:cubicBezTo>
                    <a:cubicBezTo>
                      <a:pt x="122634" y="777478"/>
                      <a:pt x="122634" y="775097"/>
                      <a:pt x="120253" y="775097"/>
                    </a:cubicBezTo>
                    <a:close/>
                    <a:moveTo>
                      <a:pt x="92869" y="761604"/>
                    </a:moveTo>
                    <a:lnTo>
                      <a:pt x="99132" y="764586"/>
                    </a:lnTo>
                    <a:lnTo>
                      <a:pt x="99299" y="764381"/>
                    </a:lnTo>
                    <a:lnTo>
                      <a:pt x="99505" y="764764"/>
                    </a:lnTo>
                    <a:lnTo>
                      <a:pt x="101204" y="765573"/>
                    </a:lnTo>
                    <a:lnTo>
                      <a:pt x="99593" y="764927"/>
                    </a:lnTo>
                    <a:lnTo>
                      <a:pt x="100906" y="767358"/>
                    </a:lnTo>
                    <a:cubicBezTo>
                      <a:pt x="100370" y="768350"/>
                      <a:pt x="99299" y="769343"/>
                      <a:pt x="99299" y="770335"/>
                    </a:cubicBezTo>
                    <a:cubicBezTo>
                      <a:pt x="96084" y="769343"/>
                      <a:pt x="96084" y="768350"/>
                      <a:pt x="96887" y="767358"/>
                    </a:cubicBezTo>
                    <a:lnTo>
                      <a:pt x="99037" y="764704"/>
                    </a:lnTo>
                    <a:lnTo>
                      <a:pt x="96255" y="763588"/>
                    </a:lnTo>
                    <a:cubicBezTo>
                      <a:pt x="94432" y="763588"/>
                      <a:pt x="92869" y="763588"/>
                      <a:pt x="92869" y="761604"/>
                    </a:cubicBezTo>
                    <a:close/>
                    <a:moveTo>
                      <a:pt x="97631" y="759619"/>
                    </a:moveTo>
                    <a:cubicBezTo>
                      <a:pt x="101600" y="759619"/>
                      <a:pt x="103584" y="762000"/>
                      <a:pt x="103584" y="764382"/>
                    </a:cubicBezTo>
                    <a:cubicBezTo>
                      <a:pt x="103584" y="764382"/>
                      <a:pt x="103584" y="764382"/>
                      <a:pt x="101600" y="764382"/>
                    </a:cubicBezTo>
                    <a:cubicBezTo>
                      <a:pt x="101600" y="762000"/>
                      <a:pt x="99615" y="762000"/>
                      <a:pt x="97631" y="759619"/>
                    </a:cubicBezTo>
                    <a:close/>
                    <a:moveTo>
                      <a:pt x="90487" y="757237"/>
                    </a:moveTo>
                    <a:lnTo>
                      <a:pt x="90488" y="757237"/>
                    </a:lnTo>
                    <a:lnTo>
                      <a:pt x="97631" y="757237"/>
                    </a:lnTo>
                    <a:cubicBezTo>
                      <a:pt x="95250" y="757237"/>
                      <a:pt x="95250" y="759619"/>
                      <a:pt x="92868" y="759619"/>
                    </a:cubicBezTo>
                    <a:lnTo>
                      <a:pt x="90487" y="757238"/>
                    </a:lnTo>
                    <a:close/>
                    <a:moveTo>
                      <a:pt x="88106" y="752475"/>
                    </a:moveTo>
                    <a:cubicBezTo>
                      <a:pt x="90487" y="752475"/>
                      <a:pt x="92869" y="750094"/>
                      <a:pt x="95250" y="752475"/>
                    </a:cubicBezTo>
                    <a:lnTo>
                      <a:pt x="92869" y="754857"/>
                    </a:lnTo>
                    <a:close/>
                    <a:moveTo>
                      <a:pt x="110727" y="747713"/>
                    </a:moveTo>
                    <a:cubicBezTo>
                      <a:pt x="110727" y="747713"/>
                      <a:pt x="115490" y="750094"/>
                      <a:pt x="113109" y="750094"/>
                    </a:cubicBezTo>
                    <a:cubicBezTo>
                      <a:pt x="113109" y="750094"/>
                      <a:pt x="108346" y="750094"/>
                      <a:pt x="110727" y="747713"/>
                    </a:cubicBezTo>
                    <a:close/>
                    <a:moveTo>
                      <a:pt x="85725" y="743844"/>
                    </a:moveTo>
                    <a:cubicBezTo>
                      <a:pt x="90147" y="739379"/>
                      <a:pt x="101203" y="752774"/>
                      <a:pt x="98992" y="757239"/>
                    </a:cubicBezTo>
                    <a:cubicBezTo>
                      <a:pt x="96781" y="755006"/>
                      <a:pt x="94570" y="752774"/>
                      <a:pt x="94570" y="750541"/>
                    </a:cubicBezTo>
                    <a:cubicBezTo>
                      <a:pt x="92358" y="748309"/>
                      <a:pt x="90147" y="750541"/>
                      <a:pt x="87936" y="750541"/>
                    </a:cubicBezTo>
                    <a:cubicBezTo>
                      <a:pt x="92358" y="748309"/>
                      <a:pt x="90147" y="748309"/>
                      <a:pt x="87936" y="746076"/>
                    </a:cubicBezTo>
                    <a:cubicBezTo>
                      <a:pt x="87936" y="746076"/>
                      <a:pt x="85725" y="743844"/>
                      <a:pt x="85725" y="743844"/>
                    </a:cubicBezTo>
                    <a:close/>
                    <a:moveTo>
                      <a:pt x="92869" y="742950"/>
                    </a:moveTo>
                    <a:cubicBezTo>
                      <a:pt x="97235" y="740569"/>
                      <a:pt x="105966" y="745331"/>
                      <a:pt x="99417" y="750094"/>
                    </a:cubicBezTo>
                    <a:cubicBezTo>
                      <a:pt x="97235" y="747713"/>
                      <a:pt x="95052" y="745331"/>
                      <a:pt x="92869" y="742950"/>
                    </a:cubicBezTo>
                    <a:close/>
                    <a:moveTo>
                      <a:pt x="103584" y="742950"/>
                    </a:moveTo>
                    <a:cubicBezTo>
                      <a:pt x="105965" y="742950"/>
                      <a:pt x="110728" y="745331"/>
                      <a:pt x="108347" y="747713"/>
                    </a:cubicBezTo>
                    <a:cubicBezTo>
                      <a:pt x="105965" y="745331"/>
                      <a:pt x="105965" y="745331"/>
                      <a:pt x="103584" y="742950"/>
                    </a:cubicBezTo>
                    <a:close/>
                    <a:moveTo>
                      <a:pt x="102195" y="742950"/>
                    </a:moveTo>
                    <a:cubicBezTo>
                      <a:pt x="102195" y="744141"/>
                      <a:pt x="104923" y="747117"/>
                      <a:pt x="107106" y="750094"/>
                    </a:cubicBezTo>
                    <a:lnTo>
                      <a:pt x="108516" y="756247"/>
                    </a:lnTo>
                    <a:lnTo>
                      <a:pt x="108770" y="756089"/>
                    </a:lnTo>
                    <a:cubicBezTo>
                      <a:pt x="109629" y="756161"/>
                      <a:pt x="110453" y="757028"/>
                      <a:pt x="111002" y="759339"/>
                    </a:cubicBezTo>
                    <a:cubicBezTo>
                      <a:pt x="111002" y="754716"/>
                      <a:pt x="113200" y="761650"/>
                      <a:pt x="113200" y="761650"/>
                    </a:cubicBezTo>
                    <a:cubicBezTo>
                      <a:pt x="115398" y="761650"/>
                      <a:pt x="115398" y="763961"/>
                      <a:pt x="115398" y="766273"/>
                    </a:cubicBezTo>
                    <a:cubicBezTo>
                      <a:pt x="119795" y="768584"/>
                      <a:pt x="119795" y="775517"/>
                      <a:pt x="121993" y="782451"/>
                    </a:cubicBezTo>
                    <a:cubicBezTo>
                      <a:pt x="124191" y="782451"/>
                      <a:pt x="126389" y="789385"/>
                      <a:pt x="121993" y="787074"/>
                    </a:cubicBezTo>
                    <a:cubicBezTo>
                      <a:pt x="117597" y="787074"/>
                      <a:pt x="121993" y="784762"/>
                      <a:pt x="117597" y="782451"/>
                    </a:cubicBezTo>
                    <a:cubicBezTo>
                      <a:pt x="117597" y="782451"/>
                      <a:pt x="115398" y="782451"/>
                      <a:pt x="115398" y="780140"/>
                    </a:cubicBezTo>
                    <a:cubicBezTo>
                      <a:pt x="115398" y="780140"/>
                      <a:pt x="115398" y="780140"/>
                      <a:pt x="117597" y="780140"/>
                    </a:cubicBezTo>
                    <a:cubicBezTo>
                      <a:pt x="115398" y="777829"/>
                      <a:pt x="113200" y="777829"/>
                      <a:pt x="113200" y="775517"/>
                    </a:cubicBezTo>
                    <a:cubicBezTo>
                      <a:pt x="117597" y="777829"/>
                      <a:pt x="117597" y="773206"/>
                      <a:pt x="115398" y="773206"/>
                    </a:cubicBezTo>
                    <a:cubicBezTo>
                      <a:pt x="115398" y="775517"/>
                      <a:pt x="111002" y="775517"/>
                      <a:pt x="111002" y="777829"/>
                    </a:cubicBezTo>
                    <a:cubicBezTo>
                      <a:pt x="113200" y="780140"/>
                      <a:pt x="115398" y="782451"/>
                      <a:pt x="115398" y="784762"/>
                    </a:cubicBezTo>
                    <a:cubicBezTo>
                      <a:pt x="111002" y="784762"/>
                      <a:pt x="108804" y="780140"/>
                      <a:pt x="106606" y="777829"/>
                    </a:cubicBezTo>
                    <a:cubicBezTo>
                      <a:pt x="104408" y="775517"/>
                      <a:pt x="100012" y="775517"/>
                      <a:pt x="102210" y="770895"/>
                    </a:cubicBezTo>
                    <a:cubicBezTo>
                      <a:pt x="104408" y="770895"/>
                      <a:pt x="106606" y="770895"/>
                      <a:pt x="106606" y="773206"/>
                    </a:cubicBezTo>
                    <a:cubicBezTo>
                      <a:pt x="104408" y="769739"/>
                      <a:pt x="105507" y="770317"/>
                      <a:pt x="106606" y="770895"/>
                    </a:cubicBezTo>
                    <a:lnTo>
                      <a:pt x="106606" y="769643"/>
                    </a:lnTo>
                    <a:lnTo>
                      <a:pt x="105072" y="769033"/>
                    </a:lnTo>
                    <a:cubicBezTo>
                      <a:pt x="103584" y="768251"/>
                      <a:pt x="102394" y="767209"/>
                      <a:pt x="103584" y="766167"/>
                    </a:cubicBezTo>
                    <a:cubicBezTo>
                      <a:pt x="103584" y="762000"/>
                      <a:pt x="110728" y="766167"/>
                      <a:pt x="108347" y="770335"/>
                    </a:cubicBezTo>
                    <a:lnTo>
                      <a:pt x="108226" y="770287"/>
                    </a:lnTo>
                    <a:lnTo>
                      <a:pt x="111002" y="773206"/>
                    </a:lnTo>
                    <a:cubicBezTo>
                      <a:pt x="111002" y="770895"/>
                      <a:pt x="106606" y="763961"/>
                      <a:pt x="108804" y="761650"/>
                    </a:cubicBezTo>
                    <a:cubicBezTo>
                      <a:pt x="106606" y="763961"/>
                      <a:pt x="102210" y="761650"/>
                      <a:pt x="106606" y="759339"/>
                    </a:cubicBezTo>
                    <a:cubicBezTo>
                      <a:pt x="104408" y="761650"/>
                      <a:pt x="104958" y="759339"/>
                      <a:pt x="106331" y="757605"/>
                    </a:cubicBezTo>
                    <a:lnTo>
                      <a:pt x="107594" y="756820"/>
                    </a:lnTo>
                    <a:lnTo>
                      <a:pt x="102195" y="754857"/>
                    </a:lnTo>
                    <a:cubicBezTo>
                      <a:pt x="100012" y="750094"/>
                      <a:pt x="104378" y="747713"/>
                      <a:pt x="104378" y="752475"/>
                    </a:cubicBezTo>
                    <a:cubicBezTo>
                      <a:pt x="104378" y="750094"/>
                      <a:pt x="102195" y="750094"/>
                      <a:pt x="102195" y="747713"/>
                    </a:cubicBezTo>
                    <a:cubicBezTo>
                      <a:pt x="102195" y="745331"/>
                      <a:pt x="102195" y="745331"/>
                      <a:pt x="102195" y="742950"/>
                    </a:cubicBezTo>
                    <a:close/>
                    <a:moveTo>
                      <a:pt x="120222" y="738910"/>
                    </a:moveTo>
                    <a:cubicBezTo>
                      <a:pt x="122491" y="738910"/>
                      <a:pt x="127027" y="738910"/>
                      <a:pt x="129296" y="741184"/>
                    </a:cubicBezTo>
                    <a:cubicBezTo>
                      <a:pt x="127027" y="745731"/>
                      <a:pt x="120222" y="741184"/>
                      <a:pt x="120222" y="738910"/>
                    </a:cubicBezTo>
                    <a:close/>
                    <a:moveTo>
                      <a:pt x="103584" y="736997"/>
                    </a:moveTo>
                    <a:cubicBezTo>
                      <a:pt x="108346" y="736997"/>
                      <a:pt x="110728" y="736997"/>
                      <a:pt x="115490" y="736997"/>
                    </a:cubicBezTo>
                    <a:cubicBezTo>
                      <a:pt x="113109" y="739378"/>
                      <a:pt x="110728" y="739378"/>
                      <a:pt x="108346" y="739378"/>
                    </a:cubicBezTo>
                    <a:cubicBezTo>
                      <a:pt x="105965" y="739378"/>
                      <a:pt x="103584" y="739378"/>
                      <a:pt x="103584" y="736997"/>
                    </a:cubicBezTo>
                    <a:close/>
                    <a:moveTo>
                      <a:pt x="95249" y="736997"/>
                    </a:moveTo>
                    <a:cubicBezTo>
                      <a:pt x="97631" y="736997"/>
                      <a:pt x="100012" y="738783"/>
                      <a:pt x="97631" y="740569"/>
                    </a:cubicBezTo>
                    <a:lnTo>
                      <a:pt x="92869" y="740569"/>
                    </a:lnTo>
                    <a:lnTo>
                      <a:pt x="90487" y="740569"/>
                    </a:lnTo>
                    <a:cubicBezTo>
                      <a:pt x="90487" y="738783"/>
                      <a:pt x="95249" y="738783"/>
                      <a:pt x="95249" y="738783"/>
                    </a:cubicBezTo>
                    <a:cubicBezTo>
                      <a:pt x="95249" y="738783"/>
                      <a:pt x="95249" y="736997"/>
                      <a:pt x="95249" y="736997"/>
                    </a:cubicBezTo>
                    <a:close/>
                    <a:moveTo>
                      <a:pt x="90487" y="732235"/>
                    </a:moveTo>
                    <a:lnTo>
                      <a:pt x="90487" y="734616"/>
                    </a:lnTo>
                    <a:lnTo>
                      <a:pt x="90487" y="736998"/>
                    </a:lnTo>
                    <a:cubicBezTo>
                      <a:pt x="90487" y="736998"/>
                      <a:pt x="90487" y="736998"/>
                      <a:pt x="88106" y="734616"/>
                    </a:cubicBezTo>
                    <a:cubicBezTo>
                      <a:pt x="88106" y="734616"/>
                      <a:pt x="88106" y="734616"/>
                      <a:pt x="90487" y="732235"/>
                    </a:cubicBezTo>
                    <a:close/>
                    <a:moveTo>
                      <a:pt x="72007" y="711984"/>
                    </a:moveTo>
                    <a:lnTo>
                      <a:pt x="75706" y="712764"/>
                    </a:lnTo>
                    <a:cubicBezTo>
                      <a:pt x="76557" y="715038"/>
                      <a:pt x="75990" y="717311"/>
                      <a:pt x="72587" y="713901"/>
                    </a:cubicBezTo>
                    <a:close/>
                    <a:moveTo>
                      <a:pt x="71549" y="710467"/>
                    </a:moveTo>
                    <a:lnTo>
                      <a:pt x="72007" y="711984"/>
                    </a:lnTo>
                    <a:lnTo>
                      <a:pt x="70319" y="711628"/>
                    </a:lnTo>
                    <a:close/>
                    <a:moveTo>
                      <a:pt x="95846" y="688330"/>
                    </a:moveTo>
                    <a:cubicBezTo>
                      <a:pt x="97036" y="687884"/>
                      <a:pt x="98822" y="687884"/>
                      <a:pt x="100013" y="688777"/>
                    </a:cubicBezTo>
                    <a:cubicBezTo>
                      <a:pt x="97632" y="690563"/>
                      <a:pt x="97632" y="690563"/>
                      <a:pt x="95250" y="690563"/>
                    </a:cubicBezTo>
                    <a:cubicBezTo>
                      <a:pt x="94060" y="689670"/>
                      <a:pt x="94655" y="688777"/>
                      <a:pt x="95846" y="688330"/>
                    </a:cubicBezTo>
                    <a:close/>
                    <a:moveTo>
                      <a:pt x="88106" y="682229"/>
                    </a:moveTo>
                    <a:cubicBezTo>
                      <a:pt x="90487" y="682229"/>
                      <a:pt x="95250" y="684610"/>
                      <a:pt x="90487" y="686992"/>
                    </a:cubicBezTo>
                    <a:cubicBezTo>
                      <a:pt x="90487" y="684610"/>
                      <a:pt x="88106" y="684610"/>
                      <a:pt x="88106" y="682229"/>
                    </a:cubicBezTo>
                    <a:close/>
                    <a:moveTo>
                      <a:pt x="78581" y="682229"/>
                    </a:moveTo>
                    <a:cubicBezTo>
                      <a:pt x="78581" y="684610"/>
                      <a:pt x="78581" y="684610"/>
                      <a:pt x="78581" y="686992"/>
                    </a:cubicBezTo>
                    <a:cubicBezTo>
                      <a:pt x="78581" y="686992"/>
                      <a:pt x="78581" y="686992"/>
                      <a:pt x="76200" y="686992"/>
                    </a:cubicBezTo>
                    <a:cubicBezTo>
                      <a:pt x="76200" y="684610"/>
                      <a:pt x="76200" y="682229"/>
                      <a:pt x="78581" y="682229"/>
                    </a:cubicBezTo>
                    <a:close/>
                    <a:moveTo>
                      <a:pt x="95250" y="679847"/>
                    </a:moveTo>
                    <a:cubicBezTo>
                      <a:pt x="97631" y="679847"/>
                      <a:pt x="97631" y="686991"/>
                      <a:pt x="97631" y="686991"/>
                    </a:cubicBezTo>
                    <a:cubicBezTo>
                      <a:pt x="97631" y="684610"/>
                      <a:pt x="90487" y="682228"/>
                      <a:pt x="95250" y="679847"/>
                    </a:cubicBezTo>
                    <a:close/>
                    <a:moveTo>
                      <a:pt x="88702" y="679550"/>
                    </a:moveTo>
                    <a:cubicBezTo>
                      <a:pt x="89892" y="679847"/>
                      <a:pt x="91678" y="681038"/>
                      <a:pt x="92869" y="682229"/>
                    </a:cubicBezTo>
                    <a:cubicBezTo>
                      <a:pt x="90488" y="682229"/>
                      <a:pt x="88106" y="679847"/>
                      <a:pt x="88106" y="682229"/>
                    </a:cubicBezTo>
                    <a:cubicBezTo>
                      <a:pt x="86916" y="679847"/>
                      <a:pt x="87511" y="679252"/>
                      <a:pt x="88702" y="679550"/>
                    </a:cubicBezTo>
                    <a:close/>
                    <a:moveTo>
                      <a:pt x="83344" y="675085"/>
                    </a:moveTo>
                    <a:cubicBezTo>
                      <a:pt x="85725" y="672704"/>
                      <a:pt x="90488" y="675085"/>
                      <a:pt x="90488" y="677467"/>
                    </a:cubicBezTo>
                    <a:lnTo>
                      <a:pt x="88107" y="677467"/>
                    </a:lnTo>
                    <a:lnTo>
                      <a:pt x="88107" y="677467"/>
                    </a:lnTo>
                    <a:cubicBezTo>
                      <a:pt x="85725" y="677467"/>
                      <a:pt x="83344" y="675085"/>
                      <a:pt x="83344" y="675085"/>
                    </a:cubicBezTo>
                    <a:close/>
                    <a:moveTo>
                      <a:pt x="85725" y="667941"/>
                    </a:moveTo>
                    <a:cubicBezTo>
                      <a:pt x="88106" y="667941"/>
                      <a:pt x="90487" y="670322"/>
                      <a:pt x="90487" y="672704"/>
                    </a:cubicBezTo>
                    <a:cubicBezTo>
                      <a:pt x="88106" y="675085"/>
                      <a:pt x="80962" y="675085"/>
                      <a:pt x="78581" y="670322"/>
                    </a:cubicBezTo>
                    <a:cubicBezTo>
                      <a:pt x="80962" y="667941"/>
                      <a:pt x="83343" y="667941"/>
                      <a:pt x="85725" y="667941"/>
                    </a:cubicBezTo>
                    <a:close/>
                    <a:moveTo>
                      <a:pt x="78581" y="664369"/>
                    </a:moveTo>
                    <a:lnTo>
                      <a:pt x="80962" y="664369"/>
                    </a:lnTo>
                    <a:lnTo>
                      <a:pt x="80962" y="665560"/>
                    </a:lnTo>
                    <a:close/>
                    <a:moveTo>
                      <a:pt x="88106" y="661988"/>
                    </a:moveTo>
                    <a:cubicBezTo>
                      <a:pt x="88106" y="661988"/>
                      <a:pt x="90487" y="664369"/>
                      <a:pt x="90487" y="664369"/>
                    </a:cubicBezTo>
                    <a:cubicBezTo>
                      <a:pt x="90487" y="664369"/>
                      <a:pt x="90487" y="664369"/>
                      <a:pt x="88106" y="664369"/>
                    </a:cubicBezTo>
                    <a:cubicBezTo>
                      <a:pt x="88106" y="664369"/>
                      <a:pt x="88106" y="664369"/>
                      <a:pt x="88106" y="661988"/>
                    </a:cubicBezTo>
                    <a:close/>
                    <a:moveTo>
                      <a:pt x="72628" y="661988"/>
                    </a:moveTo>
                    <a:cubicBezTo>
                      <a:pt x="72628" y="661988"/>
                      <a:pt x="76200" y="663774"/>
                      <a:pt x="74414" y="665560"/>
                    </a:cubicBezTo>
                    <a:cubicBezTo>
                      <a:pt x="74414" y="663774"/>
                      <a:pt x="72628" y="663774"/>
                      <a:pt x="72628" y="661988"/>
                    </a:cubicBezTo>
                    <a:close/>
                    <a:moveTo>
                      <a:pt x="74612" y="659606"/>
                    </a:moveTo>
                    <a:cubicBezTo>
                      <a:pt x="78977" y="659606"/>
                      <a:pt x="81160" y="659606"/>
                      <a:pt x="83343" y="661987"/>
                    </a:cubicBezTo>
                    <a:cubicBezTo>
                      <a:pt x="81160" y="661987"/>
                      <a:pt x="78977" y="664369"/>
                      <a:pt x="76794" y="664369"/>
                    </a:cubicBezTo>
                    <a:cubicBezTo>
                      <a:pt x="74612" y="664369"/>
                      <a:pt x="70246" y="659606"/>
                      <a:pt x="74612" y="659606"/>
                    </a:cubicBezTo>
                    <a:close/>
                    <a:moveTo>
                      <a:pt x="84236" y="659309"/>
                    </a:moveTo>
                    <a:cubicBezTo>
                      <a:pt x="85129" y="658416"/>
                      <a:pt x="86915" y="658416"/>
                      <a:pt x="88106" y="661988"/>
                    </a:cubicBezTo>
                    <a:cubicBezTo>
                      <a:pt x="88106" y="661988"/>
                      <a:pt x="88106" y="661988"/>
                      <a:pt x="85725" y="661988"/>
                    </a:cubicBezTo>
                    <a:cubicBezTo>
                      <a:pt x="83343" y="661988"/>
                      <a:pt x="83343" y="660202"/>
                      <a:pt x="84236" y="659309"/>
                    </a:cubicBezTo>
                    <a:close/>
                    <a:moveTo>
                      <a:pt x="67865" y="654844"/>
                    </a:moveTo>
                    <a:cubicBezTo>
                      <a:pt x="70246" y="654844"/>
                      <a:pt x="72627" y="654844"/>
                      <a:pt x="72627" y="654844"/>
                    </a:cubicBezTo>
                    <a:cubicBezTo>
                      <a:pt x="72627" y="654844"/>
                      <a:pt x="72627" y="657225"/>
                      <a:pt x="72627" y="657225"/>
                    </a:cubicBezTo>
                    <a:cubicBezTo>
                      <a:pt x="70246" y="657225"/>
                      <a:pt x="70246" y="657225"/>
                      <a:pt x="67865" y="654844"/>
                    </a:cubicBezTo>
                    <a:close/>
                    <a:moveTo>
                      <a:pt x="92670" y="654646"/>
                    </a:moveTo>
                    <a:cubicBezTo>
                      <a:pt x="97035" y="656829"/>
                      <a:pt x="97035" y="652463"/>
                      <a:pt x="99218" y="654646"/>
                    </a:cubicBezTo>
                    <a:cubicBezTo>
                      <a:pt x="99218" y="654646"/>
                      <a:pt x="99218" y="654646"/>
                      <a:pt x="101401" y="654646"/>
                    </a:cubicBezTo>
                    <a:cubicBezTo>
                      <a:pt x="103584" y="656829"/>
                      <a:pt x="103584" y="659011"/>
                      <a:pt x="101401" y="659011"/>
                    </a:cubicBezTo>
                    <a:cubicBezTo>
                      <a:pt x="101401" y="659011"/>
                      <a:pt x="101401" y="659011"/>
                      <a:pt x="103584" y="661194"/>
                    </a:cubicBezTo>
                    <a:cubicBezTo>
                      <a:pt x="101401" y="663377"/>
                      <a:pt x="99218" y="665560"/>
                      <a:pt x="97035" y="665560"/>
                    </a:cubicBezTo>
                    <a:cubicBezTo>
                      <a:pt x="94853" y="665560"/>
                      <a:pt x="90487" y="663377"/>
                      <a:pt x="94853" y="663377"/>
                    </a:cubicBezTo>
                    <a:cubicBezTo>
                      <a:pt x="92670" y="663377"/>
                      <a:pt x="92670" y="661194"/>
                      <a:pt x="90487" y="659011"/>
                    </a:cubicBezTo>
                    <a:cubicBezTo>
                      <a:pt x="92670" y="659011"/>
                      <a:pt x="94853" y="659011"/>
                      <a:pt x="94853" y="656829"/>
                    </a:cubicBezTo>
                    <a:cubicBezTo>
                      <a:pt x="94853" y="656829"/>
                      <a:pt x="92670" y="656829"/>
                      <a:pt x="92670" y="654646"/>
                    </a:cubicBezTo>
                    <a:close/>
                    <a:moveTo>
                      <a:pt x="75009" y="650081"/>
                    </a:moveTo>
                    <a:cubicBezTo>
                      <a:pt x="75009" y="647700"/>
                      <a:pt x="76795" y="650081"/>
                      <a:pt x="78581" y="650081"/>
                    </a:cubicBezTo>
                    <a:cubicBezTo>
                      <a:pt x="76795" y="650081"/>
                      <a:pt x="76795" y="652463"/>
                      <a:pt x="76795" y="652463"/>
                    </a:cubicBezTo>
                    <a:cubicBezTo>
                      <a:pt x="76795" y="652463"/>
                      <a:pt x="75009" y="650081"/>
                      <a:pt x="75009" y="650081"/>
                    </a:cubicBezTo>
                    <a:close/>
                    <a:moveTo>
                      <a:pt x="70246" y="641152"/>
                    </a:moveTo>
                    <a:cubicBezTo>
                      <a:pt x="72230" y="639366"/>
                      <a:pt x="74215" y="641152"/>
                      <a:pt x="76199" y="641152"/>
                    </a:cubicBezTo>
                    <a:cubicBezTo>
                      <a:pt x="74215" y="641152"/>
                      <a:pt x="74215" y="641152"/>
                      <a:pt x="74215" y="642938"/>
                    </a:cubicBezTo>
                    <a:cubicBezTo>
                      <a:pt x="72230" y="641152"/>
                      <a:pt x="72230" y="641152"/>
                      <a:pt x="70246" y="641152"/>
                    </a:cubicBezTo>
                    <a:close/>
                    <a:moveTo>
                      <a:pt x="53578" y="634604"/>
                    </a:moveTo>
                    <a:cubicBezTo>
                      <a:pt x="53578" y="634604"/>
                      <a:pt x="55959" y="634604"/>
                      <a:pt x="58340" y="634604"/>
                    </a:cubicBezTo>
                    <a:cubicBezTo>
                      <a:pt x="58340" y="634604"/>
                      <a:pt x="58340" y="634604"/>
                      <a:pt x="55959" y="636985"/>
                    </a:cubicBezTo>
                    <a:cubicBezTo>
                      <a:pt x="55959" y="636985"/>
                      <a:pt x="55959" y="636985"/>
                      <a:pt x="53578" y="634604"/>
                    </a:cubicBezTo>
                    <a:close/>
                    <a:moveTo>
                      <a:pt x="51196" y="590550"/>
                    </a:moveTo>
                    <a:cubicBezTo>
                      <a:pt x="53469" y="590550"/>
                      <a:pt x="58015" y="595172"/>
                      <a:pt x="58015" y="592861"/>
                    </a:cubicBezTo>
                    <a:cubicBezTo>
                      <a:pt x="60288" y="590550"/>
                      <a:pt x="60288" y="590550"/>
                      <a:pt x="62561" y="592861"/>
                    </a:cubicBezTo>
                    <a:cubicBezTo>
                      <a:pt x="64834" y="595172"/>
                      <a:pt x="67107" y="599795"/>
                      <a:pt x="69380" y="602106"/>
                    </a:cubicBezTo>
                    <a:cubicBezTo>
                      <a:pt x="67107" y="604417"/>
                      <a:pt x="62561" y="606729"/>
                      <a:pt x="67107" y="609040"/>
                    </a:cubicBezTo>
                    <a:cubicBezTo>
                      <a:pt x="60288" y="609040"/>
                      <a:pt x="71653" y="615973"/>
                      <a:pt x="73926" y="618285"/>
                    </a:cubicBezTo>
                    <a:lnTo>
                      <a:pt x="73153" y="618285"/>
                    </a:lnTo>
                    <a:lnTo>
                      <a:pt x="69380" y="618285"/>
                    </a:lnTo>
                    <a:cubicBezTo>
                      <a:pt x="71653" y="618285"/>
                      <a:pt x="76199" y="622907"/>
                      <a:pt x="71653" y="622907"/>
                    </a:cubicBezTo>
                    <a:cubicBezTo>
                      <a:pt x="71653" y="625218"/>
                      <a:pt x="73926" y="629841"/>
                      <a:pt x="69380" y="629841"/>
                    </a:cubicBezTo>
                    <a:cubicBezTo>
                      <a:pt x="69380" y="629841"/>
                      <a:pt x="67107" y="629841"/>
                      <a:pt x="64834" y="629841"/>
                    </a:cubicBezTo>
                    <a:cubicBezTo>
                      <a:pt x="62561" y="627530"/>
                      <a:pt x="60288" y="627530"/>
                      <a:pt x="58015" y="625218"/>
                    </a:cubicBezTo>
                    <a:cubicBezTo>
                      <a:pt x="58015" y="622907"/>
                      <a:pt x="60288" y="620596"/>
                      <a:pt x="60288" y="620596"/>
                    </a:cubicBezTo>
                    <a:cubicBezTo>
                      <a:pt x="55742" y="613662"/>
                      <a:pt x="58015" y="606729"/>
                      <a:pt x="53469" y="602106"/>
                    </a:cubicBezTo>
                    <a:cubicBezTo>
                      <a:pt x="53469" y="599795"/>
                      <a:pt x="55742" y="595172"/>
                      <a:pt x="51196" y="590550"/>
                    </a:cubicBezTo>
                    <a:close/>
                    <a:moveTo>
                      <a:pt x="15878" y="0"/>
                    </a:moveTo>
                    <a:cubicBezTo>
                      <a:pt x="15878" y="2273"/>
                      <a:pt x="20415" y="4547"/>
                      <a:pt x="22683" y="6821"/>
                    </a:cubicBezTo>
                    <a:cubicBezTo>
                      <a:pt x="22683" y="11368"/>
                      <a:pt x="24952" y="11368"/>
                      <a:pt x="27220" y="11368"/>
                    </a:cubicBezTo>
                    <a:cubicBezTo>
                      <a:pt x="24952" y="15915"/>
                      <a:pt x="29488" y="22736"/>
                      <a:pt x="29488" y="25009"/>
                    </a:cubicBezTo>
                    <a:cubicBezTo>
                      <a:pt x="31757" y="31830"/>
                      <a:pt x="34025" y="36377"/>
                      <a:pt x="40830" y="40924"/>
                    </a:cubicBezTo>
                    <a:cubicBezTo>
                      <a:pt x="45367" y="45471"/>
                      <a:pt x="43098" y="47745"/>
                      <a:pt x="40830" y="54566"/>
                    </a:cubicBezTo>
                    <a:cubicBezTo>
                      <a:pt x="40830" y="54566"/>
                      <a:pt x="45367" y="56839"/>
                      <a:pt x="45367" y="59113"/>
                    </a:cubicBezTo>
                    <a:cubicBezTo>
                      <a:pt x="45367" y="61386"/>
                      <a:pt x="40830" y="61386"/>
                      <a:pt x="38562" y="63660"/>
                    </a:cubicBezTo>
                    <a:cubicBezTo>
                      <a:pt x="43098" y="65933"/>
                      <a:pt x="40830" y="68207"/>
                      <a:pt x="40830" y="72754"/>
                    </a:cubicBezTo>
                    <a:cubicBezTo>
                      <a:pt x="43098" y="72754"/>
                      <a:pt x="45367" y="72754"/>
                      <a:pt x="45367" y="75028"/>
                    </a:cubicBezTo>
                    <a:cubicBezTo>
                      <a:pt x="47635" y="77301"/>
                      <a:pt x="45367" y="77301"/>
                      <a:pt x="45367" y="79575"/>
                    </a:cubicBezTo>
                    <a:cubicBezTo>
                      <a:pt x="47635" y="84122"/>
                      <a:pt x="54440" y="88669"/>
                      <a:pt x="56709" y="95490"/>
                    </a:cubicBezTo>
                    <a:cubicBezTo>
                      <a:pt x="56709" y="104584"/>
                      <a:pt x="63514" y="111405"/>
                      <a:pt x="65782" y="118226"/>
                    </a:cubicBezTo>
                    <a:cubicBezTo>
                      <a:pt x="65782" y="125046"/>
                      <a:pt x="65782" y="134141"/>
                      <a:pt x="74855" y="129593"/>
                    </a:cubicBezTo>
                    <a:cubicBezTo>
                      <a:pt x="83929" y="127320"/>
                      <a:pt x="86197" y="134141"/>
                      <a:pt x="83929" y="140961"/>
                    </a:cubicBezTo>
                    <a:cubicBezTo>
                      <a:pt x="83929" y="145508"/>
                      <a:pt x="83929" y="156876"/>
                      <a:pt x="79392" y="161423"/>
                    </a:cubicBezTo>
                    <a:cubicBezTo>
                      <a:pt x="68050" y="163697"/>
                      <a:pt x="61245" y="168244"/>
                      <a:pt x="58977" y="175065"/>
                    </a:cubicBezTo>
                    <a:cubicBezTo>
                      <a:pt x="58977" y="177338"/>
                      <a:pt x="63514" y="184159"/>
                      <a:pt x="63514" y="186433"/>
                    </a:cubicBezTo>
                    <a:cubicBezTo>
                      <a:pt x="56709" y="186433"/>
                      <a:pt x="61245" y="195527"/>
                      <a:pt x="63514" y="200074"/>
                    </a:cubicBezTo>
                    <a:cubicBezTo>
                      <a:pt x="63514" y="202348"/>
                      <a:pt x="65782" y="204621"/>
                      <a:pt x="68050" y="209168"/>
                    </a:cubicBezTo>
                    <a:cubicBezTo>
                      <a:pt x="68050" y="211442"/>
                      <a:pt x="63514" y="213716"/>
                      <a:pt x="65782" y="215989"/>
                    </a:cubicBezTo>
                    <a:cubicBezTo>
                      <a:pt x="65782" y="222810"/>
                      <a:pt x="74855" y="227357"/>
                      <a:pt x="72587" y="229631"/>
                    </a:cubicBezTo>
                    <a:cubicBezTo>
                      <a:pt x="72587" y="234178"/>
                      <a:pt x="68050" y="236451"/>
                      <a:pt x="65782" y="234178"/>
                    </a:cubicBezTo>
                    <a:cubicBezTo>
                      <a:pt x="61245" y="234178"/>
                      <a:pt x="61245" y="240998"/>
                      <a:pt x="61245" y="243272"/>
                    </a:cubicBezTo>
                    <a:cubicBezTo>
                      <a:pt x="61245" y="250093"/>
                      <a:pt x="58977" y="259187"/>
                      <a:pt x="52172" y="266008"/>
                    </a:cubicBezTo>
                    <a:cubicBezTo>
                      <a:pt x="47635" y="270555"/>
                      <a:pt x="54440" y="275102"/>
                      <a:pt x="52172" y="281923"/>
                    </a:cubicBezTo>
                    <a:cubicBezTo>
                      <a:pt x="49904" y="284196"/>
                      <a:pt x="47635" y="286470"/>
                      <a:pt x="47635" y="288743"/>
                    </a:cubicBezTo>
                    <a:cubicBezTo>
                      <a:pt x="49904" y="293291"/>
                      <a:pt x="52172" y="295564"/>
                      <a:pt x="52172" y="297838"/>
                    </a:cubicBezTo>
                    <a:cubicBezTo>
                      <a:pt x="52172" y="300111"/>
                      <a:pt x="54440" y="302385"/>
                      <a:pt x="54440" y="304658"/>
                    </a:cubicBezTo>
                    <a:cubicBezTo>
                      <a:pt x="54440" y="304658"/>
                      <a:pt x="54440" y="306932"/>
                      <a:pt x="56709" y="309206"/>
                    </a:cubicBezTo>
                    <a:cubicBezTo>
                      <a:pt x="56709" y="311479"/>
                      <a:pt x="54440" y="318300"/>
                      <a:pt x="49904" y="313753"/>
                    </a:cubicBezTo>
                    <a:cubicBezTo>
                      <a:pt x="52172" y="316026"/>
                      <a:pt x="49904" y="320573"/>
                      <a:pt x="49904" y="325121"/>
                    </a:cubicBezTo>
                    <a:cubicBezTo>
                      <a:pt x="49904" y="327394"/>
                      <a:pt x="52172" y="329668"/>
                      <a:pt x="49904" y="331941"/>
                    </a:cubicBezTo>
                    <a:cubicBezTo>
                      <a:pt x="47635" y="331941"/>
                      <a:pt x="47635" y="331941"/>
                      <a:pt x="47635" y="334215"/>
                    </a:cubicBezTo>
                    <a:cubicBezTo>
                      <a:pt x="47635" y="341036"/>
                      <a:pt x="52172" y="345583"/>
                      <a:pt x="54440" y="347856"/>
                    </a:cubicBezTo>
                    <a:cubicBezTo>
                      <a:pt x="54440" y="350130"/>
                      <a:pt x="56709" y="350130"/>
                      <a:pt x="56709" y="352403"/>
                    </a:cubicBezTo>
                    <a:cubicBezTo>
                      <a:pt x="58977" y="352403"/>
                      <a:pt x="58977" y="354677"/>
                      <a:pt x="56709" y="354677"/>
                    </a:cubicBezTo>
                    <a:cubicBezTo>
                      <a:pt x="56709" y="359224"/>
                      <a:pt x="63514" y="363771"/>
                      <a:pt x="63514" y="368318"/>
                    </a:cubicBezTo>
                    <a:cubicBezTo>
                      <a:pt x="63514" y="370592"/>
                      <a:pt x="65782" y="372866"/>
                      <a:pt x="68050" y="372866"/>
                    </a:cubicBezTo>
                    <a:cubicBezTo>
                      <a:pt x="70319" y="375139"/>
                      <a:pt x="68050" y="377413"/>
                      <a:pt x="68050" y="379686"/>
                    </a:cubicBezTo>
                    <a:cubicBezTo>
                      <a:pt x="70319" y="386507"/>
                      <a:pt x="77124" y="381960"/>
                      <a:pt x="77124" y="388781"/>
                    </a:cubicBezTo>
                    <a:cubicBezTo>
                      <a:pt x="74855" y="393328"/>
                      <a:pt x="74855" y="397875"/>
                      <a:pt x="79392" y="404696"/>
                    </a:cubicBezTo>
                    <a:cubicBezTo>
                      <a:pt x="79392" y="404696"/>
                      <a:pt x="81660" y="409243"/>
                      <a:pt x="79392" y="409243"/>
                    </a:cubicBezTo>
                    <a:cubicBezTo>
                      <a:pt x="77124" y="409243"/>
                      <a:pt x="77124" y="409243"/>
                      <a:pt x="74855" y="411516"/>
                    </a:cubicBezTo>
                    <a:cubicBezTo>
                      <a:pt x="74855" y="413790"/>
                      <a:pt x="74855" y="416063"/>
                      <a:pt x="74855" y="418337"/>
                    </a:cubicBezTo>
                    <a:cubicBezTo>
                      <a:pt x="74855" y="420611"/>
                      <a:pt x="74855" y="425158"/>
                      <a:pt x="74855" y="427431"/>
                    </a:cubicBezTo>
                    <a:cubicBezTo>
                      <a:pt x="74855" y="429705"/>
                      <a:pt x="72587" y="431978"/>
                      <a:pt x="72587" y="431978"/>
                    </a:cubicBezTo>
                    <a:cubicBezTo>
                      <a:pt x="70319" y="429705"/>
                      <a:pt x="72587" y="431978"/>
                      <a:pt x="74855" y="434252"/>
                    </a:cubicBezTo>
                    <a:cubicBezTo>
                      <a:pt x="77124" y="438799"/>
                      <a:pt x="79392" y="445620"/>
                      <a:pt x="81660" y="452441"/>
                    </a:cubicBezTo>
                    <a:cubicBezTo>
                      <a:pt x="81660" y="452441"/>
                      <a:pt x="79392" y="454714"/>
                      <a:pt x="79392" y="454714"/>
                    </a:cubicBezTo>
                    <a:cubicBezTo>
                      <a:pt x="77124" y="454714"/>
                      <a:pt x="77124" y="456988"/>
                      <a:pt x="77124" y="459261"/>
                    </a:cubicBezTo>
                    <a:cubicBezTo>
                      <a:pt x="77124" y="463808"/>
                      <a:pt x="72587" y="459261"/>
                      <a:pt x="70319" y="463808"/>
                    </a:cubicBezTo>
                    <a:cubicBezTo>
                      <a:pt x="70319" y="468355"/>
                      <a:pt x="70319" y="468355"/>
                      <a:pt x="72587" y="472903"/>
                    </a:cubicBezTo>
                    <a:cubicBezTo>
                      <a:pt x="72587" y="475176"/>
                      <a:pt x="72587" y="477450"/>
                      <a:pt x="72587" y="479723"/>
                    </a:cubicBezTo>
                    <a:cubicBezTo>
                      <a:pt x="77124" y="484270"/>
                      <a:pt x="77124" y="486544"/>
                      <a:pt x="77124" y="491091"/>
                    </a:cubicBezTo>
                    <a:cubicBezTo>
                      <a:pt x="77124" y="495638"/>
                      <a:pt x="81660" y="497912"/>
                      <a:pt x="83929" y="502459"/>
                    </a:cubicBezTo>
                    <a:cubicBezTo>
                      <a:pt x="83929" y="504733"/>
                      <a:pt x="86197" y="507006"/>
                      <a:pt x="88465" y="509280"/>
                    </a:cubicBezTo>
                    <a:cubicBezTo>
                      <a:pt x="88465" y="511553"/>
                      <a:pt x="90734" y="513827"/>
                      <a:pt x="90734" y="516100"/>
                    </a:cubicBezTo>
                    <a:cubicBezTo>
                      <a:pt x="88465" y="518374"/>
                      <a:pt x="81660" y="518374"/>
                      <a:pt x="83929" y="525195"/>
                    </a:cubicBezTo>
                    <a:cubicBezTo>
                      <a:pt x="83929" y="527468"/>
                      <a:pt x="81660" y="536563"/>
                      <a:pt x="83929" y="538836"/>
                    </a:cubicBezTo>
                    <a:cubicBezTo>
                      <a:pt x="81660" y="538836"/>
                      <a:pt x="79392" y="538836"/>
                      <a:pt x="81660" y="541110"/>
                    </a:cubicBezTo>
                    <a:cubicBezTo>
                      <a:pt x="83929" y="541110"/>
                      <a:pt x="88465" y="552478"/>
                      <a:pt x="83929" y="550204"/>
                    </a:cubicBezTo>
                    <a:cubicBezTo>
                      <a:pt x="83929" y="552478"/>
                      <a:pt x="86197" y="552478"/>
                      <a:pt x="86197" y="554751"/>
                    </a:cubicBezTo>
                    <a:cubicBezTo>
                      <a:pt x="88465" y="557025"/>
                      <a:pt x="86197" y="559298"/>
                      <a:pt x="86197" y="561572"/>
                    </a:cubicBezTo>
                    <a:cubicBezTo>
                      <a:pt x="83929" y="566119"/>
                      <a:pt x="86197" y="570666"/>
                      <a:pt x="90734" y="575213"/>
                    </a:cubicBezTo>
                    <a:cubicBezTo>
                      <a:pt x="93002" y="577487"/>
                      <a:pt x="95270" y="584308"/>
                      <a:pt x="95270" y="588855"/>
                    </a:cubicBezTo>
                    <a:cubicBezTo>
                      <a:pt x="95270" y="593402"/>
                      <a:pt x="99807" y="595675"/>
                      <a:pt x="102075" y="597949"/>
                    </a:cubicBezTo>
                    <a:cubicBezTo>
                      <a:pt x="99807" y="600223"/>
                      <a:pt x="97539" y="600223"/>
                      <a:pt x="95270" y="602496"/>
                    </a:cubicBezTo>
                    <a:cubicBezTo>
                      <a:pt x="95270" y="604770"/>
                      <a:pt x="99807" y="607043"/>
                      <a:pt x="99807" y="611590"/>
                    </a:cubicBezTo>
                    <a:cubicBezTo>
                      <a:pt x="99807" y="613864"/>
                      <a:pt x="102075" y="620685"/>
                      <a:pt x="104344" y="622958"/>
                    </a:cubicBezTo>
                    <a:cubicBezTo>
                      <a:pt x="106612" y="622958"/>
                      <a:pt x="111149" y="622958"/>
                      <a:pt x="111149" y="627505"/>
                    </a:cubicBezTo>
                    <a:cubicBezTo>
                      <a:pt x="111149" y="629779"/>
                      <a:pt x="106612" y="627505"/>
                      <a:pt x="111149" y="632053"/>
                    </a:cubicBezTo>
                    <a:cubicBezTo>
                      <a:pt x="113417" y="632053"/>
                      <a:pt x="113417" y="634326"/>
                      <a:pt x="115686" y="636600"/>
                    </a:cubicBezTo>
                    <a:cubicBezTo>
                      <a:pt x="117954" y="638873"/>
                      <a:pt x="115686" y="636600"/>
                      <a:pt x="115686" y="638873"/>
                    </a:cubicBezTo>
                    <a:cubicBezTo>
                      <a:pt x="115686" y="641147"/>
                      <a:pt x="117954" y="641147"/>
                      <a:pt x="117954" y="643420"/>
                    </a:cubicBezTo>
                    <a:cubicBezTo>
                      <a:pt x="120222" y="645694"/>
                      <a:pt x="117954" y="645694"/>
                      <a:pt x="117954" y="647968"/>
                    </a:cubicBezTo>
                    <a:cubicBezTo>
                      <a:pt x="120222" y="650241"/>
                      <a:pt x="120222" y="652515"/>
                      <a:pt x="122491" y="654788"/>
                    </a:cubicBezTo>
                    <a:cubicBezTo>
                      <a:pt x="127027" y="654788"/>
                      <a:pt x="131564" y="652515"/>
                      <a:pt x="136101" y="657062"/>
                    </a:cubicBezTo>
                    <a:cubicBezTo>
                      <a:pt x="136101" y="657062"/>
                      <a:pt x="136101" y="661609"/>
                      <a:pt x="133832" y="661609"/>
                    </a:cubicBezTo>
                    <a:cubicBezTo>
                      <a:pt x="131564" y="666156"/>
                      <a:pt x="127027" y="663883"/>
                      <a:pt x="124759" y="663883"/>
                    </a:cubicBezTo>
                    <a:cubicBezTo>
                      <a:pt x="115686" y="663883"/>
                      <a:pt x="124759" y="666156"/>
                      <a:pt x="127027" y="666156"/>
                    </a:cubicBezTo>
                    <a:cubicBezTo>
                      <a:pt x="133832" y="668430"/>
                      <a:pt x="145174" y="675250"/>
                      <a:pt x="136101" y="682071"/>
                    </a:cubicBezTo>
                    <a:cubicBezTo>
                      <a:pt x="136101" y="682071"/>
                      <a:pt x="133832" y="682071"/>
                      <a:pt x="133832" y="682071"/>
                    </a:cubicBezTo>
                    <a:cubicBezTo>
                      <a:pt x="131564" y="684345"/>
                      <a:pt x="136101" y="686618"/>
                      <a:pt x="136101" y="686618"/>
                    </a:cubicBezTo>
                    <a:cubicBezTo>
                      <a:pt x="136101" y="688892"/>
                      <a:pt x="138369" y="688892"/>
                      <a:pt x="138369" y="691165"/>
                    </a:cubicBezTo>
                    <a:cubicBezTo>
                      <a:pt x="140637" y="691165"/>
                      <a:pt x="138369" y="695713"/>
                      <a:pt x="136101" y="695713"/>
                    </a:cubicBezTo>
                    <a:cubicBezTo>
                      <a:pt x="138369" y="697986"/>
                      <a:pt x="147442" y="704807"/>
                      <a:pt x="145174" y="709354"/>
                    </a:cubicBezTo>
                    <a:cubicBezTo>
                      <a:pt x="142906" y="711628"/>
                      <a:pt x="142906" y="711628"/>
                      <a:pt x="142906" y="713901"/>
                    </a:cubicBezTo>
                    <a:cubicBezTo>
                      <a:pt x="142906" y="713901"/>
                      <a:pt x="142906" y="718448"/>
                      <a:pt x="145174" y="718448"/>
                    </a:cubicBezTo>
                    <a:cubicBezTo>
                      <a:pt x="145174" y="718448"/>
                      <a:pt x="145174" y="720722"/>
                      <a:pt x="147442" y="720722"/>
                    </a:cubicBezTo>
                    <a:cubicBezTo>
                      <a:pt x="142906" y="720722"/>
                      <a:pt x="140637" y="729816"/>
                      <a:pt x="140637" y="732090"/>
                    </a:cubicBezTo>
                    <a:cubicBezTo>
                      <a:pt x="140637" y="734363"/>
                      <a:pt x="140637" y="736637"/>
                      <a:pt x="142906" y="738910"/>
                    </a:cubicBezTo>
                    <a:cubicBezTo>
                      <a:pt x="145174" y="741184"/>
                      <a:pt x="151979" y="745731"/>
                      <a:pt x="149711" y="748005"/>
                    </a:cubicBezTo>
                    <a:cubicBezTo>
                      <a:pt x="149711" y="750278"/>
                      <a:pt x="147442" y="750278"/>
                      <a:pt x="147442" y="752552"/>
                    </a:cubicBezTo>
                    <a:cubicBezTo>
                      <a:pt x="145174" y="754825"/>
                      <a:pt x="151979" y="757099"/>
                      <a:pt x="149711" y="761646"/>
                    </a:cubicBezTo>
                    <a:cubicBezTo>
                      <a:pt x="147442" y="763920"/>
                      <a:pt x="145174" y="761646"/>
                      <a:pt x="145174" y="763920"/>
                    </a:cubicBezTo>
                    <a:cubicBezTo>
                      <a:pt x="142906" y="768467"/>
                      <a:pt x="145174" y="773014"/>
                      <a:pt x="138369" y="770740"/>
                    </a:cubicBezTo>
                    <a:cubicBezTo>
                      <a:pt x="138369" y="773014"/>
                      <a:pt x="138369" y="777561"/>
                      <a:pt x="140637" y="779835"/>
                    </a:cubicBezTo>
                    <a:cubicBezTo>
                      <a:pt x="145174" y="782108"/>
                      <a:pt x="145174" y="786655"/>
                      <a:pt x="145174" y="788929"/>
                    </a:cubicBezTo>
                    <a:cubicBezTo>
                      <a:pt x="145174" y="791203"/>
                      <a:pt x="151979" y="793476"/>
                      <a:pt x="154247" y="795750"/>
                    </a:cubicBezTo>
                    <a:cubicBezTo>
                      <a:pt x="154247" y="798023"/>
                      <a:pt x="156516" y="802570"/>
                      <a:pt x="158784" y="804844"/>
                    </a:cubicBezTo>
                    <a:cubicBezTo>
                      <a:pt x="161052" y="804844"/>
                      <a:pt x="163321" y="802570"/>
                      <a:pt x="163321" y="802570"/>
                    </a:cubicBezTo>
                    <a:cubicBezTo>
                      <a:pt x="165589" y="800297"/>
                      <a:pt x="167857" y="802570"/>
                      <a:pt x="170126" y="802570"/>
                    </a:cubicBezTo>
                    <a:cubicBezTo>
                      <a:pt x="174662" y="802570"/>
                      <a:pt x="174662" y="802570"/>
                      <a:pt x="176931" y="807118"/>
                    </a:cubicBezTo>
                    <a:cubicBezTo>
                      <a:pt x="179199" y="809391"/>
                      <a:pt x="176931" y="813938"/>
                      <a:pt x="179199" y="813938"/>
                    </a:cubicBezTo>
                    <a:cubicBezTo>
                      <a:pt x="181468" y="816212"/>
                      <a:pt x="183736" y="820759"/>
                      <a:pt x="181468" y="823033"/>
                    </a:cubicBezTo>
                    <a:cubicBezTo>
                      <a:pt x="186004" y="825306"/>
                      <a:pt x="192809" y="829853"/>
                      <a:pt x="195078" y="832127"/>
                    </a:cubicBezTo>
                    <a:cubicBezTo>
                      <a:pt x="197346" y="836674"/>
                      <a:pt x="210956" y="834400"/>
                      <a:pt x="213224" y="834400"/>
                    </a:cubicBezTo>
                    <a:lnTo>
                      <a:pt x="248788" y="839261"/>
                    </a:lnTo>
                    <a:lnTo>
                      <a:pt x="245548" y="840653"/>
                    </a:lnTo>
                    <a:cubicBezTo>
                      <a:pt x="245548" y="841790"/>
                      <a:pt x="246116" y="843495"/>
                      <a:pt x="244981" y="845769"/>
                    </a:cubicBezTo>
                    <a:cubicBezTo>
                      <a:pt x="242713" y="848042"/>
                      <a:pt x="238176" y="845769"/>
                      <a:pt x="235908" y="848042"/>
                    </a:cubicBezTo>
                    <a:cubicBezTo>
                      <a:pt x="233640" y="850316"/>
                      <a:pt x="229103" y="850316"/>
                      <a:pt x="224566" y="852589"/>
                    </a:cubicBezTo>
                    <a:cubicBezTo>
                      <a:pt x="226835" y="854863"/>
                      <a:pt x="226835" y="859410"/>
                      <a:pt x="229103" y="863957"/>
                    </a:cubicBezTo>
                    <a:cubicBezTo>
                      <a:pt x="229103" y="866231"/>
                      <a:pt x="231371" y="868504"/>
                      <a:pt x="233640" y="873051"/>
                    </a:cubicBezTo>
                    <a:cubicBezTo>
                      <a:pt x="238176" y="879872"/>
                      <a:pt x="226835" y="877599"/>
                      <a:pt x="222298" y="877599"/>
                    </a:cubicBezTo>
                    <a:cubicBezTo>
                      <a:pt x="217761" y="875325"/>
                      <a:pt x="206419" y="873051"/>
                      <a:pt x="204151" y="866231"/>
                    </a:cubicBezTo>
                    <a:cubicBezTo>
                      <a:pt x="201883" y="861684"/>
                      <a:pt x="213224" y="863957"/>
                      <a:pt x="208688" y="868504"/>
                    </a:cubicBezTo>
                    <a:cubicBezTo>
                      <a:pt x="210956" y="868504"/>
                      <a:pt x="210956" y="863957"/>
                      <a:pt x="210956" y="863957"/>
                    </a:cubicBezTo>
                    <a:cubicBezTo>
                      <a:pt x="210956" y="861684"/>
                      <a:pt x="217761" y="868504"/>
                      <a:pt x="215493" y="870778"/>
                    </a:cubicBezTo>
                    <a:cubicBezTo>
                      <a:pt x="220029" y="868504"/>
                      <a:pt x="210956" y="861684"/>
                      <a:pt x="220029" y="861684"/>
                    </a:cubicBezTo>
                    <a:cubicBezTo>
                      <a:pt x="220029" y="859410"/>
                      <a:pt x="220029" y="857136"/>
                      <a:pt x="220029" y="854863"/>
                    </a:cubicBezTo>
                    <a:cubicBezTo>
                      <a:pt x="220029" y="852589"/>
                      <a:pt x="215493" y="852589"/>
                      <a:pt x="215493" y="852589"/>
                    </a:cubicBezTo>
                    <a:cubicBezTo>
                      <a:pt x="215493" y="854863"/>
                      <a:pt x="210956" y="857136"/>
                      <a:pt x="208688" y="859410"/>
                    </a:cubicBezTo>
                    <a:cubicBezTo>
                      <a:pt x="204151" y="861684"/>
                      <a:pt x="201883" y="857136"/>
                      <a:pt x="197346" y="859410"/>
                    </a:cubicBezTo>
                    <a:cubicBezTo>
                      <a:pt x="199614" y="859410"/>
                      <a:pt x="201883" y="861684"/>
                      <a:pt x="204151" y="861684"/>
                    </a:cubicBezTo>
                    <a:cubicBezTo>
                      <a:pt x="201883" y="863957"/>
                      <a:pt x="201883" y="863957"/>
                      <a:pt x="199614" y="861684"/>
                    </a:cubicBezTo>
                    <a:cubicBezTo>
                      <a:pt x="201883" y="863957"/>
                      <a:pt x="199614" y="866231"/>
                      <a:pt x="199614" y="866231"/>
                    </a:cubicBezTo>
                    <a:cubicBezTo>
                      <a:pt x="201883" y="866231"/>
                      <a:pt x="204151" y="868504"/>
                      <a:pt x="206419" y="870778"/>
                    </a:cubicBezTo>
                    <a:cubicBezTo>
                      <a:pt x="199614" y="873051"/>
                      <a:pt x="188273" y="866231"/>
                      <a:pt x="186004" y="861684"/>
                    </a:cubicBezTo>
                    <a:cubicBezTo>
                      <a:pt x="188273" y="863957"/>
                      <a:pt x="192809" y="863957"/>
                      <a:pt x="195078" y="861684"/>
                    </a:cubicBezTo>
                    <a:cubicBezTo>
                      <a:pt x="195078" y="859410"/>
                      <a:pt x="188273" y="859410"/>
                      <a:pt x="188273" y="854863"/>
                    </a:cubicBezTo>
                    <a:cubicBezTo>
                      <a:pt x="188273" y="850316"/>
                      <a:pt x="192809" y="850316"/>
                      <a:pt x="192809" y="854863"/>
                    </a:cubicBezTo>
                    <a:cubicBezTo>
                      <a:pt x="197346" y="852589"/>
                      <a:pt x="197346" y="852589"/>
                      <a:pt x="199614" y="850316"/>
                    </a:cubicBezTo>
                    <a:cubicBezTo>
                      <a:pt x="201883" y="848042"/>
                      <a:pt x="208688" y="852589"/>
                      <a:pt x="210956" y="850316"/>
                    </a:cubicBezTo>
                    <a:cubicBezTo>
                      <a:pt x="208688" y="845769"/>
                      <a:pt x="195078" y="843495"/>
                      <a:pt x="195078" y="850316"/>
                    </a:cubicBezTo>
                    <a:cubicBezTo>
                      <a:pt x="192809" y="848042"/>
                      <a:pt x="190541" y="848042"/>
                      <a:pt x="192809" y="845769"/>
                    </a:cubicBezTo>
                    <a:cubicBezTo>
                      <a:pt x="192809" y="845769"/>
                      <a:pt x="183736" y="845769"/>
                      <a:pt x="186004" y="850316"/>
                    </a:cubicBezTo>
                    <a:cubicBezTo>
                      <a:pt x="188273" y="848042"/>
                      <a:pt x="188273" y="848042"/>
                      <a:pt x="190541" y="850316"/>
                    </a:cubicBezTo>
                    <a:cubicBezTo>
                      <a:pt x="190541" y="852589"/>
                      <a:pt x="188273" y="852589"/>
                      <a:pt x="186004" y="852589"/>
                    </a:cubicBezTo>
                    <a:cubicBezTo>
                      <a:pt x="188273" y="854863"/>
                      <a:pt x="190541" y="859410"/>
                      <a:pt x="186004" y="859410"/>
                    </a:cubicBezTo>
                    <a:cubicBezTo>
                      <a:pt x="183736" y="859410"/>
                      <a:pt x="179199" y="857136"/>
                      <a:pt x="183736" y="854863"/>
                    </a:cubicBezTo>
                    <a:cubicBezTo>
                      <a:pt x="181468" y="857136"/>
                      <a:pt x="179199" y="854863"/>
                      <a:pt x="176931" y="852589"/>
                    </a:cubicBezTo>
                    <a:lnTo>
                      <a:pt x="179199" y="852589"/>
                    </a:lnTo>
                    <a:cubicBezTo>
                      <a:pt x="181468" y="850316"/>
                      <a:pt x="179199" y="845769"/>
                      <a:pt x="183736" y="848042"/>
                    </a:cubicBezTo>
                    <a:cubicBezTo>
                      <a:pt x="179199" y="845769"/>
                      <a:pt x="179199" y="845769"/>
                      <a:pt x="183736" y="845769"/>
                    </a:cubicBezTo>
                    <a:cubicBezTo>
                      <a:pt x="186004" y="843495"/>
                      <a:pt x="188273" y="843495"/>
                      <a:pt x="190541" y="845769"/>
                    </a:cubicBezTo>
                    <a:cubicBezTo>
                      <a:pt x="188273" y="843495"/>
                      <a:pt x="190541" y="838948"/>
                      <a:pt x="188273" y="838948"/>
                    </a:cubicBezTo>
                    <a:lnTo>
                      <a:pt x="185969" y="836816"/>
                    </a:lnTo>
                    <a:lnTo>
                      <a:pt x="186004" y="836674"/>
                    </a:lnTo>
                    <a:lnTo>
                      <a:pt x="185708" y="836575"/>
                    </a:lnTo>
                    <a:lnTo>
                      <a:pt x="184587" y="835537"/>
                    </a:lnTo>
                    <a:cubicBezTo>
                      <a:pt x="183736" y="834400"/>
                      <a:pt x="183736" y="833264"/>
                      <a:pt x="186004" y="832127"/>
                    </a:cubicBezTo>
                    <a:cubicBezTo>
                      <a:pt x="183736" y="832127"/>
                      <a:pt x="181468" y="827580"/>
                      <a:pt x="179199" y="825306"/>
                    </a:cubicBezTo>
                    <a:cubicBezTo>
                      <a:pt x="174662" y="823033"/>
                      <a:pt x="172394" y="823033"/>
                      <a:pt x="167857" y="820759"/>
                    </a:cubicBezTo>
                    <a:cubicBezTo>
                      <a:pt x="167857" y="823033"/>
                      <a:pt x="167857" y="823033"/>
                      <a:pt x="167857" y="823033"/>
                    </a:cubicBezTo>
                    <a:cubicBezTo>
                      <a:pt x="170126" y="823033"/>
                      <a:pt x="181468" y="825306"/>
                      <a:pt x="181468" y="829853"/>
                    </a:cubicBezTo>
                    <a:cubicBezTo>
                      <a:pt x="181468" y="832127"/>
                      <a:pt x="167857" y="825306"/>
                      <a:pt x="167857" y="825306"/>
                    </a:cubicBezTo>
                    <a:cubicBezTo>
                      <a:pt x="167857" y="827580"/>
                      <a:pt x="170126" y="827580"/>
                      <a:pt x="172394" y="827580"/>
                    </a:cubicBezTo>
                    <a:cubicBezTo>
                      <a:pt x="172394" y="829853"/>
                      <a:pt x="172394" y="832127"/>
                      <a:pt x="174662" y="832127"/>
                    </a:cubicBezTo>
                    <a:cubicBezTo>
                      <a:pt x="174662" y="834400"/>
                      <a:pt x="172394" y="834400"/>
                      <a:pt x="172394" y="836674"/>
                    </a:cubicBezTo>
                    <a:cubicBezTo>
                      <a:pt x="170126" y="834400"/>
                      <a:pt x="170126" y="829853"/>
                      <a:pt x="167857" y="827580"/>
                    </a:cubicBezTo>
                    <a:cubicBezTo>
                      <a:pt x="170126" y="829853"/>
                      <a:pt x="172394" y="834400"/>
                      <a:pt x="172394" y="838948"/>
                    </a:cubicBezTo>
                    <a:cubicBezTo>
                      <a:pt x="170126" y="836674"/>
                      <a:pt x="165589" y="834400"/>
                      <a:pt x="163321" y="829853"/>
                    </a:cubicBezTo>
                    <a:cubicBezTo>
                      <a:pt x="165589" y="832127"/>
                      <a:pt x="165589" y="832127"/>
                      <a:pt x="167857" y="834400"/>
                    </a:cubicBezTo>
                    <a:cubicBezTo>
                      <a:pt x="165589" y="832127"/>
                      <a:pt x="163321" y="829853"/>
                      <a:pt x="163321" y="827580"/>
                    </a:cubicBezTo>
                    <a:cubicBezTo>
                      <a:pt x="163321" y="827580"/>
                      <a:pt x="161052" y="829853"/>
                      <a:pt x="158784" y="827580"/>
                    </a:cubicBezTo>
                    <a:cubicBezTo>
                      <a:pt x="158784" y="827580"/>
                      <a:pt x="158784" y="825306"/>
                      <a:pt x="156516" y="825306"/>
                    </a:cubicBezTo>
                    <a:cubicBezTo>
                      <a:pt x="154247" y="825306"/>
                      <a:pt x="154247" y="820759"/>
                      <a:pt x="151979" y="820759"/>
                    </a:cubicBezTo>
                    <a:cubicBezTo>
                      <a:pt x="156516" y="820759"/>
                      <a:pt x="158784" y="823033"/>
                      <a:pt x="161052" y="825306"/>
                    </a:cubicBezTo>
                    <a:cubicBezTo>
                      <a:pt x="158784" y="823033"/>
                      <a:pt x="156516" y="818485"/>
                      <a:pt x="154247" y="816212"/>
                    </a:cubicBezTo>
                    <a:cubicBezTo>
                      <a:pt x="158784" y="820759"/>
                      <a:pt x="154247" y="813938"/>
                      <a:pt x="151979" y="813938"/>
                    </a:cubicBezTo>
                    <a:cubicBezTo>
                      <a:pt x="151979" y="816212"/>
                      <a:pt x="151979" y="816212"/>
                      <a:pt x="151979" y="816212"/>
                    </a:cubicBezTo>
                    <a:cubicBezTo>
                      <a:pt x="149711" y="816212"/>
                      <a:pt x="149711" y="816212"/>
                      <a:pt x="147442" y="813938"/>
                    </a:cubicBezTo>
                    <a:cubicBezTo>
                      <a:pt x="149711" y="818485"/>
                      <a:pt x="142906" y="811665"/>
                      <a:pt x="142906" y="809391"/>
                    </a:cubicBezTo>
                    <a:cubicBezTo>
                      <a:pt x="140637" y="809391"/>
                      <a:pt x="145174" y="809391"/>
                      <a:pt x="145174" y="809391"/>
                    </a:cubicBezTo>
                    <a:cubicBezTo>
                      <a:pt x="145174" y="807118"/>
                      <a:pt x="147442" y="807118"/>
                      <a:pt x="147442" y="807118"/>
                    </a:cubicBezTo>
                    <a:cubicBezTo>
                      <a:pt x="151979" y="809391"/>
                      <a:pt x="145174" y="804844"/>
                      <a:pt x="149711" y="807118"/>
                    </a:cubicBezTo>
                    <a:cubicBezTo>
                      <a:pt x="147442" y="804844"/>
                      <a:pt x="147442" y="802570"/>
                      <a:pt x="149711" y="802570"/>
                    </a:cubicBezTo>
                    <a:cubicBezTo>
                      <a:pt x="147442" y="802570"/>
                      <a:pt x="145174" y="800297"/>
                      <a:pt x="147442" y="798023"/>
                    </a:cubicBezTo>
                    <a:cubicBezTo>
                      <a:pt x="145174" y="800297"/>
                      <a:pt x="147442" y="804844"/>
                      <a:pt x="145174" y="807118"/>
                    </a:cubicBezTo>
                    <a:cubicBezTo>
                      <a:pt x="145174" y="809391"/>
                      <a:pt x="136101" y="800297"/>
                      <a:pt x="136101" y="798023"/>
                    </a:cubicBezTo>
                    <a:cubicBezTo>
                      <a:pt x="136101" y="800297"/>
                      <a:pt x="138369" y="800297"/>
                      <a:pt x="140637" y="800297"/>
                    </a:cubicBezTo>
                    <a:cubicBezTo>
                      <a:pt x="136101" y="798023"/>
                      <a:pt x="140637" y="800297"/>
                      <a:pt x="142906" y="800297"/>
                    </a:cubicBezTo>
                    <a:cubicBezTo>
                      <a:pt x="140637" y="798023"/>
                      <a:pt x="133832" y="798023"/>
                      <a:pt x="133832" y="793476"/>
                    </a:cubicBezTo>
                    <a:cubicBezTo>
                      <a:pt x="133832" y="798023"/>
                      <a:pt x="127027" y="791203"/>
                      <a:pt x="124759" y="791203"/>
                    </a:cubicBezTo>
                    <a:cubicBezTo>
                      <a:pt x="127027" y="786655"/>
                      <a:pt x="136101" y="795750"/>
                      <a:pt x="140637" y="793476"/>
                    </a:cubicBezTo>
                    <a:cubicBezTo>
                      <a:pt x="138369" y="793476"/>
                      <a:pt x="129296" y="791203"/>
                      <a:pt x="129296" y="786655"/>
                    </a:cubicBezTo>
                    <a:cubicBezTo>
                      <a:pt x="131564" y="786655"/>
                      <a:pt x="133832" y="788929"/>
                      <a:pt x="138369" y="788929"/>
                    </a:cubicBezTo>
                    <a:cubicBezTo>
                      <a:pt x="136101" y="788929"/>
                      <a:pt x="133832" y="786655"/>
                      <a:pt x="136101" y="784382"/>
                    </a:cubicBezTo>
                    <a:cubicBezTo>
                      <a:pt x="133832" y="788929"/>
                      <a:pt x="124759" y="782108"/>
                      <a:pt x="131564" y="779835"/>
                    </a:cubicBezTo>
                    <a:cubicBezTo>
                      <a:pt x="129296" y="782108"/>
                      <a:pt x="122491" y="779835"/>
                      <a:pt x="127027" y="777561"/>
                    </a:cubicBezTo>
                    <a:cubicBezTo>
                      <a:pt x="131564" y="775288"/>
                      <a:pt x="133832" y="779835"/>
                      <a:pt x="138369" y="779835"/>
                    </a:cubicBezTo>
                    <a:cubicBezTo>
                      <a:pt x="136101" y="779835"/>
                      <a:pt x="131564" y="777561"/>
                      <a:pt x="129296" y="775288"/>
                    </a:cubicBezTo>
                    <a:cubicBezTo>
                      <a:pt x="129296" y="775288"/>
                      <a:pt x="127027" y="775288"/>
                      <a:pt x="127027" y="773014"/>
                    </a:cubicBezTo>
                    <a:cubicBezTo>
                      <a:pt x="127027" y="770740"/>
                      <a:pt x="129296" y="770740"/>
                      <a:pt x="129296" y="770740"/>
                    </a:cubicBezTo>
                    <a:cubicBezTo>
                      <a:pt x="129296" y="770740"/>
                      <a:pt x="124759" y="761646"/>
                      <a:pt x="129296" y="763920"/>
                    </a:cubicBezTo>
                    <a:cubicBezTo>
                      <a:pt x="127027" y="763920"/>
                      <a:pt x="124759" y="763920"/>
                      <a:pt x="124759" y="766193"/>
                    </a:cubicBezTo>
                    <a:cubicBezTo>
                      <a:pt x="124759" y="766193"/>
                      <a:pt x="124759" y="775288"/>
                      <a:pt x="124759" y="775288"/>
                    </a:cubicBezTo>
                    <a:cubicBezTo>
                      <a:pt x="122491" y="773014"/>
                      <a:pt x="117954" y="768467"/>
                      <a:pt x="117954" y="763920"/>
                    </a:cubicBezTo>
                    <a:cubicBezTo>
                      <a:pt x="117954" y="761646"/>
                      <a:pt x="113417" y="759373"/>
                      <a:pt x="115686" y="759373"/>
                    </a:cubicBezTo>
                    <a:cubicBezTo>
                      <a:pt x="115686" y="757099"/>
                      <a:pt x="120222" y="757099"/>
                      <a:pt x="120222" y="757099"/>
                    </a:cubicBezTo>
                    <a:cubicBezTo>
                      <a:pt x="120222" y="757099"/>
                      <a:pt x="108880" y="757099"/>
                      <a:pt x="113417" y="752552"/>
                    </a:cubicBezTo>
                    <a:cubicBezTo>
                      <a:pt x="115686" y="750278"/>
                      <a:pt x="120222" y="752552"/>
                      <a:pt x="120222" y="754825"/>
                    </a:cubicBezTo>
                    <a:cubicBezTo>
                      <a:pt x="120222" y="752552"/>
                      <a:pt x="117954" y="750278"/>
                      <a:pt x="120222" y="750278"/>
                    </a:cubicBezTo>
                    <a:cubicBezTo>
                      <a:pt x="117954" y="750278"/>
                      <a:pt x="111149" y="750278"/>
                      <a:pt x="115686" y="748005"/>
                    </a:cubicBezTo>
                    <a:cubicBezTo>
                      <a:pt x="111149" y="750278"/>
                      <a:pt x="108880" y="741184"/>
                      <a:pt x="102075" y="741184"/>
                    </a:cubicBezTo>
                    <a:cubicBezTo>
                      <a:pt x="102075" y="736637"/>
                      <a:pt x="111149" y="743458"/>
                      <a:pt x="111149" y="743458"/>
                    </a:cubicBezTo>
                    <a:cubicBezTo>
                      <a:pt x="111149" y="743458"/>
                      <a:pt x="108880" y="741184"/>
                      <a:pt x="108880" y="741184"/>
                    </a:cubicBezTo>
                    <a:cubicBezTo>
                      <a:pt x="113417" y="738910"/>
                      <a:pt x="115686" y="741184"/>
                      <a:pt x="117954" y="743458"/>
                    </a:cubicBezTo>
                    <a:cubicBezTo>
                      <a:pt x="120222" y="743458"/>
                      <a:pt x="122491" y="743458"/>
                      <a:pt x="122491" y="743458"/>
                    </a:cubicBezTo>
                    <a:cubicBezTo>
                      <a:pt x="124759" y="745731"/>
                      <a:pt x="127027" y="743458"/>
                      <a:pt x="129296" y="745731"/>
                    </a:cubicBezTo>
                    <a:cubicBezTo>
                      <a:pt x="129296" y="743458"/>
                      <a:pt x="129296" y="743458"/>
                      <a:pt x="129296" y="741184"/>
                    </a:cubicBezTo>
                    <a:cubicBezTo>
                      <a:pt x="127027" y="738910"/>
                      <a:pt x="127027" y="738910"/>
                      <a:pt x="124759" y="738910"/>
                    </a:cubicBezTo>
                    <a:cubicBezTo>
                      <a:pt x="122491" y="738910"/>
                      <a:pt x="122491" y="736637"/>
                      <a:pt x="120222" y="736637"/>
                    </a:cubicBezTo>
                    <a:lnTo>
                      <a:pt x="115848" y="734445"/>
                    </a:lnTo>
                    <a:lnTo>
                      <a:pt x="116253" y="734079"/>
                    </a:lnTo>
                    <a:cubicBezTo>
                      <a:pt x="116253" y="732658"/>
                      <a:pt x="115686" y="730953"/>
                      <a:pt x="115686" y="729816"/>
                    </a:cubicBezTo>
                    <a:cubicBezTo>
                      <a:pt x="115686" y="729816"/>
                      <a:pt x="115686" y="732090"/>
                      <a:pt x="115686" y="734363"/>
                    </a:cubicBezTo>
                    <a:lnTo>
                      <a:pt x="115848" y="734445"/>
                    </a:lnTo>
                    <a:lnTo>
                      <a:pt x="113417" y="736637"/>
                    </a:lnTo>
                    <a:cubicBezTo>
                      <a:pt x="108880" y="734363"/>
                      <a:pt x="99807" y="736637"/>
                      <a:pt x="97539" y="732090"/>
                    </a:cubicBezTo>
                    <a:cubicBezTo>
                      <a:pt x="99807" y="732090"/>
                      <a:pt x="99807" y="732090"/>
                      <a:pt x="99807" y="729816"/>
                    </a:cubicBezTo>
                    <a:cubicBezTo>
                      <a:pt x="102075" y="729816"/>
                      <a:pt x="104344" y="734363"/>
                      <a:pt x="108880" y="734363"/>
                    </a:cubicBezTo>
                    <a:cubicBezTo>
                      <a:pt x="104344" y="734363"/>
                      <a:pt x="106612" y="729816"/>
                      <a:pt x="108880" y="732090"/>
                    </a:cubicBezTo>
                    <a:cubicBezTo>
                      <a:pt x="108880" y="727543"/>
                      <a:pt x="106612" y="732090"/>
                      <a:pt x="104344" y="729816"/>
                    </a:cubicBezTo>
                    <a:cubicBezTo>
                      <a:pt x="102075" y="729816"/>
                      <a:pt x="102075" y="727543"/>
                      <a:pt x="99807" y="727543"/>
                    </a:cubicBezTo>
                    <a:cubicBezTo>
                      <a:pt x="97539" y="727543"/>
                      <a:pt x="102075" y="718448"/>
                      <a:pt x="104344" y="722995"/>
                    </a:cubicBezTo>
                    <a:cubicBezTo>
                      <a:pt x="104344" y="720722"/>
                      <a:pt x="104344" y="720722"/>
                      <a:pt x="106612" y="720722"/>
                    </a:cubicBezTo>
                    <a:cubicBezTo>
                      <a:pt x="106612" y="718448"/>
                      <a:pt x="106612" y="718448"/>
                      <a:pt x="104344" y="718448"/>
                    </a:cubicBezTo>
                    <a:cubicBezTo>
                      <a:pt x="104344" y="716175"/>
                      <a:pt x="99807" y="716175"/>
                      <a:pt x="99807" y="713901"/>
                    </a:cubicBezTo>
                    <a:lnTo>
                      <a:pt x="93002" y="713901"/>
                    </a:lnTo>
                    <a:cubicBezTo>
                      <a:pt x="90734" y="713901"/>
                      <a:pt x="86197" y="711628"/>
                      <a:pt x="83929" y="711628"/>
                    </a:cubicBezTo>
                    <a:cubicBezTo>
                      <a:pt x="79392" y="707080"/>
                      <a:pt x="81660" y="707080"/>
                      <a:pt x="81660" y="702533"/>
                    </a:cubicBezTo>
                    <a:cubicBezTo>
                      <a:pt x="80526" y="704807"/>
                      <a:pt x="77691" y="705944"/>
                      <a:pt x="75139" y="707080"/>
                    </a:cubicBezTo>
                    <a:lnTo>
                      <a:pt x="71549" y="710467"/>
                    </a:lnTo>
                    <a:lnTo>
                      <a:pt x="69752" y="704523"/>
                    </a:lnTo>
                    <a:cubicBezTo>
                      <a:pt x="70886" y="701397"/>
                      <a:pt x="73721" y="699123"/>
                      <a:pt x="77124" y="700260"/>
                    </a:cubicBezTo>
                    <a:cubicBezTo>
                      <a:pt x="74855" y="700260"/>
                      <a:pt x="74855" y="700260"/>
                      <a:pt x="77124" y="697986"/>
                    </a:cubicBezTo>
                    <a:cubicBezTo>
                      <a:pt x="79392" y="700260"/>
                      <a:pt x="77124" y="693439"/>
                      <a:pt x="81660" y="697986"/>
                    </a:cubicBezTo>
                    <a:cubicBezTo>
                      <a:pt x="79392" y="695713"/>
                      <a:pt x="81660" y="693439"/>
                      <a:pt x="79392" y="691165"/>
                    </a:cubicBezTo>
                    <a:cubicBezTo>
                      <a:pt x="81660" y="697986"/>
                      <a:pt x="70319" y="693439"/>
                      <a:pt x="77124" y="693439"/>
                    </a:cubicBezTo>
                    <a:cubicBezTo>
                      <a:pt x="74855" y="693439"/>
                      <a:pt x="72587" y="691165"/>
                      <a:pt x="72587" y="688892"/>
                    </a:cubicBezTo>
                    <a:cubicBezTo>
                      <a:pt x="74855" y="691165"/>
                      <a:pt x="77124" y="686618"/>
                      <a:pt x="79392" y="688892"/>
                    </a:cubicBezTo>
                    <a:cubicBezTo>
                      <a:pt x="81660" y="688892"/>
                      <a:pt x="83929" y="691165"/>
                      <a:pt x="86197" y="691165"/>
                    </a:cubicBezTo>
                    <a:cubicBezTo>
                      <a:pt x="81660" y="688892"/>
                      <a:pt x="86197" y="688892"/>
                      <a:pt x="88465" y="688892"/>
                    </a:cubicBezTo>
                    <a:cubicBezTo>
                      <a:pt x="90734" y="686618"/>
                      <a:pt x="90734" y="691165"/>
                      <a:pt x="93002" y="691165"/>
                    </a:cubicBezTo>
                    <a:cubicBezTo>
                      <a:pt x="99807" y="695713"/>
                      <a:pt x="90734" y="697986"/>
                      <a:pt x="86197" y="697986"/>
                    </a:cubicBezTo>
                    <a:cubicBezTo>
                      <a:pt x="88465" y="697986"/>
                      <a:pt x="97539" y="700260"/>
                      <a:pt x="99807" y="700260"/>
                    </a:cubicBezTo>
                    <a:cubicBezTo>
                      <a:pt x="97539" y="697986"/>
                      <a:pt x="97539" y="697986"/>
                      <a:pt x="97539" y="695713"/>
                    </a:cubicBezTo>
                    <a:cubicBezTo>
                      <a:pt x="99807" y="697986"/>
                      <a:pt x="99807" y="697986"/>
                      <a:pt x="102075" y="700260"/>
                    </a:cubicBezTo>
                    <a:cubicBezTo>
                      <a:pt x="102075" y="702533"/>
                      <a:pt x="99807" y="704807"/>
                      <a:pt x="102075" y="707080"/>
                    </a:cubicBezTo>
                    <a:cubicBezTo>
                      <a:pt x="104344" y="707080"/>
                      <a:pt x="106612" y="695713"/>
                      <a:pt x="106612" y="693439"/>
                    </a:cubicBezTo>
                    <a:cubicBezTo>
                      <a:pt x="104344" y="695713"/>
                      <a:pt x="104344" y="697986"/>
                      <a:pt x="102075" y="700260"/>
                    </a:cubicBezTo>
                    <a:cubicBezTo>
                      <a:pt x="104344" y="695713"/>
                      <a:pt x="97539" y="684345"/>
                      <a:pt x="106612" y="684345"/>
                    </a:cubicBezTo>
                    <a:cubicBezTo>
                      <a:pt x="104344" y="684345"/>
                      <a:pt x="102075" y="684345"/>
                      <a:pt x="99807" y="686618"/>
                    </a:cubicBezTo>
                    <a:cubicBezTo>
                      <a:pt x="99807" y="684345"/>
                      <a:pt x="97539" y="682071"/>
                      <a:pt x="97539" y="679798"/>
                    </a:cubicBezTo>
                    <a:lnTo>
                      <a:pt x="100941" y="676387"/>
                    </a:lnTo>
                    <a:lnTo>
                      <a:pt x="104344" y="677524"/>
                    </a:lnTo>
                    <a:lnTo>
                      <a:pt x="105478" y="677524"/>
                    </a:lnTo>
                    <a:lnTo>
                      <a:pt x="108880" y="679798"/>
                    </a:lnTo>
                    <a:cubicBezTo>
                      <a:pt x="111149" y="679798"/>
                      <a:pt x="111149" y="677524"/>
                      <a:pt x="108880" y="677524"/>
                    </a:cubicBezTo>
                    <a:lnTo>
                      <a:pt x="105478" y="677524"/>
                    </a:lnTo>
                    <a:lnTo>
                      <a:pt x="102075" y="675250"/>
                    </a:lnTo>
                    <a:lnTo>
                      <a:pt x="100941" y="676387"/>
                    </a:lnTo>
                    <a:lnTo>
                      <a:pt x="97539" y="675250"/>
                    </a:lnTo>
                    <a:cubicBezTo>
                      <a:pt x="102075" y="670703"/>
                      <a:pt x="90734" y="668430"/>
                      <a:pt x="99807" y="668430"/>
                    </a:cubicBezTo>
                    <a:cubicBezTo>
                      <a:pt x="104344" y="666156"/>
                      <a:pt x="108880" y="659335"/>
                      <a:pt x="104344" y="652515"/>
                    </a:cubicBezTo>
                    <a:cubicBezTo>
                      <a:pt x="102075" y="657062"/>
                      <a:pt x="90734" y="650241"/>
                      <a:pt x="90734" y="645694"/>
                    </a:cubicBezTo>
                    <a:cubicBezTo>
                      <a:pt x="90734" y="645694"/>
                      <a:pt x="90734" y="645694"/>
                      <a:pt x="93002" y="645694"/>
                    </a:cubicBezTo>
                    <a:cubicBezTo>
                      <a:pt x="88465" y="643420"/>
                      <a:pt x="95270" y="641147"/>
                      <a:pt x="93002" y="636600"/>
                    </a:cubicBezTo>
                    <a:cubicBezTo>
                      <a:pt x="93002" y="638873"/>
                      <a:pt x="90734" y="638873"/>
                      <a:pt x="90734" y="636600"/>
                    </a:cubicBezTo>
                    <a:cubicBezTo>
                      <a:pt x="90734" y="634326"/>
                      <a:pt x="88465" y="634326"/>
                      <a:pt x="86197" y="632053"/>
                    </a:cubicBezTo>
                    <a:cubicBezTo>
                      <a:pt x="86197" y="629779"/>
                      <a:pt x="86197" y="627505"/>
                      <a:pt x="88465" y="625232"/>
                    </a:cubicBezTo>
                    <a:cubicBezTo>
                      <a:pt x="88465" y="622958"/>
                      <a:pt x="86197" y="620685"/>
                      <a:pt x="88465" y="620685"/>
                    </a:cubicBezTo>
                    <a:cubicBezTo>
                      <a:pt x="88465" y="618411"/>
                      <a:pt x="88465" y="618411"/>
                      <a:pt x="86197" y="616138"/>
                    </a:cubicBezTo>
                    <a:cubicBezTo>
                      <a:pt x="86197" y="616138"/>
                      <a:pt x="86197" y="613864"/>
                      <a:pt x="83929" y="611590"/>
                    </a:cubicBezTo>
                    <a:cubicBezTo>
                      <a:pt x="81660" y="607043"/>
                      <a:pt x="86197" y="609317"/>
                      <a:pt x="88465" y="609317"/>
                    </a:cubicBezTo>
                    <a:cubicBezTo>
                      <a:pt x="86197" y="609317"/>
                      <a:pt x="81660" y="604770"/>
                      <a:pt x="81660" y="602496"/>
                    </a:cubicBezTo>
                    <a:cubicBezTo>
                      <a:pt x="86197" y="600223"/>
                      <a:pt x="88465" y="604770"/>
                      <a:pt x="90734" y="607043"/>
                    </a:cubicBezTo>
                    <a:cubicBezTo>
                      <a:pt x="90734" y="602496"/>
                      <a:pt x="86197" y="597949"/>
                      <a:pt x="86197" y="595675"/>
                    </a:cubicBezTo>
                    <a:cubicBezTo>
                      <a:pt x="81660" y="600223"/>
                      <a:pt x="74855" y="593402"/>
                      <a:pt x="79392" y="591128"/>
                    </a:cubicBezTo>
                    <a:cubicBezTo>
                      <a:pt x="83929" y="588855"/>
                      <a:pt x="88465" y="586581"/>
                      <a:pt x="83929" y="582034"/>
                    </a:cubicBezTo>
                    <a:cubicBezTo>
                      <a:pt x="86197" y="593402"/>
                      <a:pt x="77124" y="586581"/>
                      <a:pt x="72587" y="584308"/>
                    </a:cubicBezTo>
                    <a:cubicBezTo>
                      <a:pt x="68050" y="584308"/>
                      <a:pt x="70319" y="588855"/>
                      <a:pt x="68050" y="591128"/>
                    </a:cubicBezTo>
                    <a:cubicBezTo>
                      <a:pt x="65782" y="593402"/>
                      <a:pt x="54440" y="588855"/>
                      <a:pt x="61245" y="586581"/>
                    </a:cubicBezTo>
                    <a:cubicBezTo>
                      <a:pt x="49904" y="586581"/>
                      <a:pt x="47635" y="568393"/>
                      <a:pt x="47635" y="561572"/>
                    </a:cubicBezTo>
                    <a:cubicBezTo>
                      <a:pt x="45367" y="557025"/>
                      <a:pt x="43098" y="550204"/>
                      <a:pt x="45367" y="547930"/>
                    </a:cubicBezTo>
                    <a:cubicBezTo>
                      <a:pt x="47635" y="543383"/>
                      <a:pt x="49904" y="545657"/>
                      <a:pt x="49904" y="541110"/>
                    </a:cubicBezTo>
                    <a:cubicBezTo>
                      <a:pt x="47635" y="538836"/>
                      <a:pt x="49904" y="536563"/>
                      <a:pt x="49904" y="534289"/>
                    </a:cubicBezTo>
                    <a:cubicBezTo>
                      <a:pt x="47635" y="529742"/>
                      <a:pt x="45367" y="525195"/>
                      <a:pt x="43098" y="520648"/>
                    </a:cubicBezTo>
                    <a:cubicBezTo>
                      <a:pt x="40830" y="516100"/>
                      <a:pt x="36293" y="511553"/>
                      <a:pt x="34025" y="507006"/>
                    </a:cubicBezTo>
                    <a:cubicBezTo>
                      <a:pt x="34025" y="502459"/>
                      <a:pt x="34025" y="500185"/>
                      <a:pt x="31757" y="497912"/>
                    </a:cubicBezTo>
                    <a:cubicBezTo>
                      <a:pt x="29488" y="495638"/>
                      <a:pt x="27220" y="493365"/>
                      <a:pt x="27220" y="491091"/>
                    </a:cubicBezTo>
                    <a:cubicBezTo>
                      <a:pt x="24952" y="488818"/>
                      <a:pt x="27220" y="488818"/>
                      <a:pt x="27220" y="486544"/>
                    </a:cubicBezTo>
                    <a:cubicBezTo>
                      <a:pt x="24952" y="484270"/>
                      <a:pt x="22683" y="481997"/>
                      <a:pt x="24952" y="479723"/>
                    </a:cubicBezTo>
                    <a:cubicBezTo>
                      <a:pt x="27220" y="479723"/>
                      <a:pt x="29488" y="481997"/>
                      <a:pt x="31757" y="477450"/>
                    </a:cubicBezTo>
                    <a:cubicBezTo>
                      <a:pt x="34025" y="472903"/>
                      <a:pt x="29488" y="470629"/>
                      <a:pt x="29488" y="466082"/>
                    </a:cubicBezTo>
                    <a:cubicBezTo>
                      <a:pt x="29488" y="468355"/>
                      <a:pt x="31757" y="468355"/>
                      <a:pt x="34025" y="468355"/>
                    </a:cubicBezTo>
                    <a:cubicBezTo>
                      <a:pt x="34025" y="466082"/>
                      <a:pt x="31757" y="466082"/>
                      <a:pt x="31757" y="463808"/>
                    </a:cubicBezTo>
                    <a:cubicBezTo>
                      <a:pt x="31757" y="463808"/>
                      <a:pt x="34025" y="461535"/>
                      <a:pt x="34025" y="459261"/>
                    </a:cubicBezTo>
                    <a:cubicBezTo>
                      <a:pt x="34025" y="454714"/>
                      <a:pt x="31757" y="452441"/>
                      <a:pt x="34025" y="447893"/>
                    </a:cubicBezTo>
                    <a:cubicBezTo>
                      <a:pt x="36293" y="443346"/>
                      <a:pt x="31757" y="441073"/>
                      <a:pt x="34025" y="438799"/>
                    </a:cubicBezTo>
                    <a:cubicBezTo>
                      <a:pt x="34025" y="434252"/>
                      <a:pt x="36293" y="429705"/>
                      <a:pt x="36293" y="427431"/>
                    </a:cubicBezTo>
                    <a:cubicBezTo>
                      <a:pt x="38562" y="420611"/>
                      <a:pt x="34025" y="411516"/>
                      <a:pt x="36293" y="404696"/>
                    </a:cubicBezTo>
                    <a:cubicBezTo>
                      <a:pt x="36293" y="400148"/>
                      <a:pt x="38562" y="397875"/>
                      <a:pt x="38562" y="393328"/>
                    </a:cubicBezTo>
                    <a:cubicBezTo>
                      <a:pt x="38562" y="391054"/>
                      <a:pt x="36293" y="386507"/>
                      <a:pt x="36293" y="384233"/>
                    </a:cubicBezTo>
                    <a:cubicBezTo>
                      <a:pt x="34025" y="381960"/>
                      <a:pt x="36293" y="377413"/>
                      <a:pt x="36293" y="375139"/>
                    </a:cubicBezTo>
                    <a:cubicBezTo>
                      <a:pt x="38562" y="372866"/>
                      <a:pt x="36293" y="368318"/>
                      <a:pt x="36293" y="366045"/>
                    </a:cubicBezTo>
                    <a:cubicBezTo>
                      <a:pt x="36293" y="363771"/>
                      <a:pt x="36293" y="363771"/>
                      <a:pt x="36293" y="361498"/>
                    </a:cubicBezTo>
                    <a:cubicBezTo>
                      <a:pt x="34025" y="359224"/>
                      <a:pt x="31757" y="359224"/>
                      <a:pt x="31757" y="356951"/>
                    </a:cubicBezTo>
                    <a:cubicBezTo>
                      <a:pt x="29488" y="352403"/>
                      <a:pt x="29488" y="347856"/>
                      <a:pt x="27220" y="343309"/>
                    </a:cubicBezTo>
                    <a:cubicBezTo>
                      <a:pt x="24952" y="334215"/>
                      <a:pt x="20415" y="325121"/>
                      <a:pt x="20415" y="318300"/>
                    </a:cubicBezTo>
                    <a:cubicBezTo>
                      <a:pt x="18147" y="313753"/>
                      <a:pt x="20415" y="311479"/>
                      <a:pt x="22683" y="309206"/>
                    </a:cubicBezTo>
                    <a:cubicBezTo>
                      <a:pt x="24952" y="309206"/>
                      <a:pt x="22683" y="304658"/>
                      <a:pt x="24952" y="302385"/>
                    </a:cubicBezTo>
                    <a:cubicBezTo>
                      <a:pt x="24952" y="300111"/>
                      <a:pt x="20415" y="288743"/>
                      <a:pt x="18147" y="286470"/>
                    </a:cubicBezTo>
                    <a:cubicBezTo>
                      <a:pt x="15878" y="284196"/>
                      <a:pt x="13610" y="279649"/>
                      <a:pt x="15878" y="277376"/>
                    </a:cubicBezTo>
                    <a:cubicBezTo>
                      <a:pt x="18147" y="272828"/>
                      <a:pt x="18147" y="268281"/>
                      <a:pt x="20415" y="266008"/>
                    </a:cubicBezTo>
                    <a:cubicBezTo>
                      <a:pt x="20415" y="261461"/>
                      <a:pt x="18147" y="256913"/>
                      <a:pt x="18147" y="254640"/>
                    </a:cubicBezTo>
                    <a:cubicBezTo>
                      <a:pt x="18147" y="250093"/>
                      <a:pt x="22683" y="245546"/>
                      <a:pt x="20415" y="240998"/>
                    </a:cubicBezTo>
                    <a:cubicBezTo>
                      <a:pt x="18147" y="234178"/>
                      <a:pt x="20415" y="225083"/>
                      <a:pt x="20415" y="215989"/>
                    </a:cubicBezTo>
                    <a:cubicBezTo>
                      <a:pt x="20415" y="209168"/>
                      <a:pt x="18147" y="204621"/>
                      <a:pt x="18147" y="197801"/>
                    </a:cubicBezTo>
                    <a:cubicBezTo>
                      <a:pt x="18147" y="193253"/>
                      <a:pt x="22683" y="193253"/>
                      <a:pt x="20415" y="190980"/>
                    </a:cubicBezTo>
                    <a:cubicBezTo>
                      <a:pt x="20415" y="184159"/>
                      <a:pt x="18147" y="179612"/>
                      <a:pt x="15878" y="175065"/>
                    </a:cubicBezTo>
                    <a:cubicBezTo>
                      <a:pt x="15878" y="170518"/>
                      <a:pt x="15878" y="165971"/>
                      <a:pt x="15878" y="161423"/>
                    </a:cubicBezTo>
                    <a:cubicBezTo>
                      <a:pt x="15878" y="159150"/>
                      <a:pt x="13610" y="156876"/>
                      <a:pt x="15878" y="154603"/>
                    </a:cubicBezTo>
                    <a:cubicBezTo>
                      <a:pt x="15878" y="152329"/>
                      <a:pt x="15878" y="150056"/>
                      <a:pt x="15878" y="147782"/>
                    </a:cubicBezTo>
                    <a:cubicBezTo>
                      <a:pt x="15878" y="145508"/>
                      <a:pt x="11342" y="147782"/>
                      <a:pt x="11342" y="143235"/>
                    </a:cubicBezTo>
                    <a:cubicBezTo>
                      <a:pt x="11342" y="140961"/>
                      <a:pt x="11342" y="136414"/>
                      <a:pt x="11342" y="134141"/>
                    </a:cubicBezTo>
                    <a:cubicBezTo>
                      <a:pt x="15878" y="138688"/>
                      <a:pt x="15878" y="125046"/>
                      <a:pt x="15878" y="122773"/>
                    </a:cubicBezTo>
                    <a:cubicBezTo>
                      <a:pt x="15878" y="111405"/>
                      <a:pt x="18147" y="97763"/>
                      <a:pt x="13610" y="86396"/>
                    </a:cubicBezTo>
                    <a:cubicBezTo>
                      <a:pt x="9073" y="75028"/>
                      <a:pt x="11342" y="61386"/>
                      <a:pt x="6805" y="47745"/>
                    </a:cubicBezTo>
                    <a:cubicBezTo>
                      <a:pt x="6805" y="43198"/>
                      <a:pt x="4537" y="36377"/>
                      <a:pt x="2268" y="31830"/>
                    </a:cubicBezTo>
                    <a:cubicBezTo>
                      <a:pt x="2268" y="29556"/>
                      <a:pt x="4537" y="22736"/>
                      <a:pt x="0" y="20462"/>
                    </a:cubicBezTo>
                    <a:cubicBezTo>
                      <a:pt x="4537" y="18188"/>
                      <a:pt x="9073" y="20462"/>
                      <a:pt x="11342" y="13641"/>
                    </a:cubicBezTo>
                    <a:cubicBezTo>
                      <a:pt x="11342" y="11368"/>
                      <a:pt x="9073" y="6821"/>
                      <a:pt x="11342" y="4547"/>
                    </a:cubicBezTo>
                    <a:cubicBezTo>
                      <a:pt x="13610" y="4547"/>
                      <a:pt x="13610" y="4547"/>
                      <a:pt x="13610" y="4547"/>
                    </a:cubicBezTo>
                    <a:cubicBezTo>
                      <a:pt x="13610" y="4547"/>
                      <a:pt x="15878" y="0"/>
                      <a:pt x="15878" y="0"/>
                    </a:cubicBezTo>
                    <a:close/>
                  </a:path>
                </a:pathLst>
              </a:custGeom>
              <a:grpFill/>
              <a:ln w="3175">
                <a:solidFill>
                  <a:schemeClr val="accent2">
                    <a:lumMod val="75000"/>
                  </a:schemeClr>
                </a:solidFill>
              </a:ln>
            </p:spPr>
            <p:txBody>
              <a:bodyPr vert="horz" wrap="square" lIns="91273" tIns="45637" rIns="91273" bIns="4563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97" b="0" i="0" u="none" strike="noStrike" kern="1200" cap="none" spc="0" normalizeH="0" baseline="0" noProof="0" dirty="0">
                  <a:ln>
                    <a:noFill/>
                  </a:ln>
                  <a:solidFill>
                    <a:srgbClr val="000000"/>
                  </a:solidFill>
                  <a:effectLst/>
                  <a:uLnTx/>
                  <a:uFillTx/>
                  <a:latin typeface="Calibri"/>
                  <a:ea typeface="+mn-ea"/>
                  <a:cs typeface="+mn-cs"/>
                </a:endParaRPr>
              </a:p>
            </p:txBody>
          </p:sp>
          <p:sp>
            <p:nvSpPr>
              <p:cNvPr id="193" name="Canada">
                <a:extLst>
                  <a:ext uri="{FF2B5EF4-FFF2-40B4-BE49-F238E27FC236}">
                    <a16:creationId xmlns:a16="http://schemas.microsoft.com/office/drawing/2014/main" id="{1CE855FE-E85A-79F9-AE95-EC818C4AFD18}"/>
                  </a:ext>
                </a:extLst>
              </p:cNvPr>
              <p:cNvSpPr>
                <a:spLocks noEditPoints="1"/>
              </p:cNvSpPr>
              <p:nvPr/>
            </p:nvSpPr>
            <p:spPr bwMode="auto">
              <a:xfrm>
                <a:off x="1360725" y="1413204"/>
                <a:ext cx="1719703" cy="889781"/>
              </a:xfrm>
              <a:custGeom>
                <a:avLst/>
                <a:gdLst>
                  <a:gd name="T0" fmla="*/ 627 w 12756"/>
                  <a:gd name="T1" fmla="*/ 5206 h 6600"/>
                  <a:gd name="T2" fmla="*/ 8608 w 12756"/>
                  <a:gd name="T3" fmla="*/ 396 h 6600"/>
                  <a:gd name="T4" fmla="*/ 9728 w 12756"/>
                  <a:gd name="T5" fmla="*/ 304 h 6600"/>
                  <a:gd name="T6" fmla="*/ 5062 w 12756"/>
                  <a:gd name="T7" fmla="*/ 1114 h 6600"/>
                  <a:gd name="T8" fmla="*/ 5510 w 12756"/>
                  <a:gd name="T9" fmla="*/ 917 h 6600"/>
                  <a:gd name="T10" fmla="*/ 6788 w 12756"/>
                  <a:gd name="T11" fmla="*/ 1045 h 6600"/>
                  <a:gd name="T12" fmla="*/ 7635 w 12756"/>
                  <a:gd name="T13" fmla="*/ 1000 h 6600"/>
                  <a:gd name="T14" fmla="*/ 7533 w 12756"/>
                  <a:gd name="T15" fmla="*/ 657 h 6600"/>
                  <a:gd name="T16" fmla="*/ 8613 w 12756"/>
                  <a:gd name="T17" fmla="*/ 531 h 6600"/>
                  <a:gd name="T18" fmla="*/ 9403 w 12756"/>
                  <a:gd name="T19" fmla="*/ 946 h 6600"/>
                  <a:gd name="T20" fmla="*/ 8534 w 12756"/>
                  <a:gd name="T21" fmla="*/ 665 h 6600"/>
                  <a:gd name="T22" fmla="*/ 10634 w 12756"/>
                  <a:gd name="T23" fmla="*/ 498 h 6600"/>
                  <a:gd name="T24" fmla="*/ 9097 w 12756"/>
                  <a:gd name="T25" fmla="*/ 831 h 6600"/>
                  <a:gd name="T26" fmla="*/ 9991 w 12756"/>
                  <a:gd name="T27" fmla="*/ 395 h 6600"/>
                  <a:gd name="T28" fmla="*/ 10372 w 12756"/>
                  <a:gd name="T29" fmla="*/ 141 h 6600"/>
                  <a:gd name="T30" fmla="*/ 10791 w 12756"/>
                  <a:gd name="T31" fmla="*/ 507 h 6600"/>
                  <a:gd name="T32" fmla="*/ 9253 w 12756"/>
                  <a:gd name="T33" fmla="*/ 1870 h 6600"/>
                  <a:gd name="T34" fmla="*/ 10338 w 12756"/>
                  <a:gd name="T35" fmla="*/ 2834 h 6600"/>
                  <a:gd name="T36" fmla="*/ 7052 w 12756"/>
                  <a:gd name="T37" fmla="*/ 1809 h 6600"/>
                  <a:gd name="T38" fmla="*/ 7214 w 12756"/>
                  <a:gd name="T39" fmla="*/ 1575 h 6600"/>
                  <a:gd name="T40" fmla="*/ 7657 w 12756"/>
                  <a:gd name="T41" fmla="*/ 2877 h 6600"/>
                  <a:gd name="T42" fmla="*/ 10504 w 12756"/>
                  <a:gd name="T43" fmla="*/ 2030 h 6600"/>
                  <a:gd name="T44" fmla="*/ 10243 w 12756"/>
                  <a:gd name="T45" fmla="*/ 2403 h 6600"/>
                  <a:gd name="T46" fmla="*/ 10093 w 12756"/>
                  <a:gd name="T47" fmla="*/ 2913 h 6600"/>
                  <a:gd name="T48" fmla="*/ 9012 w 12756"/>
                  <a:gd name="T49" fmla="*/ 2658 h 6600"/>
                  <a:gd name="T50" fmla="*/ 9368 w 12756"/>
                  <a:gd name="T51" fmla="*/ 1730 h 6600"/>
                  <a:gd name="T52" fmla="*/ 8820 w 12756"/>
                  <a:gd name="T53" fmla="*/ 1333 h 6600"/>
                  <a:gd name="T54" fmla="*/ 9553 w 12756"/>
                  <a:gd name="T55" fmla="*/ 1484 h 6600"/>
                  <a:gd name="T56" fmla="*/ 10328 w 12756"/>
                  <a:gd name="T57" fmla="*/ 1672 h 6600"/>
                  <a:gd name="T58" fmla="*/ 10573 w 12756"/>
                  <a:gd name="T59" fmla="*/ 2133 h 6600"/>
                  <a:gd name="T60" fmla="*/ 9887 w 12756"/>
                  <a:gd name="T61" fmla="*/ 1506 h 6600"/>
                  <a:gd name="T62" fmla="*/ 2120 w 12756"/>
                  <a:gd name="T63" fmla="*/ 1848 h 6600"/>
                  <a:gd name="T64" fmla="*/ 8886 w 12756"/>
                  <a:gd name="T65" fmla="*/ 5822 h 6600"/>
                  <a:gd name="T66" fmla="*/ 8550 w 12756"/>
                  <a:gd name="T67" fmla="*/ 6026 h 6600"/>
                  <a:gd name="T68" fmla="*/ 6040 w 12756"/>
                  <a:gd name="T69" fmla="*/ 6425 h 6600"/>
                  <a:gd name="T70" fmla="*/ 5280 w 12756"/>
                  <a:gd name="T71" fmla="*/ 5486 h 6600"/>
                  <a:gd name="T72" fmla="*/ 604 w 12756"/>
                  <a:gd name="T73" fmla="*/ 5051 h 6600"/>
                  <a:gd name="T74" fmla="*/ 607 w 12756"/>
                  <a:gd name="T75" fmla="*/ 4500 h 6600"/>
                  <a:gd name="T76" fmla="*/ 561 w 12756"/>
                  <a:gd name="T77" fmla="*/ 2994 h 6600"/>
                  <a:gd name="T78" fmla="*/ 4051 w 12756"/>
                  <a:gd name="T79" fmla="*/ 1833 h 6600"/>
                  <a:gd name="T80" fmla="*/ 5841 w 12756"/>
                  <a:gd name="T81" fmla="*/ 2014 h 6600"/>
                  <a:gd name="T82" fmla="*/ 7070 w 12756"/>
                  <a:gd name="T83" fmla="*/ 2097 h 6600"/>
                  <a:gd name="T84" fmla="*/ 7912 w 12756"/>
                  <a:gd name="T85" fmla="*/ 1435 h 6600"/>
                  <a:gd name="T86" fmla="*/ 8453 w 12756"/>
                  <a:gd name="T87" fmla="*/ 1924 h 6600"/>
                  <a:gd name="T88" fmla="*/ 7472 w 12756"/>
                  <a:gd name="T89" fmla="*/ 2699 h 6600"/>
                  <a:gd name="T90" fmla="*/ 6098 w 12756"/>
                  <a:gd name="T91" fmla="*/ 3621 h 6600"/>
                  <a:gd name="T92" fmla="*/ 7447 w 12756"/>
                  <a:gd name="T93" fmla="*/ 4497 h 6600"/>
                  <a:gd name="T94" fmla="*/ 9438 w 12756"/>
                  <a:gd name="T95" fmla="*/ 3275 h 6600"/>
                  <a:gd name="T96" fmla="*/ 10047 w 12756"/>
                  <a:gd name="T97" fmla="*/ 3499 h 6600"/>
                  <a:gd name="T98" fmla="*/ 10300 w 12756"/>
                  <a:gd name="T99" fmla="*/ 4278 h 6600"/>
                  <a:gd name="T100" fmla="*/ 10184 w 12756"/>
                  <a:gd name="T101" fmla="*/ 4306 h 6600"/>
                  <a:gd name="T102" fmla="*/ 2534 w 12756"/>
                  <a:gd name="T103" fmla="*/ 1977 h 6600"/>
                  <a:gd name="T104" fmla="*/ 5834 w 12756"/>
                  <a:gd name="T105" fmla="*/ 1455 h 6600"/>
                  <a:gd name="T106" fmla="*/ 5044 w 12756"/>
                  <a:gd name="T107" fmla="*/ 2031 h 6600"/>
                  <a:gd name="T108" fmla="*/ 10084 w 12756"/>
                  <a:gd name="T109" fmla="*/ 4006 h 6600"/>
                  <a:gd name="T110" fmla="*/ 9538 w 12756"/>
                  <a:gd name="T111" fmla="*/ 5835 h 6600"/>
                  <a:gd name="T112" fmla="*/ 10425 w 12756"/>
                  <a:gd name="T113" fmla="*/ 5594 h 6600"/>
                  <a:gd name="T114" fmla="*/ 10402 w 12756"/>
                  <a:gd name="T115" fmla="*/ 5002 h 6600"/>
                  <a:gd name="T116" fmla="*/ 478 w 12756"/>
                  <a:gd name="T117" fmla="*/ 4782 h 6600"/>
                  <a:gd name="T118" fmla="*/ 66 w 12756"/>
                  <a:gd name="T119" fmla="*/ 4750 h 6600"/>
                  <a:gd name="T120" fmla="*/ 405 w 12756"/>
                  <a:gd name="T121" fmla="*/ 3875 h 6600"/>
                  <a:gd name="T122" fmla="*/ 365 w 12756"/>
                  <a:gd name="T123" fmla="*/ 3868 h 6600"/>
                  <a:gd name="T124" fmla="*/ 238 w 12756"/>
                  <a:gd name="T125" fmla="*/ 4319 h 6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756" h="6600">
                    <a:moveTo>
                      <a:pt x="438" y="4359"/>
                    </a:moveTo>
                    <a:lnTo>
                      <a:pt x="439" y="4357"/>
                    </a:lnTo>
                    <a:lnTo>
                      <a:pt x="432" y="4367"/>
                    </a:lnTo>
                    <a:lnTo>
                      <a:pt x="438" y="4359"/>
                    </a:lnTo>
                    <a:close/>
                    <a:moveTo>
                      <a:pt x="466" y="4333"/>
                    </a:moveTo>
                    <a:lnTo>
                      <a:pt x="459" y="4337"/>
                    </a:lnTo>
                    <a:lnTo>
                      <a:pt x="454" y="4340"/>
                    </a:lnTo>
                    <a:lnTo>
                      <a:pt x="448" y="4346"/>
                    </a:lnTo>
                    <a:lnTo>
                      <a:pt x="443" y="4353"/>
                    </a:lnTo>
                    <a:lnTo>
                      <a:pt x="439" y="4357"/>
                    </a:lnTo>
                    <a:lnTo>
                      <a:pt x="443" y="4355"/>
                    </a:lnTo>
                    <a:lnTo>
                      <a:pt x="448" y="4352"/>
                    </a:lnTo>
                    <a:lnTo>
                      <a:pt x="454" y="4348"/>
                    </a:lnTo>
                    <a:lnTo>
                      <a:pt x="459" y="4344"/>
                    </a:lnTo>
                    <a:lnTo>
                      <a:pt x="466" y="4340"/>
                    </a:lnTo>
                    <a:lnTo>
                      <a:pt x="471" y="4337"/>
                    </a:lnTo>
                    <a:lnTo>
                      <a:pt x="478" y="4331"/>
                    </a:lnTo>
                    <a:lnTo>
                      <a:pt x="471" y="4331"/>
                    </a:lnTo>
                    <a:lnTo>
                      <a:pt x="466" y="4333"/>
                    </a:lnTo>
                    <a:close/>
                    <a:moveTo>
                      <a:pt x="483" y="4591"/>
                    </a:moveTo>
                    <a:lnTo>
                      <a:pt x="484" y="4589"/>
                    </a:lnTo>
                    <a:lnTo>
                      <a:pt x="484" y="4589"/>
                    </a:lnTo>
                    <a:lnTo>
                      <a:pt x="484" y="4589"/>
                    </a:lnTo>
                    <a:lnTo>
                      <a:pt x="484" y="4589"/>
                    </a:lnTo>
                    <a:lnTo>
                      <a:pt x="482" y="4587"/>
                    </a:lnTo>
                    <a:lnTo>
                      <a:pt x="483" y="4591"/>
                    </a:lnTo>
                    <a:lnTo>
                      <a:pt x="483" y="4591"/>
                    </a:lnTo>
                    <a:lnTo>
                      <a:pt x="483" y="4591"/>
                    </a:lnTo>
                    <a:close/>
                    <a:moveTo>
                      <a:pt x="519" y="4554"/>
                    </a:moveTo>
                    <a:lnTo>
                      <a:pt x="528" y="4553"/>
                    </a:lnTo>
                    <a:lnTo>
                      <a:pt x="535" y="4551"/>
                    </a:lnTo>
                    <a:lnTo>
                      <a:pt x="539" y="4549"/>
                    </a:lnTo>
                    <a:lnTo>
                      <a:pt x="540" y="4548"/>
                    </a:lnTo>
                    <a:lnTo>
                      <a:pt x="545" y="4543"/>
                    </a:lnTo>
                    <a:lnTo>
                      <a:pt x="546" y="4540"/>
                    </a:lnTo>
                    <a:lnTo>
                      <a:pt x="546" y="4536"/>
                    </a:lnTo>
                    <a:lnTo>
                      <a:pt x="548" y="4531"/>
                    </a:lnTo>
                    <a:lnTo>
                      <a:pt x="548" y="4525"/>
                    </a:lnTo>
                    <a:lnTo>
                      <a:pt x="550" y="4520"/>
                    </a:lnTo>
                    <a:lnTo>
                      <a:pt x="543" y="4525"/>
                    </a:lnTo>
                    <a:lnTo>
                      <a:pt x="535" y="4528"/>
                    </a:lnTo>
                    <a:lnTo>
                      <a:pt x="528" y="4534"/>
                    </a:lnTo>
                    <a:lnTo>
                      <a:pt x="522" y="4538"/>
                    </a:lnTo>
                    <a:lnTo>
                      <a:pt x="515" y="4540"/>
                    </a:lnTo>
                    <a:lnTo>
                      <a:pt x="507" y="4546"/>
                    </a:lnTo>
                    <a:lnTo>
                      <a:pt x="500" y="4549"/>
                    </a:lnTo>
                    <a:lnTo>
                      <a:pt x="494" y="4556"/>
                    </a:lnTo>
                    <a:lnTo>
                      <a:pt x="507" y="4554"/>
                    </a:lnTo>
                    <a:lnTo>
                      <a:pt x="519" y="4554"/>
                    </a:lnTo>
                    <a:close/>
                    <a:moveTo>
                      <a:pt x="560" y="5070"/>
                    </a:moveTo>
                    <a:lnTo>
                      <a:pt x="563" y="5070"/>
                    </a:lnTo>
                    <a:lnTo>
                      <a:pt x="566" y="5070"/>
                    </a:lnTo>
                    <a:lnTo>
                      <a:pt x="570" y="5070"/>
                    </a:lnTo>
                    <a:lnTo>
                      <a:pt x="574" y="5070"/>
                    </a:lnTo>
                    <a:lnTo>
                      <a:pt x="578" y="5070"/>
                    </a:lnTo>
                    <a:lnTo>
                      <a:pt x="583" y="5070"/>
                    </a:lnTo>
                    <a:lnTo>
                      <a:pt x="581" y="5071"/>
                    </a:lnTo>
                    <a:lnTo>
                      <a:pt x="579" y="5073"/>
                    </a:lnTo>
                    <a:lnTo>
                      <a:pt x="578" y="5078"/>
                    </a:lnTo>
                    <a:lnTo>
                      <a:pt x="573" y="5081"/>
                    </a:lnTo>
                    <a:lnTo>
                      <a:pt x="567" y="5087"/>
                    </a:lnTo>
                    <a:lnTo>
                      <a:pt x="573" y="5088"/>
                    </a:lnTo>
                    <a:lnTo>
                      <a:pt x="578" y="5088"/>
                    </a:lnTo>
                    <a:lnTo>
                      <a:pt x="579" y="5091"/>
                    </a:lnTo>
                    <a:lnTo>
                      <a:pt x="581" y="5091"/>
                    </a:lnTo>
                    <a:lnTo>
                      <a:pt x="579" y="5097"/>
                    </a:lnTo>
                    <a:lnTo>
                      <a:pt x="578" y="5104"/>
                    </a:lnTo>
                    <a:lnTo>
                      <a:pt x="576" y="5114"/>
                    </a:lnTo>
                    <a:lnTo>
                      <a:pt x="573" y="5124"/>
                    </a:lnTo>
                    <a:lnTo>
                      <a:pt x="570" y="5132"/>
                    </a:lnTo>
                    <a:lnTo>
                      <a:pt x="566" y="5142"/>
                    </a:lnTo>
                    <a:lnTo>
                      <a:pt x="565" y="5150"/>
                    </a:lnTo>
                    <a:lnTo>
                      <a:pt x="565" y="5158"/>
                    </a:lnTo>
                    <a:lnTo>
                      <a:pt x="565" y="5164"/>
                    </a:lnTo>
                    <a:lnTo>
                      <a:pt x="566" y="5171"/>
                    </a:lnTo>
                    <a:lnTo>
                      <a:pt x="570" y="5177"/>
                    </a:lnTo>
                    <a:lnTo>
                      <a:pt x="573" y="5185"/>
                    </a:lnTo>
                    <a:lnTo>
                      <a:pt x="576" y="5190"/>
                    </a:lnTo>
                    <a:lnTo>
                      <a:pt x="578" y="5198"/>
                    </a:lnTo>
                    <a:lnTo>
                      <a:pt x="579" y="5203"/>
                    </a:lnTo>
                    <a:lnTo>
                      <a:pt x="581" y="5210"/>
                    </a:lnTo>
                    <a:lnTo>
                      <a:pt x="578" y="5214"/>
                    </a:lnTo>
                    <a:lnTo>
                      <a:pt x="576" y="5218"/>
                    </a:lnTo>
                    <a:lnTo>
                      <a:pt x="573" y="5226"/>
                    </a:lnTo>
                    <a:lnTo>
                      <a:pt x="570" y="5232"/>
                    </a:lnTo>
                    <a:lnTo>
                      <a:pt x="570" y="5239"/>
                    </a:lnTo>
                    <a:lnTo>
                      <a:pt x="570" y="5244"/>
                    </a:lnTo>
                    <a:lnTo>
                      <a:pt x="573" y="5249"/>
                    </a:lnTo>
                    <a:lnTo>
                      <a:pt x="576" y="5252"/>
                    </a:lnTo>
                    <a:lnTo>
                      <a:pt x="579" y="5256"/>
                    </a:lnTo>
                    <a:lnTo>
                      <a:pt x="583" y="5259"/>
                    </a:lnTo>
                    <a:lnTo>
                      <a:pt x="589" y="5262"/>
                    </a:lnTo>
                    <a:lnTo>
                      <a:pt x="598" y="5267"/>
                    </a:lnTo>
                    <a:lnTo>
                      <a:pt x="607" y="5271"/>
                    </a:lnTo>
                    <a:lnTo>
                      <a:pt x="613" y="5275"/>
                    </a:lnTo>
                    <a:lnTo>
                      <a:pt x="616" y="5277"/>
                    </a:lnTo>
                    <a:lnTo>
                      <a:pt x="619" y="5278"/>
                    </a:lnTo>
                    <a:lnTo>
                      <a:pt x="624" y="5278"/>
                    </a:lnTo>
                    <a:lnTo>
                      <a:pt x="627" y="5280"/>
                    </a:lnTo>
                    <a:lnTo>
                      <a:pt x="634" y="5282"/>
                    </a:lnTo>
                    <a:lnTo>
                      <a:pt x="637" y="5285"/>
                    </a:lnTo>
                    <a:lnTo>
                      <a:pt x="642" y="5290"/>
                    </a:lnTo>
                    <a:lnTo>
                      <a:pt x="646" y="5293"/>
                    </a:lnTo>
                    <a:lnTo>
                      <a:pt x="650" y="5297"/>
                    </a:lnTo>
                    <a:lnTo>
                      <a:pt x="653" y="5300"/>
                    </a:lnTo>
                    <a:lnTo>
                      <a:pt x="653" y="5305"/>
                    </a:lnTo>
                    <a:lnTo>
                      <a:pt x="655" y="5310"/>
                    </a:lnTo>
                    <a:lnTo>
                      <a:pt x="653" y="5313"/>
                    </a:lnTo>
                    <a:lnTo>
                      <a:pt x="652" y="5317"/>
                    </a:lnTo>
                    <a:lnTo>
                      <a:pt x="650" y="5319"/>
                    </a:lnTo>
                    <a:lnTo>
                      <a:pt x="647" y="5321"/>
                    </a:lnTo>
                    <a:lnTo>
                      <a:pt x="644" y="5323"/>
                    </a:lnTo>
                    <a:lnTo>
                      <a:pt x="640" y="5325"/>
                    </a:lnTo>
                    <a:lnTo>
                      <a:pt x="637" y="5326"/>
                    </a:lnTo>
                    <a:lnTo>
                      <a:pt x="634" y="5328"/>
                    </a:lnTo>
                    <a:lnTo>
                      <a:pt x="639" y="5332"/>
                    </a:lnTo>
                    <a:lnTo>
                      <a:pt x="642" y="5336"/>
                    </a:lnTo>
                    <a:lnTo>
                      <a:pt x="646" y="5341"/>
                    </a:lnTo>
                    <a:lnTo>
                      <a:pt x="647" y="5346"/>
                    </a:lnTo>
                    <a:lnTo>
                      <a:pt x="647" y="5352"/>
                    </a:lnTo>
                    <a:lnTo>
                      <a:pt x="647" y="5358"/>
                    </a:lnTo>
                    <a:lnTo>
                      <a:pt x="646" y="5366"/>
                    </a:lnTo>
                    <a:lnTo>
                      <a:pt x="646" y="5371"/>
                    </a:lnTo>
                    <a:lnTo>
                      <a:pt x="642" y="5384"/>
                    </a:lnTo>
                    <a:lnTo>
                      <a:pt x="637" y="5395"/>
                    </a:lnTo>
                    <a:lnTo>
                      <a:pt x="635" y="5400"/>
                    </a:lnTo>
                    <a:lnTo>
                      <a:pt x="635" y="5404"/>
                    </a:lnTo>
                    <a:lnTo>
                      <a:pt x="639" y="5400"/>
                    </a:lnTo>
                    <a:lnTo>
                      <a:pt x="640" y="5399"/>
                    </a:lnTo>
                    <a:lnTo>
                      <a:pt x="644" y="5397"/>
                    </a:lnTo>
                    <a:lnTo>
                      <a:pt x="647" y="5397"/>
                    </a:lnTo>
                    <a:lnTo>
                      <a:pt x="650" y="5397"/>
                    </a:lnTo>
                    <a:lnTo>
                      <a:pt x="650" y="5399"/>
                    </a:lnTo>
                    <a:lnTo>
                      <a:pt x="650" y="5400"/>
                    </a:lnTo>
                    <a:lnTo>
                      <a:pt x="650" y="5402"/>
                    </a:lnTo>
                    <a:lnTo>
                      <a:pt x="650" y="5407"/>
                    </a:lnTo>
                    <a:lnTo>
                      <a:pt x="647" y="5413"/>
                    </a:lnTo>
                    <a:lnTo>
                      <a:pt x="646" y="5420"/>
                    </a:lnTo>
                    <a:lnTo>
                      <a:pt x="642" y="5426"/>
                    </a:lnTo>
                    <a:lnTo>
                      <a:pt x="640" y="5428"/>
                    </a:lnTo>
                    <a:lnTo>
                      <a:pt x="639" y="5430"/>
                    </a:lnTo>
                    <a:lnTo>
                      <a:pt x="635" y="5430"/>
                    </a:lnTo>
                    <a:lnTo>
                      <a:pt x="634" y="5430"/>
                    </a:lnTo>
                    <a:lnTo>
                      <a:pt x="626" y="5432"/>
                    </a:lnTo>
                    <a:lnTo>
                      <a:pt x="620" y="5433"/>
                    </a:lnTo>
                    <a:lnTo>
                      <a:pt x="613" y="5435"/>
                    </a:lnTo>
                    <a:lnTo>
                      <a:pt x="607" y="5440"/>
                    </a:lnTo>
                    <a:lnTo>
                      <a:pt x="599" y="5443"/>
                    </a:lnTo>
                    <a:lnTo>
                      <a:pt x="594" y="5445"/>
                    </a:lnTo>
                    <a:lnTo>
                      <a:pt x="586" y="5446"/>
                    </a:lnTo>
                    <a:lnTo>
                      <a:pt x="581" y="5448"/>
                    </a:lnTo>
                    <a:lnTo>
                      <a:pt x="578" y="5446"/>
                    </a:lnTo>
                    <a:lnTo>
                      <a:pt x="573" y="5445"/>
                    </a:lnTo>
                    <a:lnTo>
                      <a:pt x="566" y="5443"/>
                    </a:lnTo>
                    <a:lnTo>
                      <a:pt x="561" y="5440"/>
                    </a:lnTo>
                    <a:lnTo>
                      <a:pt x="553" y="5435"/>
                    </a:lnTo>
                    <a:lnTo>
                      <a:pt x="546" y="5432"/>
                    </a:lnTo>
                    <a:lnTo>
                      <a:pt x="532" y="5425"/>
                    </a:lnTo>
                    <a:lnTo>
                      <a:pt x="524" y="5420"/>
                    </a:lnTo>
                    <a:lnTo>
                      <a:pt x="519" y="5417"/>
                    </a:lnTo>
                    <a:lnTo>
                      <a:pt x="512" y="5413"/>
                    </a:lnTo>
                    <a:lnTo>
                      <a:pt x="506" y="5412"/>
                    </a:lnTo>
                    <a:lnTo>
                      <a:pt x="502" y="5410"/>
                    </a:lnTo>
                    <a:lnTo>
                      <a:pt x="499" y="5410"/>
                    </a:lnTo>
                    <a:lnTo>
                      <a:pt x="497" y="5412"/>
                    </a:lnTo>
                    <a:lnTo>
                      <a:pt x="497" y="5413"/>
                    </a:lnTo>
                    <a:lnTo>
                      <a:pt x="489" y="5413"/>
                    </a:lnTo>
                    <a:lnTo>
                      <a:pt x="479" y="5412"/>
                    </a:lnTo>
                    <a:lnTo>
                      <a:pt x="472" y="5407"/>
                    </a:lnTo>
                    <a:lnTo>
                      <a:pt x="463" y="5402"/>
                    </a:lnTo>
                    <a:lnTo>
                      <a:pt x="456" y="5399"/>
                    </a:lnTo>
                    <a:lnTo>
                      <a:pt x="453" y="5395"/>
                    </a:lnTo>
                    <a:lnTo>
                      <a:pt x="451" y="5391"/>
                    </a:lnTo>
                    <a:lnTo>
                      <a:pt x="448" y="5389"/>
                    </a:lnTo>
                    <a:lnTo>
                      <a:pt x="446" y="5386"/>
                    </a:lnTo>
                    <a:lnTo>
                      <a:pt x="445" y="5382"/>
                    </a:lnTo>
                    <a:lnTo>
                      <a:pt x="445" y="5380"/>
                    </a:lnTo>
                    <a:lnTo>
                      <a:pt x="439" y="5374"/>
                    </a:lnTo>
                    <a:lnTo>
                      <a:pt x="433" y="5369"/>
                    </a:lnTo>
                    <a:lnTo>
                      <a:pt x="432" y="5366"/>
                    </a:lnTo>
                    <a:lnTo>
                      <a:pt x="432" y="5364"/>
                    </a:lnTo>
                    <a:lnTo>
                      <a:pt x="432" y="5359"/>
                    </a:lnTo>
                    <a:lnTo>
                      <a:pt x="433" y="5356"/>
                    </a:lnTo>
                    <a:lnTo>
                      <a:pt x="439" y="5351"/>
                    </a:lnTo>
                    <a:lnTo>
                      <a:pt x="445" y="5345"/>
                    </a:lnTo>
                    <a:lnTo>
                      <a:pt x="458" y="5339"/>
                    </a:lnTo>
                    <a:lnTo>
                      <a:pt x="471" y="5334"/>
                    </a:lnTo>
                    <a:lnTo>
                      <a:pt x="482" y="5330"/>
                    </a:lnTo>
                    <a:lnTo>
                      <a:pt x="486" y="5328"/>
                    </a:lnTo>
                    <a:lnTo>
                      <a:pt x="478" y="5328"/>
                    </a:lnTo>
                    <a:lnTo>
                      <a:pt x="474" y="5328"/>
                    </a:lnTo>
                    <a:lnTo>
                      <a:pt x="471" y="5328"/>
                    </a:lnTo>
                    <a:lnTo>
                      <a:pt x="466" y="5330"/>
                    </a:lnTo>
                    <a:lnTo>
                      <a:pt x="459" y="5330"/>
                    </a:lnTo>
                    <a:lnTo>
                      <a:pt x="446" y="5332"/>
                    </a:lnTo>
                    <a:lnTo>
                      <a:pt x="441" y="5334"/>
                    </a:lnTo>
                    <a:lnTo>
                      <a:pt x="436" y="5334"/>
                    </a:lnTo>
                    <a:lnTo>
                      <a:pt x="432" y="5336"/>
                    </a:lnTo>
                    <a:lnTo>
                      <a:pt x="428" y="5336"/>
                    </a:lnTo>
                    <a:lnTo>
                      <a:pt x="426" y="5336"/>
                    </a:lnTo>
                    <a:lnTo>
                      <a:pt x="426" y="5334"/>
                    </a:lnTo>
                    <a:lnTo>
                      <a:pt x="428" y="5334"/>
                    </a:lnTo>
                    <a:lnTo>
                      <a:pt x="430" y="5334"/>
                    </a:lnTo>
                    <a:lnTo>
                      <a:pt x="433" y="5332"/>
                    </a:lnTo>
                    <a:lnTo>
                      <a:pt x="436" y="5332"/>
                    </a:lnTo>
                    <a:lnTo>
                      <a:pt x="439" y="5330"/>
                    </a:lnTo>
                    <a:lnTo>
                      <a:pt x="445" y="5328"/>
                    </a:lnTo>
                    <a:lnTo>
                      <a:pt x="436" y="5328"/>
                    </a:lnTo>
                    <a:lnTo>
                      <a:pt x="428" y="5328"/>
                    </a:lnTo>
                    <a:lnTo>
                      <a:pt x="421" y="5330"/>
                    </a:lnTo>
                    <a:lnTo>
                      <a:pt x="413" y="5330"/>
                    </a:lnTo>
                    <a:lnTo>
                      <a:pt x="408" y="5332"/>
                    </a:lnTo>
                    <a:lnTo>
                      <a:pt x="405" y="5332"/>
                    </a:lnTo>
                    <a:lnTo>
                      <a:pt x="395" y="5332"/>
                    </a:lnTo>
                    <a:lnTo>
                      <a:pt x="392" y="5332"/>
                    </a:lnTo>
                    <a:lnTo>
                      <a:pt x="387" y="5332"/>
                    </a:lnTo>
                    <a:lnTo>
                      <a:pt x="384" y="5330"/>
                    </a:lnTo>
                    <a:lnTo>
                      <a:pt x="380" y="5328"/>
                    </a:lnTo>
                    <a:lnTo>
                      <a:pt x="375" y="5325"/>
                    </a:lnTo>
                    <a:lnTo>
                      <a:pt x="371" y="5321"/>
                    </a:lnTo>
                    <a:lnTo>
                      <a:pt x="365" y="5317"/>
                    </a:lnTo>
                    <a:lnTo>
                      <a:pt x="359" y="5312"/>
                    </a:lnTo>
                    <a:lnTo>
                      <a:pt x="365" y="5310"/>
                    </a:lnTo>
                    <a:lnTo>
                      <a:pt x="371" y="5308"/>
                    </a:lnTo>
                    <a:lnTo>
                      <a:pt x="379" y="5306"/>
                    </a:lnTo>
                    <a:lnTo>
                      <a:pt x="384" y="5302"/>
                    </a:lnTo>
                    <a:lnTo>
                      <a:pt x="392" y="5298"/>
                    </a:lnTo>
                    <a:lnTo>
                      <a:pt x="397" y="5297"/>
                    </a:lnTo>
                    <a:lnTo>
                      <a:pt x="405" y="5295"/>
                    </a:lnTo>
                    <a:lnTo>
                      <a:pt x="410" y="5295"/>
                    </a:lnTo>
                    <a:lnTo>
                      <a:pt x="405" y="5293"/>
                    </a:lnTo>
                    <a:lnTo>
                      <a:pt x="400" y="5292"/>
                    </a:lnTo>
                    <a:lnTo>
                      <a:pt x="397" y="5290"/>
                    </a:lnTo>
                    <a:lnTo>
                      <a:pt x="395" y="5285"/>
                    </a:lnTo>
                    <a:lnTo>
                      <a:pt x="393" y="5282"/>
                    </a:lnTo>
                    <a:lnTo>
                      <a:pt x="393" y="5280"/>
                    </a:lnTo>
                    <a:lnTo>
                      <a:pt x="393" y="5278"/>
                    </a:lnTo>
                    <a:lnTo>
                      <a:pt x="393" y="5277"/>
                    </a:lnTo>
                    <a:lnTo>
                      <a:pt x="392" y="5277"/>
                    </a:lnTo>
                    <a:lnTo>
                      <a:pt x="390" y="5277"/>
                    </a:lnTo>
                    <a:lnTo>
                      <a:pt x="387" y="5277"/>
                    </a:lnTo>
                    <a:lnTo>
                      <a:pt x="384" y="5277"/>
                    </a:lnTo>
                    <a:lnTo>
                      <a:pt x="382" y="5277"/>
                    </a:lnTo>
                    <a:lnTo>
                      <a:pt x="379" y="5277"/>
                    </a:lnTo>
                    <a:lnTo>
                      <a:pt x="377" y="5277"/>
                    </a:lnTo>
                    <a:lnTo>
                      <a:pt x="379" y="5275"/>
                    </a:lnTo>
                    <a:lnTo>
                      <a:pt x="382" y="5271"/>
                    </a:lnTo>
                    <a:lnTo>
                      <a:pt x="384" y="5267"/>
                    </a:lnTo>
                    <a:lnTo>
                      <a:pt x="387" y="5262"/>
                    </a:lnTo>
                    <a:lnTo>
                      <a:pt x="390" y="5256"/>
                    </a:lnTo>
                    <a:lnTo>
                      <a:pt x="392" y="5249"/>
                    </a:lnTo>
                    <a:lnTo>
                      <a:pt x="390" y="5252"/>
                    </a:lnTo>
                    <a:lnTo>
                      <a:pt x="387" y="5256"/>
                    </a:lnTo>
                    <a:lnTo>
                      <a:pt x="384" y="5259"/>
                    </a:lnTo>
                    <a:lnTo>
                      <a:pt x="382" y="5260"/>
                    </a:lnTo>
                    <a:lnTo>
                      <a:pt x="379" y="5260"/>
                    </a:lnTo>
                    <a:lnTo>
                      <a:pt x="377" y="5260"/>
                    </a:lnTo>
                    <a:lnTo>
                      <a:pt x="377" y="5259"/>
                    </a:lnTo>
                    <a:lnTo>
                      <a:pt x="377" y="5256"/>
                    </a:lnTo>
                    <a:lnTo>
                      <a:pt x="377" y="5252"/>
                    </a:lnTo>
                    <a:lnTo>
                      <a:pt x="377" y="5249"/>
                    </a:lnTo>
                    <a:lnTo>
                      <a:pt x="377" y="5244"/>
                    </a:lnTo>
                    <a:lnTo>
                      <a:pt x="369" y="5249"/>
                    </a:lnTo>
                    <a:lnTo>
                      <a:pt x="360" y="5252"/>
                    </a:lnTo>
                    <a:lnTo>
                      <a:pt x="351" y="5256"/>
                    </a:lnTo>
                    <a:lnTo>
                      <a:pt x="341" y="5259"/>
                    </a:lnTo>
                    <a:lnTo>
                      <a:pt x="332" y="5260"/>
                    </a:lnTo>
                    <a:lnTo>
                      <a:pt x="323" y="5260"/>
                    </a:lnTo>
                    <a:lnTo>
                      <a:pt x="314" y="5260"/>
                    </a:lnTo>
                    <a:lnTo>
                      <a:pt x="308" y="5260"/>
                    </a:lnTo>
                    <a:lnTo>
                      <a:pt x="310" y="5251"/>
                    </a:lnTo>
                    <a:lnTo>
                      <a:pt x="314" y="5244"/>
                    </a:lnTo>
                    <a:lnTo>
                      <a:pt x="319" y="5238"/>
                    </a:lnTo>
                    <a:lnTo>
                      <a:pt x="323" y="5232"/>
                    </a:lnTo>
                    <a:lnTo>
                      <a:pt x="329" y="5229"/>
                    </a:lnTo>
                    <a:lnTo>
                      <a:pt x="332" y="5226"/>
                    </a:lnTo>
                    <a:lnTo>
                      <a:pt x="338" y="5223"/>
                    </a:lnTo>
                    <a:lnTo>
                      <a:pt x="344" y="5221"/>
                    </a:lnTo>
                    <a:lnTo>
                      <a:pt x="356" y="5219"/>
                    </a:lnTo>
                    <a:lnTo>
                      <a:pt x="367" y="5218"/>
                    </a:lnTo>
                    <a:lnTo>
                      <a:pt x="375" y="5216"/>
                    </a:lnTo>
                    <a:lnTo>
                      <a:pt x="380" y="5214"/>
                    </a:lnTo>
                    <a:lnTo>
                      <a:pt x="385" y="5211"/>
                    </a:lnTo>
                    <a:lnTo>
                      <a:pt x="393" y="5210"/>
                    </a:lnTo>
                    <a:lnTo>
                      <a:pt x="385" y="5208"/>
                    </a:lnTo>
                    <a:lnTo>
                      <a:pt x="380" y="5206"/>
                    </a:lnTo>
                    <a:lnTo>
                      <a:pt x="372" y="5205"/>
                    </a:lnTo>
                    <a:lnTo>
                      <a:pt x="367" y="5203"/>
                    </a:lnTo>
                    <a:lnTo>
                      <a:pt x="362" y="5201"/>
                    </a:lnTo>
                    <a:lnTo>
                      <a:pt x="359" y="5201"/>
                    </a:lnTo>
                    <a:lnTo>
                      <a:pt x="354" y="5203"/>
                    </a:lnTo>
                    <a:lnTo>
                      <a:pt x="351" y="5203"/>
                    </a:lnTo>
                    <a:lnTo>
                      <a:pt x="349" y="5205"/>
                    </a:lnTo>
                    <a:lnTo>
                      <a:pt x="345" y="5206"/>
                    </a:lnTo>
                    <a:lnTo>
                      <a:pt x="341" y="5210"/>
                    </a:lnTo>
                    <a:lnTo>
                      <a:pt x="341" y="5198"/>
                    </a:lnTo>
                    <a:lnTo>
                      <a:pt x="344" y="5191"/>
                    </a:lnTo>
                    <a:lnTo>
                      <a:pt x="344" y="5186"/>
                    </a:lnTo>
                    <a:lnTo>
                      <a:pt x="345" y="5180"/>
                    </a:lnTo>
                    <a:lnTo>
                      <a:pt x="349" y="5178"/>
                    </a:lnTo>
                    <a:lnTo>
                      <a:pt x="352" y="5175"/>
                    </a:lnTo>
                    <a:lnTo>
                      <a:pt x="359" y="5175"/>
                    </a:lnTo>
                    <a:lnTo>
                      <a:pt x="356" y="5173"/>
                    </a:lnTo>
                    <a:lnTo>
                      <a:pt x="352" y="5171"/>
                    </a:lnTo>
                    <a:lnTo>
                      <a:pt x="347" y="5170"/>
                    </a:lnTo>
                    <a:lnTo>
                      <a:pt x="344" y="5170"/>
                    </a:lnTo>
                    <a:lnTo>
                      <a:pt x="339" y="5171"/>
                    </a:lnTo>
                    <a:lnTo>
                      <a:pt x="336" y="5171"/>
                    </a:lnTo>
                    <a:lnTo>
                      <a:pt x="329" y="5173"/>
                    </a:lnTo>
                    <a:lnTo>
                      <a:pt x="325" y="5173"/>
                    </a:lnTo>
                    <a:lnTo>
                      <a:pt x="323" y="5173"/>
                    </a:lnTo>
                    <a:lnTo>
                      <a:pt x="321" y="5173"/>
                    </a:lnTo>
                    <a:lnTo>
                      <a:pt x="319" y="5173"/>
                    </a:lnTo>
                    <a:lnTo>
                      <a:pt x="319" y="5171"/>
                    </a:lnTo>
                    <a:lnTo>
                      <a:pt x="321" y="5168"/>
                    </a:lnTo>
                    <a:lnTo>
                      <a:pt x="321" y="5164"/>
                    </a:lnTo>
                    <a:lnTo>
                      <a:pt x="325" y="5158"/>
                    </a:lnTo>
                    <a:lnTo>
                      <a:pt x="318" y="5164"/>
                    </a:lnTo>
                    <a:lnTo>
                      <a:pt x="311" y="5168"/>
                    </a:lnTo>
                    <a:lnTo>
                      <a:pt x="305" y="5170"/>
                    </a:lnTo>
                    <a:lnTo>
                      <a:pt x="299" y="5171"/>
                    </a:lnTo>
                    <a:lnTo>
                      <a:pt x="291" y="5170"/>
                    </a:lnTo>
                    <a:lnTo>
                      <a:pt x="286" y="5168"/>
                    </a:lnTo>
                    <a:lnTo>
                      <a:pt x="278" y="5164"/>
                    </a:lnTo>
                    <a:lnTo>
                      <a:pt x="273" y="5158"/>
                    </a:lnTo>
                    <a:lnTo>
                      <a:pt x="275" y="5158"/>
                    </a:lnTo>
                    <a:lnTo>
                      <a:pt x="277" y="5158"/>
                    </a:lnTo>
                    <a:lnTo>
                      <a:pt x="280" y="5158"/>
                    </a:lnTo>
                    <a:lnTo>
                      <a:pt x="285" y="5158"/>
                    </a:lnTo>
                    <a:lnTo>
                      <a:pt x="290" y="5158"/>
                    </a:lnTo>
                    <a:lnTo>
                      <a:pt x="295" y="5153"/>
                    </a:lnTo>
                    <a:lnTo>
                      <a:pt x="301" y="5147"/>
                    </a:lnTo>
                    <a:lnTo>
                      <a:pt x="305" y="5144"/>
                    </a:lnTo>
                    <a:lnTo>
                      <a:pt x="308" y="5142"/>
                    </a:lnTo>
                    <a:lnTo>
                      <a:pt x="310" y="5138"/>
                    </a:lnTo>
                    <a:lnTo>
                      <a:pt x="314" y="5134"/>
                    </a:lnTo>
                    <a:lnTo>
                      <a:pt x="319" y="5129"/>
                    </a:lnTo>
                    <a:lnTo>
                      <a:pt x="325" y="5124"/>
                    </a:lnTo>
                    <a:lnTo>
                      <a:pt x="318" y="5129"/>
                    </a:lnTo>
                    <a:lnTo>
                      <a:pt x="311" y="5134"/>
                    </a:lnTo>
                    <a:lnTo>
                      <a:pt x="305" y="5137"/>
                    </a:lnTo>
                    <a:lnTo>
                      <a:pt x="299" y="5138"/>
                    </a:lnTo>
                    <a:lnTo>
                      <a:pt x="291" y="5140"/>
                    </a:lnTo>
                    <a:lnTo>
                      <a:pt x="286" y="5140"/>
                    </a:lnTo>
                    <a:lnTo>
                      <a:pt x="273" y="5142"/>
                    </a:lnTo>
                    <a:lnTo>
                      <a:pt x="273" y="5134"/>
                    </a:lnTo>
                    <a:lnTo>
                      <a:pt x="272" y="5131"/>
                    </a:lnTo>
                    <a:lnTo>
                      <a:pt x="268" y="5129"/>
                    </a:lnTo>
                    <a:lnTo>
                      <a:pt x="265" y="5127"/>
                    </a:lnTo>
                    <a:lnTo>
                      <a:pt x="260" y="5125"/>
                    </a:lnTo>
                    <a:lnTo>
                      <a:pt x="257" y="5125"/>
                    </a:lnTo>
                    <a:lnTo>
                      <a:pt x="252" y="5125"/>
                    </a:lnTo>
                    <a:lnTo>
                      <a:pt x="245" y="5125"/>
                    </a:lnTo>
                    <a:lnTo>
                      <a:pt x="234" y="5127"/>
                    </a:lnTo>
                    <a:lnTo>
                      <a:pt x="229" y="5129"/>
                    </a:lnTo>
                    <a:lnTo>
                      <a:pt x="224" y="5129"/>
                    </a:lnTo>
                    <a:lnTo>
                      <a:pt x="218" y="5129"/>
                    </a:lnTo>
                    <a:lnTo>
                      <a:pt x="212" y="5129"/>
                    </a:lnTo>
                    <a:lnTo>
                      <a:pt x="209" y="5127"/>
                    </a:lnTo>
                    <a:lnTo>
                      <a:pt x="204" y="5124"/>
                    </a:lnTo>
                    <a:lnTo>
                      <a:pt x="211" y="5124"/>
                    </a:lnTo>
                    <a:lnTo>
                      <a:pt x="218" y="5122"/>
                    </a:lnTo>
                    <a:lnTo>
                      <a:pt x="224" y="5117"/>
                    </a:lnTo>
                    <a:lnTo>
                      <a:pt x="231" y="5114"/>
                    </a:lnTo>
                    <a:lnTo>
                      <a:pt x="237" y="5109"/>
                    </a:lnTo>
                    <a:lnTo>
                      <a:pt x="244" y="5103"/>
                    </a:lnTo>
                    <a:lnTo>
                      <a:pt x="257" y="5091"/>
                    </a:lnTo>
                    <a:lnTo>
                      <a:pt x="252" y="5092"/>
                    </a:lnTo>
                    <a:lnTo>
                      <a:pt x="247" y="5092"/>
                    </a:lnTo>
                    <a:lnTo>
                      <a:pt x="245" y="5092"/>
                    </a:lnTo>
                    <a:lnTo>
                      <a:pt x="244" y="5092"/>
                    </a:lnTo>
                    <a:lnTo>
                      <a:pt x="244" y="5091"/>
                    </a:lnTo>
                    <a:lnTo>
                      <a:pt x="244" y="5088"/>
                    </a:lnTo>
                    <a:lnTo>
                      <a:pt x="245" y="5086"/>
                    </a:lnTo>
                    <a:lnTo>
                      <a:pt x="247" y="5084"/>
                    </a:lnTo>
                    <a:lnTo>
                      <a:pt x="249" y="5083"/>
                    </a:lnTo>
                    <a:lnTo>
                      <a:pt x="255" y="5079"/>
                    </a:lnTo>
                    <a:lnTo>
                      <a:pt x="260" y="5073"/>
                    </a:lnTo>
                    <a:lnTo>
                      <a:pt x="255" y="5071"/>
                    </a:lnTo>
                    <a:lnTo>
                      <a:pt x="249" y="5071"/>
                    </a:lnTo>
                    <a:lnTo>
                      <a:pt x="245" y="5068"/>
                    </a:lnTo>
                    <a:lnTo>
                      <a:pt x="242" y="5066"/>
                    </a:lnTo>
                    <a:lnTo>
                      <a:pt x="240" y="5063"/>
                    </a:lnTo>
                    <a:lnTo>
                      <a:pt x="238" y="5057"/>
                    </a:lnTo>
                    <a:lnTo>
                      <a:pt x="234" y="5055"/>
                    </a:lnTo>
                    <a:lnTo>
                      <a:pt x="231" y="5053"/>
                    </a:lnTo>
                    <a:lnTo>
                      <a:pt x="227" y="5051"/>
                    </a:lnTo>
                    <a:lnTo>
                      <a:pt x="224" y="5050"/>
                    </a:lnTo>
                    <a:lnTo>
                      <a:pt x="222" y="5048"/>
                    </a:lnTo>
                    <a:lnTo>
                      <a:pt x="219" y="5046"/>
                    </a:lnTo>
                    <a:lnTo>
                      <a:pt x="218" y="5040"/>
                    </a:lnTo>
                    <a:lnTo>
                      <a:pt x="216" y="5037"/>
                    </a:lnTo>
                    <a:lnTo>
                      <a:pt x="218" y="5033"/>
                    </a:lnTo>
                    <a:lnTo>
                      <a:pt x="219" y="5027"/>
                    </a:lnTo>
                    <a:lnTo>
                      <a:pt x="222" y="5023"/>
                    </a:lnTo>
                    <a:lnTo>
                      <a:pt x="225" y="5020"/>
                    </a:lnTo>
                    <a:lnTo>
                      <a:pt x="229" y="5017"/>
                    </a:lnTo>
                    <a:lnTo>
                      <a:pt x="234" y="5012"/>
                    </a:lnTo>
                    <a:lnTo>
                      <a:pt x="238" y="5010"/>
                    </a:lnTo>
                    <a:lnTo>
                      <a:pt x="244" y="5009"/>
                    </a:lnTo>
                    <a:lnTo>
                      <a:pt x="247" y="5007"/>
                    </a:lnTo>
                    <a:lnTo>
                      <a:pt x="253" y="5005"/>
                    </a:lnTo>
                    <a:lnTo>
                      <a:pt x="257" y="5005"/>
                    </a:lnTo>
                    <a:lnTo>
                      <a:pt x="265" y="5002"/>
                    </a:lnTo>
                    <a:lnTo>
                      <a:pt x="273" y="5000"/>
                    </a:lnTo>
                    <a:lnTo>
                      <a:pt x="283" y="4997"/>
                    </a:lnTo>
                    <a:lnTo>
                      <a:pt x="290" y="4997"/>
                    </a:lnTo>
                    <a:lnTo>
                      <a:pt x="295" y="4997"/>
                    </a:lnTo>
                    <a:lnTo>
                      <a:pt x="303" y="5000"/>
                    </a:lnTo>
                    <a:lnTo>
                      <a:pt x="310" y="5000"/>
                    </a:lnTo>
                    <a:lnTo>
                      <a:pt x="316" y="5004"/>
                    </a:lnTo>
                    <a:lnTo>
                      <a:pt x="323" y="5005"/>
                    </a:lnTo>
                    <a:lnTo>
                      <a:pt x="329" y="5009"/>
                    </a:lnTo>
                    <a:lnTo>
                      <a:pt x="336" y="5012"/>
                    </a:lnTo>
                    <a:lnTo>
                      <a:pt x="344" y="5017"/>
                    </a:lnTo>
                    <a:lnTo>
                      <a:pt x="351" y="5022"/>
                    </a:lnTo>
                    <a:lnTo>
                      <a:pt x="359" y="5027"/>
                    </a:lnTo>
                    <a:lnTo>
                      <a:pt x="367" y="5033"/>
                    </a:lnTo>
                    <a:lnTo>
                      <a:pt x="377" y="5038"/>
                    </a:lnTo>
                    <a:lnTo>
                      <a:pt x="380" y="5042"/>
                    </a:lnTo>
                    <a:lnTo>
                      <a:pt x="384" y="5046"/>
                    </a:lnTo>
                    <a:lnTo>
                      <a:pt x="390" y="5048"/>
                    </a:lnTo>
                    <a:lnTo>
                      <a:pt x="395" y="5051"/>
                    </a:lnTo>
                    <a:lnTo>
                      <a:pt x="400" y="5055"/>
                    </a:lnTo>
                    <a:lnTo>
                      <a:pt x="406" y="5057"/>
                    </a:lnTo>
                    <a:lnTo>
                      <a:pt x="421" y="5063"/>
                    </a:lnTo>
                    <a:lnTo>
                      <a:pt x="436" y="5066"/>
                    </a:lnTo>
                    <a:lnTo>
                      <a:pt x="451" y="5070"/>
                    </a:lnTo>
                    <a:lnTo>
                      <a:pt x="466" y="5071"/>
                    </a:lnTo>
                    <a:lnTo>
                      <a:pt x="478" y="5073"/>
                    </a:lnTo>
                    <a:lnTo>
                      <a:pt x="479" y="5073"/>
                    </a:lnTo>
                    <a:lnTo>
                      <a:pt x="482" y="5073"/>
                    </a:lnTo>
                    <a:lnTo>
                      <a:pt x="484" y="5073"/>
                    </a:lnTo>
                    <a:lnTo>
                      <a:pt x="487" y="5073"/>
                    </a:lnTo>
                    <a:lnTo>
                      <a:pt x="494" y="5076"/>
                    </a:lnTo>
                    <a:lnTo>
                      <a:pt x="502" y="5078"/>
                    </a:lnTo>
                    <a:lnTo>
                      <a:pt x="512" y="5079"/>
                    </a:lnTo>
                    <a:lnTo>
                      <a:pt x="520" y="5079"/>
                    </a:lnTo>
                    <a:lnTo>
                      <a:pt x="530" y="5081"/>
                    </a:lnTo>
                    <a:lnTo>
                      <a:pt x="539" y="5083"/>
                    </a:lnTo>
                    <a:lnTo>
                      <a:pt x="548" y="5084"/>
                    </a:lnTo>
                    <a:lnTo>
                      <a:pt x="558" y="5086"/>
                    </a:lnTo>
                    <a:lnTo>
                      <a:pt x="565" y="5086"/>
                    </a:lnTo>
                    <a:lnTo>
                      <a:pt x="566" y="5087"/>
                    </a:lnTo>
                    <a:lnTo>
                      <a:pt x="566" y="5086"/>
                    </a:lnTo>
                    <a:lnTo>
                      <a:pt x="565" y="5084"/>
                    </a:lnTo>
                    <a:lnTo>
                      <a:pt x="563" y="5083"/>
                    </a:lnTo>
                    <a:lnTo>
                      <a:pt x="560" y="5079"/>
                    </a:lnTo>
                    <a:lnTo>
                      <a:pt x="555" y="5076"/>
                    </a:lnTo>
                    <a:lnTo>
                      <a:pt x="550" y="5070"/>
                    </a:lnTo>
                    <a:lnTo>
                      <a:pt x="555" y="5070"/>
                    </a:lnTo>
                    <a:lnTo>
                      <a:pt x="560" y="5070"/>
                    </a:lnTo>
                    <a:close/>
                    <a:moveTo>
                      <a:pt x="341" y="5057"/>
                    </a:moveTo>
                    <a:lnTo>
                      <a:pt x="336" y="5055"/>
                    </a:lnTo>
                    <a:lnTo>
                      <a:pt x="329" y="5053"/>
                    </a:lnTo>
                    <a:lnTo>
                      <a:pt x="323" y="5051"/>
                    </a:lnTo>
                    <a:lnTo>
                      <a:pt x="316" y="5048"/>
                    </a:lnTo>
                    <a:lnTo>
                      <a:pt x="310" y="5043"/>
                    </a:lnTo>
                    <a:lnTo>
                      <a:pt x="303" y="5042"/>
                    </a:lnTo>
                    <a:lnTo>
                      <a:pt x="298" y="5040"/>
                    </a:lnTo>
                    <a:lnTo>
                      <a:pt x="290" y="5038"/>
                    </a:lnTo>
                    <a:lnTo>
                      <a:pt x="295" y="5042"/>
                    </a:lnTo>
                    <a:lnTo>
                      <a:pt x="301" y="5043"/>
                    </a:lnTo>
                    <a:lnTo>
                      <a:pt x="303" y="5048"/>
                    </a:lnTo>
                    <a:lnTo>
                      <a:pt x="305" y="5050"/>
                    </a:lnTo>
                    <a:lnTo>
                      <a:pt x="305" y="5051"/>
                    </a:lnTo>
                    <a:lnTo>
                      <a:pt x="305" y="5053"/>
                    </a:lnTo>
                    <a:lnTo>
                      <a:pt x="303" y="5055"/>
                    </a:lnTo>
                    <a:lnTo>
                      <a:pt x="301" y="5057"/>
                    </a:lnTo>
                    <a:lnTo>
                      <a:pt x="303" y="5057"/>
                    </a:lnTo>
                    <a:lnTo>
                      <a:pt x="305" y="5057"/>
                    </a:lnTo>
                    <a:lnTo>
                      <a:pt x="306" y="5058"/>
                    </a:lnTo>
                    <a:lnTo>
                      <a:pt x="308" y="5058"/>
                    </a:lnTo>
                    <a:lnTo>
                      <a:pt x="308" y="5063"/>
                    </a:lnTo>
                    <a:lnTo>
                      <a:pt x="308" y="5064"/>
                    </a:lnTo>
                    <a:lnTo>
                      <a:pt x="308" y="5068"/>
                    </a:lnTo>
                    <a:lnTo>
                      <a:pt x="310" y="5063"/>
                    </a:lnTo>
                    <a:lnTo>
                      <a:pt x="314" y="5061"/>
                    </a:lnTo>
                    <a:lnTo>
                      <a:pt x="318" y="5058"/>
                    </a:lnTo>
                    <a:lnTo>
                      <a:pt x="323" y="5057"/>
                    </a:lnTo>
                    <a:lnTo>
                      <a:pt x="329" y="5057"/>
                    </a:lnTo>
                    <a:lnTo>
                      <a:pt x="341" y="5057"/>
                    </a:lnTo>
                    <a:close/>
                    <a:moveTo>
                      <a:pt x="530" y="5277"/>
                    </a:moveTo>
                    <a:lnTo>
                      <a:pt x="524" y="5290"/>
                    </a:lnTo>
                    <a:lnTo>
                      <a:pt x="517" y="5298"/>
                    </a:lnTo>
                    <a:lnTo>
                      <a:pt x="512" y="5308"/>
                    </a:lnTo>
                    <a:lnTo>
                      <a:pt x="504" y="5315"/>
                    </a:lnTo>
                    <a:lnTo>
                      <a:pt x="499" y="5321"/>
                    </a:lnTo>
                    <a:lnTo>
                      <a:pt x="491" y="5325"/>
                    </a:lnTo>
                    <a:lnTo>
                      <a:pt x="486" y="5328"/>
                    </a:lnTo>
                    <a:lnTo>
                      <a:pt x="492" y="5325"/>
                    </a:lnTo>
                    <a:lnTo>
                      <a:pt x="499" y="5321"/>
                    </a:lnTo>
                    <a:lnTo>
                      <a:pt x="504" y="5317"/>
                    </a:lnTo>
                    <a:lnTo>
                      <a:pt x="509" y="5312"/>
                    </a:lnTo>
                    <a:lnTo>
                      <a:pt x="515" y="5308"/>
                    </a:lnTo>
                    <a:lnTo>
                      <a:pt x="519" y="5300"/>
                    </a:lnTo>
                    <a:lnTo>
                      <a:pt x="522" y="5295"/>
                    </a:lnTo>
                    <a:lnTo>
                      <a:pt x="525" y="5285"/>
                    </a:lnTo>
                    <a:lnTo>
                      <a:pt x="530" y="5277"/>
                    </a:lnTo>
                    <a:close/>
                    <a:moveTo>
                      <a:pt x="589" y="5144"/>
                    </a:moveTo>
                    <a:lnTo>
                      <a:pt x="594" y="5132"/>
                    </a:lnTo>
                    <a:lnTo>
                      <a:pt x="599" y="5124"/>
                    </a:lnTo>
                    <a:lnTo>
                      <a:pt x="604" y="5117"/>
                    </a:lnTo>
                    <a:lnTo>
                      <a:pt x="606" y="5114"/>
                    </a:lnTo>
                    <a:lnTo>
                      <a:pt x="607" y="5109"/>
                    </a:lnTo>
                    <a:lnTo>
                      <a:pt x="607" y="5103"/>
                    </a:lnTo>
                    <a:lnTo>
                      <a:pt x="607" y="5099"/>
                    </a:lnTo>
                    <a:lnTo>
                      <a:pt x="607" y="5096"/>
                    </a:lnTo>
                    <a:lnTo>
                      <a:pt x="606" y="5091"/>
                    </a:lnTo>
                    <a:lnTo>
                      <a:pt x="604" y="5088"/>
                    </a:lnTo>
                    <a:lnTo>
                      <a:pt x="596" y="5094"/>
                    </a:lnTo>
                    <a:lnTo>
                      <a:pt x="593" y="5101"/>
                    </a:lnTo>
                    <a:lnTo>
                      <a:pt x="589" y="5109"/>
                    </a:lnTo>
                    <a:lnTo>
                      <a:pt x="586" y="5116"/>
                    </a:lnTo>
                    <a:lnTo>
                      <a:pt x="585" y="5125"/>
                    </a:lnTo>
                    <a:lnTo>
                      <a:pt x="585" y="5137"/>
                    </a:lnTo>
                    <a:lnTo>
                      <a:pt x="585" y="5147"/>
                    </a:lnTo>
                    <a:lnTo>
                      <a:pt x="585" y="5150"/>
                    </a:lnTo>
                    <a:lnTo>
                      <a:pt x="586" y="5147"/>
                    </a:lnTo>
                    <a:lnTo>
                      <a:pt x="589" y="5144"/>
                    </a:lnTo>
                    <a:close/>
                    <a:moveTo>
                      <a:pt x="629" y="5129"/>
                    </a:moveTo>
                    <a:lnTo>
                      <a:pt x="634" y="5124"/>
                    </a:lnTo>
                    <a:lnTo>
                      <a:pt x="635" y="5117"/>
                    </a:lnTo>
                    <a:lnTo>
                      <a:pt x="637" y="5111"/>
                    </a:lnTo>
                    <a:lnTo>
                      <a:pt x="639" y="5104"/>
                    </a:lnTo>
                    <a:lnTo>
                      <a:pt x="634" y="5111"/>
                    </a:lnTo>
                    <a:lnTo>
                      <a:pt x="627" y="5114"/>
                    </a:lnTo>
                    <a:lnTo>
                      <a:pt x="626" y="5119"/>
                    </a:lnTo>
                    <a:lnTo>
                      <a:pt x="624" y="5124"/>
                    </a:lnTo>
                    <a:lnTo>
                      <a:pt x="622" y="5125"/>
                    </a:lnTo>
                    <a:lnTo>
                      <a:pt x="622" y="5131"/>
                    </a:lnTo>
                    <a:lnTo>
                      <a:pt x="622" y="5134"/>
                    </a:lnTo>
                    <a:lnTo>
                      <a:pt x="622" y="5140"/>
                    </a:lnTo>
                    <a:lnTo>
                      <a:pt x="624" y="5138"/>
                    </a:lnTo>
                    <a:lnTo>
                      <a:pt x="626" y="5134"/>
                    </a:lnTo>
                    <a:lnTo>
                      <a:pt x="629" y="5129"/>
                    </a:lnTo>
                    <a:close/>
                    <a:moveTo>
                      <a:pt x="622" y="5198"/>
                    </a:moveTo>
                    <a:lnTo>
                      <a:pt x="622" y="5201"/>
                    </a:lnTo>
                    <a:lnTo>
                      <a:pt x="624" y="5203"/>
                    </a:lnTo>
                    <a:lnTo>
                      <a:pt x="627" y="5206"/>
                    </a:lnTo>
                    <a:lnTo>
                      <a:pt x="629" y="5208"/>
                    </a:lnTo>
                    <a:lnTo>
                      <a:pt x="634" y="5211"/>
                    </a:lnTo>
                    <a:lnTo>
                      <a:pt x="640" y="5218"/>
                    </a:lnTo>
                    <a:lnTo>
                      <a:pt x="650" y="5223"/>
                    </a:lnTo>
                    <a:lnTo>
                      <a:pt x="659" y="5229"/>
                    </a:lnTo>
                    <a:lnTo>
                      <a:pt x="668" y="5234"/>
                    </a:lnTo>
                    <a:lnTo>
                      <a:pt x="675" y="5241"/>
                    </a:lnTo>
                    <a:lnTo>
                      <a:pt x="668" y="5231"/>
                    </a:lnTo>
                    <a:lnTo>
                      <a:pt x="665" y="5221"/>
                    </a:lnTo>
                    <a:lnTo>
                      <a:pt x="659" y="5211"/>
                    </a:lnTo>
                    <a:lnTo>
                      <a:pt x="655" y="5206"/>
                    </a:lnTo>
                    <a:lnTo>
                      <a:pt x="650" y="5201"/>
                    </a:lnTo>
                    <a:lnTo>
                      <a:pt x="646" y="5199"/>
                    </a:lnTo>
                    <a:lnTo>
                      <a:pt x="642" y="5198"/>
                    </a:lnTo>
                    <a:lnTo>
                      <a:pt x="639" y="5195"/>
                    </a:lnTo>
                    <a:lnTo>
                      <a:pt x="634" y="5195"/>
                    </a:lnTo>
                    <a:lnTo>
                      <a:pt x="627" y="5195"/>
                    </a:lnTo>
                    <a:lnTo>
                      <a:pt x="622" y="5195"/>
                    </a:lnTo>
                    <a:lnTo>
                      <a:pt x="622" y="5198"/>
                    </a:lnTo>
                    <a:close/>
                    <a:moveTo>
                      <a:pt x="642" y="5247"/>
                    </a:moveTo>
                    <a:lnTo>
                      <a:pt x="644" y="5249"/>
                    </a:lnTo>
                    <a:lnTo>
                      <a:pt x="646" y="5247"/>
                    </a:lnTo>
                    <a:lnTo>
                      <a:pt x="647" y="5247"/>
                    </a:lnTo>
                    <a:lnTo>
                      <a:pt x="650" y="5245"/>
                    </a:lnTo>
                    <a:lnTo>
                      <a:pt x="653" y="5244"/>
                    </a:lnTo>
                    <a:lnTo>
                      <a:pt x="657" y="5241"/>
                    </a:lnTo>
                    <a:lnTo>
                      <a:pt x="650" y="5241"/>
                    </a:lnTo>
                    <a:lnTo>
                      <a:pt x="646" y="5241"/>
                    </a:lnTo>
                    <a:lnTo>
                      <a:pt x="642" y="5241"/>
                    </a:lnTo>
                    <a:lnTo>
                      <a:pt x="640" y="5241"/>
                    </a:lnTo>
                    <a:lnTo>
                      <a:pt x="639" y="5241"/>
                    </a:lnTo>
                    <a:lnTo>
                      <a:pt x="639" y="5244"/>
                    </a:lnTo>
                    <a:lnTo>
                      <a:pt x="639" y="5245"/>
                    </a:lnTo>
                    <a:lnTo>
                      <a:pt x="640" y="5247"/>
                    </a:lnTo>
                    <a:lnTo>
                      <a:pt x="642" y="5247"/>
                    </a:lnTo>
                    <a:close/>
                    <a:moveTo>
                      <a:pt x="675" y="5351"/>
                    </a:moveTo>
                    <a:lnTo>
                      <a:pt x="673" y="5349"/>
                    </a:lnTo>
                    <a:lnTo>
                      <a:pt x="672" y="5349"/>
                    </a:lnTo>
                    <a:lnTo>
                      <a:pt x="670" y="5349"/>
                    </a:lnTo>
                    <a:lnTo>
                      <a:pt x="667" y="5349"/>
                    </a:lnTo>
                    <a:lnTo>
                      <a:pt x="662" y="5351"/>
                    </a:lnTo>
                    <a:lnTo>
                      <a:pt x="659" y="5354"/>
                    </a:lnTo>
                    <a:lnTo>
                      <a:pt x="657" y="5359"/>
                    </a:lnTo>
                    <a:lnTo>
                      <a:pt x="657" y="5366"/>
                    </a:lnTo>
                    <a:lnTo>
                      <a:pt x="657" y="5371"/>
                    </a:lnTo>
                    <a:lnTo>
                      <a:pt x="657" y="5386"/>
                    </a:lnTo>
                    <a:lnTo>
                      <a:pt x="660" y="5384"/>
                    </a:lnTo>
                    <a:lnTo>
                      <a:pt x="665" y="5384"/>
                    </a:lnTo>
                    <a:lnTo>
                      <a:pt x="668" y="5382"/>
                    </a:lnTo>
                    <a:lnTo>
                      <a:pt x="672" y="5378"/>
                    </a:lnTo>
                    <a:lnTo>
                      <a:pt x="673" y="5376"/>
                    </a:lnTo>
                    <a:lnTo>
                      <a:pt x="675" y="5372"/>
                    </a:lnTo>
                    <a:lnTo>
                      <a:pt x="677" y="5369"/>
                    </a:lnTo>
                    <a:lnTo>
                      <a:pt x="680" y="5367"/>
                    </a:lnTo>
                    <a:lnTo>
                      <a:pt x="680" y="5364"/>
                    </a:lnTo>
                    <a:lnTo>
                      <a:pt x="680" y="5359"/>
                    </a:lnTo>
                    <a:lnTo>
                      <a:pt x="677" y="5354"/>
                    </a:lnTo>
                    <a:lnTo>
                      <a:pt x="675" y="5351"/>
                    </a:lnTo>
                    <a:close/>
                    <a:moveTo>
                      <a:pt x="685" y="5343"/>
                    </a:moveTo>
                    <a:lnTo>
                      <a:pt x="688" y="5345"/>
                    </a:lnTo>
                    <a:lnTo>
                      <a:pt x="690" y="5346"/>
                    </a:lnTo>
                    <a:lnTo>
                      <a:pt x="692" y="5346"/>
                    </a:lnTo>
                    <a:lnTo>
                      <a:pt x="696" y="5349"/>
                    </a:lnTo>
                    <a:lnTo>
                      <a:pt x="701" y="5349"/>
                    </a:lnTo>
                    <a:lnTo>
                      <a:pt x="696" y="5346"/>
                    </a:lnTo>
                    <a:lnTo>
                      <a:pt x="692" y="5345"/>
                    </a:lnTo>
                    <a:lnTo>
                      <a:pt x="690" y="5341"/>
                    </a:lnTo>
                    <a:lnTo>
                      <a:pt x="688" y="5339"/>
                    </a:lnTo>
                    <a:lnTo>
                      <a:pt x="685" y="5336"/>
                    </a:lnTo>
                    <a:lnTo>
                      <a:pt x="683" y="5332"/>
                    </a:lnTo>
                    <a:lnTo>
                      <a:pt x="680" y="5330"/>
                    </a:lnTo>
                    <a:lnTo>
                      <a:pt x="675" y="5330"/>
                    </a:lnTo>
                    <a:lnTo>
                      <a:pt x="680" y="5336"/>
                    </a:lnTo>
                    <a:lnTo>
                      <a:pt x="683" y="5339"/>
                    </a:lnTo>
                    <a:lnTo>
                      <a:pt x="685" y="5343"/>
                    </a:lnTo>
                    <a:close/>
                    <a:moveTo>
                      <a:pt x="688" y="5201"/>
                    </a:moveTo>
                    <a:lnTo>
                      <a:pt x="692" y="5199"/>
                    </a:lnTo>
                    <a:lnTo>
                      <a:pt x="696" y="5198"/>
                    </a:lnTo>
                    <a:lnTo>
                      <a:pt x="698" y="5195"/>
                    </a:lnTo>
                    <a:lnTo>
                      <a:pt x="696" y="5195"/>
                    </a:lnTo>
                    <a:lnTo>
                      <a:pt x="692" y="5195"/>
                    </a:lnTo>
                    <a:lnTo>
                      <a:pt x="688" y="5198"/>
                    </a:lnTo>
                    <a:lnTo>
                      <a:pt x="687" y="5199"/>
                    </a:lnTo>
                    <a:lnTo>
                      <a:pt x="685" y="5201"/>
                    </a:lnTo>
                    <a:lnTo>
                      <a:pt x="685" y="5203"/>
                    </a:lnTo>
                    <a:lnTo>
                      <a:pt x="687" y="5203"/>
                    </a:lnTo>
                    <a:lnTo>
                      <a:pt x="688" y="5201"/>
                    </a:lnTo>
                    <a:close/>
                    <a:moveTo>
                      <a:pt x="9293" y="3552"/>
                    </a:moveTo>
                    <a:lnTo>
                      <a:pt x="9291" y="3552"/>
                    </a:lnTo>
                    <a:lnTo>
                      <a:pt x="9288" y="3552"/>
                    </a:lnTo>
                    <a:lnTo>
                      <a:pt x="9288" y="3554"/>
                    </a:lnTo>
                    <a:lnTo>
                      <a:pt x="9286" y="3555"/>
                    </a:lnTo>
                    <a:lnTo>
                      <a:pt x="9285" y="3557"/>
                    </a:lnTo>
                    <a:lnTo>
                      <a:pt x="9285" y="3562"/>
                    </a:lnTo>
                    <a:lnTo>
                      <a:pt x="9281" y="3568"/>
                    </a:lnTo>
                    <a:lnTo>
                      <a:pt x="9280" y="3576"/>
                    </a:lnTo>
                    <a:lnTo>
                      <a:pt x="9276" y="3585"/>
                    </a:lnTo>
                    <a:lnTo>
                      <a:pt x="9272" y="3593"/>
                    </a:lnTo>
                    <a:lnTo>
                      <a:pt x="9276" y="3591"/>
                    </a:lnTo>
                    <a:lnTo>
                      <a:pt x="9281" y="3589"/>
                    </a:lnTo>
                    <a:lnTo>
                      <a:pt x="9285" y="3585"/>
                    </a:lnTo>
                    <a:lnTo>
                      <a:pt x="9288" y="3582"/>
                    </a:lnTo>
                    <a:lnTo>
                      <a:pt x="9293" y="3576"/>
                    </a:lnTo>
                    <a:lnTo>
                      <a:pt x="9294" y="3568"/>
                    </a:lnTo>
                    <a:lnTo>
                      <a:pt x="9296" y="3563"/>
                    </a:lnTo>
                    <a:lnTo>
                      <a:pt x="9298" y="3555"/>
                    </a:lnTo>
                    <a:lnTo>
                      <a:pt x="9294" y="3554"/>
                    </a:lnTo>
                    <a:lnTo>
                      <a:pt x="9293" y="3552"/>
                    </a:lnTo>
                    <a:close/>
                    <a:moveTo>
                      <a:pt x="6527" y="3083"/>
                    </a:moveTo>
                    <a:lnTo>
                      <a:pt x="6526" y="3085"/>
                    </a:lnTo>
                    <a:lnTo>
                      <a:pt x="6522" y="3085"/>
                    </a:lnTo>
                    <a:lnTo>
                      <a:pt x="6519" y="3086"/>
                    </a:lnTo>
                    <a:lnTo>
                      <a:pt x="6517" y="3086"/>
                    </a:lnTo>
                    <a:lnTo>
                      <a:pt x="6517" y="3089"/>
                    </a:lnTo>
                    <a:lnTo>
                      <a:pt x="6522" y="3089"/>
                    </a:lnTo>
                    <a:lnTo>
                      <a:pt x="6526" y="3089"/>
                    </a:lnTo>
                    <a:lnTo>
                      <a:pt x="6529" y="3089"/>
                    </a:lnTo>
                    <a:lnTo>
                      <a:pt x="6532" y="3089"/>
                    </a:lnTo>
                    <a:lnTo>
                      <a:pt x="6534" y="3089"/>
                    </a:lnTo>
                    <a:lnTo>
                      <a:pt x="6535" y="3089"/>
                    </a:lnTo>
                    <a:lnTo>
                      <a:pt x="6534" y="3085"/>
                    </a:lnTo>
                    <a:lnTo>
                      <a:pt x="6532" y="3083"/>
                    </a:lnTo>
                    <a:lnTo>
                      <a:pt x="6527" y="3083"/>
                    </a:lnTo>
                    <a:close/>
                    <a:moveTo>
                      <a:pt x="6982" y="4615"/>
                    </a:moveTo>
                    <a:lnTo>
                      <a:pt x="6985" y="4617"/>
                    </a:lnTo>
                    <a:lnTo>
                      <a:pt x="6987" y="4619"/>
                    </a:lnTo>
                    <a:lnTo>
                      <a:pt x="6991" y="4619"/>
                    </a:lnTo>
                    <a:lnTo>
                      <a:pt x="6995" y="4622"/>
                    </a:lnTo>
                    <a:lnTo>
                      <a:pt x="7000" y="4623"/>
                    </a:lnTo>
                    <a:lnTo>
                      <a:pt x="7013" y="4630"/>
                    </a:lnTo>
                    <a:lnTo>
                      <a:pt x="7028" y="4638"/>
                    </a:lnTo>
                    <a:lnTo>
                      <a:pt x="7044" y="4645"/>
                    </a:lnTo>
                    <a:lnTo>
                      <a:pt x="7059" y="4653"/>
                    </a:lnTo>
                    <a:lnTo>
                      <a:pt x="7069" y="4655"/>
                    </a:lnTo>
                    <a:lnTo>
                      <a:pt x="7076" y="4656"/>
                    </a:lnTo>
                    <a:lnTo>
                      <a:pt x="7083" y="4658"/>
                    </a:lnTo>
                    <a:lnTo>
                      <a:pt x="7092" y="4660"/>
                    </a:lnTo>
                    <a:lnTo>
                      <a:pt x="7100" y="4660"/>
                    </a:lnTo>
                    <a:lnTo>
                      <a:pt x="7107" y="4660"/>
                    </a:lnTo>
                    <a:lnTo>
                      <a:pt x="7113" y="4658"/>
                    </a:lnTo>
                    <a:lnTo>
                      <a:pt x="7120" y="4656"/>
                    </a:lnTo>
                    <a:lnTo>
                      <a:pt x="7126" y="4655"/>
                    </a:lnTo>
                    <a:lnTo>
                      <a:pt x="7131" y="4655"/>
                    </a:lnTo>
                    <a:lnTo>
                      <a:pt x="7135" y="4651"/>
                    </a:lnTo>
                    <a:lnTo>
                      <a:pt x="7136" y="4647"/>
                    </a:lnTo>
                    <a:lnTo>
                      <a:pt x="7138" y="4643"/>
                    </a:lnTo>
                    <a:lnTo>
                      <a:pt x="7141" y="4640"/>
                    </a:lnTo>
                    <a:lnTo>
                      <a:pt x="7141" y="4634"/>
                    </a:lnTo>
                    <a:lnTo>
                      <a:pt x="7138" y="4628"/>
                    </a:lnTo>
                    <a:lnTo>
                      <a:pt x="7138" y="4623"/>
                    </a:lnTo>
                    <a:lnTo>
                      <a:pt x="7136" y="4619"/>
                    </a:lnTo>
                    <a:lnTo>
                      <a:pt x="7133" y="4608"/>
                    </a:lnTo>
                    <a:lnTo>
                      <a:pt x="7130" y="4602"/>
                    </a:lnTo>
                    <a:lnTo>
                      <a:pt x="7126" y="4599"/>
                    </a:lnTo>
                    <a:lnTo>
                      <a:pt x="7123" y="4594"/>
                    </a:lnTo>
                    <a:lnTo>
                      <a:pt x="7120" y="4592"/>
                    </a:lnTo>
                    <a:lnTo>
                      <a:pt x="7107" y="4586"/>
                    </a:lnTo>
                    <a:lnTo>
                      <a:pt x="7097" y="4581"/>
                    </a:lnTo>
                    <a:lnTo>
                      <a:pt x="7087" y="4579"/>
                    </a:lnTo>
                    <a:lnTo>
                      <a:pt x="7077" y="4577"/>
                    </a:lnTo>
                    <a:lnTo>
                      <a:pt x="7067" y="4575"/>
                    </a:lnTo>
                    <a:lnTo>
                      <a:pt x="7057" y="4575"/>
                    </a:lnTo>
                    <a:lnTo>
                      <a:pt x="7046" y="4575"/>
                    </a:lnTo>
                    <a:lnTo>
                      <a:pt x="7034" y="4575"/>
                    </a:lnTo>
                    <a:lnTo>
                      <a:pt x="7021" y="4581"/>
                    </a:lnTo>
                    <a:lnTo>
                      <a:pt x="7006" y="4586"/>
                    </a:lnTo>
                    <a:lnTo>
                      <a:pt x="7000" y="4589"/>
                    </a:lnTo>
                    <a:lnTo>
                      <a:pt x="6995" y="4594"/>
                    </a:lnTo>
                    <a:lnTo>
                      <a:pt x="6990" y="4595"/>
                    </a:lnTo>
                    <a:lnTo>
                      <a:pt x="6983" y="4599"/>
                    </a:lnTo>
                    <a:lnTo>
                      <a:pt x="6980" y="4602"/>
                    </a:lnTo>
                    <a:lnTo>
                      <a:pt x="6978" y="4604"/>
                    </a:lnTo>
                    <a:lnTo>
                      <a:pt x="6978" y="4608"/>
                    </a:lnTo>
                    <a:lnTo>
                      <a:pt x="6978" y="4610"/>
                    </a:lnTo>
                    <a:lnTo>
                      <a:pt x="6980" y="4612"/>
                    </a:lnTo>
                    <a:lnTo>
                      <a:pt x="6980" y="4614"/>
                    </a:lnTo>
                    <a:lnTo>
                      <a:pt x="6982" y="4615"/>
                    </a:lnTo>
                    <a:close/>
                    <a:moveTo>
                      <a:pt x="7238" y="4782"/>
                    </a:moveTo>
                    <a:lnTo>
                      <a:pt x="7229" y="4782"/>
                    </a:lnTo>
                    <a:lnTo>
                      <a:pt x="7220" y="4783"/>
                    </a:lnTo>
                    <a:lnTo>
                      <a:pt x="7212" y="4788"/>
                    </a:lnTo>
                    <a:lnTo>
                      <a:pt x="7209" y="4789"/>
                    </a:lnTo>
                    <a:lnTo>
                      <a:pt x="7207" y="4791"/>
                    </a:lnTo>
                    <a:lnTo>
                      <a:pt x="7204" y="4795"/>
                    </a:lnTo>
                    <a:lnTo>
                      <a:pt x="7202" y="4798"/>
                    </a:lnTo>
                    <a:lnTo>
                      <a:pt x="7202" y="4803"/>
                    </a:lnTo>
                    <a:lnTo>
                      <a:pt x="7202" y="4808"/>
                    </a:lnTo>
                    <a:lnTo>
                      <a:pt x="7207" y="4803"/>
                    </a:lnTo>
                    <a:lnTo>
                      <a:pt x="7214" y="4798"/>
                    </a:lnTo>
                    <a:lnTo>
                      <a:pt x="7220" y="4796"/>
                    </a:lnTo>
                    <a:lnTo>
                      <a:pt x="7227" y="4795"/>
                    </a:lnTo>
                    <a:lnTo>
                      <a:pt x="7235" y="4791"/>
                    </a:lnTo>
                    <a:lnTo>
                      <a:pt x="7240" y="4789"/>
                    </a:lnTo>
                    <a:lnTo>
                      <a:pt x="7248" y="4785"/>
                    </a:lnTo>
                    <a:lnTo>
                      <a:pt x="7255" y="4782"/>
                    </a:lnTo>
                    <a:lnTo>
                      <a:pt x="7248" y="4782"/>
                    </a:lnTo>
                    <a:lnTo>
                      <a:pt x="7238" y="4782"/>
                    </a:lnTo>
                    <a:close/>
                    <a:moveTo>
                      <a:pt x="7281" y="4592"/>
                    </a:moveTo>
                    <a:lnTo>
                      <a:pt x="7278" y="4592"/>
                    </a:lnTo>
                    <a:lnTo>
                      <a:pt x="7275" y="4594"/>
                    </a:lnTo>
                    <a:lnTo>
                      <a:pt x="7273" y="4595"/>
                    </a:lnTo>
                    <a:lnTo>
                      <a:pt x="7273" y="4599"/>
                    </a:lnTo>
                    <a:lnTo>
                      <a:pt x="7273" y="4602"/>
                    </a:lnTo>
                    <a:lnTo>
                      <a:pt x="7273" y="4610"/>
                    </a:lnTo>
                    <a:lnTo>
                      <a:pt x="7279" y="4602"/>
                    </a:lnTo>
                    <a:lnTo>
                      <a:pt x="7283" y="4599"/>
                    </a:lnTo>
                    <a:lnTo>
                      <a:pt x="7286" y="4595"/>
                    </a:lnTo>
                    <a:lnTo>
                      <a:pt x="7288" y="4594"/>
                    </a:lnTo>
                    <a:lnTo>
                      <a:pt x="7290" y="4592"/>
                    </a:lnTo>
                    <a:lnTo>
                      <a:pt x="7284" y="4592"/>
                    </a:lnTo>
                    <a:lnTo>
                      <a:pt x="7281" y="4592"/>
                    </a:lnTo>
                    <a:close/>
                    <a:moveTo>
                      <a:pt x="7291" y="4556"/>
                    </a:moveTo>
                    <a:lnTo>
                      <a:pt x="7284" y="4556"/>
                    </a:lnTo>
                    <a:lnTo>
                      <a:pt x="7281" y="4556"/>
                    </a:lnTo>
                    <a:lnTo>
                      <a:pt x="7278" y="4556"/>
                    </a:lnTo>
                    <a:lnTo>
                      <a:pt x="7275" y="4558"/>
                    </a:lnTo>
                    <a:lnTo>
                      <a:pt x="7273" y="4561"/>
                    </a:lnTo>
                    <a:lnTo>
                      <a:pt x="7273" y="4564"/>
                    </a:lnTo>
                    <a:lnTo>
                      <a:pt x="7273" y="4567"/>
                    </a:lnTo>
                    <a:lnTo>
                      <a:pt x="7273" y="4575"/>
                    </a:lnTo>
                    <a:lnTo>
                      <a:pt x="7279" y="4575"/>
                    </a:lnTo>
                    <a:lnTo>
                      <a:pt x="7283" y="4573"/>
                    </a:lnTo>
                    <a:lnTo>
                      <a:pt x="7286" y="4573"/>
                    </a:lnTo>
                    <a:lnTo>
                      <a:pt x="7288" y="4571"/>
                    </a:lnTo>
                    <a:lnTo>
                      <a:pt x="7290" y="4569"/>
                    </a:lnTo>
                    <a:lnTo>
                      <a:pt x="7290" y="4566"/>
                    </a:lnTo>
                    <a:lnTo>
                      <a:pt x="7291" y="4562"/>
                    </a:lnTo>
                    <a:lnTo>
                      <a:pt x="7291" y="4556"/>
                    </a:lnTo>
                    <a:close/>
                    <a:moveTo>
                      <a:pt x="7572" y="4120"/>
                    </a:moveTo>
                    <a:lnTo>
                      <a:pt x="7571" y="4121"/>
                    </a:lnTo>
                    <a:lnTo>
                      <a:pt x="7569" y="4125"/>
                    </a:lnTo>
                    <a:lnTo>
                      <a:pt x="7572" y="4120"/>
                    </a:lnTo>
                    <a:lnTo>
                      <a:pt x="7572" y="4120"/>
                    </a:lnTo>
                    <a:lnTo>
                      <a:pt x="7572" y="4120"/>
                    </a:lnTo>
                    <a:close/>
                    <a:moveTo>
                      <a:pt x="7679" y="4071"/>
                    </a:moveTo>
                    <a:lnTo>
                      <a:pt x="7685" y="4064"/>
                    </a:lnTo>
                    <a:lnTo>
                      <a:pt x="7694" y="4054"/>
                    </a:lnTo>
                    <a:lnTo>
                      <a:pt x="7706" y="4047"/>
                    </a:lnTo>
                    <a:lnTo>
                      <a:pt x="7716" y="4039"/>
                    </a:lnTo>
                    <a:lnTo>
                      <a:pt x="7722" y="4039"/>
                    </a:lnTo>
                    <a:lnTo>
                      <a:pt x="7726" y="4039"/>
                    </a:lnTo>
                    <a:lnTo>
                      <a:pt x="7729" y="4038"/>
                    </a:lnTo>
                    <a:lnTo>
                      <a:pt x="7732" y="4036"/>
                    </a:lnTo>
                    <a:lnTo>
                      <a:pt x="7735" y="4034"/>
                    </a:lnTo>
                    <a:lnTo>
                      <a:pt x="7735" y="4032"/>
                    </a:lnTo>
                    <a:lnTo>
                      <a:pt x="7735" y="4029"/>
                    </a:lnTo>
                    <a:lnTo>
                      <a:pt x="7732" y="4026"/>
                    </a:lnTo>
                    <a:lnTo>
                      <a:pt x="7731" y="4024"/>
                    </a:lnTo>
                    <a:lnTo>
                      <a:pt x="7727" y="4018"/>
                    </a:lnTo>
                    <a:lnTo>
                      <a:pt x="7722" y="4011"/>
                    </a:lnTo>
                    <a:lnTo>
                      <a:pt x="7716" y="4006"/>
                    </a:lnTo>
                    <a:lnTo>
                      <a:pt x="7716" y="4004"/>
                    </a:lnTo>
                    <a:lnTo>
                      <a:pt x="7714" y="4004"/>
                    </a:lnTo>
                    <a:lnTo>
                      <a:pt x="7713" y="4003"/>
                    </a:lnTo>
                    <a:lnTo>
                      <a:pt x="7709" y="4004"/>
                    </a:lnTo>
                    <a:lnTo>
                      <a:pt x="7703" y="4006"/>
                    </a:lnTo>
                    <a:lnTo>
                      <a:pt x="7696" y="4010"/>
                    </a:lnTo>
                    <a:lnTo>
                      <a:pt x="7691" y="4016"/>
                    </a:lnTo>
                    <a:lnTo>
                      <a:pt x="7683" y="4021"/>
                    </a:lnTo>
                    <a:lnTo>
                      <a:pt x="7676" y="4026"/>
                    </a:lnTo>
                    <a:lnTo>
                      <a:pt x="7667" y="4034"/>
                    </a:lnTo>
                    <a:lnTo>
                      <a:pt x="7667" y="4034"/>
                    </a:lnTo>
                    <a:lnTo>
                      <a:pt x="7667" y="4034"/>
                    </a:lnTo>
                    <a:lnTo>
                      <a:pt x="7667" y="4034"/>
                    </a:lnTo>
                    <a:lnTo>
                      <a:pt x="7667" y="4034"/>
                    </a:lnTo>
                    <a:lnTo>
                      <a:pt x="7670" y="4029"/>
                    </a:lnTo>
                    <a:lnTo>
                      <a:pt x="7678" y="4018"/>
                    </a:lnTo>
                    <a:lnTo>
                      <a:pt x="7683" y="4006"/>
                    </a:lnTo>
                    <a:lnTo>
                      <a:pt x="7646" y="4031"/>
                    </a:lnTo>
                    <a:lnTo>
                      <a:pt x="7627" y="4044"/>
                    </a:lnTo>
                    <a:lnTo>
                      <a:pt x="7611" y="4056"/>
                    </a:lnTo>
                    <a:lnTo>
                      <a:pt x="7594" y="4069"/>
                    </a:lnTo>
                    <a:lnTo>
                      <a:pt x="7579" y="4082"/>
                    </a:lnTo>
                    <a:lnTo>
                      <a:pt x="7565" y="4095"/>
                    </a:lnTo>
                    <a:lnTo>
                      <a:pt x="7552" y="4108"/>
                    </a:lnTo>
                    <a:lnTo>
                      <a:pt x="7554" y="4110"/>
                    </a:lnTo>
                    <a:lnTo>
                      <a:pt x="7558" y="4111"/>
                    </a:lnTo>
                    <a:lnTo>
                      <a:pt x="7561" y="4111"/>
                    </a:lnTo>
                    <a:lnTo>
                      <a:pt x="7566" y="4111"/>
                    </a:lnTo>
                    <a:lnTo>
                      <a:pt x="7571" y="4110"/>
                    </a:lnTo>
                    <a:lnTo>
                      <a:pt x="7574" y="4108"/>
                    </a:lnTo>
                    <a:lnTo>
                      <a:pt x="7579" y="4106"/>
                    </a:lnTo>
                    <a:lnTo>
                      <a:pt x="7584" y="4102"/>
                    </a:lnTo>
                    <a:lnTo>
                      <a:pt x="7592" y="4095"/>
                    </a:lnTo>
                    <a:lnTo>
                      <a:pt x="7602" y="4087"/>
                    </a:lnTo>
                    <a:lnTo>
                      <a:pt x="7611" y="4080"/>
                    </a:lnTo>
                    <a:lnTo>
                      <a:pt x="7617" y="4072"/>
                    </a:lnTo>
                    <a:lnTo>
                      <a:pt x="7617" y="4077"/>
                    </a:lnTo>
                    <a:lnTo>
                      <a:pt x="7615" y="4080"/>
                    </a:lnTo>
                    <a:lnTo>
                      <a:pt x="7615" y="4082"/>
                    </a:lnTo>
                    <a:lnTo>
                      <a:pt x="7611" y="4085"/>
                    </a:lnTo>
                    <a:lnTo>
                      <a:pt x="7609" y="4090"/>
                    </a:lnTo>
                    <a:lnTo>
                      <a:pt x="7606" y="4092"/>
                    </a:lnTo>
                    <a:lnTo>
                      <a:pt x="7599" y="4098"/>
                    </a:lnTo>
                    <a:lnTo>
                      <a:pt x="7591" y="4105"/>
                    </a:lnTo>
                    <a:lnTo>
                      <a:pt x="7581" y="4111"/>
                    </a:lnTo>
                    <a:lnTo>
                      <a:pt x="7574" y="4117"/>
                    </a:lnTo>
                    <a:lnTo>
                      <a:pt x="7572" y="4120"/>
                    </a:lnTo>
                    <a:lnTo>
                      <a:pt x="7572" y="4120"/>
                    </a:lnTo>
                    <a:lnTo>
                      <a:pt x="7572" y="4120"/>
                    </a:lnTo>
                    <a:lnTo>
                      <a:pt x="7574" y="4118"/>
                    </a:lnTo>
                    <a:lnTo>
                      <a:pt x="7578" y="4117"/>
                    </a:lnTo>
                    <a:lnTo>
                      <a:pt x="7579" y="4117"/>
                    </a:lnTo>
                    <a:lnTo>
                      <a:pt x="7587" y="4115"/>
                    </a:lnTo>
                    <a:lnTo>
                      <a:pt x="7592" y="4115"/>
                    </a:lnTo>
                    <a:lnTo>
                      <a:pt x="7599" y="4115"/>
                    </a:lnTo>
                    <a:lnTo>
                      <a:pt x="7606" y="4113"/>
                    </a:lnTo>
                    <a:lnTo>
                      <a:pt x="7607" y="4113"/>
                    </a:lnTo>
                    <a:lnTo>
                      <a:pt x="7611" y="4111"/>
                    </a:lnTo>
                    <a:lnTo>
                      <a:pt x="7615" y="4110"/>
                    </a:lnTo>
                    <a:lnTo>
                      <a:pt x="7617" y="4108"/>
                    </a:lnTo>
                    <a:lnTo>
                      <a:pt x="7620" y="4106"/>
                    </a:lnTo>
                    <a:lnTo>
                      <a:pt x="7624" y="4106"/>
                    </a:lnTo>
                    <a:lnTo>
                      <a:pt x="7627" y="4105"/>
                    </a:lnTo>
                    <a:lnTo>
                      <a:pt x="7632" y="4102"/>
                    </a:lnTo>
                    <a:lnTo>
                      <a:pt x="7637" y="4098"/>
                    </a:lnTo>
                    <a:lnTo>
                      <a:pt x="7640" y="4095"/>
                    </a:lnTo>
                    <a:lnTo>
                      <a:pt x="7650" y="4087"/>
                    </a:lnTo>
                    <a:lnTo>
                      <a:pt x="7660" y="4080"/>
                    </a:lnTo>
                    <a:lnTo>
                      <a:pt x="7668" y="4071"/>
                    </a:lnTo>
                    <a:lnTo>
                      <a:pt x="7676" y="4064"/>
                    </a:lnTo>
                    <a:lnTo>
                      <a:pt x="7683" y="4056"/>
                    </a:lnTo>
                    <a:lnTo>
                      <a:pt x="7683" y="4062"/>
                    </a:lnTo>
                    <a:lnTo>
                      <a:pt x="7679" y="4069"/>
                    </a:lnTo>
                    <a:lnTo>
                      <a:pt x="7679" y="4071"/>
                    </a:lnTo>
                    <a:lnTo>
                      <a:pt x="7679" y="4071"/>
                    </a:lnTo>
                    <a:lnTo>
                      <a:pt x="7679" y="4071"/>
                    </a:lnTo>
                    <a:close/>
                    <a:moveTo>
                      <a:pt x="7711" y="4051"/>
                    </a:moveTo>
                    <a:lnTo>
                      <a:pt x="7714" y="4047"/>
                    </a:lnTo>
                    <a:lnTo>
                      <a:pt x="7714" y="4044"/>
                    </a:lnTo>
                    <a:lnTo>
                      <a:pt x="7716" y="4039"/>
                    </a:lnTo>
                    <a:lnTo>
                      <a:pt x="7709" y="4047"/>
                    </a:lnTo>
                    <a:lnTo>
                      <a:pt x="7703" y="4054"/>
                    </a:lnTo>
                    <a:lnTo>
                      <a:pt x="7696" y="4064"/>
                    </a:lnTo>
                    <a:lnTo>
                      <a:pt x="7688" y="4072"/>
                    </a:lnTo>
                    <a:lnTo>
                      <a:pt x="7699" y="4064"/>
                    </a:lnTo>
                    <a:lnTo>
                      <a:pt x="7703" y="4060"/>
                    </a:lnTo>
                    <a:lnTo>
                      <a:pt x="7707" y="4054"/>
                    </a:lnTo>
                    <a:lnTo>
                      <a:pt x="7711" y="4051"/>
                    </a:lnTo>
                    <a:close/>
                    <a:moveTo>
                      <a:pt x="7666" y="4092"/>
                    </a:moveTo>
                    <a:lnTo>
                      <a:pt x="7663" y="4095"/>
                    </a:lnTo>
                    <a:lnTo>
                      <a:pt x="7657" y="4100"/>
                    </a:lnTo>
                    <a:lnTo>
                      <a:pt x="7656" y="4101"/>
                    </a:lnTo>
                    <a:lnTo>
                      <a:pt x="7650" y="4108"/>
                    </a:lnTo>
                    <a:lnTo>
                      <a:pt x="7661" y="4100"/>
                    </a:lnTo>
                    <a:lnTo>
                      <a:pt x="7672" y="4092"/>
                    </a:lnTo>
                    <a:lnTo>
                      <a:pt x="7681" y="4082"/>
                    </a:lnTo>
                    <a:lnTo>
                      <a:pt x="7688" y="4072"/>
                    </a:lnTo>
                    <a:lnTo>
                      <a:pt x="7678" y="4082"/>
                    </a:lnTo>
                    <a:lnTo>
                      <a:pt x="7666" y="4092"/>
                    </a:lnTo>
                    <a:close/>
                    <a:moveTo>
                      <a:pt x="7656" y="4101"/>
                    </a:moveTo>
                    <a:lnTo>
                      <a:pt x="7663" y="4095"/>
                    </a:lnTo>
                    <a:lnTo>
                      <a:pt x="7668" y="4087"/>
                    </a:lnTo>
                    <a:lnTo>
                      <a:pt x="7672" y="4082"/>
                    </a:lnTo>
                    <a:lnTo>
                      <a:pt x="7678" y="4075"/>
                    </a:lnTo>
                    <a:lnTo>
                      <a:pt x="7679" y="4071"/>
                    </a:lnTo>
                    <a:lnTo>
                      <a:pt x="7679" y="4071"/>
                    </a:lnTo>
                    <a:lnTo>
                      <a:pt x="7679" y="4071"/>
                    </a:lnTo>
                    <a:lnTo>
                      <a:pt x="7678" y="4072"/>
                    </a:lnTo>
                    <a:lnTo>
                      <a:pt x="7670" y="4082"/>
                    </a:lnTo>
                    <a:lnTo>
                      <a:pt x="7663" y="4092"/>
                    </a:lnTo>
                    <a:lnTo>
                      <a:pt x="7655" y="4100"/>
                    </a:lnTo>
                    <a:lnTo>
                      <a:pt x="7650" y="4108"/>
                    </a:lnTo>
                    <a:lnTo>
                      <a:pt x="7653" y="4105"/>
                    </a:lnTo>
                    <a:lnTo>
                      <a:pt x="7656" y="4101"/>
                    </a:lnTo>
                    <a:close/>
                    <a:moveTo>
                      <a:pt x="7662" y="4114"/>
                    </a:moveTo>
                    <a:lnTo>
                      <a:pt x="7662" y="4114"/>
                    </a:lnTo>
                    <a:lnTo>
                      <a:pt x="7662" y="4114"/>
                    </a:lnTo>
                    <a:lnTo>
                      <a:pt x="7665" y="4111"/>
                    </a:lnTo>
                    <a:lnTo>
                      <a:pt x="7670" y="4108"/>
                    </a:lnTo>
                    <a:lnTo>
                      <a:pt x="7678" y="4102"/>
                    </a:lnTo>
                    <a:lnTo>
                      <a:pt x="7685" y="4097"/>
                    </a:lnTo>
                    <a:lnTo>
                      <a:pt x="7688" y="4093"/>
                    </a:lnTo>
                    <a:lnTo>
                      <a:pt x="7691" y="4090"/>
                    </a:lnTo>
                    <a:lnTo>
                      <a:pt x="7694" y="4085"/>
                    </a:lnTo>
                    <a:lnTo>
                      <a:pt x="7698" y="4080"/>
                    </a:lnTo>
                    <a:lnTo>
                      <a:pt x="7701" y="4075"/>
                    </a:lnTo>
                    <a:lnTo>
                      <a:pt x="7706" y="4069"/>
                    </a:lnTo>
                    <a:lnTo>
                      <a:pt x="7678" y="4097"/>
                    </a:lnTo>
                    <a:lnTo>
                      <a:pt x="7662" y="4114"/>
                    </a:lnTo>
                    <a:close/>
                    <a:moveTo>
                      <a:pt x="7662" y="4114"/>
                    </a:moveTo>
                    <a:lnTo>
                      <a:pt x="7657" y="4117"/>
                    </a:lnTo>
                    <a:lnTo>
                      <a:pt x="7652" y="4125"/>
                    </a:lnTo>
                    <a:lnTo>
                      <a:pt x="7662" y="4114"/>
                    </a:lnTo>
                    <a:lnTo>
                      <a:pt x="7662" y="4114"/>
                    </a:lnTo>
                    <a:lnTo>
                      <a:pt x="7662" y="4114"/>
                    </a:lnTo>
                    <a:close/>
                    <a:moveTo>
                      <a:pt x="7681" y="3947"/>
                    </a:moveTo>
                    <a:lnTo>
                      <a:pt x="7683" y="3947"/>
                    </a:lnTo>
                    <a:lnTo>
                      <a:pt x="7685" y="3947"/>
                    </a:lnTo>
                    <a:lnTo>
                      <a:pt x="7685" y="3944"/>
                    </a:lnTo>
                    <a:lnTo>
                      <a:pt x="7686" y="3940"/>
                    </a:lnTo>
                    <a:lnTo>
                      <a:pt x="7686" y="3934"/>
                    </a:lnTo>
                    <a:lnTo>
                      <a:pt x="7679" y="3934"/>
                    </a:lnTo>
                    <a:lnTo>
                      <a:pt x="7676" y="3934"/>
                    </a:lnTo>
                    <a:lnTo>
                      <a:pt x="7672" y="3934"/>
                    </a:lnTo>
                    <a:lnTo>
                      <a:pt x="7670" y="3934"/>
                    </a:lnTo>
                    <a:lnTo>
                      <a:pt x="7668" y="3934"/>
                    </a:lnTo>
                    <a:lnTo>
                      <a:pt x="7674" y="3940"/>
                    </a:lnTo>
                    <a:lnTo>
                      <a:pt x="7678" y="3944"/>
                    </a:lnTo>
                    <a:lnTo>
                      <a:pt x="7681" y="3947"/>
                    </a:lnTo>
                    <a:close/>
                    <a:moveTo>
                      <a:pt x="7737" y="4067"/>
                    </a:moveTo>
                    <a:lnTo>
                      <a:pt x="7744" y="4064"/>
                    </a:lnTo>
                    <a:lnTo>
                      <a:pt x="7752" y="4057"/>
                    </a:lnTo>
                    <a:lnTo>
                      <a:pt x="7757" y="4051"/>
                    </a:lnTo>
                    <a:lnTo>
                      <a:pt x="7762" y="4044"/>
                    </a:lnTo>
                    <a:lnTo>
                      <a:pt x="7764" y="4038"/>
                    </a:lnTo>
                    <a:lnTo>
                      <a:pt x="7767" y="4032"/>
                    </a:lnTo>
                    <a:lnTo>
                      <a:pt x="7767" y="4026"/>
                    </a:lnTo>
                    <a:lnTo>
                      <a:pt x="7768" y="4021"/>
                    </a:lnTo>
                    <a:lnTo>
                      <a:pt x="7764" y="4019"/>
                    </a:lnTo>
                    <a:lnTo>
                      <a:pt x="7760" y="4019"/>
                    </a:lnTo>
                    <a:lnTo>
                      <a:pt x="7757" y="4019"/>
                    </a:lnTo>
                    <a:lnTo>
                      <a:pt x="7753" y="4019"/>
                    </a:lnTo>
                    <a:lnTo>
                      <a:pt x="7749" y="4023"/>
                    </a:lnTo>
                    <a:lnTo>
                      <a:pt x="7746" y="4024"/>
                    </a:lnTo>
                    <a:lnTo>
                      <a:pt x="7742" y="4029"/>
                    </a:lnTo>
                    <a:lnTo>
                      <a:pt x="7740" y="4034"/>
                    </a:lnTo>
                    <a:lnTo>
                      <a:pt x="7732" y="4044"/>
                    </a:lnTo>
                    <a:lnTo>
                      <a:pt x="7727" y="4052"/>
                    </a:lnTo>
                    <a:lnTo>
                      <a:pt x="7726" y="4057"/>
                    </a:lnTo>
                    <a:lnTo>
                      <a:pt x="7724" y="4064"/>
                    </a:lnTo>
                    <a:lnTo>
                      <a:pt x="7724" y="4067"/>
                    </a:lnTo>
                    <a:lnTo>
                      <a:pt x="7724" y="4071"/>
                    </a:lnTo>
                    <a:lnTo>
                      <a:pt x="7729" y="4069"/>
                    </a:lnTo>
                    <a:lnTo>
                      <a:pt x="7737" y="4067"/>
                    </a:lnTo>
                    <a:close/>
                    <a:moveTo>
                      <a:pt x="8992" y="5555"/>
                    </a:moveTo>
                    <a:lnTo>
                      <a:pt x="8997" y="5553"/>
                    </a:lnTo>
                    <a:lnTo>
                      <a:pt x="9003" y="5552"/>
                    </a:lnTo>
                    <a:lnTo>
                      <a:pt x="9005" y="5548"/>
                    </a:lnTo>
                    <a:lnTo>
                      <a:pt x="9006" y="5544"/>
                    </a:lnTo>
                    <a:lnTo>
                      <a:pt x="9008" y="5539"/>
                    </a:lnTo>
                    <a:lnTo>
                      <a:pt x="9008" y="5532"/>
                    </a:lnTo>
                    <a:lnTo>
                      <a:pt x="9010" y="5520"/>
                    </a:lnTo>
                    <a:lnTo>
                      <a:pt x="9008" y="5520"/>
                    </a:lnTo>
                    <a:lnTo>
                      <a:pt x="9006" y="5520"/>
                    </a:lnTo>
                    <a:lnTo>
                      <a:pt x="9005" y="5522"/>
                    </a:lnTo>
                    <a:lnTo>
                      <a:pt x="8998" y="5526"/>
                    </a:lnTo>
                    <a:lnTo>
                      <a:pt x="8993" y="5529"/>
                    </a:lnTo>
                    <a:lnTo>
                      <a:pt x="8992" y="5533"/>
                    </a:lnTo>
                    <a:lnTo>
                      <a:pt x="8990" y="5535"/>
                    </a:lnTo>
                    <a:lnTo>
                      <a:pt x="8988" y="5539"/>
                    </a:lnTo>
                    <a:lnTo>
                      <a:pt x="8986" y="5542"/>
                    </a:lnTo>
                    <a:lnTo>
                      <a:pt x="8986" y="5544"/>
                    </a:lnTo>
                    <a:lnTo>
                      <a:pt x="8988" y="5548"/>
                    </a:lnTo>
                    <a:lnTo>
                      <a:pt x="8990" y="5552"/>
                    </a:lnTo>
                    <a:lnTo>
                      <a:pt x="8992" y="5555"/>
                    </a:lnTo>
                    <a:close/>
                    <a:moveTo>
                      <a:pt x="8468" y="6089"/>
                    </a:moveTo>
                    <a:lnTo>
                      <a:pt x="8465" y="6093"/>
                    </a:lnTo>
                    <a:lnTo>
                      <a:pt x="8463" y="6097"/>
                    </a:lnTo>
                    <a:lnTo>
                      <a:pt x="8462" y="6098"/>
                    </a:lnTo>
                    <a:lnTo>
                      <a:pt x="8462" y="6102"/>
                    </a:lnTo>
                    <a:lnTo>
                      <a:pt x="8462" y="6103"/>
                    </a:lnTo>
                    <a:lnTo>
                      <a:pt x="8462" y="6105"/>
                    </a:lnTo>
                    <a:lnTo>
                      <a:pt x="8463" y="6103"/>
                    </a:lnTo>
                    <a:lnTo>
                      <a:pt x="8465" y="6103"/>
                    </a:lnTo>
                    <a:lnTo>
                      <a:pt x="8470" y="6102"/>
                    </a:lnTo>
                    <a:lnTo>
                      <a:pt x="8473" y="6100"/>
                    </a:lnTo>
                    <a:lnTo>
                      <a:pt x="8475" y="6097"/>
                    </a:lnTo>
                    <a:lnTo>
                      <a:pt x="8476" y="6093"/>
                    </a:lnTo>
                    <a:lnTo>
                      <a:pt x="8478" y="6087"/>
                    </a:lnTo>
                    <a:lnTo>
                      <a:pt x="8473" y="6087"/>
                    </a:lnTo>
                    <a:lnTo>
                      <a:pt x="8468" y="6089"/>
                    </a:lnTo>
                    <a:close/>
                    <a:moveTo>
                      <a:pt x="7961" y="3430"/>
                    </a:moveTo>
                    <a:lnTo>
                      <a:pt x="7954" y="3435"/>
                    </a:lnTo>
                    <a:lnTo>
                      <a:pt x="7949" y="3440"/>
                    </a:lnTo>
                    <a:lnTo>
                      <a:pt x="7945" y="3441"/>
                    </a:lnTo>
                    <a:lnTo>
                      <a:pt x="7941" y="3447"/>
                    </a:lnTo>
                    <a:lnTo>
                      <a:pt x="7940" y="3450"/>
                    </a:lnTo>
                    <a:lnTo>
                      <a:pt x="7940" y="3458"/>
                    </a:lnTo>
                    <a:lnTo>
                      <a:pt x="7945" y="3450"/>
                    </a:lnTo>
                    <a:lnTo>
                      <a:pt x="7949" y="3447"/>
                    </a:lnTo>
                    <a:lnTo>
                      <a:pt x="7953" y="3443"/>
                    </a:lnTo>
                    <a:lnTo>
                      <a:pt x="7954" y="3441"/>
                    </a:lnTo>
                    <a:lnTo>
                      <a:pt x="7956" y="3440"/>
                    </a:lnTo>
                    <a:lnTo>
                      <a:pt x="7960" y="3438"/>
                    </a:lnTo>
                    <a:lnTo>
                      <a:pt x="7961" y="3438"/>
                    </a:lnTo>
                    <a:lnTo>
                      <a:pt x="7966" y="3435"/>
                    </a:lnTo>
                    <a:lnTo>
                      <a:pt x="7969" y="3434"/>
                    </a:lnTo>
                    <a:lnTo>
                      <a:pt x="7971" y="3430"/>
                    </a:lnTo>
                    <a:lnTo>
                      <a:pt x="7973" y="3427"/>
                    </a:lnTo>
                    <a:lnTo>
                      <a:pt x="7974" y="3420"/>
                    </a:lnTo>
                    <a:lnTo>
                      <a:pt x="7967" y="3427"/>
                    </a:lnTo>
                    <a:lnTo>
                      <a:pt x="7961" y="3430"/>
                    </a:lnTo>
                    <a:close/>
                    <a:moveTo>
                      <a:pt x="8292" y="3267"/>
                    </a:moveTo>
                    <a:lnTo>
                      <a:pt x="8281" y="3267"/>
                    </a:lnTo>
                    <a:lnTo>
                      <a:pt x="8272" y="3267"/>
                    </a:lnTo>
                    <a:lnTo>
                      <a:pt x="8262" y="3269"/>
                    </a:lnTo>
                    <a:lnTo>
                      <a:pt x="8251" y="3272"/>
                    </a:lnTo>
                    <a:lnTo>
                      <a:pt x="8244" y="3273"/>
                    </a:lnTo>
                    <a:lnTo>
                      <a:pt x="8236" y="3277"/>
                    </a:lnTo>
                    <a:lnTo>
                      <a:pt x="8244" y="3277"/>
                    </a:lnTo>
                    <a:lnTo>
                      <a:pt x="8251" y="3275"/>
                    </a:lnTo>
                    <a:lnTo>
                      <a:pt x="8262" y="3275"/>
                    </a:lnTo>
                    <a:lnTo>
                      <a:pt x="8272" y="3275"/>
                    </a:lnTo>
                    <a:lnTo>
                      <a:pt x="8281" y="3273"/>
                    </a:lnTo>
                    <a:lnTo>
                      <a:pt x="8292" y="3272"/>
                    </a:lnTo>
                    <a:lnTo>
                      <a:pt x="8300" y="3269"/>
                    </a:lnTo>
                    <a:lnTo>
                      <a:pt x="8309" y="3267"/>
                    </a:lnTo>
                    <a:lnTo>
                      <a:pt x="8300" y="3267"/>
                    </a:lnTo>
                    <a:lnTo>
                      <a:pt x="8292" y="3267"/>
                    </a:lnTo>
                    <a:close/>
                    <a:moveTo>
                      <a:pt x="7645" y="4018"/>
                    </a:moveTo>
                    <a:lnTo>
                      <a:pt x="7635" y="4019"/>
                    </a:lnTo>
                    <a:lnTo>
                      <a:pt x="7627" y="4023"/>
                    </a:lnTo>
                    <a:lnTo>
                      <a:pt x="7609" y="4029"/>
                    </a:lnTo>
                    <a:lnTo>
                      <a:pt x="7602" y="4032"/>
                    </a:lnTo>
                    <a:lnTo>
                      <a:pt x="7594" y="4034"/>
                    </a:lnTo>
                    <a:lnTo>
                      <a:pt x="7587" y="4038"/>
                    </a:lnTo>
                    <a:lnTo>
                      <a:pt x="7581" y="4039"/>
                    </a:lnTo>
                    <a:lnTo>
                      <a:pt x="7578" y="4044"/>
                    </a:lnTo>
                    <a:lnTo>
                      <a:pt x="7578" y="4045"/>
                    </a:lnTo>
                    <a:lnTo>
                      <a:pt x="7576" y="4045"/>
                    </a:lnTo>
                    <a:lnTo>
                      <a:pt x="7576" y="4047"/>
                    </a:lnTo>
                    <a:lnTo>
                      <a:pt x="7576" y="4049"/>
                    </a:lnTo>
                    <a:lnTo>
                      <a:pt x="7578" y="4051"/>
                    </a:lnTo>
                    <a:lnTo>
                      <a:pt x="7578" y="4052"/>
                    </a:lnTo>
                    <a:lnTo>
                      <a:pt x="7591" y="4051"/>
                    </a:lnTo>
                    <a:lnTo>
                      <a:pt x="7606" y="4049"/>
                    </a:lnTo>
                    <a:lnTo>
                      <a:pt x="7617" y="4045"/>
                    </a:lnTo>
                    <a:lnTo>
                      <a:pt x="7630" y="4039"/>
                    </a:lnTo>
                    <a:lnTo>
                      <a:pt x="7640" y="4034"/>
                    </a:lnTo>
                    <a:lnTo>
                      <a:pt x="7652" y="4024"/>
                    </a:lnTo>
                    <a:lnTo>
                      <a:pt x="7661" y="4016"/>
                    </a:lnTo>
                    <a:lnTo>
                      <a:pt x="7668" y="4006"/>
                    </a:lnTo>
                    <a:lnTo>
                      <a:pt x="7663" y="4008"/>
                    </a:lnTo>
                    <a:lnTo>
                      <a:pt x="7657" y="4011"/>
                    </a:lnTo>
                    <a:lnTo>
                      <a:pt x="7652" y="4014"/>
                    </a:lnTo>
                    <a:lnTo>
                      <a:pt x="7645" y="4018"/>
                    </a:lnTo>
                    <a:close/>
                    <a:moveTo>
                      <a:pt x="8578" y="378"/>
                    </a:moveTo>
                    <a:lnTo>
                      <a:pt x="8582" y="382"/>
                    </a:lnTo>
                    <a:lnTo>
                      <a:pt x="8583" y="385"/>
                    </a:lnTo>
                    <a:lnTo>
                      <a:pt x="8585" y="388"/>
                    </a:lnTo>
                    <a:lnTo>
                      <a:pt x="8585" y="390"/>
                    </a:lnTo>
                    <a:lnTo>
                      <a:pt x="8587" y="393"/>
                    </a:lnTo>
                    <a:lnTo>
                      <a:pt x="8590" y="395"/>
                    </a:lnTo>
                    <a:lnTo>
                      <a:pt x="8591" y="396"/>
                    </a:lnTo>
                    <a:lnTo>
                      <a:pt x="8593" y="396"/>
                    </a:lnTo>
                    <a:lnTo>
                      <a:pt x="8597" y="396"/>
                    </a:lnTo>
                    <a:lnTo>
                      <a:pt x="8598" y="396"/>
                    </a:lnTo>
                    <a:lnTo>
                      <a:pt x="8602" y="396"/>
                    </a:lnTo>
                    <a:lnTo>
                      <a:pt x="8608" y="396"/>
                    </a:lnTo>
                    <a:lnTo>
                      <a:pt x="8615" y="396"/>
                    </a:lnTo>
                    <a:lnTo>
                      <a:pt x="8619" y="396"/>
                    </a:lnTo>
                    <a:lnTo>
                      <a:pt x="8623" y="396"/>
                    </a:lnTo>
                    <a:lnTo>
                      <a:pt x="8628" y="395"/>
                    </a:lnTo>
                    <a:lnTo>
                      <a:pt x="8633" y="395"/>
                    </a:lnTo>
                    <a:lnTo>
                      <a:pt x="8644" y="391"/>
                    </a:lnTo>
                    <a:lnTo>
                      <a:pt x="8657" y="385"/>
                    </a:lnTo>
                    <a:lnTo>
                      <a:pt x="8663" y="383"/>
                    </a:lnTo>
                    <a:lnTo>
                      <a:pt x="8669" y="380"/>
                    </a:lnTo>
                    <a:lnTo>
                      <a:pt x="8672" y="378"/>
                    </a:lnTo>
                    <a:lnTo>
                      <a:pt x="8677" y="375"/>
                    </a:lnTo>
                    <a:lnTo>
                      <a:pt x="8682" y="370"/>
                    </a:lnTo>
                    <a:lnTo>
                      <a:pt x="8684" y="367"/>
                    </a:lnTo>
                    <a:lnTo>
                      <a:pt x="8685" y="363"/>
                    </a:lnTo>
                    <a:lnTo>
                      <a:pt x="8687" y="360"/>
                    </a:lnTo>
                    <a:lnTo>
                      <a:pt x="8685" y="358"/>
                    </a:lnTo>
                    <a:lnTo>
                      <a:pt x="8684" y="354"/>
                    </a:lnTo>
                    <a:lnTo>
                      <a:pt x="8682" y="352"/>
                    </a:lnTo>
                    <a:lnTo>
                      <a:pt x="8677" y="350"/>
                    </a:lnTo>
                    <a:lnTo>
                      <a:pt x="8674" y="349"/>
                    </a:lnTo>
                    <a:lnTo>
                      <a:pt x="8669" y="347"/>
                    </a:lnTo>
                    <a:lnTo>
                      <a:pt x="8659" y="345"/>
                    </a:lnTo>
                    <a:lnTo>
                      <a:pt x="8651" y="343"/>
                    </a:lnTo>
                    <a:lnTo>
                      <a:pt x="8644" y="343"/>
                    </a:lnTo>
                    <a:lnTo>
                      <a:pt x="8641" y="343"/>
                    </a:lnTo>
                    <a:lnTo>
                      <a:pt x="8637" y="343"/>
                    </a:lnTo>
                    <a:lnTo>
                      <a:pt x="8636" y="342"/>
                    </a:lnTo>
                    <a:lnTo>
                      <a:pt x="8633" y="342"/>
                    </a:lnTo>
                    <a:lnTo>
                      <a:pt x="8631" y="342"/>
                    </a:lnTo>
                    <a:lnTo>
                      <a:pt x="8619" y="343"/>
                    </a:lnTo>
                    <a:lnTo>
                      <a:pt x="8606" y="343"/>
                    </a:lnTo>
                    <a:lnTo>
                      <a:pt x="8591" y="345"/>
                    </a:lnTo>
                    <a:lnTo>
                      <a:pt x="8578" y="347"/>
                    </a:lnTo>
                    <a:lnTo>
                      <a:pt x="8570" y="349"/>
                    </a:lnTo>
                    <a:lnTo>
                      <a:pt x="8565" y="350"/>
                    </a:lnTo>
                    <a:lnTo>
                      <a:pt x="8558" y="354"/>
                    </a:lnTo>
                    <a:lnTo>
                      <a:pt x="8550" y="358"/>
                    </a:lnTo>
                    <a:lnTo>
                      <a:pt x="8545" y="362"/>
                    </a:lnTo>
                    <a:lnTo>
                      <a:pt x="8537" y="367"/>
                    </a:lnTo>
                    <a:lnTo>
                      <a:pt x="8530" y="373"/>
                    </a:lnTo>
                    <a:lnTo>
                      <a:pt x="8524" y="378"/>
                    </a:lnTo>
                    <a:lnTo>
                      <a:pt x="8550" y="378"/>
                    </a:lnTo>
                    <a:lnTo>
                      <a:pt x="8578" y="378"/>
                    </a:lnTo>
                    <a:close/>
                    <a:moveTo>
                      <a:pt x="8784" y="594"/>
                    </a:moveTo>
                    <a:lnTo>
                      <a:pt x="8784" y="597"/>
                    </a:lnTo>
                    <a:lnTo>
                      <a:pt x="8784" y="604"/>
                    </a:lnTo>
                    <a:lnTo>
                      <a:pt x="8791" y="597"/>
                    </a:lnTo>
                    <a:lnTo>
                      <a:pt x="8794" y="594"/>
                    </a:lnTo>
                    <a:lnTo>
                      <a:pt x="8798" y="591"/>
                    </a:lnTo>
                    <a:lnTo>
                      <a:pt x="8799" y="589"/>
                    </a:lnTo>
                    <a:lnTo>
                      <a:pt x="8802" y="587"/>
                    </a:lnTo>
                    <a:lnTo>
                      <a:pt x="8804" y="585"/>
                    </a:lnTo>
                    <a:lnTo>
                      <a:pt x="8796" y="585"/>
                    </a:lnTo>
                    <a:lnTo>
                      <a:pt x="8792" y="587"/>
                    </a:lnTo>
                    <a:lnTo>
                      <a:pt x="8789" y="587"/>
                    </a:lnTo>
                    <a:lnTo>
                      <a:pt x="8787" y="589"/>
                    </a:lnTo>
                    <a:lnTo>
                      <a:pt x="8784" y="591"/>
                    </a:lnTo>
                    <a:lnTo>
                      <a:pt x="8784" y="594"/>
                    </a:lnTo>
                    <a:close/>
                    <a:moveTo>
                      <a:pt x="8903" y="437"/>
                    </a:moveTo>
                    <a:lnTo>
                      <a:pt x="8906" y="439"/>
                    </a:lnTo>
                    <a:lnTo>
                      <a:pt x="8911" y="441"/>
                    </a:lnTo>
                    <a:lnTo>
                      <a:pt x="8914" y="443"/>
                    </a:lnTo>
                    <a:lnTo>
                      <a:pt x="8912" y="443"/>
                    </a:lnTo>
                    <a:lnTo>
                      <a:pt x="8911" y="443"/>
                    </a:lnTo>
                    <a:lnTo>
                      <a:pt x="8919" y="446"/>
                    </a:lnTo>
                    <a:lnTo>
                      <a:pt x="8931" y="449"/>
                    </a:lnTo>
                    <a:lnTo>
                      <a:pt x="8940" y="450"/>
                    </a:lnTo>
                    <a:lnTo>
                      <a:pt x="8951" y="450"/>
                    </a:lnTo>
                    <a:lnTo>
                      <a:pt x="8962" y="452"/>
                    </a:lnTo>
                    <a:lnTo>
                      <a:pt x="8973" y="452"/>
                    </a:lnTo>
                    <a:lnTo>
                      <a:pt x="8993" y="450"/>
                    </a:lnTo>
                    <a:lnTo>
                      <a:pt x="9013" y="449"/>
                    </a:lnTo>
                    <a:lnTo>
                      <a:pt x="9025" y="446"/>
                    </a:lnTo>
                    <a:lnTo>
                      <a:pt x="9034" y="446"/>
                    </a:lnTo>
                    <a:lnTo>
                      <a:pt x="9041" y="444"/>
                    </a:lnTo>
                    <a:lnTo>
                      <a:pt x="9046" y="444"/>
                    </a:lnTo>
                    <a:lnTo>
                      <a:pt x="9039" y="446"/>
                    </a:lnTo>
                    <a:lnTo>
                      <a:pt x="9033" y="449"/>
                    </a:lnTo>
                    <a:lnTo>
                      <a:pt x="9026" y="450"/>
                    </a:lnTo>
                    <a:lnTo>
                      <a:pt x="9019" y="456"/>
                    </a:lnTo>
                    <a:lnTo>
                      <a:pt x="9013" y="461"/>
                    </a:lnTo>
                    <a:lnTo>
                      <a:pt x="9026" y="459"/>
                    </a:lnTo>
                    <a:lnTo>
                      <a:pt x="9041" y="457"/>
                    </a:lnTo>
                    <a:lnTo>
                      <a:pt x="9056" y="454"/>
                    </a:lnTo>
                    <a:lnTo>
                      <a:pt x="9072" y="450"/>
                    </a:lnTo>
                    <a:lnTo>
                      <a:pt x="9089" y="444"/>
                    </a:lnTo>
                    <a:lnTo>
                      <a:pt x="9104" y="439"/>
                    </a:lnTo>
                    <a:lnTo>
                      <a:pt x="9119" y="434"/>
                    </a:lnTo>
                    <a:lnTo>
                      <a:pt x="9133" y="426"/>
                    </a:lnTo>
                    <a:lnTo>
                      <a:pt x="9126" y="431"/>
                    </a:lnTo>
                    <a:lnTo>
                      <a:pt x="9123" y="437"/>
                    </a:lnTo>
                    <a:lnTo>
                      <a:pt x="9120" y="439"/>
                    </a:lnTo>
                    <a:lnTo>
                      <a:pt x="9120" y="441"/>
                    </a:lnTo>
                    <a:lnTo>
                      <a:pt x="9120" y="443"/>
                    </a:lnTo>
                    <a:lnTo>
                      <a:pt x="9123" y="443"/>
                    </a:lnTo>
                    <a:lnTo>
                      <a:pt x="9126" y="443"/>
                    </a:lnTo>
                    <a:lnTo>
                      <a:pt x="9133" y="443"/>
                    </a:lnTo>
                    <a:lnTo>
                      <a:pt x="9140" y="443"/>
                    </a:lnTo>
                    <a:lnTo>
                      <a:pt x="9143" y="441"/>
                    </a:lnTo>
                    <a:lnTo>
                      <a:pt x="9146" y="439"/>
                    </a:lnTo>
                    <a:lnTo>
                      <a:pt x="9150" y="436"/>
                    </a:lnTo>
                    <a:lnTo>
                      <a:pt x="9154" y="431"/>
                    </a:lnTo>
                    <a:lnTo>
                      <a:pt x="9158" y="429"/>
                    </a:lnTo>
                    <a:lnTo>
                      <a:pt x="9161" y="428"/>
                    </a:lnTo>
                    <a:lnTo>
                      <a:pt x="9166" y="426"/>
                    </a:lnTo>
                    <a:lnTo>
                      <a:pt x="9173" y="428"/>
                    </a:lnTo>
                    <a:lnTo>
                      <a:pt x="9178" y="429"/>
                    </a:lnTo>
                    <a:lnTo>
                      <a:pt x="9181" y="431"/>
                    </a:lnTo>
                    <a:lnTo>
                      <a:pt x="9186" y="434"/>
                    </a:lnTo>
                    <a:lnTo>
                      <a:pt x="9187" y="434"/>
                    </a:lnTo>
                    <a:lnTo>
                      <a:pt x="9189" y="434"/>
                    </a:lnTo>
                    <a:lnTo>
                      <a:pt x="9191" y="434"/>
                    </a:lnTo>
                    <a:lnTo>
                      <a:pt x="9193" y="434"/>
                    </a:lnTo>
                    <a:lnTo>
                      <a:pt x="9196" y="431"/>
                    </a:lnTo>
                    <a:lnTo>
                      <a:pt x="9199" y="429"/>
                    </a:lnTo>
                    <a:lnTo>
                      <a:pt x="9202" y="426"/>
                    </a:lnTo>
                    <a:lnTo>
                      <a:pt x="9253" y="426"/>
                    </a:lnTo>
                    <a:lnTo>
                      <a:pt x="9247" y="431"/>
                    </a:lnTo>
                    <a:lnTo>
                      <a:pt x="9240" y="437"/>
                    </a:lnTo>
                    <a:lnTo>
                      <a:pt x="9233" y="439"/>
                    </a:lnTo>
                    <a:lnTo>
                      <a:pt x="9227" y="441"/>
                    </a:lnTo>
                    <a:lnTo>
                      <a:pt x="9220" y="443"/>
                    </a:lnTo>
                    <a:lnTo>
                      <a:pt x="9237" y="443"/>
                    </a:lnTo>
                    <a:lnTo>
                      <a:pt x="9253" y="443"/>
                    </a:lnTo>
                    <a:lnTo>
                      <a:pt x="9270" y="443"/>
                    </a:lnTo>
                    <a:lnTo>
                      <a:pt x="9286" y="443"/>
                    </a:lnTo>
                    <a:lnTo>
                      <a:pt x="9303" y="443"/>
                    </a:lnTo>
                    <a:lnTo>
                      <a:pt x="9321" y="443"/>
                    </a:lnTo>
                    <a:lnTo>
                      <a:pt x="9339" y="443"/>
                    </a:lnTo>
                    <a:lnTo>
                      <a:pt x="9329" y="446"/>
                    </a:lnTo>
                    <a:lnTo>
                      <a:pt x="9318" y="449"/>
                    </a:lnTo>
                    <a:lnTo>
                      <a:pt x="9309" y="449"/>
                    </a:lnTo>
                    <a:lnTo>
                      <a:pt x="9298" y="449"/>
                    </a:lnTo>
                    <a:lnTo>
                      <a:pt x="9286" y="449"/>
                    </a:lnTo>
                    <a:lnTo>
                      <a:pt x="9276" y="449"/>
                    </a:lnTo>
                    <a:lnTo>
                      <a:pt x="9253" y="446"/>
                    </a:lnTo>
                    <a:lnTo>
                      <a:pt x="9242" y="444"/>
                    </a:lnTo>
                    <a:lnTo>
                      <a:pt x="9230" y="444"/>
                    </a:lnTo>
                    <a:lnTo>
                      <a:pt x="9219" y="444"/>
                    </a:lnTo>
                    <a:lnTo>
                      <a:pt x="9209" y="446"/>
                    </a:lnTo>
                    <a:lnTo>
                      <a:pt x="9199" y="449"/>
                    </a:lnTo>
                    <a:lnTo>
                      <a:pt x="9187" y="450"/>
                    </a:lnTo>
                    <a:lnTo>
                      <a:pt x="9178" y="456"/>
                    </a:lnTo>
                    <a:lnTo>
                      <a:pt x="9166" y="461"/>
                    </a:lnTo>
                    <a:lnTo>
                      <a:pt x="9174" y="464"/>
                    </a:lnTo>
                    <a:lnTo>
                      <a:pt x="9181" y="465"/>
                    </a:lnTo>
                    <a:lnTo>
                      <a:pt x="9189" y="467"/>
                    </a:lnTo>
                    <a:lnTo>
                      <a:pt x="9196" y="469"/>
                    </a:lnTo>
                    <a:lnTo>
                      <a:pt x="9204" y="469"/>
                    </a:lnTo>
                    <a:lnTo>
                      <a:pt x="9211" y="469"/>
                    </a:lnTo>
                    <a:lnTo>
                      <a:pt x="9227" y="467"/>
                    </a:lnTo>
                    <a:lnTo>
                      <a:pt x="9242" y="465"/>
                    </a:lnTo>
                    <a:lnTo>
                      <a:pt x="9260" y="464"/>
                    </a:lnTo>
                    <a:lnTo>
                      <a:pt x="9273" y="461"/>
                    </a:lnTo>
                    <a:lnTo>
                      <a:pt x="9261" y="464"/>
                    </a:lnTo>
                    <a:lnTo>
                      <a:pt x="9248" y="467"/>
                    </a:lnTo>
                    <a:lnTo>
                      <a:pt x="9235" y="469"/>
                    </a:lnTo>
                    <a:lnTo>
                      <a:pt x="9222" y="472"/>
                    </a:lnTo>
                    <a:lnTo>
                      <a:pt x="9209" y="476"/>
                    </a:lnTo>
                    <a:lnTo>
                      <a:pt x="9196" y="477"/>
                    </a:lnTo>
                    <a:lnTo>
                      <a:pt x="9186" y="477"/>
                    </a:lnTo>
                    <a:lnTo>
                      <a:pt x="9169" y="474"/>
                    </a:lnTo>
                    <a:lnTo>
                      <a:pt x="9154" y="472"/>
                    </a:lnTo>
                    <a:lnTo>
                      <a:pt x="9138" y="472"/>
                    </a:lnTo>
                    <a:lnTo>
                      <a:pt x="9123" y="470"/>
                    </a:lnTo>
                    <a:lnTo>
                      <a:pt x="9108" y="470"/>
                    </a:lnTo>
                    <a:lnTo>
                      <a:pt x="9095" y="470"/>
                    </a:lnTo>
                    <a:lnTo>
                      <a:pt x="9080" y="472"/>
                    </a:lnTo>
                    <a:lnTo>
                      <a:pt x="9067" y="474"/>
                    </a:lnTo>
                    <a:lnTo>
                      <a:pt x="9039" y="477"/>
                    </a:lnTo>
                    <a:lnTo>
                      <a:pt x="9013" y="484"/>
                    </a:lnTo>
                    <a:lnTo>
                      <a:pt x="8988" y="489"/>
                    </a:lnTo>
                    <a:lnTo>
                      <a:pt x="8962" y="495"/>
                    </a:lnTo>
                    <a:lnTo>
                      <a:pt x="8970" y="500"/>
                    </a:lnTo>
                    <a:lnTo>
                      <a:pt x="8977" y="505"/>
                    </a:lnTo>
                    <a:lnTo>
                      <a:pt x="8986" y="507"/>
                    </a:lnTo>
                    <a:lnTo>
                      <a:pt x="8995" y="510"/>
                    </a:lnTo>
                    <a:lnTo>
                      <a:pt x="9005" y="511"/>
                    </a:lnTo>
                    <a:lnTo>
                      <a:pt x="9013" y="511"/>
                    </a:lnTo>
                    <a:lnTo>
                      <a:pt x="9023" y="511"/>
                    </a:lnTo>
                    <a:lnTo>
                      <a:pt x="9031" y="511"/>
                    </a:lnTo>
                    <a:lnTo>
                      <a:pt x="9026" y="515"/>
                    </a:lnTo>
                    <a:lnTo>
                      <a:pt x="9023" y="517"/>
                    </a:lnTo>
                    <a:lnTo>
                      <a:pt x="9021" y="518"/>
                    </a:lnTo>
                    <a:lnTo>
                      <a:pt x="9018" y="518"/>
                    </a:lnTo>
                    <a:lnTo>
                      <a:pt x="9013" y="518"/>
                    </a:lnTo>
                    <a:lnTo>
                      <a:pt x="9010" y="518"/>
                    </a:lnTo>
                    <a:lnTo>
                      <a:pt x="9003" y="518"/>
                    </a:lnTo>
                    <a:lnTo>
                      <a:pt x="8993" y="517"/>
                    </a:lnTo>
                    <a:lnTo>
                      <a:pt x="8985" y="515"/>
                    </a:lnTo>
                    <a:lnTo>
                      <a:pt x="8973" y="513"/>
                    </a:lnTo>
                    <a:lnTo>
                      <a:pt x="8962" y="511"/>
                    </a:lnTo>
                    <a:lnTo>
                      <a:pt x="8967" y="518"/>
                    </a:lnTo>
                    <a:lnTo>
                      <a:pt x="8973" y="524"/>
                    </a:lnTo>
                    <a:lnTo>
                      <a:pt x="8977" y="528"/>
                    </a:lnTo>
                    <a:lnTo>
                      <a:pt x="8982" y="531"/>
                    </a:lnTo>
                    <a:lnTo>
                      <a:pt x="8986" y="535"/>
                    </a:lnTo>
                    <a:lnTo>
                      <a:pt x="8990" y="537"/>
                    </a:lnTo>
                    <a:lnTo>
                      <a:pt x="8993" y="538"/>
                    </a:lnTo>
                    <a:lnTo>
                      <a:pt x="8995" y="541"/>
                    </a:lnTo>
                    <a:lnTo>
                      <a:pt x="9003" y="544"/>
                    </a:lnTo>
                    <a:lnTo>
                      <a:pt x="9010" y="544"/>
                    </a:lnTo>
                    <a:lnTo>
                      <a:pt x="9013" y="546"/>
                    </a:lnTo>
                    <a:lnTo>
                      <a:pt x="9019" y="546"/>
                    </a:lnTo>
                    <a:lnTo>
                      <a:pt x="9025" y="546"/>
                    </a:lnTo>
                    <a:lnTo>
                      <a:pt x="9031" y="546"/>
                    </a:lnTo>
                    <a:lnTo>
                      <a:pt x="9038" y="543"/>
                    </a:lnTo>
                    <a:lnTo>
                      <a:pt x="9043" y="541"/>
                    </a:lnTo>
                    <a:lnTo>
                      <a:pt x="9051" y="538"/>
                    </a:lnTo>
                    <a:lnTo>
                      <a:pt x="9058" y="538"/>
                    </a:lnTo>
                    <a:lnTo>
                      <a:pt x="9067" y="538"/>
                    </a:lnTo>
                    <a:lnTo>
                      <a:pt x="9074" y="538"/>
                    </a:lnTo>
                    <a:lnTo>
                      <a:pt x="9089" y="538"/>
                    </a:lnTo>
                    <a:lnTo>
                      <a:pt x="9105" y="541"/>
                    </a:lnTo>
                    <a:lnTo>
                      <a:pt x="9123" y="543"/>
                    </a:lnTo>
                    <a:lnTo>
                      <a:pt x="9138" y="544"/>
                    </a:lnTo>
                    <a:lnTo>
                      <a:pt x="9150" y="546"/>
                    </a:lnTo>
                    <a:lnTo>
                      <a:pt x="9141" y="548"/>
                    </a:lnTo>
                    <a:lnTo>
                      <a:pt x="9132" y="550"/>
                    </a:lnTo>
                    <a:lnTo>
                      <a:pt x="9120" y="551"/>
                    </a:lnTo>
                    <a:lnTo>
                      <a:pt x="9112" y="553"/>
                    </a:lnTo>
                    <a:lnTo>
                      <a:pt x="9093" y="553"/>
                    </a:lnTo>
                    <a:lnTo>
                      <a:pt x="9072" y="553"/>
                    </a:lnTo>
                    <a:lnTo>
                      <a:pt x="9054" y="553"/>
                    </a:lnTo>
                    <a:lnTo>
                      <a:pt x="9034" y="556"/>
                    </a:lnTo>
                    <a:lnTo>
                      <a:pt x="9025" y="556"/>
                    </a:lnTo>
                    <a:lnTo>
                      <a:pt x="9016" y="557"/>
                    </a:lnTo>
                    <a:lnTo>
                      <a:pt x="9006" y="559"/>
                    </a:lnTo>
                    <a:lnTo>
                      <a:pt x="8995" y="563"/>
                    </a:lnTo>
                    <a:lnTo>
                      <a:pt x="8998" y="566"/>
                    </a:lnTo>
                    <a:lnTo>
                      <a:pt x="9005" y="568"/>
                    </a:lnTo>
                    <a:lnTo>
                      <a:pt x="9010" y="572"/>
                    </a:lnTo>
                    <a:lnTo>
                      <a:pt x="9018" y="576"/>
                    </a:lnTo>
                    <a:lnTo>
                      <a:pt x="9023" y="577"/>
                    </a:lnTo>
                    <a:lnTo>
                      <a:pt x="9033" y="581"/>
                    </a:lnTo>
                    <a:lnTo>
                      <a:pt x="9047" y="587"/>
                    </a:lnTo>
                    <a:lnTo>
                      <a:pt x="9064" y="591"/>
                    </a:lnTo>
                    <a:lnTo>
                      <a:pt x="9071" y="592"/>
                    </a:lnTo>
                    <a:lnTo>
                      <a:pt x="9079" y="594"/>
                    </a:lnTo>
                    <a:lnTo>
                      <a:pt x="9084" y="596"/>
                    </a:lnTo>
                    <a:lnTo>
                      <a:pt x="9089" y="596"/>
                    </a:lnTo>
                    <a:lnTo>
                      <a:pt x="9095" y="596"/>
                    </a:lnTo>
                    <a:lnTo>
                      <a:pt x="9099" y="596"/>
                    </a:lnTo>
                    <a:lnTo>
                      <a:pt x="9105" y="597"/>
                    </a:lnTo>
                    <a:lnTo>
                      <a:pt x="9113" y="600"/>
                    </a:lnTo>
                    <a:lnTo>
                      <a:pt x="9123" y="602"/>
                    </a:lnTo>
                    <a:lnTo>
                      <a:pt x="9133" y="605"/>
                    </a:lnTo>
                    <a:lnTo>
                      <a:pt x="9143" y="609"/>
                    </a:lnTo>
                    <a:lnTo>
                      <a:pt x="9153" y="611"/>
                    </a:lnTo>
                    <a:lnTo>
                      <a:pt x="9159" y="612"/>
                    </a:lnTo>
                    <a:lnTo>
                      <a:pt x="9166" y="612"/>
                    </a:lnTo>
                    <a:lnTo>
                      <a:pt x="9171" y="612"/>
                    </a:lnTo>
                    <a:lnTo>
                      <a:pt x="9176" y="612"/>
                    </a:lnTo>
                    <a:lnTo>
                      <a:pt x="9181" y="611"/>
                    </a:lnTo>
                    <a:lnTo>
                      <a:pt x="9187" y="609"/>
                    </a:lnTo>
                    <a:lnTo>
                      <a:pt x="9200" y="604"/>
                    </a:lnTo>
                    <a:lnTo>
                      <a:pt x="9206" y="600"/>
                    </a:lnTo>
                    <a:lnTo>
                      <a:pt x="9214" y="596"/>
                    </a:lnTo>
                    <a:lnTo>
                      <a:pt x="9217" y="594"/>
                    </a:lnTo>
                    <a:lnTo>
                      <a:pt x="9222" y="591"/>
                    </a:lnTo>
                    <a:lnTo>
                      <a:pt x="9226" y="587"/>
                    </a:lnTo>
                    <a:lnTo>
                      <a:pt x="9227" y="585"/>
                    </a:lnTo>
                    <a:lnTo>
                      <a:pt x="9227" y="583"/>
                    </a:lnTo>
                    <a:lnTo>
                      <a:pt x="9227" y="581"/>
                    </a:lnTo>
                    <a:lnTo>
                      <a:pt x="9226" y="581"/>
                    </a:lnTo>
                    <a:lnTo>
                      <a:pt x="9224" y="579"/>
                    </a:lnTo>
                    <a:lnTo>
                      <a:pt x="9232" y="579"/>
                    </a:lnTo>
                    <a:lnTo>
                      <a:pt x="9240" y="579"/>
                    </a:lnTo>
                    <a:lnTo>
                      <a:pt x="9252" y="581"/>
                    </a:lnTo>
                    <a:lnTo>
                      <a:pt x="9261" y="581"/>
                    </a:lnTo>
                    <a:lnTo>
                      <a:pt x="9272" y="583"/>
                    </a:lnTo>
                    <a:lnTo>
                      <a:pt x="9281" y="587"/>
                    </a:lnTo>
                    <a:lnTo>
                      <a:pt x="9293" y="591"/>
                    </a:lnTo>
                    <a:lnTo>
                      <a:pt x="9306" y="596"/>
                    </a:lnTo>
                    <a:lnTo>
                      <a:pt x="9307" y="594"/>
                    </a:lnTo>
                    <a:lnTo>
                      <a:pt x="9309" y="591"/>
                    </a:lnTo>
                    <a:lnTo>
                      <a:pt x="9311" y="585"/>
                    </a:lnTo>
                    <a:lnTo>
                      <a:pt x="9313" y="581"/>
                    </a:lnTo>
                    <a:lnTo>
                      <a:pt x="9314" y="574"/>
                    </a:lnTo>
                    <a:lnTo>
                      <a:pt x="9314" y="564"/>
                    </a:lnTo>
                    <a:lnTo>
                      <a:pt x="9316" y="557"/>
                    </a:lnTo>
                    <a:lnTo>
                      <a:pt x="9318" y="553"/>
                    </a:lnTo>
                    <a:lnTo>
                      <a:pt x="9322" y="551"/>
                    </a:lnTo>
                    <a:lnTo>
                      <a:pt x="9324" y="548"/>
                    </a:lnTo>
                    <a:lnTo>
                      <a:pt x="9327" y="548"/>
                    </a:lnTo>
                    <a:lnTo>
                      <a:pt x="9333" y="546"/>
                    </a:lnTo>
                    <a:lnTo>
                      <a:pt x="9339" y="546"/>
                    </a:lnTo>
                    <a:lnTo>
                      <a:pt x="9337" y="551"/>
                    </a:lnTo>
                    <a:lnTo>
                      <a:pt x="9337" y="557"/>
                    </a:lnTo>
                    <a:lnTo>
                      <a:pt x="9337" y="563"/>
                    </a:lnTo>
                    <a:lnTo>
                      <a:pt x="9337" y="566"/>
                    </a:lnTo>
                    <a:lnTo>
                      <a:pt x="9337" y="576"/>
                    </a:lnTo>
                    <a:lnTo>
                      <a:pt x="9340" y="581"/>
                    </a:lnTo>
                    <a:lnTo>
                      <a:pt x="9344" y="587"/>
                    </a:lnTo>
                    <a:lnTo>
                      <a:pt x="9349" y="591"/>
                    </a:lnTo>
                    <a:lnTo>
                      <a:pt x="9355" y="594"/>
                    </a:lnTo>
                    <a:lnTo>
                      <a:pt x="9362" y="594"/>
                    </a:lnTo>
                    <a:lnTo>
                      <a:pt x="9370" y="594"/>
                    </a:lnTo>
                    <a:lnTo>
                      <a:pt x="9377" y="594"/>
                    </a:lnTo>
                    <a:lnTo>
                      <a:pt x="9387" y="592"/>
                    </a:lnTo>
                    <a:lnTo>
                      <a:pt x="9394" y="591"/>
                    </a:lnTo>
                    <a:lnTo>
                      <a:pt x="9403" y="589"/>
                    </a:lnTo>
                    <a:lnTo>
                      <a:pt x="9410" y="587"/>
                    </a:lnTo>
                    <a:lnTo>
                      <a:pt x="9418" y="583"/>
                    </a:lnTo>
                    <a:lnTo>
                      <a:pt x="9425" y="579"/>
                    </a:lnTo>
                    <a:lnTo>
                      <a:pt x="9436" y="566"/>
                    </a:lnTo>
                    <a:lnTo>
                      <a:pt x="9444" y="561"/>
                    </a:lnTo>
                    <a:lnTo>
                      <a:pt x="9449" y="557"/>
                    </a:lnTo>
                    <a:lnTo>
                      <a:pt x="9456" y="551"/>
                    </a:lnTo>
                    <a:lnTo>
                      <a:pt x="9462" y="548"/>
                    </a:lnTo>
                    <a:lnTo>
                      <a:pt x="9469" y="546"/>
                    </a:lnTo>
                    <a:lnTo>
                      <a:pt x="9475" y="546"/>
                    </a:lnTo>
                    <a:lnTo>
                      <a:pt x="9482" y="551"/>
                    </a:lnTo>
                    <a:lnTo>
                      <a:pt x="9488" y="556"/>
                    </a:lnTo>
                    <a:lnTo>
                      <a:pt x="9495" y="557"/>
                    </a:lnTo>
                    <a:lnTo>
                      <a:pt x="9503" y="559"/>
                    </a:lnTo>
                    <a:lnTo>
                      <a:pt x="9512" y="557"/>
                    </a:lnTo>
                    <a:lnTo>
                      <a:pt x="9521" y="556"/>
                    </a:lnTo>
                    <a:lnTo>
                      <a:pt x="9532" y="551"/>
                    </a:lnTo>
                    <a:lnTo>
                      <a:pt x="9545" y="546"/>
                    </a:lnTo>
                    <a:lnTo>
                      <a:pt x="9538" y="541"/>
                    </a:lnTo>
                    <a:lnTo>
                      <a:pt x="9535" y="535"/>
                    </a:lnTo>
                    <a:lnTo>
                      <a:pt x="9532" y="533"/>
                    </a:lnTo>
                    <a:lnTo>
                      <a:pt x="9528" y="531"/>
                    </a:lnTo>
                    <a:lnTo>
                      <a:pt x="9528" y="530"/>
                    </a:lnTo>
                    <a:lnTo>
                      <a:pt x="9527" y="530"/>
                    </a:lnTo>
                    <a:lnTo>
                      <a:pt x="9527" y="528"/>
                    </a:lnTo>
                    <a:lnTo>
                      <a:pt x="9535" y="522"/>
                    </a:lnTo>
                    <a:lnTo>
                      <a:pt x="9540" y="517"/>
                    </a:lnTo>
                    <a:lnTo>
                      <a:pt x="9547" y="513"/>
                    </a:lnTo>
                    <a:lnTo>
                      <a:pt x="9553" y="510"/>
                    </a:lnTo>
                    <a:lnTo>
                      <a:pt x="9560" y="505"/>
                    </a:lnTo>
                    <a:lnTo>
                      <a:pt x="9568" y="502"/>
                    </a:lnTo>
                    <a:lnTo>
                      <a:pt x="9581" y="497"/>
                    </a:lnTo>
                    <a:lnTo>
                      <a:pt x="9595" y="492"/>
                    </a:lnTo>
                    <a:lnTo>
                      <a:pt x="9612" y="489"/>
                    </a:lnTo>
                    <a:lnTo>
                      <a:pt x="9629" y="484"/>
                    </a:lnTo>
                    <a:lnTo>
                      <a:pt x="9647" y="477"/>
                    </a:lnTo>
                    <a:lnTo>
                      <a:pt x="9634" y="484"/>
                    </a:lnTo>
                    <a:lnTo>
                      <a:pt x="9621" y="489"/>
                    </a:lnTo>
                    <a:lnTo>
                      <a:pt x="9610" y="492"/>
                    </a:lnTo>
                    <a:lnTo>
                      <a:pt x="9597" y="497"/>
                    </a:lnTo>
                    <a:lnTo>
                      <a:pt x="9588" y="502"/>
                    </a:lnTo>
                    <a:lnTo>
                      <a:pt x="9582" y="505"/>
                    </a:lnTo>
                    <a:lnTo>
                      <a:pt x="9576" y="510"/>
                    </a:lnTo>
                    <a:lnTo>
                      <a:pt x="9573" y="513"/>
                    </a:lnTo>
                    <a:lnTo>
                      <a:pt x="9569" y="517"/>
                    </a:lnTo>
                    <a:lnTo>
                      <a:pt x="9566" y="522"/>
                    </a:lnTo>
                    <a:lnTo>
                      <a:pt x="9561" y="528"/>
                    </a:lnTo>
                    <a:lnTo>
                      <a:pt x="9566" y="531"/>
                    </a:lnTo>
                    <a:lnTo>
                      <a:pt x="9571" y="533"/>
                    </a:lnTo>
                    <a:lnTo>
                      <a:pt x="9576" y="535"/>
                    </a:lnTo>
                    <a:lnTo>
                      <a:pt x="9582" y="537"/>
                    </a:lnTo>
                    <a:lnTo>
                      <a:pt x="9586" y="537"/>
                    </a:lnTo>
                    <a:lnTo>
                      <a:pt x="9591" y="537"/>
                    </a:lnTo>
                    <a:lnTo>
                      <a:pt x="9602" y="535"/>
                    </a:lnTo>
                    <a:lnTo>
                      <a:pt x="9614" y="533"/>
                    </a:lnTo>
                    <a:lnTo>
                      <a:pt x="9625" y="528"/>
                    </a:lnTo>
                    <a:lnTo>
                      <a:pt x="9635" y="524"/>
                    </a:lnTo>
                    <a:lnTo>
                      <a:pt x="9647" y="518"/>
                    </a:lnTo>
                    <a:lnTo>
                      <a:pt x="9668" y="507"/>
                    </a:lnTo>
                    <a:lnTo>
                      <a:pt x="9680" y="502"/>
                    </a:lnTo>
                    <a:lnTo>
                      <a:pt x="9691" y="498"/>
                    </a:lnTo>
                    <a:lnTo>
                      <a:pt x="9702" y="495"/>
                    </a:lnTo>
                    <a:lnTo>
                      <a:pt x="9713" y="492"/>
                    </a:lnTo>
                    <a:lnTo>
                      <a:pt x="9717" y="492"/>
                    </a:lnTo>
                    <a:lnTo>
                      <a:pt x="9722" y="492"/>
                    </a:lnTo>
                    <a:lnTo>
                      <a:pt x="9728" y="495"/>
                    </a:lnTo>
                    <a:lnTo>
                      <a:pt x="9734" y="495"/>
                    </a:lnTo>
                    <a:lnTo>
                      <a:pt x="9737" y="495"/>
                    </a:lnTo>
                    <a:lnTo>
                      <a:pt x="9741" y="495"/>
                    </a:lnTo>
                    <a:lnTo>
                      <a:pt x="9747" y="492"/>
                    </a:lnTo>
                    <a:lnTo>
                      <a:pt x="9752" y="492"/>
                    </a:lnTo>
                    <a:lnTo>
                      <a:pt x="9757" y="490"/>
                    </a:lnTo>
                    <a:lnTo>
                      <a:pt x="9763" y="489"/>
                    </a:lnTo>
                    <a:lnTo>
                      <a:pt x="9778" y="487"/>
                    </a:lnTo>
                    <a:lnTo>
                      <a:pt x="9793" y="484"/>
                    </a:lnTo>
                    <a:lnTo>
                      <a:pt x="9808" y="480"/>
                    </a:lnTo>
                    <a:lnTo>
                      <a:pt x="9812" y="480"/>
                    </a:lnTo>
                    <a:lnTo>
                      <a:pt x="9808" y="484"/>
                    </a:lnTo>
                    <a:lnTo>
                      <a:pt x="9800" y="487"/>
                    </a:lnTo>
                    <a:lnTo>
                      <a:pt x="9790" y="490"/>
                    </a:lnTo>
                    <a:lnTo>
                      <a:pt x="9782" y="492"/>
                    </a:lnTo>
                    <a:lnTo>
                      <a:pt x="9772" y="495"/>
                    </a:lnTo>
                    <a:lnTo>
                      <a:pt x="9763" y="495"/>
                    </a:lnTo>
                    <a:lnTo>
                      <a:pt x="9754" y="495"/>
                    </a:lnTo>
                    <a:lnTo>
                      <a:pt x="9749" y="495"/>
                    </a:lnTo>
                    <a:lnTo>
                      <a:pt x="9754" y="498"/>
                    </a:lnTo>
                    <a:lnTo>
                      <a:pt x="9762" y="502"/>
                    </a:lnTo>
                    <a:lnTo>
                      <a:pt x="9769" y="503"/>
                    </a:lnTo>
                    <a:lnTo>
                      <a:pt x="9778" y="505"/>
                    </a:lnTo>
                    <a:lnTo>
                      <a:pt x="9787" y="507"/>
                    </a:lnTo>
                    <a:lnTo>
                      <a:pt x="9796" y="507"/>
                    </a:lnTo>
                    <a:lnTo>
                      <a:pt x="9805" y="507"/>
                    </a:lnTo>
                    <a:lnTo>
                      <a:pt x="9815" y="507"/>
                    </a:lnTo>
                    <a:lnTo>
                      <a:pt x="9824" y="505"/>
                    </a:lnTo>
                    <a:lnTo>
                      <a:pt x="9833" y="503"/>
                    </a:lnTo>
                    <a:lnTo>
                      <a:pt x="9843" y="502"/>
                    </a:lnTo>
                    <a:lnTo>
                      <a:pt x="9851" y="498"/>
                    </a:lnTo>
                    <a:lnTo>
                      <a:pt x="9861" y="495"/>
                    </a:lnTo>
                    <a:lnTo>
                      <a:pt x="9869" y="489"/>
                    </a:lnTo>
                    <a:lnTo>
                      <a:pt x="9876" y="484"/>
                    </a:lnTo>
                    <a:lnTo>
                      <a:pt x="9882" y="476"/>
                    </a:lnTo>
                    <a:lnTo>
                      <a:pt x="9870" y="476"/>
                    </a:lnTo>
                    <a:lnTo>
                      <a:pt x="9864" y="476"/>
                    </a:lnTo>
                    <a:lnTo>
                      <a:pt x="9881" y="472"/>
                    </a:lnTo>
                    <a:lnTo>
                      <a:pt x="9897" y="469"/>
                    </a:lnTo>
                    <a:lnTo>
                      <a:pt x="9917" y="467"/>
                    </a:lnTo>
                    <a:lnTo>
                      <a:pt x="9935" y="464"/>
                    </a:lnTo>
                    <a:lnTo>
                      <a:pt x="9953" y="461"/>
                    </a:lnTo>
                    <a:lnTo>
                      <a:pt x="9973" y="461"/>
                    </a:lnTo>
                    <a:lnTo>
                      <a:pt x="9970" y="454"/>
                    </a:lnTo>
                    <a:lnTo>
                      <a:pt x="9966" y="449"/>
                    </a:lnTo>
                    <a:lnTo>
                      <a:pt x="9964" y="444"/>
                    </a:lnTo>
                    <a:lnTo>
                      <a:pt x="9961" y="439"/>
                    </a:lnTo>
                    <a:lnTo>
                      <a:pt x="9956" y="431"/>
                    </a:lnTo>
                    <a:lnTo>
                      <a:pt x="9951" y="424"/>
                    </a:lnTo>
                    <a:lnTo>
                      <a:pt x="9948" y="419"/>
                    </a:lnTo>
                    <a:lnTo>
                      <a:pt x="9943" y="415"/>
                    </a:lnTo>
                    <a:lnTo>
                      <a:pt x="9940" y="413"/>
                    </a:lnTo>
                    <a:lnTo>
                      <a:pt x="9936" y="411"/>
                    </a:lnTo>
                    <a:lnTo>
                      <a:pt x="9933" y="411"/>
                    </a:lnTo>
                    <a:lnTo>
                      <a:pt x="9927" y="411"/>
                    </a:lnTo>
                    <a:lnTo>
                      <a:pt x="9923" y="413"/>
                    </a:lnTo>
                    <a:lnTo>
                      <a:pt x="9918" y="415"/>
                    </a:lnTo>
                    <a:lnTo>
                      <a:pt x="9910" y="419"/>
                    </a:lnTo>
                    <a:lnTo>
                      <a:pt x="9903" y="421"/>
                    </a:lnTo>
                    <a:lnTo>
                      <a:pt x="9896" y="424"/>
                    </a:lnTo>
                    <a:lnTo>
                      <a:pt x="9887" y="426"/>
                    </a:lnTo>
                    <a:lnTo>
                      <a:pt x="9892" y="421"/>
                    </a:lnTo>
                    <a:lnTo>
                      <a:pt x="9897" y="416"/>
                    </a:lnTo>
                    <a:lnTo>
                      <a:pt x="9900" y="413"/>
                    </a:lnTo>
                    <a:lnTo>
                      <a:pt x="9902" y="411"/>
                    </a:lnTo>
                    <a:lnTo>
                      <a:pt x="9903" y="411"/>
                    </a:lnTo>
                    <a:lnTo>
                      <a:pt x="9903" y="410"/>
                    </a:lnTo>
                    <a:lnTo>
                      <a:pt x="9905" y="410"/>
                    </a:lnTo>
                    <a:lnTo>
                      <a:pt x="9900" y="408"/>
                    </a:lnTo>
                    <a:lnTo>
                      <a:pt x="9894" y="404"/>
                    </a:lnTo>
                    <a:lnTo>
                      <a:pt x="9885" y="400"/>
                    </a:lnTo>
                    <a:lnTo>
                      <a:pt x="9876" y="398"/>
                    </a:lnTo>
                    <a:lnTo>
                      <a:pt x="9866" y="398"/>
                    </a:lnTo>
                    <a:lnTo>
                      <a:pt x="9856" y="398"/>
                    </a:lnTo>
                    <a:lnTo>
                      <a:pt x="9846" y="400"/>
                    </a:lnTo>
                    <a:lnTo>
                      <a:pt x="9836" y="403"/>
                    </a:lnTo>
                    <a:lnTo>
                      <a:pt x="9828" y="406"/>
                    </a:lnTo>
                    <a:lnTo>
                      <a:pt x="9808" y="413"/>
                    </a:lnTo>
                    <a:lnTo>
                      <a:pt x="9789" y="419"/>
                    </a:lnTo>
                    <a:lnTo>
                      <a:pt x="9780" y="423"/>
                    </a:lnTo>
                    <a:lnTo>
                      <a:pt x="9769" y="424"/>
                    </a:lnTo>
                    <a:lnTo>
                      <a:pt x="9759" y="426"/>
                    </a:lnTo>
                    <a:lnTo>
                      <a:pt x="9750" y="426"/>
                    </a:lnTo>
                    <a:lnTo>
                      <a:pt x="9757" y="421"/>
                    </a:lnTo>
                    <a:lnTo>
                      <a:pt x="9763" y="415"/>
                    </a:lnTo>
                    <a:lnTo>
                      <a:pt x="9770" y="411"/>
                    </a:lnTo>
                    <a:lnTo>
                      <a:pt x="9778" y="408"/>
                    </a:lnTo>
                    <a:lnTo>
                      <a:pt x="9787" y="404"/>
                    </a:lnTo>
                    <a:lnTo>
                      <a:pt x="9795" y="400"/>
                    </a:lnTo>
                    <a:lnTo>
                      <a:pt x="9810" y="395"/>
                    </a:lnTo>
                    <a:lnTo>
                      <a:pt x="9826" y="391"/>
                    </a:lnTo>
                    <a:lnTo>
                      <a:pt x="9843" y="385"/>
                    </a:lnTo>
                    <a:lnTo>
                      <a:pt x="9857" y="382"/>
                    </a:lnTo>
                    <a:lnTo>
                      <a:pt x="9870" y="376"/>
                    </a:lnTo>
                    <a:lnTo>
                      <a:pt x="9866" y="370"/>
                    </a:lnTo>
                    <a:lnTo>
                      <a:pt x="9863" y="365"/>
                    </a:lnTo>
                    <a:lnTo>
                      <a:pt x="9859" y="362"/>
                    </a:lnTo>
                    <a:lnTo>
                      <a:pt x="9854" y="360"/>
                    </a:lnTo>
                    <a:lnTo>
                      <a:pt x="9849" y="355"/>
                    </a:lnTo>
                    <a:lnTo>
                      <a:pt x="9844" y="355"/>
                    </a:lnTo>
                    <a:lnTo>
                      <a:pt x="9841" y="354"/>
                    </a:lnTo>
                    <a:lnTo>
                      <a:pt x="9835" y="354"/>
                    </a:lnTo>
                    <a:lnTo>
                      <a:pt x="9826" y="355"/>
                    </a:lnTo>
                    <a:lnTo>
                      <a:pt x="9816" y="355"/>
                    </a:lnTo>
                    <a:lnTo>
                      <a:pt x="9810" y="358"/>
                    </a:lnTo>
                    <a:lnTo>
                      <a:pt x="9802" y="358"/>
                    </a:lnTo>
                    <a:lnTo>
                      <a:pt x="9802" y="355"/>
                    </a:lnTo>
                    <a:lnTo>
                      <a:pt x="9805" y="352"/>
                    </a:lnTo>
                    <a:lnTo>
                      <a:pt x="9810" y="350"/>
                    </a:lnTo>
                    <a:lnTo>
                      <a:pt x="9815" y="349"/>
                    </a:lnTo>
                    <a:lnTo>
                      <a:pt x="9820" y="347"/>
                    </a:lnTo>
                    <a:lnTo>
                      <a:pt x="9826" y="345"/>
                    </a:lnTo>
                    <a:lnTo>
                      <a:pt x="9841" y="339"/>
                    </a:lnTo>
                    <a:lnTo>
                      <a:pt x="9846" y="337"/>
                    </a:lnTo>
                    <a:lnTo>
                      <a:pt x="9851" y="334"/>
                    </a:lnTo>
                    <a:lnTo>
                      <a:pt x="9856" y="332"/>
                    </a:lnTo>
                    <a:lnTo>
                      <a:pt x="9859" y="329"/>
                    </a:lnTo>
                    <a:lnTo>
                      <a:pt x="9861" y="327"/>
                    </a:lnTo>
                    <a:lnTo>
                      <a:pt x="9861" y="324"/>
                    </a:lnTo>
                    <a:lnTo>
                      <a:pt x="9861" y="321"/>
                    </a:lnTo>
                    <a:lnTo>
                      <a:pt x="9861" y="319"/>
                    </a:lnTo>
                    <a:lnTo>
                      <a:pt x="9859" y="317"/>
                    </a:lnTo>
                    <a:lnTo>
                      <a:pt x="9857" y="314"/>
                    </a:lnTo>
                    <a:lnTo>
                      <a:pt x="9856" y="312"/>
                    </a:lnTo>
                    <a:lnTo>
                      <a:pt x="9854" y="308"/>
                    </a:lnTo>
                    <a:lnTo>
                      <a:pt x="9849" y="304"/>
                    </a:lnTo>
                    <a:lnTo>
                      <a:pt x="9844" y="302"/>
                    </a:lnTo>
                    <a:lnTo>
                      <a:pt x="9841" y="302"/>
                    </a:lnTo>
                    <a:lnTo>
                      <a:pt x="9835" y="301"/>
                    </a:lnTo>
                    <a:lnTo>
                      <a:pt x="9829" y="301"/>
                    </a:lnTo>
                    <a:lnTo>
                      <a:pt x="9823" y="301"/>
                    </a:lnTo>
                    <a:lnTo>
                      <a:pt x="9816" y="302"/>
                    </a:lnTo>
                    <a:lnTo>
                      <a:pt x="9810" y="304"/>
                    </a:lnTo>
                    <a:lnTo>
                      <a:pt x="9798" y="308"/>
                    </a:lnTo>
                    <a:lnTo>
                      <a:pt x="9785" y="314"/>
                    </a:lnTo>
                    <a:lnTo>
                      <a:pt x="9780" y="316"/>
                    </a:lnTo>
                    <a:lnTo>
                      <a:pt x="9775" y="319"/>
                    </a:lnTo>
                    <a:lnTo>
                      <a:pt x="9770" y="321"/>
                    </a:lnTo>
                    <a:lnTo>
                      <a:pt x="9767" y="324"/>
                    </a:lnTo>
                    <a:lnTo>
                      <a:pt x="9772" y="330"/>
                    </a:lnTo>
                    <a:lnTo>
                      <a:pt x="9778" y="336"/>
                    </a:lnTo>
                    <a:lnTo>
                      <a:pt x="9780" y="337"/>
                    </a:lnTo>
                    <a:lnTo>
                      <a:pt x="9782" y="339"/>
                    </a:lnTo>
                    <a:lnTo>
                      <a:pt x="9783" y="342"/>
                    </a:lnTo>
                    <a:lnTo>
                      <a:pt x="9785" y="342"/>
                    </a:lnTo>
                    <a:lnTo>
                      <a:pt x="9772" y="343"/>
                    </a:lnTo>
                    <a:lnTo>
                      <a:pt x="9759" y="345"/>
                    </a:lnTo>
                    <a:lnTo>
                      <a:pt x="9747" y="345"/>
                    </a:lnTo>
                    <a:lnTo>
                      <a:pt x="9736" y="347"/>
                    </a:lnTo>
                    <a:lnTo>
                      <a:pt x="9729" y="347"/>
                    </a:lnTo>
                    <a:lnTo>
                      <a:pt x="9724" y="345"/>
                    </a:lnTo>
                    <a:lnTo>
                      <a:pt x="9719" y="343"/>
                    </a:lnTo>
                    <a:lnTo>
                      <a:pt x="9715" y="342"/>
                    </a:lnTo>
                    <a:lnTo>
                      <a:pt x="9709" y="339"/>
                    </a:lnTo>
                    <a:lnTo>
                      <a:pt x="9706" y="336"/>
                    </a:lnTo>
                    <a:lnTo>
                      <a:pt x="9702" y="330"/>
                    </a:lnTo>
                    <a:lnTo>
                      <a:pt x="9698" y="324"/>
                    </a:lnTo>
                    <a:lnTo>
                      <a:pt x="9701" y="324"/>
                    </a:lnTo>
                    <a:lnTo>
                      <a:pt x="9702" y="322"/>
                    </a:lnTo>
                    <a:lnTo>
                      <a:pt x="9706" y="322"/>
                    </a:lnTo>
                    <a:lnTo>
                      <a:pt x="9713" y="319"/>
                    </a:lnTo>
                    <a:lnTo>
                      <a:pt x="9721" y="317"/>
                    </a:lnTo>
                    <a:lnTo>
                      <a:pt x="9722" y="316"/>
                    </a:lnTo>
                    <a:lnTo>
                      <a:pt x="9726" y="314"/>
                    </a:lnTo>
                    <a:lnTo>
                      <a:pt x="9726" y="312"/>
                    </a:lnTo>
                    <a:lnTo>
                      <a:pt x="9728" y="309"/>
                    </a:lnTo>
                    <a:lnTo>
                      <a:pt x="9726" y="309"/>
                    </a:lnTo>
                    <a:lnTo>
                      <a:pt x="9724" y="308"/>
                    </a:lnTo>
                    <a:lnTo>
                      <a:pt x="9726" y="308"/>
                    </a:lnTo>
                    <a:lnTo>
                      <a:pt x="9728" y="308"/>
                    </a:lnTo>
                    <a:lnTo>
                      <a:pt x="9729" y="306"/>
                    </a:lnTo>
                    <a:lnTo>
                      <a:pt x="9728" y="304"/>
                    </a:lnTo>
                    <a:lnTo>
                      <a:pt x="9726" y="304"/>
                    </a:lnTo>
                    <a:lnTo>
                      <a:pt x="9722" y="302"/>
                    </a:lnTo>
                    <a:lnTo>
                      <a:pt x="9717" y="301"/>
                    </a:lnTo>
                    <a:lnTo>
                      <a:pt x="9709" y="299"/>
                    </a:lnTo>
                    <a:lnTo>
                      <a:pt x="9702" y="297"/>
                    </a:lnTo>
                    <a:lnTo>
                      <a:pt x="9695" y="297"/>
                    </a:lnTo>
                    <a:lnTo>
                      <a:pt x="9688" y="295"/>
                    </a:lnTo>
                    <a:lnTo>
                      <a:pt x="9680" y="293"/>
                    </a:lnTo>
                    <a:lnTo>
                      <a:pt x="9673" y="293"/>
                    </a:lnTo>
                    <a:lnTo>
                      <a:pt x="9668" y="291"/>
                    </a:lnTo>
                    <a:lnTo>
                      <a:pt x="9667" y="291"/>
                    </a:lnTo>
                    <a:lnTo>
                      <a:pt x="9665" y="291"/>
                    </a:lnTo>
                    <a:lnTo>
                      <a:pt x="9658" y="291"/>
                    </a:lnTo>
                    <a:lnTo>
                      <a:pt x="9648" y="291"/>
                    </a:lnTo>
                    <a:lnTo>
                      <a:pt x="9640" y="291"/>
                    </a:lnTo>
                    <a:lnTo>
                      <a:pt x="9630" y="291"/>
                    </a:lnTo>
                    <a:lnTo>
                      <a:pt x="9621" y="291"/>
                    </a:lnTo>
                    <a:lnTo>
                      <a:pt x="9612" y="291"/>
                    </a:lnTo>
                    <a:lnTo>
                      <a:pt x="9602" y="291"/>
                    </a:lnTo>
                    <a:lnTo>
                      <a:pt x="9601" y="291"/>
                    </a:lnTo>
                    <a:lnTo>
                      <a:pt x="9606" y="289"/>
                    </a:lnTo>
                    <a:lnTo>
                      <a:pt x="9610" y="289"/>
                    </a:lnTo>
                    <a:lnTo>
                      <a:pt x="9612" y="288"/>
                    </a:lnTo>
                    <a:lnTo>
                      <a:pt x="9614" y="288"/>
                    </a:lnTo>
                    <a:lnTo>
                      <a:pt x="9615" y="286"/>
                    </a:lnTo>
                    <a:lnTo>
                      <a:pt x="9615" y="284"/>
                    </a:lnTo>
                    <a:lnTo>
                      <a:pt x="9615" y="283"/>
                    </a:lnTo>
                    <a:lnTo>
                      <a:pt x="9614" y="280"/>
                    </a:lnTo>
                    <a:lnTo>
                      <a:pt x="9612" y="278"/>
                    </a:lnTo>
                    <a:lnTo>
                      <a:pt x="9608" y="276"/>
                    </a:lnTo>
                    <a:lnTo>
                      <a:pt x="9602" y="275"/>
                    </a:lnTo>
                    <a:lnTo>
                      <a:pt x="9595" y="273"/>
                    </a:lnTo>
                    <a:lnTo>
                      <a:pt x="9595" y="268"/>
                    </a:lnTo>
                    <a:lnTo>
                      <a:pt x="9593" y="262"/>
                    </a:lnTo>
                    <a:lnTo>
                      <a:pt x="9589" y="256"/>
                    </a:lnTo>
                    <a:lnTo>
                      <a:pt x="9584" y="251"/>
                    </a:lnTo>
                    <a:lnTo>
                      <a:pt x="9581" y="247"/>
                    </a:lnTo>
                    <a:lnTo>
                      <a:pt x="9575" y="243"/>
                    </a:lnTo>
                    <a:lnTo>
                      <a:pt x="9568" y="242"/>
                    </a:lnTo>
                    <a:lnTo>
                      <a:pt x="9561" y="240"/>
                    </a:lnTo>
                    <a:lnTo>
                      <a:pt x="9566" y="238"/>
                    </a:lnTo>
                    <a:lnTo>
                      <a:pt x="9569" y="236"/>
                    </a:lnTo>
                    <a:lnTo>
                      <a:pt x="9571" y="236"/>
                    </a:lnTo>
                    <a:lnTo>
                      <a:pt x="9575" y="234"/>
                    </a:lnTo>
                    <a:lnTo>
                      <a:pt x="9575" y="232"/>
                    </a:lnTo>
                    <a:lnTo>
                      <a:pt x="9575" y="230"/>
                    </a:lnTo>
                    <a:lnTo>
                      <a:pt x="9575" y="228"/>
                    </a:lnTo>
                    <a:lnTo>
                      <a:pt x="9575" y="227"/>
                    </a:lnTo>
                    <a:lnTo>
                      <a:pt x="9573" y="227"/>
                    </a:lnTo>
                    <a:lnTo>
                      <a:pt x="9571" y="225"/>
                    </a:lnTo>
                    <a:lnTo>
                      <a:pt x="9569" y="223"/>
                    </a:lnTo>
                    <a:lnTo>
                      <a:pt x="9568" y="222"/>
                    </a:lnTo>
                    <a:lnTo>
                      <a:pt x="9560" y="219"/>
                    </a:lnTo>
                    <a:lnTo>
                      <a:pt x="9553" y="217"/>
                    </a:lnTo>
                    <a:lnTo>
                      <a:pt x="9545" y="214"/>
                    </a:lnTo>
                    <a:lnTo>
                      <a:pt x="9536" y="212"/>
                    </a:lnTo>
                    <a:lnTo>
                      <a:pt x="9527" y="210"/>
                    </a:lnTo>
                    <a:lnTo>
                      <a:pt x="9518" y="209"/>
                    </a:lnTo>
                    <a:lnTo>
                      <a:pt x="9510" y="209"/>
                    </a:lnTo>
                    <a:lnTo>
                      <a:pt x="9503" y="207"/>
                    </a:lnTo>
                    <a:lnTo>
                      <a:pt x="9497" y="207"/>
                    </a:lnTo>
                    <a:lnTo>
                      <a:pt x="9495" y="207"/>
                    </a:lnTo>
                    <a:lnTo>
                      <a:pt x="9494" y="207"/>
                    </a:lnTo>
                    <a:lnTo>
                      <a:pt x="9486" y="207"/>
                    </a:lnTo>
                    <a:lnTo>
                      <a:pt x="9479" y="204"/>
                    </a:lnTo>
                    <a:lnTo>
                      <a:pt x="9469" y="204"/>
                    </a:lnTo>
                    <a:lnTo>
                      <a:pt x="9462" y="202"/>
                    </a:lnTo>
                    <a:lnTo>
                      <a:pt x="9444" y="201"/>
                    </a:lnTo>
                    <a:lnTo>
                      <a:pt x="9423" y="199"/>
                    </a:lnTo>
                    <a:lnTo>
                      <a:pt x="9405" y="199"/>
                    </a:lnTo>
                    <a:lnTo>
                      <a:pt x="9395" y="199"/>
                    </a:lnTo>
                    <a:lnTo>
                      <a:pt x="9387" y="199"/>
                    </a:lnTo>
                    <a:lnTo>
                      <a:pt x="9379" y="199"/>
                    </a:lnTo>
                    <a:lnTo>
                      <a:pt x="9370" y="201"/>
                    </a:lnTo>
                    <a:lnTo>
                      <a:pt x="9362" y="202"/>
                    </a:lnTo>
                    <a:lnTo>
                      <a:pt x="9355" y="207"/>
                    </a:lnTo>
                    <a:lnTo>
                      <a:pt x="9362" y="212"/>
                    </a:lnTo>
                    <a:lnTo>
                      <a:pt x="9368" y="215"/>
                    </a:lnTo>
                    <a:lnTo>
                      <a:pt x="9375" y="219"/>
                    </a:lnTo>
                    <a:lnTo>
                      <a:pt x="9381" y="222"/>
                    </a:lnTo>
                    <a:lnTo>
                      <a:pt x="9388" y="222"/>
                    </a:lnTo>
                    <a:lnTo>
                      <a:pt x="9394" y="222"/>
                    </a:lnTo>
                    <a:lnTo>
                      <a:pt x="9401" y="222"/>
                    </a:lnTo>
                    <a:lnTo>
                      <a:pt x="9407" y="222"/>
                    </a:lnTo>
                    <a:lnTo>
                      <a:pt x="9420" y="219"/>
                    </a:lnTo>
                    <a:lnTo>
                      <a:pt x="9428" y="217"/>
                    </a:lnTo>
                    <a:lnTo>
                      <a:pt x="9433" y="217"/>
                    </a:lnTo>
                    <a:lnTo>
                      <a:pt x="9440" y="217"/>
                    </a:lnTo>
                    <a:lnTo>
                      <a:pt x="9446" y="219"/>
                    </a:lnTo>
                    <a:lnTo>
                      <a:pt x="9453" y="222"/>
                    </a:lnTo>
                    <a:lnTo>
                      <a:pt x="9459" y="223"/>
                    </a:lnTo>
                    <a:lnTo>
                      <a:pt x="9446" y="228"/>
                    </a:lnTo>
                    <a:lnTo>
                      <a:pt x="9431" y="232"/>
                    </a:lnTo>
                    <a:lnTo>
                      <a:pt x="9414" y="234"/>
                    </a:lnTo>
                    <a:lnTo>
                      <a:pt x="9395" y="236"/>
                    </a:lnTo>
                    <a:lnTo>
                      <a:pt x="9379" y="234"/>
                    </a:lnTo>
                    <a:lnTo>
                      <a:pt x="9359" y="232"/>
                    </a:lnTo>
                    <a:lnTo>
                      <a:pt x="9340" y="228"/>
                    </a:lnTo>
                    <a:lnTo>
                      <a:pt x="9322" y="223"/>
                    </a:lnTo>
                    <a:lnTo>
                      <a:pt x="9327" y="228"/>
                    </a:lnTo>
                    <a:lnTo>
                      <a:pt x="9331" y="232"/>
                    </a:lnTo>
                    <a:lnTo>
                      <a:pt x="9334" y="236"/>
                    </a:lnTo>
                    <a:lnTo>
                      <a:pt x="9339" y="238"/>
                    </a:lnTo>
                    <a:lnTo>
                      <a:pt x="9342" y="240"/>
                    </a:lnTo>
                    <a:lnTo>
                      <a:pt x="9306" y="240"/>
                    </a:lnTo>
                    <a:lnTo>
                      <a:pt x="9298" y="240"/>
                    </a:lnTo>
                    <a:lnTo>
                      <a:pt x="9294" y="240"/>
                    </a:lnTo>
                    <a:lnTo>
                      <a:pt x="9291" y="240"/>
                    </a:lnTo>
                    <a:lnTo>
                      <a:pt x="9286" y="240"/>
                    </a:lnTo>
                    <a:lnTo>
                      <a:pt x="9285" y="240"/>
                    </a:lnTo>
                    <a:lnTo>
                      <a:pt x="9281" y="240"/>
                    </a:lnTo>
                    <a:lnTo>
                      <a:pt x="9276" y="240"/>
                    </a:lnTo>
                    <a:lnTo>
                      <a:pt x="9270" y="240"/>
                    </a:lnTo>
                    <a:lnTo>
                      <a:pt x="9267" y="240"/>
                    </a:lnTo>
                    <a:lnTo>
                      <a:pt x="9261" y="240"/>
                    </a:lnTo>
                    <a:lnTo>
                      <a:pt x="9253" y="240"/>
                    </a:lnTo>
                    <a:lnTo>
                      <a:pt x="9248" y="240"/>
                    </a:lnTo>
                    <a:lnTo>
                      <a:pt x="9239" y="242"/>
                    </a:lnTo>
                    <a:lnTo>
                      <a:pt x="9232" y="242"/>
                    </a:lnTo>
                    <a:lnTo>
                      <a:pt x="9224" y="242"/>
                    </a:lnTo>
                    <a:lnTo>
                      <a:pt x="9217" y="242"/>
                    </a:lnTo>
                    <a:lnTo>
                      <a:pt x="9209" y="243"/>
                    </a:lnTo>
                    <a:lnTo>
                      <a:pt x="9204" y="243"/>
                    </a:lnTo>
                    <a:lnTo>
                      <a:pt x="9199" y="245"/>
                    </a:lnTo>
                    <a:lnTo>
                      <a:pt x="9194" y="247"/>
                    </a:lnTo>
                    <a:lnTo>
                      <a:pt x="9194" y="248"/>
                    </a:lnTo>
                    <a:lnTo>
                      <a:pt x="9193" y="251"/>
                    </a:lnTo>
                    <a:lnTo>
                      <a:pt x="9194" y="251"/>
                    </a:lnTo>
                    <a:lnTo>
                      <a:pt x="9194" y="253"/>
                    </a:lnTo>
                    <a:lnTo>
                      <a:pt x="9196" y="255"/>
                    </a:lnTo>
                    <a:lnTo>
                      <a:pt x="9199" y="256"/>
                    </a:lnTo>
                    <a:lnTo>
                      <a:pt x="9194" y="256"/>
                    </a:lnTo>
                    <a:lnTo>
                      <a:pt x="9191" y="256"/>
                    </a:lnTo>
                    <a:lnTo>
                      <a:pt x="9186" y="256"/>
                    </a:lnTo>
                    <a:lnTo>
                      <a:pt x="9179" y="256"/>
                    </a:lnTo>
                    <a:lnTo>
                      <a:pt x="9166" y="256"/>
                    </a:lnTo>
                    <a:lnTo>
                      <a:pt x="9174" y="262"/>
                    </a:lnTo>
                    <a:lnTo>
                      <a:pt x="9179" y="268"/>
                    </a:lnTo>
                    <a:lnTo>
                      <a:pt x="9187" y="269"/>
                    </a:lnTo>
                    <a:lnTo>
                      <a:pt x="9193" y="269"/>
                    </a:lnTo>
                    <a:lnTo>
                      <a:pt x="9200" y="269"/>
                    </a:lnTo>
                    <a:lnTo>
                      <a:pt x="9206" y="268"/>
                    </a:lnTo>
                    <a:lnTo>
                      <a:pt x="9207" y="268"/>
                    </a:lnTo>
                    <a:lnTo>
                      <a:pt x="9209" y="269"/>
                    </a:lnTo>
                    <a:lnTo>
                      <a:pt x="9211" y="269"/>
                    </a:lnTo>
                    <a:lnTo>
                      <a:pt x="9214" y="269"/>
                    </a:lnTo>
                    <a:lnTo>
                      <a:pt x="9220" y="271"/>
                    </a:lnTo>
                    <a:lnTo>
                      <a:pt x="9227" y="271"/>
                    </a:lnTo>
                    <a:lnTo>
                      <a:pt x="9235" y="273"/>
                    </a:lnTo>
                    <a:lnTo>
                      <a:pt x="9235" y="276"/>
                    </a:lnTo>
                    <a:lnTo>
                      <a:pt x="9237" y="280"/>
                    </a:lnTo>
                    <a:lnTo>
                      <a:pt x="9239" y="283"/>
                    </a:lnTo>
                    <a:lnTo>
                      <a:pt x="9240" y="284"/>
                    </a:lnTo>
                    <a:lnTo>
                      <a:pt x="9245" y="286"/>
                    </a:lnTo>
                    <a:lnTo>
                      <a:pt x="9248" y="286"/>
                    </a:lnTo>
                    <a:lnTo>
                      <a:pt x="9255" y="289"/>
                    </a:lnTo>
                    <a:lnTo>
                      <a:pt x="9263" y="289"/>
                    </a:lnTo>
                    <a:lnTo>
                      <a:pt x="9272" y="291"/>
                    </a:lnTo>
                    <a:lnTo>
                      <a:pt x="9268" y="291"/>
                    </a:lnTo>
                    <a:lnTo>
                      <a:pt x="9252" y="291"/>
                    </a:lnTo>
                    <a:lnTo>
                      <a:pt x="9235" y="291"/>
                    </a:lnTo>
                    <a:lnTo>
                      <a:pt x="9220" y="291"/>
                    </a:lnTo>
                    <a:lnTo>
                      <a:pt x="9207" y="291"/>
                    </a:lnTo>
                    <a:lnTo>
                      <a:pt x="9193" y="291"/>
                    </a:lnTo>
                    <a:lnTo>
                      <a:pt x="9166" y="291"/>
                    </a:lnTo>
                    <a:lnTo>
                      <a:pt x="9154" y="291"/>
                    </a:lnTo>
                    <a:lnTo>
                      <a:pt x="9140" y="293"/>
                    </a:lnTo>
                    <a:lnTo>
                      <a:pt x="9123" y="297"/>
                    </a:lnTo>
                    <a:lnTo>
                      <a:pt x="9108" y="299"/>
                    </a:lnTo>
                    <a:lnTo>
                      <a:pt x="9092" y="302"/>
                    </a:lnTo>
                    <a:lnTo>
                      <a:pt x="9077" y="306"/>
                    </a:lnTo>
                    <a:lnTo>
                      <a:pt x="9062" y="308"/>
                    </a:lnTo>
                    <a:lnTo>
                      <a:pt x="9066" y="308"/>
                    </a:lnTo>
                    <a:lnTo>
                      <a:pt x="9067" y="308"/>
                    </a:lnTo>
                    <a:lnTo>
                      <a:pt x="9071" y="308"/>
                    </a:lnTo>
                    <a:lnTo>
                      <a:pt x="9077" y="308"/>
                    </a:lnTo>
                    <a:lnTo>
                      <a:pt x="9082" y="308"/>
                    </a:lnTo>
                    <a:lnTo>
                      <a:pt x="9067" y="314"/>
                    </a:lnTo>
                    <a:lnTo>
                      <a:pt x="9052" y="317"/>
                    </a:lnTo>
                    <a:lnTo>
                      <a:pt x="9038" y="321"/>
                    </a:lnTo>
                    <a:lnTo>
                      <a:pt x="9021" y="322"/>
                    </a:lnTo>
                    <a:lnTo>
                      <a:pt x="9006" y="324"/>
                    </a:lnTo>
                    <a:lnTo>
                      <a:pt x="8990" y="324"/>
                    </a:lnTo>
                    <a:lnTo>
                      <a:pt x="8975" y="324"/>
                    </a:lnTo>
                    <a:lnTo>
                      <a:pt x="8973" y="324"/>
                    </a:lnTo>
                    <a:lnTo>
                      <a:pt x="8972" y="324"/>
                    </a:lnTo>
                    <a:lnTo>
                      <a:pt x="8967" y="324"/>
                    </a:lnTo>
                    <a:lnTo>
                      <a:pt x="8962" y="324"/>
                    </a:lnTo>
                    <a:lnTo>
                      <a:pt x="8975" y="327"/>
                    </a:lnTo>
                    <a:lnTo>
                      <a:pt x="8990" y="329"/>
                    </a:lnTo>
                    <a:lnTo>
                      <a:pt x="9006" y="330"/>
                    </a:lnTo>
                    <a:lnTo>
                      <a:pt x="9021" y="332"/>
                    </a:lnTo>
                    <a:lnTo>
                      <a:pt x="9038" y="332"/>
                    </a:lnTo>
                    <a:lnTo>
                      <a:pt x="9046" y="332"/>
                    </a:lnTo>
                    <a:lnTo>
                      <a:pt x="9052" y="332"/>
                    </a:lnTo>
                    <a:lnTo>
                      <a:pt x="9059" y="332"/>
                    </a:lnTo>
                    <a:lnTo>
                      <a:pt x="9067" y="330"/>
                    </a:lnTo>
                    <a:lnTo>
                      <a:pt x="9074" y="329"/>
                    </a:lnTo>
                    <a:lnTo>
                      <a:pt x="9082" y="324"/>
                    </a:lnTo>
                    <a:lnTo>
                      <a:pt x="9077" y="330"/>
                    </a:lnTo>
                    <a:lnTo>
                      <a:pt x="9071" y="336"/>
                    </a:lnTo>
                    <a:lnTo>
                      <a:pt x="9067" y="337"/>
                    </a:lnTo>
                    <a:lnTo>
                      <a:pt x="9066" y="339"/>
                    </a:lnTo>
                    <a:lnTo>
                      <a:pt x="9062" y="342"/>
                    </a:lnTo>
                    <a:lnTo>
                      <a:pt x="9058" y="342"/>
                    </a:lnTo>
                    <a:lnTo>
                      <a:pt x="9052" y="342"/>
                    </a:lnTo>
                    <a:lnTo>
                      <a:pt x="9047" y="342"/>
                    </a:lnTo>
                    <a:lnTo>
                      <a:pt x="9054" y="345"/>
                    </a:lnTo>
                    <a:lnTo>
                      <a:pt x="9062" y="347"/>
                    </a:lnTo>
                    <a:lnTo>
                      <a:pt x="9069" y="349"/>
                    </a:lnTo>
                    <a:lnTo>
                      <a:pt x="9079" y="349"/>
                    </a:lnTo>
                    <a:lnTo>
                      <a:pt x="9087" y="349"/>
                    </a:lnTo>
                    <a:lnTo>
                      <a:pt x="9097" y="349"/>
                    </a:lnTo>
                    <a:lnTo>
                      <a:pt x="9115" y="349"/>
                    </a:lnTo>
                    <a:lnTo>
                      <a:pt x="9122" y="348"/>
                    </a:lnTo>
                    <a:lnTo>
                      <a:pt x="9126" y="352"/>
                    </a:lnTo>
                    <a:lnTo>
                      <a:pt x="9128" y="354"/>
                    </a:lnTo>
                    <a:lnTo>
                      <a:pt x="9130" y="355"/>
                    </a:lnTo>
                    <a:lnTo>
                      <a:pt x="9132" y="358"/>
                    </a:lnTo>
                    <a:lnTo>
                      <a:pt x="9133" y="358"/>
                    </a:lnTo>
                    <a:lnTo>
                      <a:pt x="9119" y="362"/>
                    </a:lnTo>
                    <a:lnTo>
                      <a:pt x="9105" y="362"/>
                    </a:lnTo>
                    <a:lnTo>
                      <a:pt x="9093" y="362"/>
                    </a:lnTo>
                    <a:lnTo>
                      <a:pt x="9079" y="362"/>
                    </a:lnTo>
                    <a:lnTo>
                      <a:pt x="9066" y="360"/>
                    </a:lnTo>
                    <a:lnTo>
                      <a:pt x="9051" y="355"/>
                    </a:lnTo>
                    <a:lnTo>
                      <a:pt x="9021" y="350"/>
                    </a:lnTo>
                    <a:lnTo>
                      <a:pt x="8993" y="345"/>
                    </a:lnTo>
                    <a:lnTo>
                      <a:pt x="8979" y="342"/>
                    </a:lnTo>
                    <a:lnTo>
                      <a:pt x="8964" y="339"/>
                    </a:lnTo>
                    <a:lnTo>
                      <a:pt x="8951" y="339"/>
                    </a:lnTo>
                    <a:lnTo>
                      <a:pt x="8936" y="339"/>
                    </a:lnTo>
                    <a:lnTo>
                      <a:pt x="8924" y="339"/>
                    </a:lnTo>
                    <a:lnTo>
                      <a:pt x="8911" y="342"/>
                    </a:lnTo>
                    <a:lnTo>
                      <a:pt x="8916" y="345"/>
                    </a:lnTo>
                    <a:lnTo>
                      <a:pt x="8919" y="347"/>
                    </a:lnTo>
                    <a:lnTo>
                      <a:pt x="8924" y="350"/>
                    </a:lnTo>
                    <a:lnTo>
                      <a:pt x="8925" y="352"/>
                    </a:lnTo>
                    <a:lnTo>
                      <a:pt x="8925" y="354"/>
                    </a:lnTo>
                    <a:lnTo>
                      <a:pt x="8925" y="355"/>
                    </a:lnTo>
                    <a:lnTo>
                      <a:pt x="8924" y="355"/>
                    </a:lnTo>
                    <a:lnTo>
                      <a:pt x="8919" y="358"/>
                    </a:lnTo>
                    <a:lnTo>
                      <a:pt x="8916" y="358"/>
                    </a:lnTo>
                    <a:lnTo>
                      <a:pt x="8914" y="358"/>
                    </a:lnTo>
                    <a:lnTo>
                      <a:pt x="8912" y="358"/>
                    </a:lnTo>
                    <a:lnTo>
                      <a:pt x="8911" y="358"/>
                    </a:lnTo>
                    <a:lnTo>
                      <a:pt x="8911" y="360"/>
                    </a:lnTo>
                    <a:lnTo>
                      <a:pt x="8914" y="362"/>
                    </a:lnTo>
                    <a:lnTo>
                      <a:pt x="8916" y="363"/>
                    </a:lnTo>
                    <a:lnTo>
                      <a:pt x="8921" y="367"/>
                    </a:lnTo>
                    <a:lnTo>
                      <a:pt x="8927" y="370"/>
                    </a:lnTo>
                    <a:lnTo>
                      <a:pt x="8932" y="373"/>
                    </a:lnTo>
                    <a:lnTo>
                      <a:pt x="8939" y="375"/>
                    </a:lnTo>
                    <a:lnTo>
                      <a:pt x="8945" y="376"/>
                    </a:lnTo>
                    <a:lnTo>
                      <a:pt x="8919" y="376"/>
                    </a:lnTo>
                    <a:lnTo>
                      <a:pt x="8903" y="376"/>
                    </a:lnTo>
                    <a:lnTo>
                      <a:pt x="8906" y="378"/>
                    </a:lnTo>
                    <a:lnTo>
                      <a:pt x="8909" y="378"/>
                    </a:lnTo>
                    <a:lnTo>
                      <a:pt x="8909" y="380"/>
                    </a:lnTo>
                    <a:lnTo>
                      <a:pt x="8909" y="382"/>
                    </a:lnTo>
                    <a:lnTo>
                      <a:pt x="8909" y="383"/>
                    </a:lnTo>
                    <a:lnTo>
                      <a:pt x="8906" y="388"/>
                    </a:lnTo>
                    <a:lnTo>
                      <a:pt x="8905" y="390"/>
                    </a:lnTo>
                    <a:lnTo>
                      <a:pt x="8905" y="391"/>
                    </a:lnTo>
                    <a:lnTo>
                      <a:pt x="8906" y="393"/>
                    </a:lnTo>
                    <a:lnTo>
                      <a:pt x="8909" y="393"/>
                    </a:lnTo>
                    <a:lnTo>
                      <a:pt x="8911" y="393"/>
                    </a:lnTo>
                    <a:lnTo>
                      <a:pt x="8916" y="398"/>
                    </a:lnTo>
                    <a:lnTo>
                      <a:pt x="8924" y="403"/>
                    </a:lnTo>
                    <a:lnTo>
                      <a:pt x="8929" y="406"/>
                    </a:lnTo>
                    <a:lnTo>
                      <a:pt x="8934" y="408"/>
                    </a:lnTo>
                    <a:lnTo>
                      <a:pt x="8939" y="410"/>
                    </a:lnTo>
                    <a:lnTo>
                      <a:pt x="8942" y="410"/>
                    </a:lnTo>
                    <a:lnTo>
                      <a:pt x="8944" y="410"/>
                    </a:lnTo>
                    <a:lnTo>
                      <a:pt x="8945" y="410"/>
                    </a:lnTo>
                    <a:lnTo>
                      <a:pt x="8964" y="410"/>
                    </a:lnTo>
                    <a:lnTo>
                      <a:pt x="8982" y="408"/>
                    </a:lnTo>
                    <a:lnTo>
                      <a:pt x="9003" y="404"/>
                    </a:lnTo>
                    <a:lnTo>
                      <a:pt x="9021" y="403"/>
                    </a:lnTo>
                    <a:lnTo>
                      <a:pt x="9041" y="398"/>
                    </a:lnTo>
                    <a:lnTo>
                      <a:pt x="9059" y="395"/>
                    </a:lnTo>
                    <a:lnTo>
                      <a:pt x="9080" y="393"/>
                    </a:lnTo>
                    <a:lnTo>
                      <a:pt x="9099" y="393"/>
                    </a:lnTo>
                    <a:lnTo>
                      <a:pt x="9093" y="396"/>
                    </a:lnTo>
                    <a:lnTo>
                      <a:pt x="9089" y="403"/>
                    </a:lnTo>
                    <a:lnTo>
                      <a:pt x="9084" y="404"/>
                    </a:lnTo>
                    <a:lnTo>
                      <a:pt x="9079" y="408"/>
                    </a:lnTo>
                    <a:lnTo>
                      <a:pt x="9067" y="411"/>
                    </a:lnTo>
                    <a:lnTo>
                      <a:pt x="9054" y="415"/>
                    </a:lnTo>
                    <a:lnTo>
                      <a:pt x="9041" y="416"/>
                    </a:lnTo>
                    <a:lnTo>
                      <a:pt x="9028" y="416"/>
                    </a:lnTo>
                    <a:lnTo>
                      <a:pt x="9016" y="416"/>
                    </a:lnTo>
                    <a:lnTo>
                      <a:pt x="9003" y="416"/>
                    </a:lnTo>
                    <a:lnTo>
                      <a:pt x="8975" y="415"/>
                    </a:lnTo>
                    <a:lnTo>
                      <a:pt x="8960" y="415"/>
                    </a:lnTo>
                    <a:lnTo>
                      <a:pt x="8947" y="415"/>
                    </a:lnTo>
                    <a:lnTo>
                      <a:pt x="8932" y="415"/>
                    </a:lnTo>
                    <a:lnTo>
                      <a:pt x="8919" y="419"/>
                    </a:lnTo>
                    <a:lnTo>
                      <a:pt x="8906" y="423"/>
                    </a:lnTo>
                    <a:lnTo>
                      <a:pt x="8899" y="424"/>
                    </a:lnTo>
                    <a:lnTo>
                      <a:pt x="8894" y="426"/>
                    </a:lnTo>
                    <a:lnTo>
                      <a:pt x="8899" y="431"/>
                    </a:lnTo>
                    <a:lnTo>
                      <a:pt x="8903" y="437"/>
                    </a:lnTo>
                    <a:close/>
                    <a:moveTo>
                      <a:pt x="9095" y="278"/>
                    </a:moveTo>
                    <a:lnTo>
                      <a:pt x="9100" y="280"/>
                    </a:lnTo>
                    <a:lnTo>
                      <a:pt x="9108" y="283"/>
                    </a:lnTo>
                    <a:lnTo>
                      <a:pt x="9115" y="284"/>
                    </a:lnTo>
                    <a:lnTo>
                      <a:pt x="9132" y="284"/>
                    </a:lnTo>
                    <a:lnTo>
                      <a:pt x="9146" y="284"/>
                    </a:lnTo>
                    <a:lnTo>
                      <a:pt x="9154" y="283"/>
                    </a:lnTo>
                    <a:lnTo>
                      <a:pt x="9161" y="280"/>
                    </a:lnTo>
                    <a:lnTo>
                      <a:pt x="9166" y="278"/>
                    </a:lnTo>
                    <a:lnTo>
                      <a:pt x="9173" y="276"/>
                    </a:lnTo>
                    <a:lnTo>
                      <a:pt x="9178" y="273"/>
                    </a:lnTo>
                    <a:lnTo>
                      <a:pt x="9181" y="269"/>
                    </a:lnTo>
                    <a:lnTo>
                      <a:pt x="9082" y="269"/>
                    </a:lnTo>
                    <a:lnTo>
                      <a:pt x="9086" y="273"/>
                    </a:lnTo>
                    <a:lnTo>
                      <a:pt x="9089" y="276"/>
                    </a:lnTo>
                    <a:lnTo>
                      <a:pt x="9095" y="278"/>
                    </a:lnTo>
                    <a:close/>
                    <a:moveTo>
                      <a:pt x="9482" y="571"/>
                    </a:moveTo>
                    <a:lnTo>
                      <a:pt x="9475" y="574"/>
                    </a:lnTo>
                    <a:lnTo>
                      <a:pt x="9466" y="579"/>
                    </a:lnTo>
                    <a:lnTo>
                      <a:pt x="9461" y="585"/>
                    </a:lnTo>
                    <a:lnTo>
                      <a:pt x="9453" y="591"/>
                    </a:lnTo>
                    <a:lnTo>
                      <a:pt x="9442" y="604"/>
                    </a:lnTo>
                    <a:lnTo>
                      <a:pt x="9448" y="597"/>
                    </a:lnTo>
                    <a:lnTo>
                      <a:pt x="9453" y="594"/>
                    </a:lnTo>
                    <a:lnTo>
                      <a:pt x="9461" y="589"/>
                    </a:lnTo>
                    <a:lnTo>
                      <a:pt x="9466" y="585"/>
                    </a:lnTo>
                    <a:lnTo>
                      <a:pt x="9475" y="583"/>
                    </a:lnTo>
                    <a:lnTo>
                      <a:pt x="9482" y="577"/>
                    </a:lnTo>
                    <a:lnTo>
                      <a:pt x="9494" y="574"/>
                    </a:lnTo>
                    <a:lnTo>
                      <a:pt x="9505" y="566"/>
                    </a:lnTo>
                    <a:lnTo>
                      <a:pt x="9494" y="568"/>
                    </a:lnTo>
                    <a:lnTo>
                      <a:pt x="9482" y="571"/>
                    </a:lnTo>
                    <a:close/>
                    <a:moveTo>
                      <a:pt x="6863" y="592"/>
                    </a:moveTo>
                    <a:lnTo>
                      <a:pt x="6869" y="592"/>
                    </a:lnTo>
                    <a:lnTo>
                      <a:pt x="6873" y="594"/>
                    </a:lnTo>
                    <a:lnTo>
                      <a:pt x="6878" y="594"/>
                    </a:lnTo>
                    <a:lnTo>
                      <a:pt x="6883" y="594"/>
                    </a:lnTo>
                    <a:lnTo>
                      <a:pt x="6891" y="592"/>
                    </a:lnTo>
                    <a:lnTo>
                      <a:pt x="6902" y="591"/>
                    </a:lnTo>
                    <a:lnTo>
                      <a:pt x="6912" y="589"/>
                    </a:lnTo>
                    <a:lnTo>
                      <a:pt x="6919" y="587"/>
                    </a:lnTo>
                    <a:lnTo>
                      <a:pt x="6926" y="587"/>
                    </a:lnTo>
                    <a:lnTo>
                      <a:pt x="6934" y="583"/>
                    </a:lnTo>
                    <a:lnTo>
                      <a:pt x="6939" y="581"/>
                    </a:lnTo>
                    <a:lnTo>
                      <a:pt x="6947" y="579"/>
                    </a:lnTo>
                    <a:lnTo>
                      <a:pt x="6952" y="579"/>
                    </a:lnTo>
                    <a:lnTo>
                      <a:pt x="6960" y="577"/>
                    </a:lnTo>
                    <a:lnTo>
                      <a:pt x="6967" y="577"/>
                    </a:lnTo>
                    <a:lnTo>
                      <a:pt x="6980" y="579"/>
                    </a:lnTo>
                    <a:lnTo>
                      <a:pt x="6993" y="581"/>
                    </a:lnTo>
                    <a:lnTo>
                      <a:pt x="7006" y="583"/>
                    </a:lnTo>
                    <a:lnTo>
                      <a:pt x="7019" y="585"/>
                    </a:lnTo>
                    <a:lnTo>
                      <a:pt x="7031" y="587"/>
                    </a:lnTo>
                    <a:lnTo>
                      <a:pt x="7039" y="585"/>
                    </a:lnTo>
                    <a:lnTo>
                      <a:pt x="7046" y="583"/>
                    </a:lnTo>
                    <a:lnTo>
                      <a:pt x="7057" y="581"/>
                    </a:lnTo>
                    <a:lnTo>
                      <a:pt x="7067" y="579"/>
                    </a:lnTo>
                    <a:lnTo>
                      <a:pt x="7076" y="577"/>
                    </a:lnTo>
                    <a:lnTo>
                      <a:pt x="7082" y="577"/>
                    </a:lnTo>
                    <a:lnTo>
                      <a:pt x="7085" y="579"/>
                    </a:lnTo>
                    <a:lnTo>
                      <a:pt x="7089" y="579"/>
                    </a:lnTo>
                    <a:lnTo>
                      <a:pt x="7095" y="581"/>
                    </a:lnTo>
                    <a:lnTo>
                      <a:pt x="7098" y="583"/>
                    </a:lnTo>
                    <a:lnTo>
                      <a:pt x="7102" y="587"/>
                    </a:lnTo>
                    <a:lnTo>
                      <a:pt x="7107" y="589"/>
                    </a:lnTo>
                    <a:lnTo>
                      <a:pt x="7115" y="592"/>
                    </a:lnTo>
                    <a:lnTo>
                      <a:pt x="7120" y="592"/>
                    </a:lnTo>
                    <a:lnTo>
                      <a:pt x="7128" y="594"/>
                    </a:lnTo>
                    <a:lnTo>
                      <a:pt x="7133" y="594"/>
                    </a:lnTo>
                    <a:lnTo>
                      <a:pt x="7138" y="594"/>
                    </a:lnTo>
                    <a:lnTo>
                      <a:pt x="7151" y="592"/>
                    </a:lnTo>
                    <a:lnTo>
                      <a:pt x="7163" y="591"/>
                    </a:lnTo>
                    <a:lnTo>
                      <a:pt x="7172" y="589"/>
                    </a:lnTo>
                    <a:lnTo>
                      <a:pt x="7181" y="587"/>
                    </a:lnTo>
                    <a:lnTo>
                      <a:pt x="7189" y="587"/>
                    </a:lnTo>
                    <a:lnTo>
                      <a:pt x="7214" y="587"/>
                    </a:lnTo>
                    <a:lnTo>
                      <a:pt x="7227" y="585"/>
                    </a:lnTo>
                    <a:lnTo>
                      <a:pt x="7240" y="585"/>
                    </a:lnTo>
                    <a:lnTo>
                      <a:pt x="7253" y="581"/>
                    </a:lnTo>
                    <a:lnTo>
                      <a:pt x="7266" y="579"/>
                    </a:lnTo>
                    <a:lnTo>
                      <a:pt x="7279" y="574"/>
                    </a:lnTo>
                    <a:lnTo>
                      <a:pt x="7291" y="568"/>
                    </a:lnTo>
                    <a:lnTo>
                      <a:pt x="7298" y="566"/>
                    </a:lnTo>
                    <a:lnTo>
                      <a:pt x="7301" y="564"/>
                    </a:lnTo>
                    <a:lnTo>
                      <a:pt x="7303" y="563"/>
                    </a:lnTo>
                    <a:lnTo>
                      <a:pt x="7304" y="561"/>
                    </a:lnTo>
                    <a:lnTo>
                      <a:pt x="7304" y="559"/>
                    </a:lnTo>
                    <a:lnTo>
                      <a:pt x="7304" y="557"/>
                    </a:lnTo>
                    <a:lnTo>
                      <a:pt x="7303" y="556"/>
                    </a:lnTo>
                    <a:lnTo>
                      <a:pt x="7301" y="553"/>
                    </a:lnTo>
                    <a:lnTo>
                      <a:pt x="7299" y="551"/>
                    </a:lnTo>
                    <a:lnTo>
                      <a:pt x="7296" y="550"/>
                    </a:lnTo>
                    <a:lnTo>
                      <a:pt x="7291" y="550"/>
                    </a:lnTo>
                    <a:lnTo>
                      <a:pt x="7284" y="546"/>
                    </a:lnTo>
                    <a:lnTo>
                      <a:pt x="7275" y="544"/>
                    </a:lnTo>
                    <a:lnTo>
                      <a:pt x="7264" y="541"/>
                    </a:lnTo>
                    <a:lnTo>
                      <a:pt x="7255" y="538"/>
                    </a:lnTo>
                    <a:lnTo>
                      <a:pt x="7244" y="537"/>
                    </a:lnTo>
                    <a:lnTo>
                      <a:pt x="7233" y="535"/>
                    </a:lnTo>
                    <a:lnTo>
                      <a:pt x="7224" y="533"/>
                    </a:lnTo>
                    <a:lnTo>
                      <a:pt x="7217" y="533"/>
                    </a:lnTo>
                    <a:lnTo>
                      <a:pt x="7212" y="533"/>
                    </a:lnTo>
                    <a:lnTo>
                      <a:pt x="7210" y="533"/>
                    </a:lnTo>
                    <a:lnTo>
                      <a:pt x="7207" y="533"/>
                    </a:lnTo>
                    <a:lnTo>
                      <a:pt x="7205" y="531"/>
                    </a:lnTo>
                    <a:lnTo>
                      <a:pt x="7187" y="533"/>
                    </a:lnTo>
                    <a:lnTo>
                      <a:pt x="7166" y="535"/>
                    </a:lnTo>
                    <a:lnTo>
                      <a:pt x="7146" y="538"/>
                    </a:lnTo>
                    <a:lnTo>
                      <a:pt x="7128" y="541"/>
                    </a:lnTo>
                    <a:lnTo>
                      <a:pt x="7107" y="544"/>
                    </a:lnTo>
                    <a:lnTo>
                      <a:pt x="7087" y="548"/>
                    </a:lnTo>
                    <a:lnTo>
                      <a:pt x="7069" y="550"/>
                    </a:lnTo>
                    <a:lnTo>
                      <a:pt x="7048" y="550"/>
                    </a:lnTo>
                    <a:lnTo>
                      <a:pt x="7036" y="553"/>
                    </a:lnTo>
                    <a:lnTo>
                      <a:pt x="7024" y="556"/>
                    </a:lnTo>
                    <a:lnTo>
                      <a:pt x="7011" y="557"/>
                    </a:lnTo>
                    <a:lnTo>
                      <a:pt x="6998" y="559"/>
                    </a:lnTo>
                    <a:lnTo>
                      <a:pt x="6976" y="561"/>
                    </a:lnTo>
                    <a:lnTo>
                      <a:pt x="6952" y="561"/>
                    </a:lnTo>
                    <a:lnTo>
                      <a:pt x="6941" y="563"/>
                    </a:lnTo>
                    <a:lnTo>
                      <a:pt x="6930" y="564"/>
                    </a:lnTo>
                    <a:lnTo>
                      <a:pt x="6919" y="566"/>
                    </a:lnTo>
                    <a:lnTo>
                      <a:pt x="6906" y="568"/>
                    </a:lnTo>
                    <a:lnTo>
                      <a:pt x="6895" y="572"/>
                    </a:lnTo>
                    <a:lnTo>
                      <a:pt x="6883" y="576"/>
                    </a:lnTo>
                    <a:lnTo>
                      <a:pt x="6869" y="579"/>
                    </a:lnTo>
                    <a:lnTo>
                      <a:pt x="6858" y="587"/>
                    </a:lnTo>
                    <a:lnTo>
                      <a:pt x="6860" y="589"/>
                    </a:lnTo>
                    <a:lnTo>
                      <a:pt x="6863" y="592"/>
                    </a:lnTo>
                    <a:close/>
                    <a:moveTo>
                      <a:pt x="4191" y="1489"/>
                    </a:moveTo>
                    <a:lnTo>
                      <a:pt x="4182" y="1491"/>
                    </a:lnTo>
                    <a:lnTo>
                      <a:pt x="4188" y="1489"/>
                    </a:lnTo>
                    <a:lnTo>
                      <a:pt x="4193" y="1488"/>
                    </a:lnTo>
                    <a:lnTo>
                      <a:pt x="4198" y="1484"/>
                    </a:lnTo>
                    <a:lnTo>
                      <a:pt x="4204" y="1481"/>
                    </a:lnTo>
                    <a:lnTo>
                      <a:pt x="4210" y="1476"/>
                    </a:lnTo>
                    <a:lnTo>
                      <a:pt x="4219" y="1468"/>
                    </a:lnTo>
                    <a:lnTo>
                      <a:pt x="4228" y="1458"/>
                    </a:lnTo>
                    <a:lnTo>
                      <a:pt x="4234" y="1455"/>
                    </a:lnTo>
                    <a:lnTo>
                      <a:pt x="4239" y="1451"/>
                    </a:lnTo>
                    <a:lnTo>
                      <a:pt x="4245" y="1447"/>
                    </a:lnTo>
                    <a:lnTo>
                      <a:pt x="4250" y="1445"/>
                    </a:lnTo>
                    <a:lnTo>
                      <a:pt x="4256" y="1443"/>
                    </a:lnTo>
                    <a:lnTo>
                      <a:pt x="4262" y="1442"/>
                    </a:lnTo>
                    <a:lnTo>
                      <a:pt x="4274" y="1442"/>
                    </a:lnTo>
                    <a:lnTo>
                      <a:pt x="4285" y="1440"/>
                    </a:lnTo>
                    <a:lnTo>
                      <a:pt x="4295" y="1436"/>
                    </a:lnTo>
                    <a:lnTo>
                      <a:pt x="4303" y="1432"/>
                    </a:lnTo>
                    <a:lnTo>
                      <a:pt x="4315" y="1427"/>
                    </a:lnTo>
                    <a:lnTo>
                      <a:pt x="4324" y="1422"/>
                    </a:lnTo>
                    <a:lnTo>
                      <a:pt x="4335" y="1414"/>
                    </a:lnTo>
                    <a:lnTo>
                      <a:pt x="4348" y="1409"/>
                    </a:lnTo>
                    <a:lnTo>
                      <a:pt x="4361" y="1409"/>
                    </a:lnTo>
                    <a:lnTo>
                      <a:pt x="4367" y="1407"/>
                    </a:lnTo>
                    <a:lnTo>
                      <a:pt x="4374" y="1407"/>
                    </a:lnTo>
                    <a:lnTo>
                      <a:pt x="4379" y="1402"/>
                    </a:lnTo>
                    <a:lnTo>
                      <a:pt x="4387" y="1401"/>
                    </a:lnTo>
                    <a:lnTo>
                      <a:pt x="4392" y="1397"/>
                    </a:lnTo>
                    <a:lnTo>
                      <a:pt x="4400" y="1390"/>
                    </a:lnTo>
                    <a:lnTo>
                      <a:pt x="4413" y="1379"/>
                    </a:lnTo>
                    <a:lnTo>
                      <a:pt x="4418" y="1374"/>
                    </a:lnTo>
                    <a:lnTo>
                      <a:pt x="4422" y="1368"/>
                    </a:lnTo>
                    <a:lnTo>
                      <a:pt x="4428" y="1362"/>
                    </a:lnTo>
                    <a:lnTo>
                      <a:pt x="4431" y="1361"/>
                    </a:lnTo>
                    <a:lnTo>
                      <a:pt x="4433" y="1356"/>
                    </a:lnTo>
                    <a:lnTo>
                      <a:pt x="4437" y="1353"/>
                    </a:lnTo>
                    <a:lnTo>
                      <a:pt x="4440" y="1351"/>
                    </a:lnTo>
                    <a:lnTo>
                      <a:pt x="4442" y="1351"/>
                    </a:lnTo>
                    <a:lnTo>
                      <a:pt x="4446" y="1349"/>
                    </a:lnTo>
                    <a:lnTo>
                      <a:pt x="4450" y="1349"/>
                    </a:lnTo>
                    <a:lnTo>
                      <a:pt x="4453" y="1349"/>
                    </a:lnTo>
                    <a:lnTo>
                      <a:pt x="4459" y="1351"/>
                    </a:lnTo>
                    <a:lnTo>
                      <a:pt x="4466" y="1353"/>
                    </a:lnTo>
                    <a:lnTo>
                      <a:pt x="4471" y="1355"/>
                    </a:lnTo>
                    <a:lnTo>
                      <a:pt x="4479" y="1356"/>
                    </a:lnTo>
                    <a:lnTo>
                      <a:pt x="4484" y="1356"/>
                    </a:lnTo>
                    <a:lnTo>
                      <a:pt x="4489" y="1356"/>
                    </a:lnTo>
                    <a:lnTo>
                      <a:pt x="4492" y="1355"/>
                    </a:lnTo>
                    <a:lnTo>
                      <a:pt x="4496" y="1353"/>
                    </a:lnTo>
                    <a:lnTo>
                      <a:pt x="4499" y="1351"/>
                    </a:lnTo>
                    <a:lnTo>
                      <a:pt x="4507" y="1346"/>
                    </a:lnTo>
                    <a:lnTo>
                      <a:pt x="4511" y="1341"/>
                    </a:lnTo>
                    <a:lnTo>
                      <a:pt x="4512" y="1340"/>
                    </a:lnTo>
                    <a:lnTo>
                      <a:pt x="4516" y="1336"/>
                    </a:lnTo>
                    <a:lnTo>
                      <a:pt x="4516" y="1333"/>
                    </a:lnTo>
                    <a:lnTo>
                      <a:pt x="4517" y="1331"/>
                    </a:lnTo>
                    <a:lnTo>
                      <a:pt x="4516" y="1327"/>
                    </a:lnTo>
                    <a:lnTo>
                      <a:pt x="4514" y="1325"/>
                    </a:lnTo>
                    <a:lnTo>
                      <a:pt x="4512" y="1323"/>
                    </a:lnTo>
                    <a:lnTo>
                      <a:pt x="4509" y="1323"/>
                    </a:lnTo>
                    <a:lnTo>
                      <a:pt x="4504" y="1322"/>
                    </a:lnTo>
                    <a:lnTo>
                      <a:pt x="4516" y="1315"/>
                    </a:lnTo>
                    <a:lnTo>
                      <a:pt x="4531" y="1305"/>
                    </a:lnTo>
                    <a:lnTo>
                      <a:pt x="4545" y="1298"/>
                    </a:lnTo>
                    <a:lnTo>
                      <a:pt x="4562" y="1292"/>
                    </a:lnTo>
                    <a:lnTo>
                      <a:pt x="4578" y="1287"/>
                    </a:lnTo>
                    <a:lnTo>
                      <a:pt x="4596" y="1281"/>
                    </a:lnTo>
                    <a:lnTo>
                      <a:pt x="4631" y="1272"/>
                    </a:lnTo>
                    <a:lnTo>
                      <a:pt x="4667" y="1261"/>
                    </a:lnTo>
                    <a:lnTo>
                      <a:pt x="4684" y="1255"/>
                    </a:lnTo>
                    <a:lnTo>
                      <a:pt x="4700" y="1249"/>
                    </a:lnTo>
                    <a:lnTo>
                      <a:pt x="4718" y="1244"/>
                    </a:lnTo>
                    <a:lnTo>
                      <a:pt x="4733" y="1236"/>
                    </a:lnTo>
                    <a:lnTo>
                      <a:pt x="4746" y="1229"/>
                    </a:lnTo>
                    <a:lnTo>
                      <a:pt x="4759" y="1220"/>
                    </a:lnTo>
                    <a:lnTo>
                      <a:pt x="4756" y="1218"/>
                    </a:lnTo>
                    <a:lnTo>
                      <a:pt x="4752" y="1216"/>
                    </a:lnTo>
                    <a:lnTo>
                      <a:pt x="4749" y="1213"/>
                    </a:lnTo>
                    <a:lnTo>
                      <a:pt x="4746" y="1211"/>
                    </a:lnTo>
                    <a:lnTo>
                      <a:pt x="4745" y="1209"/>
                    </a:lnTo>
                    <a:lnTo>
                      <a:pt x="4745" y="1205"/>
                    </a:lnTo>
                    <a:lnTo>
                      <a:pt x="4743" y="1201"/>
                    </a:lnTo>
                    <a:lnTo>
                      <a:pt x="4743" y="1198"/>
                    </a:lnTo>
                    <a:lnTo>
                      <a:pt x="4745" y="1196"/>
                    </a:lnTo>
                    <a:lnTo>
                      <a:pt x="4745" y="1193"/>
                    </a:lnTo>
                    <a:lnTo>
                      <a:pt x="4749" y="1185"/>
                    </a:lnTo>
                    <a:lnTo>
                      <a:pt x="4754" y="1178"/>
                    </a:lnTo>
                    <a:lnTo>
                      <a:pt x="4759" y="1170"/>
                    </a:lnTo>
                    <a:lnTo>
                      <a:pt x="4767" y="1163"/>
                    </a:lnTo>
                    <a:lnTo>
                      <a:pt x="4774" y="1155"/>
                    </a:lnTo>
                    <a:lnTo>
                      <a:pt x="4782" y="1150"/>
                    </a:lnTo>
                    <a:lnTo>
                      <a:pt x="4789" y="1144"/>
                    </a:lnTo>
                    <a:lnTo>
                      <a:pt x="4797" y="1140"/>
                    </a:lnTo>
                    <a:lnTo>
                      <a:pt x="4802" y="1137"/>
                    </a:lnTo>
                    <a:lnTo>
                      <a:pt x="4807" y="1135"/>
                    </a:lnTo>
                    <a:lnTo>
                      <a:pt x="4812" y="1134"/>
                    </a:lnTo>
                    <a:lnTo>
                      <a:pt x="4837" y="1127"/>
                    </a:lnTo>
                    <a:lnTo>
                      <a:pt x="4863" y="1124"/>
                    </a:lnTo>
                    <a:lnTo>
                      <a:pt x="4889" y="1121"/>
                    </a:lnTo>
                    <a:lnTo>
                      <a:pt x="4914" y="1119"/>
                    </a:lnTo>
                    <a:lnTo>
                      <a:pt x="4940" y="1117"/>
                    </a:lnTo>
                    <a:lnTo>
                      <a:pt x="4967" y="1117"/>
                    </a:lnTo>
                    <a:lnTo>
                      <a:pt x="5018" y="1117"/>
                    </a:lnTo>
                    <a:lnTo>
                      <a:pt x="5027" y="1117"/>
                    </a:lnTo>
                    <a:lnTo>
                      <a:pt x="5039" y="1117"/>
                    </a:lnTo>
                    <a:lnTo>
                      <a:pt x="5049" y="1114"/>
                    </a:lnTo>
                    <a:lnTo>
                      <a:pt x="5062" y="1114"/>
                    </a:lnTo>
                    <a:lnTo>
                      <a:pt x="5087" y="1111"/>
                    </a:lnTo>
                    <a:lnTo>
                      <a:pt x="5112" y="1109"/>
                    </a:lnTo>
                    <a:lnTo>
                      <a:pt x="5138" y="1109"/>
                    </a:lnTo>
                    <a:lnTo>
                      <a:pt x="5151" y="1109"/>
                    </a:lnTo>
                    <a:lnTo>
                      <a:pt x="5162" y="1109"/>
                    </a:lnTo>
                    <a:lnTo>
                      <a:pt x="5175" y="1109"/>
                    </a:lnTo>
                    <a:lnTo>
                      <a:pt x="5186" y="1111"/>
                    </a:lnTo>
                    <a:lnTo>
                      <a:pt x="5197" y="1113"/>
                    </a:lnTo>
                    <a:lnTo>
                      <a:pt x="5207" y="1117"/>
                    </a:lnTo>
                    <a:lnTo>
                      <a:pt x="5215" y="1121"/>
                    </a:lnTo>
                    <a:lnTo>
                      <a:pt x="5225" y="1122"/>
                    </a:lnTo>
                    <a:lnTo>
                      <a:pt x="5232" y="1126"/>
                    </a:lnTo>
                    <a:lnTo>
                      <a:pt x="5240" y="1129"/>
                    </a:lnTo>
                    <a:lnTo>
                      <a:pt x="5255" y="1135"/>
                    </a:lnTo>
                    <a:lnTo>
                      <a:pt x="5268" y="1140"/>
                    </a:lnTo>
                    <a:lnTo>
                      <a:pt x="5280" y="1144"/>
                    </a:lnTo>
                    <a:lnTo>
                      <a:pt x="5293" y="1148"/>
                    </a:lnTo>
                    <a:lnTo>
                      <a:pt x="5302" y="1150"/>
                    </a:lnTo>
                    <a:lnTo>
                      <a:pt x="5309" y="1150"/>
                    </a:lnTo>
                    <a:lnTo>
                      <a:pt x="5317" y="1150"/>
                    </a:lnTo>
                    <a:lnTo>
                      <a:pt x="5329" y="1150"/>
                    </a:lnTo>
                    <a:lnTo>
                      <a:pt x="5324" y="1154"/>
                    </a:lnTo>
                    <a:lnTo>
                      <a:pt x="5332" y="1152"/>
                    </a:lnTo>
                    <a:lnTo>
                      <a:pt x="5343" y="1152"/>
                    </a:lnTo>
                    <a:lnTo>
                      <a:pt x="5348" y="1152"/>
                    </a:lnTo>
                    <a:lnTo>
                      <a:pt x="5354" y="1152"/>
                    </a:lnTo>
                    <a:lnTo>
                      <a:pt x="5358" y="1150"/>
                    </a:lnTo>
                    <a:lnTo>
                      <a:pt x="5362" y="1150"/>
                    </a:lnTo>
                    <a:lnTo>
                      <a:pt x="5362" y="1157"/>
                    </a:lnTo>
                    <a:lnTo>
                      <a:pt x="5358" y="1163"/>
                    </a:lnTo>
                    <a:lnTo>
                      <a:pt x="5355" y="1168"/>
                    </a:lnTo>
                    <a:lnTo>
                      <a:pt x="5350" y="1174"/>
                    </a:lnTo>
                    <a:lnTo>
                      <a:pt x="5345" y="1180"/>
                    </a:lnTo>
                    <a:lnTo>
                      <a:pt x="5339" y="1181"/>
                    </a:lnTo>
                    <a:lnTo>
                      <a:pt x="5334" y="1185"/>
                    </a:lnTo>
                    <a:lnTo>
                      <a:pt x="5337" y="1185"/>
                    </a:lnTo>
                    <a:lnTo>
                      <a:pt x="5347" y="1183"/>
                    </a:lnTo>
                    <a:lnTo>
                      <a:pt x="5354" y="1181"/>
                    </a:lnTo>
                    <a:lnTo>
                      <a:pt x="5363" y="1180"/>
                    </a:lnTo>
                    <a:lnTo>
                      <a:pt x="5380" y="1174"/>
                    </a:lnTo>
                    <a:lnTo>
                      <a:pt x="5396" y="1168"/>
                    </a:lnTo>
                    <a:lnTo>
                      <a:pt x="5411" y="1160"/>
                    </a:lnTo>
                    <a:lnTo>
                      <a:pt x="5428" y="1155"/>
                    </a:lnTo>
                    <a:lnTo>
                      <a:pt x="5437" y="1154"/>
                    </a:lnTo>
                    <a:lnTo>
                      <a:pt x="5446" y="1152"/>
                    </a:lnTo>
                    <a:lnTo>
                      <a:pt x="5456" y="1152"/>
                    </a:lnTo>
                    <a:lnTo>
                      <a:pt x="5465" y="1150"/>
                    </a:lnTo>
                    <a:lnTo>
                      <a:pt x="5483" y="1152"/>
                    </a:lnTo>
                    <a:lnTo>
                      <a:pt x="5503" y="1152"/>
                    </a:lnTo>
                    <a:lnTo>
                      <a:pt x="5522" y="1152"/>
                    </a:lnTo>
                    <a:lnTo>
                      <a:pt x="5541" y="1155"/>
                    </a:lnTo>
                    <a:lnTo>
                      <a:pt x="5548" y="1157"/>
                    </a:lnTo>
                    <a:lnTo>
                      <a:pt x="5557" y="1159"/>
                    </a:lnTo>
                    <a:lnTo>
                      <a:pt x="5566" y="1160"/>
                    </a:lnTo>
                    <a:lnTo>
                      <a:pt x="5574" y="1165"/>
                    </a:lnTo>
                    <a:lnTo>
                      <a:pt x="5581" y="1168"/>
                    </a:lnTo>
                    <a:lnTo>
                      <a:pt x="5589" y="1174"/>
                    </a:lnTo>
                    <a:lnTo>
                      <a:pt x="5596" y="1180"/>
                    </a:lnTo>
                    <a:lnTo>
                      <a:pt x="5603" y="1185"/>
                    </a:lnTo>
                    <a:lnTo>
                      <a:pt x="5609" y="1185"/>
                    </a:lnTo>
                    <a:lnTo>
                      <a:pt x="5612" y="1188"/>
                    </a:lnTo>
                    <a:lnTo>
                      <a:pt x="5617" y="1190"/>
                    </a:lnTo>
                    <a:lnTo>
                      <a:pt x="5620" y="1196"/>
                    </a:lnTo>
                    <a:lnTo>
                      <a:pt x="5623" y="1201"/>
                    </a:lnTo>
                    <a:lnTo>
                      <a:pt x="5627" y="1208"/>
                    </a:lnTo>
                    <a:lnTo>
                      <a:pt x="5630" y="1213"/>
                    </a:lnTo>
                    <a:lnTo>
                      <a:pt x="5637" y="1220"/>
                    </a:lnTo>
                    <a:lnTo>
                      <a:pt x="5637" y="1226"/>
                    </a:lnTo>
                    <a:lnTo>
                      <a:pt x="5640" y="1229"/>
                    </a:lnTo>
                    <a:lnTo>
                      <a:pt x="5642" y="1233"/>
                    </a:lnTo>
                    <a:lnTo>
                      <a:pt x="5648" y="1234"/>
                    </a:lnTo>
                    <a:lnTo>
                      <a:pt x="5653" y="1234"/>
                    </a:lnTo>
                    <a:lnTo>
                      <a:pt x="5658" y="1236"/>
                    </a:lnTo>
                    <a:lnTo>
                      <a:pt x="5671" y="1236"/>
                    </a:lnTo>
                    <a:lnTo>
                      <a:pt x="5670" y="1241"/>
                    </a:lnTo>
                    <a:lnTo>
                      <a:pt x="5668" y="1242"/>
                    </a:lnTo>
                    <a:lnTo>
                      <a:pt x="5666" y="1246"/>
                    </a:lnTo>
                    <a:lnTo>
                      <a:pt x="5663" y="1249"/>
                    </a:lnTo>
                    <a:lnTo>
                      <a:pt x="5658" y="1251"/>
                    </a:lnTo>
                    <a:lnTo>
                      <a:pt x="5655" y="1255"/>
                    </a:lnTo>
                    <a:lnTo>
                      <a:pt x="5645" y="1261"/>
                    </a:lnTo>
                    <a:lnTo>
                      <a:pt x="5637" y="1264"/>
                    </a:lnTo>
                    <a:lnTo>
                      <a:pt x="5630" y="1266"/>
                    </a:lnTo>
                    <a:lnTo>
                      <a:pt x="5627" y="1268"/>
                    </a:lnTo>
                    <a:lnTo>
                      <a:pt x="5623" y="1270"/>
                    </a:lnTo>
                    <a:lnTo>
                      <a:pt x="5622" y="1270"/>
                    </a:lnTo>
                    <a:lnTo>
                      <a:pt x="5620" y="1270"/>
                    </a:lnTo>
                    <a:lnTo>
                      <a:pt x="5602" y="1277"/>
                    </a:lnTo>
                    <a:lnTo>
                      <a:pt x="5582" y="1281"/>
                    </a:lnTo>
                    <a:lnTo>
                      <a:pt x="5566" y="1285"/>
                    </a:lnTo>
                    <a:lnTo>
                      <a:pt x="5551" y="1288"/>
                    </a:lnTo>
                    <a:lnTo>
                      <a:pt x="5535" y="1290"/>
                    </a:lnTo>
                    <a:lnTo>
                      <a:pt x="5518" y="1294"/>
                    </a:lnTo>
                    <a:lnTo>
                      <a:pt x="5500" y="1300"/>
                    </a:lnTo>
                    <a:lnTo>
                      <a:pt x="5482" y="1305"/>
                    </a:lnTo>
                    <a:lnTo>
                      <a:pt x="5462" y="1305"/>
                    </a:lnTo>
                    <a:lnTo>
                      <a:pt x="5442" y="1308"/>
                    </a:lnTo>
                    <a:lnTo>
                      <a:pt x="5424" y="1310"/>
                    </a:lnTo>
                    <a:lnTo>
                      <a:pt x="5404" y="1316"/>
                    </a:lnTo>
                    <a:lnTo>
                      <a:pt x="5385" y="1322"/>
                    </a:lnTo>
                    <a:lnTo>
                      <a:pt x="5365" y="1327"/>
                    </a:lnTo>
                    <a:lnTo>
                      <a:pt x="5329" y="1340"/>
                    </a:lnTo>
                    <a:lnTo>
                      <a:pt x="5289" y="1340"/>
                    </a:lnTo>
                    <a:lnTo>
                      <a:pt x="5269" y="1340"/>
                    </a:lnTo>
                    <a:lnTo>
                      <a:pt x="5251" y="1341"/>
                    </a:lnTo>
                    <a:lnTo>
                      <a:pt x="5230" y="1344"/>
                    </a:lnTo>
                    <a:lnTo>
                      <a:pt x="5212" y="1348"/>
                    </a:lnTo>
                    <a:lnTo>
                      <a:pt x="5192" y="1351"/>
                    </a:lnTo>
                    <a:lnTo>
                      <a:pt x="5173" y="1356"/>
                    </a:lnTo>
                    <a:lnTo>
                      <a:pt x="5166" y="1362"/>
                    </a:lnTo>
                    <a:lnTo>
                      <a:pt x="5158" y="1368"/>
                    </a:lnTo>
                    <a:lnTo>
                      <a:pt x="5151" y="1371"/>
                    </a:lnTo>
                    <a:lnTo>
                      <a:pt x="5143" y="1376"/>
                    </a:lnTo>
                    <a:lnTo>
                      <a:pt x="5136" y="1377"/>
                    </a:lnTo>
                    <a:lnTo>
                      <a:pt x="5127" y="1379"/>
                    </a:lnTo>
                    <a:lnTo>
                      <a:pt x="5110" y="1382"/>
                    </a:lnTo>
                    <a:lnTo>
                      <a:pt x="5092" y="1386"/>
                    </a:lnTo>
                    <a:lnTo>
                      <a:pt x="5082" y="1389"/>
                    </a:lnTo>
                    <a:lnTo>
                      <a:pt x="5074" y="1390"/>
                    </a:lnTo>
                    <a:lnTo>
                      <a:pt x="5064" y="1394"/>
                    </a:lnTo>
                    <a:lnTo>
                      <a:pt x="5055" y="1397"/>
                    </a:lnTo>
                    <a:lnTo>
                      <a:pt x="5044" y="1402"/>
                    </a:lnTo>
                    <a:lnTo>
                      <a:pt x="5034" y="1409"/>
                    </a:lnTo>
                    <a:lnTo>
                      <a:pt x="5018" y="1417"/>
                    </a:lnTo>
                    <a:lnTo>
                      <a:pt x="5001" y="1425"/>
                    </a:lnTo>
                    <a:lnTo>
                      <a:pt x="4985" y="1430"/>
                    </a:lnTo>
                    <a:lnTo>
                      <a:pt x="4968" y="1436"/>
                    </a:lnTo>
                    <a:lnTo>
                      <a:pt x="4950" y="1442"/>
                    </a:lnTo>
                    <a:lnTo>
                      <a:pt x="4933" y="1445"/>
                    </a:lnTo>
                    <a:lnTo>
                      <a:pt x="4898" y="1453"/>
                    </a:lnTo>
                    <a:lnTo>
                      <a:pt x="4879" y="1456"/>
                    </a:lnTo>
                    <a:lnTo>
                      <a:pt x="4863" y="1462"/>
                    </a:lnTo>
                    <a:lnTo>
                      <a:pt x="4845" y="1468"/>
                    </a:lnTo>
                    <a:lnTo>
                      <a:pt x="4828" y="1473"/>
                    </a:lnTo>
                    <a:lnTo>
                      <a:pt x="4810" y="1478"/>
                    </a:lnTo>
                    <a:lnTo>
                      <a:pt x="4792" y="1488"/>
                    </a:lnTo>
                    <a:lnTo>
                      <a:pt x="4776" y="1497"/>
                    </a:lnTo>
                    <a:lnTo>
                      <a:pt x="4769" y="1503"/>
                    </a:lnTo>
                    <a:lnTo>
                      <a:pt x="4759" y="1509"/>
                    </a:lnTo>
                    <a:lnTo>
                      <a:pt x="4746" y="1521"/>
                    </a:lnTo>
                    <a:lnTo>
                      <a:pt x="4734" y="1532"/>
                    </a:lnTo>
                    <a:lnTo>
                      <a:pt x="4721" y="1542"/>
                    </a:lnTo>
                    <a:lnTo>
                      <a:pt x="4706" y="1549"/>
                    </a:lnTo>
                    <a:lnTo>
                      <a:pt x="4692" y="1554"/>
                    </a:lnTo>
                    <a:lnTo>
                      <a:pt x="4675" y="1558"/>
                    </a:lnTo>
                    <a:lnTo>
                      <a:pt x="4659" y="1560"/>
                    </a:lnTo>
                    <a:lnTo>
                      <a:pt x="4639" y="1562"/>
                    </a:lnTo>
                    <a:lnTo>
                      <a:pt x="4632" y="1563"/>
                    </a:lnTo>
                    <a:lnTo>
                      <a:pt x="4627" y="1565"/>
                    </a:lnTo>
                    <a:lnTo>
                      <a:pt x="4619" y="1567"/>
                    </a:lnTo>
                    <a:lnTo>
                      <a:pt x="4612" y="1569"/>
                    </a:lnTo>
                    <a:lnTo>
                      <a:pt x="4596" y="1569"/>
                    </a:lnTo>
                    <a:lnTo>
                      <a:pt x="4578" y="1569"/>
                    </a:lnTo>
                    <a:lnTo>
                      <a:pt x="4565" y="1569"/>
                    </a:lnTo>
                    <a:lnTo>
                      <a:pt x="4547" y="1571"/>
                    </a:lnTo>
                    <a:lnTo>
                      <a:pt x="4540" y="1571"/>
                    </a:lnTo>
                    <a:lnTo>
                      <a:pt x="4532" y="1573"/>
                    </a:lnTo>
                    <a:lnTo>
                      <a:pt x="4525" y="1575"/>
                    </a:lnTo>
                    <a:lnTo>
                      <a:pt x="4520" y="1578"/>
                    </a:lnTo>
                    <a:lnTo>
                      <a:pt x="4509" y="1582"/>
                    </a:lnTo>
                    <a:lnTo>
                      <a:pt x="4499" y="1585"/>
                    </a:lnTo>
                    <a:lnTo>
                      <a:pt x="4486" y="1590"/>
                    </a:lnTo>
                    <a:lnTo>
                      <a:pt x="4476" y="1593"/>
                    </a:lnTo>
                    <a:lnTo>
                      <a:pt x="4451" y="1600"/>
                    </a:lnTo>
                    <a:lnTo>
                      <a:pt x="4425" y="1608"/>
                    </a:lnTo>
                    <a:lnTo>
                      <a:pt x="4413" y="1611"/>
                    </a:lnTo>
                    <a:lnTo>
                      <a:pt x="4400" y="1613"/>
                    </a:lnTo>
                    <a:lnTo>
                      <a:pt x="4387" y="1615"/>
                    </a:lnTo>
                    <a:lnTo>
                      <a:pt x="4374" y="1617"/>
                    </a:lnTo>
                    <a:lnTo>
                      <a:pt x="4363" y="1617"/>
                    </a:lnTo>
                    <a:lnTo>
                      <a:pt x="4352" y="1617"/>
                    </a:lnTo>
                    <a:lnTo>
                      <a:pt x="4341" y="1615"/>
                    </a:lnTo>
                    <a:lnTo>
                      <a:pt x="4331" y="1611"/>
                    </a:lnTo>
                    <a:lnTo>
                      <a:pt x="4326" y="1611"/>
                    </a:lnTo>
                    <a:lnTo>
                      <a:pt x="4323" y="1611"/>
                    </a:lnTo>
                    <a:lnTo>
                      <a:pt x="4318" y="1611"/>
                    </a:lnTo>
                    <a:lnTo>
                      <a:pt x="4315" y="1610"/>
                    </a:lnTo>
                    <a:lnTo>
                      <a:pt x="4313" y="1608"/>
                    </a:lnTo>
                    <a:lnTo>
                      <a:pt x="4311" y="1608"/>
                    </a:lnTo>
                    <a:lnTo>
                      <a:pt x="4310" y="1604"/>
                    </a:lnTo>
                    <a:lnTo>
                      <a:pt x="4308" y="1600"/>
                    </a:lnTo>
                    <a:lnTo>
                      <a:pt x="4308" y="1595"/>
                    </a:lnTo>
                    <a:lnTo>
                      <a:pt x="4310" y="1590"/>
                    </a:lnTo>
                    <a:lnTo>
                      <a:pt x="4311" y="1583"/>
                    </a:lnTo>
                    <a:lnTo>
                      <a:pt x="4313" y="1578"/>
                    </a:lnTo>
                    <a:lnTo>
                      <a:pt x="4317" y="1573"/>
                    </a:lnTo>
                    <a:lnTo>
                      <a:pt x="4324" y="1562"/>
                    </a:lnTo>
                    <a:lnTo>
                      <a:pt x="4326" y="1557"/>
                    </a:lnTo>
                    <a:lnTo>
                      <a:pt x="4328" y="1552"/>
                    </a:lnTo>
                    <a:lnTo>
                      <a:pt x="4330" y="1547"/>
                    </a:lnTo>
                    <a:lnTo>
                      <a:pt x="4331" y="1543"/>
                    </a:lnTo>
                    <a:lnTo>
                      <a:pt x="4330" y="1537"/>
                    </a:lnTo>
                    <a:lnTo>
                      <a:pt x="4328" y="1534"/>
                    </a:lnTo>
                    <a:lnTo>
                      <a:pt x="4324" y="1530"/>
                    </a:lnTo>
                    <a:lnTo>
                      <a:pt x="4320" y="1527"/>
                    </a:lnTo>
                    <a:lnTo>
                      <a:pt x="4315" y="1522"/>
                    </a:lnTo>
                    <a:lnTo>
                      <a:pt x="4310" y="1519"/>
                    </a:lnTo>
                    <a:lnTo>
                      <a:pt x="4302" y="1516"/>
                    </a:lnTo>
                    <a:lnTo>
                      <a:pt x="4297" y="1509"/>
                    </a:lnTo>
                    <a:lnTo>
                      <a:pt x="4293" y="1508"/>
                    </a:lnTo>
                    <a:lnTo>
                      <a:pt x="4289" y="1508"/>
                    </a:lnTo>
                    <a:lnTo>
                      <a:pt x="4278" y="1506"/>
                    </a:lnTo>
                    <a:lnTo>
                      <a:pt x="4269" y="1504"/>
                    </a:lnTo>
                    <a:lnTo>
                      <a:pt x="4264" y="1503"/>
                    </a:lnTo>
                    <a:lnTo>
                      <a:pt x="4259" y="1501"/>
                    </a:lnTo>
                    <a:lnTo>
                      <a:pt x="4256" y="1499"/>
                    </a:lnTo>
                    <a:lnTo>
                      <a:pt x="4252" y="1497"/>
                    </a:lnTo>
                    <a:lnTo>
                      <a:pt x="4250" y="1496"/>
                    </a:lnTo>
                    <a:lnTo>
                      <a:pt x="4250" y="1493"/>
                    </a:lnTo>
                    <a:lnTo>
                      <a:pt x="4252" y="1493"/>
                    </a:lnTo>
                    <a:lnTo>
                      <a:pt x="4256" y="1491"/>
                    </a:lnTo>
                    <a:lnTo>
                      <a:pt x="4259" y="1491"/>
                    </a:lnTo>
                    <a:lnTo>
                      <a:pt x="4262" y="1491"/>
                    </a:lnTo>
                    <a:lnTo>
                      <a:pt x="4256" y="1489"/>
                    </a:lnTo>
                    <a:lnTo>
                      <a:pt x="4249" y="1488"/>
                    </a:lnTo>
                    <a:lnTo>
                      <a:pt x="4243" y="1486"/>
                    </a:lnTo>
                    <a:lnTo>
                      <a:pt x="4236" y="1484"/>
                    </a:lnTo>
                    <a:lnTo>
                      <a:pt x="4230" y="1484"/>
                    </a:lnTo>
                    <a:lnTo>
                      <a:pt x="4224" y="1484"/>
                    </a:lnTo>
                    <a:lnTo>
                      <a:pt x="4211" y="1486"/>
                    </a:lnTo>
                    <a:lnTo>
                      <a:pt x="4203" y="1488"/>
                    </a:lnTo>
                    <a:lnTo>
                      <a:pt x="4191" y="1489"/>
                    </a:lnTo>
                    <a:close/>
                    <a:moveTo>
                      <a:pt x="5276" y="1185"/>
                    </a:moveTo>
                    <a:lnTo>
                      <a:pt x="5278" y="1180"/>
                    </a:lnTo>
                    <a:lnTo>
                      <a:pt x="5284" y="1174"/>
                    </a:lnTo>
                    <a:lnTo>
                      <a:pt x="5286" y="1171"/>
                    </a:lnTo>
                    <a:lnTo>
                      <a:pt x="5284" y="1172"/>
                    </a:lnTo>
                    <a:lnTo>
                      <a:pt x="5282" y="1174"/>
                    </a:lnTo>
                    <a:lnTo>
                      <a:pt x="5278" y="1178"/>
                    </a:lnTo>
                    <a:lnTo>
                      <a:pt x="5276" y="1180"/>
                    </a:lnTo>
                    <a:lnTo>
                      <a:pt x="5276" y="1181"/>
                    </a:lnTo>
                    <a:lnTo>
                      <a:pt x="5276" y="1185"/>
                    </a:lnTo>
                    <a:close/>
                    <a:moveTo>
                      <a:pt x="5350" y="890"/>
                    </a:moveTo>
                    <a:lnTo>
                      <a:pt x="5360" y="887"/>
                    </a:lnTo>
                    <a:lnTo>
                      <a:pt x="5368" y="884"/>
                    </a:lnTo>
                    <a:lnTo>
                      <a:pt x="5376" y="880"/>
                    </a:lnTo>
                    <a:lnTo>
                      <a:pt x="5383" y="879"/>
                    </a:lnTo>
                    <a:lnTo>
                      <a:pt x="5389" y="877"/>
                    </a:lnTo>
                    <a:lnTo>
                      <a:pt x="5396" y="875"/>
                    </a:lnTo>
                    <a:lnTo>
                      <a:pt x="5391" y="877"/>
                    </a:lnTo>
                    <a:lnTo>
                      <a:pt x="5388" y="879"/>
                    </a:lnTo>
                    <a:lnTo>
                      <a:pt x="5383" y="880"/>
                    </a:lnTo>
                    <a:lnTo>
                      <a:pt x="5383" y="882"/>
                    </a:lnTo>
                    <a:lnTo>
                      <a:pt x="5383" y="884"/>
                    </a:lnTo>
                    <a:lnTo>
                      <a:pt x="5385" y="884"/>
                    </a:lnTo>
                    <a:lnTo>
                      <a:pt x="5388" y="882"/>
                    </a:lnTo>
                    <a:lnTo>
                      <a:pt x="5389" y="882"/>
                    </a:lnTo>
                    <a:lnTo>
                      <a:pt x="5383" y="885"/>
                    </a:lnTo>
                    <a:lnTo>
                      <a:pt x="5376" y="890"/>
                    </a:lnTo>
                    <a:lnTo>
                      <a:pt x="5370" y="893"/>
                    </a:lnTo>
                    <a:lnTo>
                      <a:pt x="5363" y="897"/>
                    </a:lnTo>
                    <a:lnTo>
                      <a:pt x="5358" y="900"/>
                    </a:lnTo>
                    <a:lnTo>
                      <a:pt x="5350" y="905"/>
                    </a:lnTo>
                    <a:lnTo>
                      <a:pt x="5345" y="910"/>
                    </a:lnTo>
                    <a:lnTo>
                      <a:pt x="5352" y="913"/>
                    </a:lnTo>
                    <a:lnTo>
                      <a:pt x="5358" y="913"/>
                    </a:lnTo>
                    <a:lnTo>
                      <a:pt x="5365" y="915"/>
                    </a:lnTo>
                    <a:lnTo>
                      <a:pt x="5373" y="915"/>
                    </a:lnTo>
                    <a:lnTo>
                      <a:pt x="5382" y="913"/>
                    </a:lnTo>
                    <a:lnTo>
                      <a:pt x="5389" y="912"/>
                    </a:lnTo>
                    <a:lnTo>
                      <a:pt x="5406" y="908"/>
                    </a:lnTo>
                    <a:lnTo>
                      <a:pt x="5421" y="902"/>
                    </a:lnTo>
                    <a:lnTo>
                      <a:pt x="5437" y="899"/>
                    </a:lnTo>
                    <a:lnTo>
                      <a:pt x="5444" y="895"/>
                    </a:lnTo>
                    <a:lnTo>
                      <a:pt x="5452" y="895"/>
                    </a:lnTo>
                    <a:lnTo>
                      <a:pt x="5457" y="893"/>
                    </a:lnTo>
                    <a:lnTo>
                      <a:pt x="5465" y="893"/>
                    </a:lnTo>
                    <a:lnTo>
                      <a:pt x="5470" y="895"/>
                    </a:lnTo>
                    <a:lnTo>
                      <a:pt x="5475" y="899"/>
                    </a:lnTo>
                    <a:lnTo>
                      <a:pt x="5482" y="900"/>
                    </a:lnTo>
                    <a:lnTo>
                      <a:pt x="5485" y="902"/>
                    </a:lnTo>
                    <a:lnTo>
                      <a:pt x="5492" y="906"/>
                    </a:lnTo>
                    <a:lnTo>
                      <a:pt x="5500" y="908"/>
                    </a:lnTo>
                    <a:lnTo>
                      <a:pt x="5505" y="910"/>
                    </a:lnTo>
                    <a:lnTo>
                      <a:pt x="5513" y="910"/>
                    </a:lnTo>
                    <a:lnTo>
                      <a:pt x="5518" y="910"/>
                    </a:lnTo>
                    <a:lnTo>
                      <a:pt x="5522" y="910"/>
                    </a:lnTo>
                    <a:lnTo>
                      <a:pt x="5528" y="910"/>
                    </a:lnTo>
                    <a:lnTo>
                      <a:pt x="5533" y="910"/>
                    </a:lnTo>
                    <a:lnTo>
                      <a:pt x="5546" y="897"/>
                    </a:lnTo>
                    <a:lnTo>
                      <a:pt x="5553" y="892"/>
                    </a:lnTo>
                    <a:lnTo>
                      <a:pt x="5561" y="885"/>
                    </a:lnTo>
                    <a:lnTo>
                      <a:pt x="5569" y="882"/>
                    </a:lnTo>
                    <a:lnTo>
                      <a:pt x="5579" y="879"/>
                    </a:lnTo>
                    <a:lnTo>
                      <a:pt x="5590" y="877"/>
                    </a:lnTo>
                    <a:lnTo>
                      <a:pt x="5603" y="875"/>
                    </a:lnTo>
                    <a:lnTo>
                      <a:pt x="5596" y="882"/>
                    </a:lnTo>
                    <a:lnTo>
                      <a:pt x="5592" y="885"/>
                    </a:lnTo>
                    <a:lnTo>
                      <a:pt x="5590" y="887"/>
                    </a:lnTo>
                    <a:lnTo>
                      <a:pt x="5587" y="892"/>
                    </a:lnTo>
                    <a:lnTo>
                      <a:pt x="5584" y="893"/>
                    </a:lnTo>
                    <a:lnTo>
                      <a:pt x="5590" y="893"/>
                    </a:lnTo>
                    <a:lnTo>
                      <a:pt x="5596" y="893"/>
                    </a:lnTo>
                    <a:lnTo>
                      <a:pt x="5597" y="893"/>
                    </a:lnTo>
                    <a:lnTo>
                      <a:pt x="5599" y="893"/>
                    </a:lnTo>
                    <a:lnTo>
                      <a:pt x="5602" y="893"/>
                    </a:lnTo>
                    <a:lnTo>
                      <a:pt x="5603" y="893"/>
                    </a:lnTo>
                    <a:lnTo>
                      <a:pt x="5596" y="899"/>
                    </a:lnTo>
                    <a:lnTo>
                      <a:pt x="5590" y="902"/>
                    </a:lnTo>
                    <a:lnTo>
                      <a:pt x="5584" y="906"/>
                    </a:lnTo>
                    <a:lnTo>
                      <a:pt x="5579" y="910"/>
                    </a:lnTo>
                    <a:lnTo>
                      <a:pt x="5574" y="913"/>
                    </a:lnTo>
                    <a:lnTo>
                      <a:pt x="5569" y="917"/>
                    </a:lnTo>
                    <a:lnTo>
                      <a:pt x="5568" y="921"/>
                    </a:lnTo>
                    <a:lnTo>
                      <a:pt x="5568" y="926"/>
                    </a:lnTo>
                    <a:lnTo>
                      <a:pt x="5574" y="926"/>
                    </a:lnTo>
                    <a:lnTo>
                      <a:pt x="5581" y="925"/>
                    </a:lnTo>
                    <a:lnTo>
                      <a:pt x="5587" y="923"/>
                    </a:lnTo>
                    <a:lnTo>
                      <a:pt x="5592" y="921"/>
                    </a:lnTo>
                    <a:lnTo>
                      <a:pt x="5596" y="920"/>
                    </a:lnTo>
                    <a:lnTo>
                      <a:pt x="5597" y="920"/>
                    </a:lnTo>
                    <a:lnTo>
                      <a:pt x="5599" y="921"/>
                    </a:lnTo>
                    <a:lnTo>
                      <a:pt x="5602" y="921"/>
                    </a:lnTo>
                    <a:lnTo>
                      <a:pt x="5602" y="923"/>
                    </a:lnTo>
                    <a:lnTo>
                      <a:pt x="5602" y="925"/>
                    </a:lnTo>
                    <a:lnTo>
                      <a:pt x="5603" y="926"/>
                    </a:lnTo>
                    <a:lnTo>
                      <a:pt x="5607" y="926"/>
                    </a:lnTo>
                    <a:lnTo>
                      <a:pt x="5610" y="926"/>
                    </a:lnTo>
                    <a:lnTo>
                      <a:pt x="5617" y="926"/>
                    </a:lnTo>
                    <a:lnTo>
                      <a:pt x="5623" y="925"/>
                    </a:lnTo>
                    <a:lnTo>
                      <a:pt x="5629" y="923"/>
                    </a:lnTo>
                    <a:lnTo>
                      <a:pt x="5637" y="921"/>
                    </a:lnTo>
                    <a:lnTo>
                      <a:pt x="5651" y="917"/>
                    </a:lnTo>
                    <a:lnTo>
                      <a:pt x="5658" y="913"/>
                    </a:lnTo>
                    <a:lnTo>
                      <a:pt x="5666" y="912"/>
                    </a:lnTo>
                    <a:lnTo>
                      <a:pt x="5671" y="908"/>
                    </a:lnTo>
                    <a:lnTo>
                      <a:pt x="5676" y="906"/>
                    </a:lnTo>
                    <a:lnTo>
                      <a:pt x="5683" y="902"/>
                    </a:lnTo>
                    <a:lnTo>
                      <a:pt x="5684" y="899"/>
                    </a:lnTo>
                    <a:lnTo>
                      <a:pt x="5688" y="897"/>
                    </a:lnTo>
                    <a:lnTo>
                      <a:pt x="5688" y="893"/>
                    </a:lnTo>
                    <a:lnTo>
                      <a:pt x="5696" y="885"/>
                    </a:lnTo>
                    <a:lnTo>
                      <a:pt x="5703" y="880"/>
                    </a:lnTo>
                    <a:lnTo>
                      <a:pt x="5712" y="875"/>
                    </a:lnTo>
                    <a:lnTo>
                      <a:pt x="5724" y="869"/>
                    </a:lnTo>
                    <a:lnTo>
                      <a:pt x="5732" y="864"/>
                    </a:lnTo>
                    <a:lnTo>
                      <a:pt x="5742" y="862"/>
                    </a:lnTo>
                    <a:lnTo>
                      <a:pt x="5749" y="859"/>
                    </a:lnTo>
                    <a:lnTo>
                      <a:pt x="5757" y="859"/>
                    </a:lnTo>
                    <a:lnTo>
                      <a:pt x="5757" y="862"/>
                    </a:lnTo>
                    <a:lnTo>
                      <a:pt x="5757" y="864"/>
                    </a:lnTo>
                    <a:lnTo>
                      <a:pt x="5755" y="869"/>
                    </a:lnTo>
                    <a:lnTo>
                      <a:pt x="5752" y="875"/>
                    </a:lnTo>
                    <a:lnTo>
                      <a:pt x="5749" y="880"/>
                    </a:lnTo>
                    <a:lnTo>
                      <a:pt x="5745" y="885"/>
                    </a:lnTo>
                    <a:lnTo>
                      <a:pt x="5740" y="893"/>
                    </a:lnTo>
                    <a:lnTo>
                      <a:pt x="5750" y="892"/>
                    </a:lnTo>
                    <a:lnTo>
                      <a:pt x="5762" y="890"/>
                    </a:lnTo>
                    <a:lnTo>
                      <a:pt x="5771" y="887"/>
                    </a:lnTo>
                    <a:lnTo>
                      <a:pt x="5780" y="884"/>
                    </a:lnTo>
                    <a:lnTo>
                      <a:pt x="5788" y="880"/>
                    </a:lnTo>
                    <a:lnTo>
                      <a:pt x="5795" y="879"/>
                    </a:lnTo>
                    <a:lnTo>
                      <a:pt x="5803" y="877"/>
                    </a:lnTo>
                    <a:lnTo>
                      <a:pt x="5808" y="875"/>
                    </a:lnTo>
                    <a:lnTo>
                      <a:pt x="5816" y="869"/>
                    </a:lnTo>
                    <a:lnTo>
                      <a:pt x="5823" y="866"/>
                    </a:lnTo>
                    <a:lnTo>
                      <a:pt x="5832" y="862"/>
                    </a:lnTo>
                    <a:lnTo>
                      <a:pt x="5843" y="859"/>
                    </a:lnTo>
                    <a:lnTo>
                      <a:pt x="5852" y="854"/>
                    </a:lnTo>
                    <a:lnTo>
                      <a:pt x="5862" y="851"/>
                    </a:lnTo>
                    <a:lnTo>
                      <a:pt x="5869" y="847"/>
                    </a:lnTo>
                    <a:lnTo>
                      <a:pt x="5877" y="839"/>
                    </a:lnTo>
                    <a:lnTo>
                      <a:pt x="5871" y="839"/>
                    </a:lnTo>
                    <a:lnTo>
                      <a:pt x="5867" y="839"/>
                    </a:lnTo>
                    <a:lnTo>
                      <a:pt x="5864" y="839"/>
                    </a:lnTo>
                    <a:lnTo>
                      <a:pt x="5862" y="839"/>
                    </a:lnTo>
                    <a:lnTo>
                      <a:pt x="5859" y="839"/>
                    </a:lnTo>
                    <a:lnTo>
                      <a:pt x="5872" y="834"/>
                    </a:lnTo>
                    <a:lnTo>
                      <a:pt x="5885" y="831"/>
                    </a:lnTo>
                    <a:lnTo>
                      <a:pt x="5898" y="826"/>
                    </a:lnTo>
                    <a:lnTo>
                      <a:pt x="5911" y="823"/>
                    </a:lnTo>
                    <a:lnTo>
                      <a:pt x="5925" y="819"/>
                    </a:lnTo>
                    <a:lnTo>
                      <a:pt x="5938" y="816"/>
                    </a:lnTo>
                    <a:lnTo>
                      <a:pt x="5950" y="811"/>
                    </a:lnTo>
                    <a:lnTo>
                      <a:pt x="5963" y="806"/>
                    </a:lnTo>
                    <a:lnTo>
                      <a:pt x="5966" y="803"/>
                    </a:lnTo>
                    <a:lnTo>
                      <a:pt x="5971" y="801"/>
                    </a:lnTo>
                    <a:lnTo>
                      <a:pt x="5974" y="799"/>
                    </a:lnTo>
                    <a:lnTo>
                      <a:pt x="5978" y="799"/>
                    </a:lnTo>
                    <a:lnTo>
                      <a:pt x="5987" y="798"/>
                    </a:lnTo>
                    <a:lnTo>
                      <a:pt x="5996" y="798"/>
                    </a:lnTo>
                    <a:lnTo>
                      <a:pt x="6007" y="798"/>
                    </a:lnTo>
                    <a:lnTo>
                      <a:pt x="6017" y="798"/>
                    </a:lnTo>
                    <a:lnTo>
                      <a:pt x="6020" y="795"/>
                    </a:lnTo>
                    <a:lnTo>
                      <a:pt x="6024" y="793"/>
                    </a:lnTo>
                    <a:lnTo>
                      <a:pt x="6028" y="792"/>
                    </a:lnTo>
                    <a:lnTo>
                      <a:pt x="6032" y="788"/>
                    </a:lnTo>
                    <a:lnTo>
                      <a:pt x="6028" y="795"/>
                    </a:lnTo>
                    <a:lnTo>
                      <a:pt x="6024" y="801"/>
                    </a:lnTo>
                    <a:lnTo>
                      <a:pt x="6020" y="805"/>
                    </a:lnTo>
                    <a:lnTo>
                      <a:pt x="6015" y="808"/>
                    </a:lnTo>
                    <a:lnTo>
                      <a:pt x="6011" y="811"/>
                    </a:lnTo>
                    <a:lnTo>
                      <a:pt x="6005" y="816"/>
                    </a:lnTo>
                    <a:lnTo>
                      <a:pt x="5994" y="821"/>
                    </a:lnTo>
                    <a:lnTo>
                      <a:pt x="5984" y="825"/>
                    </a:lnTo>
                    <a:lnTo>
                      <a:pt x="5971" y="831"/>
                    </a:lnTo>
                    <a:lnTo>
                      <a:pt x="5958" y="834"/>
                    </a:lnTo>
                    <a:lnTo>
                      <a:pt x="5946" y="839"/>
                    </a:lnTo>
                    <a:lnTo>
                      <a:pt x="5950" y="846"/>
                    </a:lnTo>
                    <a:lnTo>
                      <a:pt x="5956" y="849"/>
                    </a:lnTo>
                    <a:lnTo>
                      <a:pt x="5959" y="852"/>
                    </a:lnTo>
                    <a:lnTo>
                      <a:pt x="5964" y="854"/>
                    </a:lnTo>
                    <a:lnTo>
                      <a:pt x="5971" y="856"/>
                    </a:lnTo>
                    <a:lnTo>
                      <a:pt x="5974" y="859"/>
                    </a:lnTo>
                    <a:lnTo>
                      <a:pt x="5979" y="860"/>
                    </a:lnTo>
                    <a:lnTo>
                      <a:pt x="5985" y="860"/>
                    </a:lnTo>
                    <a:lnTo>
                      <a:pt x="5994" y="860"/>
                    </a:lnTo>
                    <a:lnTo>
                      <a:pt x="6004" y="859"/>
                    </a:lnTo>
                    <a:lnTo>
                      <a:pt x="6015" y="854"/>
                    </a:lnTo>
                    <a:lnTo>
                      <a:pt x="6025" y="851"/>
                    </a:lnTo>
                    <a:lnTo>
                      <a:pt x="6035" y="847"/>
                    </a:lnTo>
                    <a:lnTo>
                      <a:pt x="6046" y="844"/>
                    </a:lnTo>
                    <a:lnTo>
                      <a:pt x="6057" y="838"/>
                    </a:lnTo>
                    <a:lnTo>
                      <a:pt x="6068" y="834"/>
                    </a:lnTo>
                    <a:lnTo>
                      <a:pt x="6081" y="831"/>
                    </a:lnTo>
                    <a:lnTo>
                      <a:pt x="6092" y="826"/>
                    </a:lnTo>
                    <a:lnTo>
                      <a:pt x="6106" y="825"/>
                    </a:lnTo>
                    <a:lnTo>
                      <a:pt x="6118" y="823"/>
                    </a:lnTo>
                    <a:lnTo>
                      <a:pt x="6129" y="823"/>
                    </a:lnTo>
                    <a:lnTo>
                      <a:pt x="6140" y="823"/>
                    </a:lnTo>
                    <a:lnTo>
                      <a:pt x="6150" y="823"/>
                    </a:lnTo>
                    <a:lnTo>
                      <a:pt x="6160" y="823"/>
                    </a:lnTo>
                    <a:lnTo>
                      <a:pt x="6170" y="823"/>
                    </a:lnTo>
                    <a:lnTo>
                      <a:pt x="6181" y="823"/>
                    </a:lnTo>
                    <a:lnTo>
                      <a:pt x="6190" y="823"/>
                    </a:lnTo>
                    <a:lnTo>
                      <a:pt x="6203" y="823"/>
                    </a:lnTo>
                    <a:lnTo>
                      <a:pt x="6211" y="818"/>
                    </a:lnTo>
                    <a:lnTo>
                      <a:pt x="6218" y="810"/>
                    </a:lnTo>
                    <a:lnTo>
                      <a:pt x="6225" y="805"/>
                    </a:lnTo>
                    <a:lnTo>
                      <a:pt x="6229" y="801"/>
                    </a:lnTo>
                    <a:lnTo>
                      <a:pt x="6231" y="798"/>
                    </a:lnTo>
                    <a:lnTo>
                      <a:pt x="6233" y="793"/>
                    </a:lnTo>
                    <a:lnTo>
                      <a:pt x="6234" y="792"/>
                    </a:lnTo>
                    <a:lnTo>
                      <a:pt x="6234" y="788"/>
                    </a:lnTo>
                    <a:lnTo>
                      <a:pt x="6234" y="785"/>
                    </a:lnTo>
                    <a:lnTo>
                      <a:pt x="6233" y="780"/>
                    </a:lnTo>
                    <a:lnTo>
                      <a:pt x="6231" y="778"/>
                    </a:lnTo>
                    <a:lnTo>
                      <a:pt x="6225" y="775"/>
                    </a:lnTo>
                    <a:lnTo>
                      <a:pt x="6219" y="772"/>
                    </a:lnTo>
                    <a:lnTo>
                      <a:pt x="6233" y="772"/>
                    </a:lnTo>
                    <a:lnTo>
                      <a:pt x="6244" y="772"/>
                    </a:lnTo>
                    <a:lnTo>
                      <a:pt x="6252" y="772"/>
                    </a:lnTo>
                    <a:lnTo>
                      <a:pt x="6260" y="772"/>
                    </a:lnTo>
                    <a:lnTo>
                      <a:pt x="6269" y="772"/>
                    </a:lnTo>
                    <a:lnTo>
                      <a:pt x="6275" y="772"/>
                    </a:lnTo>
                    <a:lnTo>
                      <a:pt x="6288" y="772"/>
                    </a:lnTo>
                    <a:lnTo>
                      <a:pt x="6286" y="768"/>
                    </a:lnTo>
                    <a:lnTo>
                      <a:pt x="6284" y="764"/>
                    </a:lnTo>
                    <a:lnTo>
                      <a:pt x="6280" y="760"/>
                    </a:lnTo>
                    <a:lnTo>
                      <a:pt x="6277" y="755"/>
                    </a:lnTo>
                    <a:lnTo>
                      <a:pt x="6275" y="749"/>
                    </a:lnTo>
                    <a:lnTo>
                      <a:pt x="6273" y="744"/>
                    </a:lnTo>
                    <a:lnTo>
                      <a:pt x="6272" y="737"/>
                    </a:lnTo>
                    <a:lnTo>
                      <a:pt x="6286" y="737"/>
                    </a:lnTo>
                    <a:lnTo>
                      <a:pt x="6300" y="737"/>
                    </a:lnTo>
                    <a:lnTo>
                      <a:pt x="6318" y="737"/>
                    </a:lnTo>
                    <a:lnTo>
                      <a:pt x="6334" y="734"/>
                    </a:lnTo>
                    <a:lnTo>
                      <a:pt x="6353" y="732"/>
                    </a:lnTo>
                    <a:lnTo>
                      <a:pt x="6371" y="729"/>
                    </a:lnTo>
                    <a:lnTo>
                      <a:pt x="6389" y="725"/>
                    </a:lnTo>
                    <a:lnTo>
                      <a:pt x="6410" y="719"/>
                    </a:lnTo>
                    <a:lnTo>
                      <a:pt x="6407" y="714"/>
                    </a:lnTo>
                    <a:lnTo>
                      <a:pt x="6404" y="711"/>
                    </a:lnTo>
                    <a:lnTo>
                      <a:pt x="6402" y="707"/>
                    </a:lnTo>
                    <a:lnTo>
                      <a:pt x="6399" y="703"/>
                    </a:lnTo>
                    <a:lnTo>
                      <a:pt x="6394" y="698"/>
                    </a:lnTo>
                    <a:lnTo>
                      <a:pt x="6386" y="694"/>
                    </a:lnTo>
                    <a:lnTo>
                      <a:pt x="6376" y="692"/>
                    </a:lnTo>
                    <a:lnTo>
                      <a:pt x="6367" y="691"/>
                    </a:lnTo>
                    <a:lnTo>
                      <a:pt x="6356" y="691"/>
                    </a:lnTo>
                    <a:lnTo>
                      <a:pt x="6346" y="692"/>
                    </a:lnTo>
                    <a:lnTo>
                      <a:pt x="6336" y="692"/>
                    </a:lnTo>
                    <a:lnTo>
                      <a:pt x="6325" y="694"/>
                    </a:lnTo>
                    <a:lnTo>
                      <a:pt x="6315" y="696"/>
                    </a:lnTo>
                    <a:lnTo>
                      <a:pt x="6305" y="698"/>
                    </a:lnTo>
                    <a:lnTo>
                      <a:pt x="6295" y="699"/>
                    </a:lnTo>
                    <a:lnTo>
                      <a:pt x="6286" y="701"/>
                    </a:lnTo>
                    <a:lnTo>
                      <a:pt x="6288" y="701"/>
                    </a:lnTo>
                    <a:lnTo>
                      <a:pt x="6290" y="701"/>
                    </a:lnTo>
                    <a:lnTo>
                      <a:pt x="6286" y="704"/>
                    </a:lnTo>
                    <a:lnTo>
                      <a:pt x="6280" y="709"/>
                    </a:lnTo>
                    <a:lnTo>
                      <a:pt x="6277" y="711"/>
                    </a:lnTo>
                    <a:lnTo>
                      <a:pt x="6272" y="712"/>
                    </a:lnTo>
                    <a:lnTo>
                      <a:pt x="6259" y="714"/>
                    </a:lnTo>
                    <a:lnTo>
                      <a:pt x="6246" y="718"/>
                    </a:lnTo>
                    <a:lnTo>
                      <a:pt x="6233" y="718"/>
                    </a:lnTo>
                    <a:lnTo>
                      <a:pt x="6221" y="719"/>
                    </a:lnTo>
                    <a:lnTo>
                      <a:pt x="6216" y="719"/>
                    </a:lnTo>
                    <a:lnTo>
                      <a:pt x="6211" y="719"/>
                    </a:lnTo>
                    <a:lnTo>
                      <a:pt x="6206" y="719"/>
                    </a:lnTo>
                    <a:lnTo>
                      <a:pt x="6203" y="719"/>
                    </a:lnTo>
                    <a:lnTo>
                      <a:pt x="6190" y="718"/>
                    </a:lnTo>
                    <a:lnTo>
                      <a:pt x="6175" y="716"/>
                    </a:lnTo>
                    <a:lnTo>
                      <a:pt x="6159" y="714"/>
                    </a:lnTo>
                    <a:lnTo>
                      <a:pt x="6144" y="712"/>
                    </a:lnTo>
                    <a:lnTo>
                      <a:pt x="6127" y="712"/>
                    </a:lnTo>
                    <a:lnTo>
                      <a:pt x="6120" y="712"/>
                    </a:lnTo>
                    <a:lnTo>
                      <a:pt x="6111" y="712"/>
                    </a:lnTo>
                    <a:lnTo>
                      <a:pt x="6103" y="712"/>
                    </a:lnTo>
                    <a:lnTo>
                      <a:pt x="6096" y="714"/>
                    </a:lnTo>
                    <a:lnTo>
                      <a:pt x="6091" y="716"/>
                    </a:lnTo>
                    <a:lnTo>
                      <a:pt x="6083" y="719"/>
                    </a:lnTo>
                    <a:lnTo>
                      <a:pt x="6066" y="719"/>
                    </a:lnTo>
                    <a:lnTo>
                      <a:pt x="6052" y="722"/>
                    </a:lnTo>
                    <a:lnTo>
                      <a:pt x="6035" y="724"/>
                    </a:lnTo>
                    <a:lnTo>
                      <a:pt x="6018" y="725"/>
                    </a:lnTo>
                    <a:lnTo>
                      <a:pt x="6002" y="727"/>
                    </a:lnTo>
                    <a:lnTo>
                      <a:pt x="5987" y="731"/>
                    </a:lnTo>
                    <a:lnTo>
                      <a:pt x="5954" y="739"/>
                    </a:lnTo>
                    <a:lnTo>
                      <a:pt x="5923" y="747"/>
                    </a:lnTo>
                    <a:lnTo>
                      <a:pt x="5889" y="757"/>
                    </a:lnTo>
                    <a:lnTo>
                      <a:pt x="5857" y="764"/>
                    </a:lnTo>
                    <a:lnTo>
                      <a:pt x="5824" y="772"/>
                    </a:lnTo>
                    <a:lnTo>
                      <a:pt x="5793" y="778"/>
                    </a:lnTo>
                    <a:lnTo>
                      <a:pt x="5763" y="785"/>
                    </a:lnTo>
                    <a:lnTo>
                      <a:pt x="5734" y="792"/>
                    </a:lnTo>
                    <a:lnTo>
                      <a:pt x="5704" y="799"/>
                    </a:lnTo>
                    <a:lnTo>
                      <a:pt x="5676" y="808"/>
                    </a:lnTo>
                    <a:lnTo>
                      <a:pt x="5648" y="818"/>
                    </a:lnTo>
                    <a:lnTo>
                      <a:pt x="5617" y="829"/>
                    </a:lnTo>
                    <a:lnTo>
                      <a:pt x="5584" y="839"/>
                    </a:lnTo>
                    <a:lnTo>
                      <a:pt x="5559" y="839"/>
                    </a:lnTo>
                    <a:lnTo>
                      <a:pt x="5546" y="839"/>
                    </a:lnTo>
                    <a:lnTo>
                      <a:pt x="5531" y="839"/>
                    </a:lnTo>
                    <a:lnTo>
                      <a:pt x="5516" y="839"/>
                    </a:lnTo>
                    <a:lnTo>
                      <a:pt x="5500" y="839"/>
                    </a:lnTo>
                    <a:lnTo>
                      <a:pt x="5483" y="839"/>
                    </a:lnTo>
                    <a:lnTo>
                      <a:pt x="5465" y="839"/>
                    </a:lnTo>
                    <a:lnTo>
                      <a:pt x="5446" y="847"/>
                    </a:lnTo>
                    <a:lnTo>
                      <a:pt x="5429" y="854"/>
                    </a:lnTo>
                    <a:lnTo>
                      <a:pt x="5413" y="860"/>
                    </a:lnTo>
                    <a:lnTo>
                      <a:pt x="5396" y="867"/>
                    </a:lnTo>
                    <a:lnTo>
                      <a:pt x="5380" y="873"/>
                    </a:lnTo>
                    <a:lnTo>
                      <a:pt x="5363" y="880"/>
                    </a:lnTo>
                    <a:lnTo>
                      <a:pt x="5347" y="885"/>
                    </a:lnTo>
                    <a:lnTo>
                      <a:pt x="5329" y="893"/>
                    </a:lnTo>
                    <a:lnTo>
                      <a:pt x="5339" y="892"/>
                    </a:lnTo>
                    <a:lnTo>
                      <a:pt x="5350" y="890"/>
                    </a:lnTo>
                    <a:close/>
                    <a:moveTo>
                      <a:pt x="5520" y="913"/>
                    </a:moveTo>
                    <a:lnTo>
                      <a:pt x="5510" y="917"/>
                    </a:lnTo>
                    <a:lnTo>
                      <a:pt x="5500" y="921"/>
                    </a:lnTo>
                    <a:lnTo>
                      <a:pt x="5490" y="926"/>
                    </a:lnTo>
                    <a:lnTo>
                      <a:pt x="5480" y="934"/>
                    </a:lnTo>
                    <a:lnTo>
                      <a:pt x="5472" y="939"/>
                    </a:lnTo>
                    <a:lnTo>
                      <a:pt x="5480" y="936"/>
                    </a:lnTo>
                    <a:lnTo>
                      <a:pt x="5490" y="932"/>
                    </a:lnTo>
                    <a:lnTo>
                      <a:pt x="5500" y="928"/>
                    </a:lnTo>
                    <a:lnTo>
                      <a:pt x="5510" y="925"/>
                    </a:lnTo>
                    <a:lnTo>
                      <a:pt x="5520" y="921"/>
                    </a:lnTo>
                    <a:lnTo>
                      <a:pt x="5528" y="917"/>
                    </a:lnTo>
                    <a:lnTo>
                      <a:pt x="5536" y="910"/>
                    </a:lnTo>
                    <a:lnTo>
                      <a:pt x="5528" y="912"/>
                    </a:lnTo>
                    <a:lnTo>
                      <a:pt x="5520" y="913"/>
                    </a:lnTo>
                    <a:close/>
                    <a:moveTo>
                      <a:pt x="5696" y="973"/>
                    </a:moveTo>
                    <a:lnTo>
                      <a:pt x="5699" y="973"/>
                    </a:lnTo>
                    <a:lnTo>
                      <a:pt x="5704" y="973"/>
                    </a:lnTo>
                    <a:lnTo>
                      <a:pt x="5710" y="971"/>
                    </a:lnTo>
                    <a:lnTo>
                      <a:pt x="5716" y="971"/>
                    </a:lnTo>
                    <a:lnTo>
                      <a:pt x="5721" y="967"/>
                    </a:lnTo>
                    <a:lnTo>
                      <a:pt x="5729" y="966"/>
                    </a:lnTo>
                    <a:lnTo>
                      <a:pt x="5740" y="964"/>
                    </a:lnTo>
                    <a:lnTo>
                      <a:pt x="5750" y="961"/>
                    </a:lnTo>
                    <a:lnTo>
                      <a:pt x="5760" y="959"/>
                    </a:lnTo>
                    <a:lnTo>
                      <a:pt x="5770" y="956"/>
                    </a:lnTo>
                    <a:lnTo>
                      <a:pt x="5780" y="953"/>
                    </a:lnTo>
                    <a:lnTo>
                      <a:pt x="5790" y="951"/>
                    </a:lnTo>
                    <a:lnTo>
                      <a:pt x="5801" y="946"/>
                    </a:lnTo>
                    <a:lnTo>
                      <a:pt x="5813" y="946"/>
                    </a:lnTo>
                    <a:lnTo>
                      <a:pt x="5826" y="941"/>
                    </a:lnTo>
                    <a:lnTo>
                      <a:pt x="5841" y="936"/>
                    </a:lnTo>
                    <a:lnTo>
                      <a:pt x="5856" y="930"/>
                    </a:lnTo>
                    <a:lnTo>
                      <a:pt x="5872" y="926"/>
                    </a:lnTo>
                    <a:lnTo>
                      <a:pt x="5887" y="921"/>
                    </a:lnTo>
                    <a:lnTo>
                      <a:pt x="5895" y="917"/>
                    </a:lnTo>
                    <a:lnTo>
                      <a:pt x="5902" y="913"/>
                    </a:lnTo>
                    <a:lnTo>
                      <a:pt x="5910" y="910"/>
                    </a:lnTo>
                    <a:lnTo>
                      <a:pt x="5917" y="905"/>
                    </a:lnTo>
                    <a:lnTo>
                      <a:pt x="5925" y="899"/>
                    </a:lnTo>
                    <a:lnTo>
                      <a:pt x="5931" y="892"/>
                    </a:lnTo>
                    <a:lnTo>
                      <a:pt x="5920" y="890"/>
                    </a:lnTo>
                    <a:lnTo>
                      <a:pt x="5911" y="887"/>
                    </a:lnTo>
                    <a:lnTo>
                      <a:pt x="5902" y="887"/>
                    </a:lnTo>
                    <a:lnTo>
                      <a:pt x="5893" y="887"/>
                    </a:lnTo>
                    <a:lnTo>
                      <a:pt x="5884" y="887"/>
                    </a:lnTo>
                    <a:lnTo>
                      <a:pt x="5874" y="890"/>
                    </a:lnTo>
                    <a:lnTo>
                      <a:pt x="5864" y="892"/>
                    </a:lnTo>
                    <a:lnTo>
                      <a:pt x="5854" y="895"/>
                    </a:lnTo>
                    <a:lnTo>
                      <a:pt x="5836" y="900"/>
                    </a:lnTo>
                    <a:lnTo>
                      <a:pt x="5818" y="905"/>
                    </a:lnTo>
                    <a:lnTo>
                      <a:pt x="5806" y="906"/>
                    </a:lnTo>
                    <a:lnTo>
                      <a:pt x="5797" y="908"/>
                    </a:lnTo>
                    <a:lnTo>
                      <a:pt x="5788" y="910"/>
                    </a:lnTo>
                    <a:lnTo>
                      <a:pt x="5778" y="910"/>
                    </a:lnTo>
                    <a:lnTo>
                      <a:pt x="5760" y="915"/>
                    </a:lnTo>
                    <a:lnTo>
                      <a:pt x="5742" y="921"/>
                    </a:lnTo>
                    <a:lnTo>
                      <a:pt x="5724" y="926"/>
                    </a:lnTo>
                    <a:lnTo>
                      <a:pt x="5704" y="930"/>
                    </a:lnTo>
                    <a:lnTo>
                      <a:pt x="5688" y="936"/>
                    </a:lnTo>
                    <a:lnTo>
                      <a:pt x="5679" y="939"/>
                    </a:lnTo>
                    <a:lnTo>
                      <a:pt x="5671" y="943"/>
                    </a:lnTo>
                    <a:lnTo>
                      <a:pt x="5664" y="949"/>
                    </a:lnTo>
                    <a:lnTo>
                      <a:pt x="5656" y="953"/>
                    </a:lnTo>
                    <a:lnTo>
                      <a:pt x="5650" y="958"/>
                    </a:lnTo>
                    <a:lnTo>
                      <a:pt x="5643" y="966"/>
                    </a:lnTo>
                    <a:lnTo>
                      <a:pt x="5655" y="966"/>
                    </a:lnTo>
                    <a:lnTo>
                      <a:pt x="5666" y="967"/>
                    </a:lnTo>
                    <a:lnTo>
                      <a:pt x="5675" y="969"/>
                    </a:lnTo>
                    <a:lnTo>
                      <a:pt x="5686" y="971"/>
                    </a:lnTo>
                    <a:lnTo>
                      <a:pt x="5696" y="973"/>
                    </a:lnTo>
                    <a:close/>
                    <a:moveTo>
                      <a:pt x="6092" y="1007"/>
                    </a:moveTo>
                    <a:lnTo>
                      <a:pt x="6094" y="1007"/>
                    </a:lnTo>
                    <a:lnTo>
                      <a:pt x="6094" y="1006"/>
                    </a:lnTo>
                    <a:lnTo>
                      <a:pt x="6092" y="1007"/>
                    </a:lnTo>
                    <a:close/>
                    <a:moveTo>
                      <a:pt x="6397" y="777"/>
                    </a:moveTo>
                    <a:lnTo>
                      <a:pt x="6386" y="778"/>
                    </a:lnTo>
                    <a:lnTo>
                      <a:pt x="6379" y="783"/>
                    </a:lnTo>
                    <a:lnTo>
                      <a:pt x="6369" y="785"/>
                    </a:lnTo>
                    <a:lnTo>
                      <a:pt x="6364" y="786"/>
                    </a:lnTo>
                    <a:lnTo>
                      <a:pt x="6369" y="786"/>
                    </a:lnTo>
                    <a:lnTo>
                      <a:pt x="6379" y="788"/>
                    </a:lnTo>
                    <a:lnTo>
                      <a:pt x="6387" y="788"/>
                    </a:lnTo>
                    <a:lnTo>
                      <a:pt x="6397" y="788"/>
                    </a:lnTo>
                    <a:lnTo>
                      <a:pt x="6406" y="790"/>
                    </a:lnTo>
                    <a:lnTo>
                      <a:pt x="6415" y="793"/>
                    </a:lnTo>
                    <a:lnTo>
                      <a:pt x="6425" y="798"/>
                    </a:lnTo>
                    <a:lnTo>
                      <a:pt x="6432" y="801"/>
                    </a:lnTo>
                    <a:lnTo>
                      <a:pt x="6443" y="801"/>
                    </a:lnTo>
                    <a:lnTo>
                      <a:pt x="6453" y="801"/>
                    </a:lnTo>
                    <a:lnTo>
                      <a:pt x="6463" y="801"/>
                    </a:lnTo>
                    <a:lnTo>
                      <a:pt x="6474" y="799"/>
                    </a:lnTo>
                    <a:lnTo>
                      <a:pt x="6483" y="799"/>
                    </a:lnTo>
                    <a:lnTo>
                      <a:pt x="6493" y="795"/>
                    </a:lnTo>
                    <a:lnTo>
                      <a:pt x="6504" y="792"/>
                    </a:lnTo>
                    <a:lnTo>
                      <a:pt x="6517" y="786"/>
                    </a:lnTo>
                    <a:lnTo>
                      <a:pt x="6509" y="783"/>
                    </a:lnTo>
                    <a:lnTo>
                      <a:pt x="6501" y="778"/>
                    </a:lnTo>
                    <a:lnTo>
                      <a:pt x="6493" y="775"/>
                    </a:lnTo>
                    <a:lnTo>
                      <a:pt x="6481" y="773"/>
                    </a:lnTo>
                    <a:lnTo>
                      <a:pt x="6473" y="772"/>
                    </a:lnTo>
                    <a:lnTo>
                      <a:pt x="6461" y="770"/>
                    </a:lnTo>
                    <a:lnTo>
                      <a:pt x="6450" y="770"/>
                    </a:lnTo>
                    <a:lnTo>
                      <a:pt x="6440" y="770"/>
                    </a:lnTo>
                    <a:lnTo>
                      <a:pt x="6428" y="772"/>
                    </a:lnTo>
                    <a:lnTo>
                      <a:pt x="6417" y="773"/>
                    </a:lnTo>
                    <a:lnTo>
                      <a:pt x="6406" y="775"/>
                    </a:lnTo>
                    <a:lnTo>
                      <a:pt x="6397" y="777"/>
                    </a:lnTo>
                    <a:close/>
                    <a:moveTo>
                      <a:pt x="6514" y="921"/>
                    </a:moveTo>
                    <a:lnTo>
                      <a:pt x="6509" y="921"/>
                    </a:lnTo>
                    <a:lnTo>
                      <a:pt x="6504" y="923"/>
                    </a:lnTo>
                    <a:lnTo>
                      <a:pt x="6501" y="925"/>
                    </a:lnTo>
                    <a:lnTo>
                      <a:pt x="6498" y="926"/>
                    </a:lnTo>
                    <a:lnTo>
                      <a:pt x="6494" y="926"/>
                    </a:lnTo>
                    <a:lnTo>
                      <a:pt x="6483" y="926"/>
                    </a:lnTo>
                    <a:lnTo>
                      <a:pt x="6471" y="926"/>
                    </a:lnTo>
                    <a:lnTo>
                      <a:pt x="6445" y="926"/>
                    </a:lnTo>
                    <a:lnTo>
                      <a:pt x="6452" y="923"/>
                    </a:lnTo>
                    <a:lnTo>
                      <a:pt x="6458" y="921"/>
                    </a:lnTo>
                    <a:lnTo>
                      <a:pt x="6463" y="921"/>
                    </a:lnTo>
                    <a:lnTo>
                      <a:pt x="6468" y="920"/>
                    </a:lnTo>
                    <a:lnTo>
                      <a:pt x="6478" y="920"/>
                    </a:lnTo>
                    <a:lnTo>
                      <a:pt x="6486" y="917"/>
                    </a:lnTo>
                    <a:lnTo>
                      <a:pt x="6494" y="917"/>
                    </a:lnTo>
                    <a:lnTo>
                      <a:pt x="6501" y="917"/>
                    </a:lnTo>
                    <a:lnTo>
                      <a:pt x="6504" y="915"/>
                    </a:lnTo>
                    <a:lnTo>
                      <a:pt x="6507" y="915"/>
                    </a:lnTo>
                    <a:lnTo>
                      <a:pt x="6511" y="912"/>
                    </a:lnTo>
                    <a:lnTo>
                      <a:pt x="6514" y="910"/>
                    </a:lnTo>
                    <a:lnTo>
                      <a:pt x="6504" y="900"/>
                    </a:lnTo>
                    <a:lnTo>
                      <a:pt x="6494" y="893"/>
                    </a:lnTo>
                    <a:lnTo>
                      <a:pt x="6486" y="885"/>
                    </a:lnTo>
                    <a:lnTo>
                      <a:pt x="6474" y="880"/>
                    </a:lnTo>
                    <a:lnTo>
                      <a:pt x="6465" y="877"/>
                    </a:lnTo>
                    <a:lnTo>
                      <a:pt x="6453" y="873"/>
                    </a:lnTo>
                    <a:lnTo>
                      <a:pt x="6443" y="869"/>
                    </a:lnTo>
                    <a:lnTo>
                      <a:pt x="6432" y="867"/>
                    </a:lnTo>
                    <a:lnTo>
                      <a:pt x="6420" y="866"/>
                    </a:lnTo>
                    <a:lnTo>
                      <a:pt x="6410" y="866"/>
                    </a:lnTo>
                    <a:lnTo>
                      <a:pt x="6397" y="866"/>
                    </a:lnTo>
                    <a:lnTo>
                      <a:pt x="6384" y="867"/>
                    </a:lnTo>
                    <a:lnTo>
                      <a:pt x="6371" y="867"/>
                    </a:lnTo>
                    <a:lnTo>
                      <a:pt x="6356" y="871"/>
                    </a:lnTo>
                    <a:lnTo>
                      <a:pt x="6341" y="873"/>
                    </a:lnTo>
                    <a:lnTo>
                      <a:pt x="6325" y="875"/>
                    </a:lnTo>
                    <a:lnTo>
                      <a:pt x="6330" y="869"/>
                    </a:lnTo>
                    <a:lnTo>
                      <a:pt x="6336" y="866"/>
                    </a:lnTo>
                    <a:lnTo>
                      <a:pt x="6340" y="862"/>
                    </a:lnTo>
                    <a:lnTo>
                      <a:pt x="6343" y="859"/>
                    </a:lnTo>
                    <a:lnTo>
                      <a:pt x="6345" y="856"/>
                    </a:lnTo>
                    <a:lnTo>
                      <a:pt x="6349" y="852"/>
                    </a:lnTo>
                    <a:lnTo>
                      <a:pt x="6354" y="847"/>
                    </a:lnTo>
                    <a:lnTo>
                      <a:pt x="6359" y="841"/>
                    </a:lnTo>
                    <a:lnTo>
                      <a:pt x="6358" y="838"/>
                    </a:lnTo>
                    <a:lnTo>
                      <a:pt x="6354" y="834"/>
                    </a:lnTo>
                    <a:lnTo>
                      <a:pt x="6351" y="831"/>
                    </a:lnTo>
                    <a:lnTo>
                      <a:pt x="6346" y="826"/>
                    </a:lnTo>
                    <a:lnTo>
                      <a:pt x="6341" y="825"/>
                    </a:lnTo>
                    <a:lnTo>
                      <a:pt x="6336" y="823"/>
                    </a:lnTo>
                    <a:lnTo>
                      <a:pt x="6330" y="821"/>
                    </a:lnTo>
                    <a:lnTo>
                      <a:pt x="6323" y="821"/>
                    </a:lnTo>
                    <a:lnTo>
                      <a:pt x="6308" y="819"/>
                    </a:lnTo>
                    <a:lnTo>
                      <a:pt x="6292" y="821"/>
                    </a:lnTo>
                    <a:lnTo>
                      <a:pt x="6275" y="823"/>
                    </a:lnTo>
                    <a:lnTo>
                      <a:pt x="6257" y="825"/>
                    </a:lnTo>
                    <a:lnTo>
                      <a:pt x="6239" y="829"/>
                    </a:lnTo>
                    <a:lnTo>
                      <a:pt x="6221" y="832"/>
                    </a:lnTo>
                    <a:lnTo>
                      <a:pt x="6206" y="838"/>
                    </a:lnTo>
                    <a:lnTo>
                      <a:pt x="6192" y="841"/>
                    </a:lnTo>
                    <a:lnTo>
                      <a:pt x="6185" y="846"/>
                    </a:lnTo>
                    <a:lnTo>
                      <a:pt x="6177" y="847"/>
                    </a:lnTo>
                    <a:lnTo>
                      <a:pt x="6172" y="849"/>
                    </a:lnTo>
                    <a:lnTo>
                      <a:pt x="6168" y="851"/>
                    </a:lnTo>
                    <a:lnTo>
                      <a:pt x="6162" y="852"/>
                    </a:lnTo>
                    <a:lnTo>
                      <a:pt x="6159" y="856"/>
                    </a:lnTo>
                    <a:lnTo>
                      <a:pt x="6157" y="859"/>
                    </a:lnTo>
                    <a:lnTo>
                      <a:pt x="6155" y="859"/>
                    </a:lnTo>
                    <a:lnTo>
                      <a:pt x="6157" y="862"/>
                    </a:lnTo>
                    <a:lnTo>
                      <a:pt x="6162" y="864"/>
                    </a:lnTo>
                    <a:lnTo>
                      <a:pt x="6166" y="867"/>
                    </a:lnTo>
                    <a:lnTo>
                      <a:pt x="6172" y="869"/>
                    </a:lnTo>
                    <a:lnTo>
                      <a:pt x="6178" y="871"/>
                    </a:lnTo>
                    <a:lnTo>
                      <a:pt x="6185" y="871"/>
                    </a:lnTo>
                    <a:lnTo>
                      <a:pt x="6199" y="873"/>
                    </a:lnTo>
                    <a:lnTo>
                      <a:pt x="6214" y="875"/>
                    </a:lnTo>
                    <a:lnTo>
                      <a:pt x="6229" y="875"/>
                    </a:lnTo>
                    <a:lnTo>
                      <a:pt x="6244" y="875"/>
                    </a:lnTo>
                    <a:lnTo>
                      <a:pt x="6257" y="875"/>
                    </a:lnTo>
                    <a:lnTo>
                      <a:pt x="6247" y="879"/>
                    </a:lnTo>
                    <a:lnTo>
                      <a:pt x="6238" y="880"/>
                    </a:lnTo>
                    <a:lnTo>
                      <a:pt x="6229" y="882"/>
                    </a:lnTo>
                    <a:lnTo>
                      <a:pt x="6221" y="882"/>
                    </a:lnTo>
                    <a:lnTo>
                      <a:pt x="6213" y="884"/>
                    </a:lnTo>
                    <a:lnTo>
                      <a:pt x="6205" y="884"/>
                    </a:lnTo>
                    <a:lnTo>
                      <a:pt x="6188" y="882"/>
                    </a:lnTo>
                    <a:lnTo>
                      <a:pt x="6172" y="880"/>
                    </a:lnTo>
                    <a:lnTo>
                      <a:pt x="6155" y="879"/>
                    </a:lnTo>
                    <a:lnTo>
                      <a:pt x="6139" y="877"/>
                    </a:lnTo>
                    <a:lnTo>
                      <a:pt x="6120" y="875"/>
                    </a:lnTo>
                    <a:lnTo>
                      <a:pt x="6101" y="877"/>
                    </a:lnTo>
                    <a:lnTo>
                      <a:pt x="6085" y="879"/>
                    </a:lnTo>
                    <a:lnTo>
                      <a:pt x="6068" y="882"/>
                    </a:lnTo>
                    <a:lnTo>
                      <a:pt x="6052" y="885"/>
                    </a:lnTo>
                    <a:lnTo>
                      <a:pt x="6035" y="892"/>
                    </a:lnTo>
                    <a:lnTo>
                      <a:pt x="6018" y="897"/>
                    </a:lnTo>
                    <a:lnTo>
                      <a:pt x="6002" y="905"/>
                    </a:lnTo>
                    <a:lnTo>
                      <a:pt x="5984" y="910"/>
                    </a:lnTo>
                    <a:lnTo>
                      <a:pt x="5989" y="915"/>
                    </a:lnTo>
                    <a:lnTo>
                      <a:pt x="5999" y="920"/>
                    </a:lnTo>
                    <a:lnTo>
                      <a:pt x="6009" y="921"/>
                    </a:lnTo>
                    <a:lnTo>
                      <a:pt x="6018" y="923"/>
                    </a:lnTo>
                    <a:lnTo>
                      <a:pt x="6032" y="921"/>
                    </a:lnTo>
                    <a:lnTo>
                      <a:pt x="6042" y="920"/>
                    </a:lnTo>
                    <a:lnTo>
                      <a:pt x="6055" y="915"/>
                    </a:lnTo>
                    <a:lnTo>
                      <a:pt x="6068" y="910"/>
                    </a:lnTo>
                    <a:lnTo>
                      <a:pt x="6094" y="910"/>
                    </a:lnTo>
                    <a:lnTo>
                      <a:pt x="6107" y="910"/>
                    </a:lnTo>
                    <a:lnTo>
                      <a:pt x="6122" y="910"/>
                    </a:lnTo>
                    <a:lnTo>
                      <a:pt x="6137" y="910"/>
                    </a:lnTo>
                    <a:lnTo>
                      <a:pt x="6153" y="910"/>
                    </a:lnTo>
                    <a:lnTo>
                      <a:pt x="6170" y="910"/>
                    </a:lnTo>
                    <a:lnTo>
                      <a:pt x="6188" y="910"/>
                    </a:lnTo>
                    <a:lnTo>
                      <a:pt x="6170" y="915"/>
                    </a:lnTo>
                    <a:lnTo>
                      <a:pt x="6150" y="920"/>
                    </a:lnTo>
                    <a:lnTo>
                      <a:pt x="6131" y="923"/>
                    </a:lnTo>
                    <a:lnTo>
                      <a:pt x="6111" y="925"/>
                    </a:lnTo>
                    <a:lnTo>
                      <a:pt x="6092" y="926"/>
                    </a:lnTo>
                    <a:lnTo>
                      <a:pt x="6071" y="926"/>
                    </a:lnTo>
                    <a:lnTo>
                      <a:pt x="6035" y="926"/>
                    </a:lnTo>
                    <a:lnTo>
                      <a:pt x="6015" y="926"/>
                    </a:lnTo>
                    <a:lnTo>
                      <a:pt x="5992" y="926"/>
                    </a:lnTo>
                    <a:lnTo>
                      <a:pt x="5971" y="928"/>
                    </a:lnTo>
                    <a:lnTo>
                      <a:pt x="5948" y="930"/>
                    </a:lnTo>
                    <a:lnTo>
                      <a:pt x="5938" y="932"/>
                    </a:lnTo>
                    <a:lnTo>
                      <a:pt x="5926" y="934"/>
                    </a:lnTo>
                    <a:lnTo>
                      <a:pt x="5915" y="938"/>
                    </a:lnTo>
                    <a:lnTo>
                      <a:pt x="5904" y="941"/>
                    </a:lnTo>
                    <a:lnTo>
                      <a:pt x="5893" y="945"/>
                    </a:lnTo>
                    <a:lnTo>
                      <a:pt x="5882" y="949"/>
                    </a:lnTo>
                    <a:lnTo>
                      <a:pt x="5872" y="954"/>
                    </a:lnTo>
                    <a:lnTo>
                      <a:pt x="5864" y="959"/>
                    </a:lnTo>
                    <a:lnTo>
                      <a:pt x="5913" y="959"/>
                    </a:lnTo>
                    <a:lnTo>
                      <a:pt x="5964" y="959"/>
                    </a:lnTo>
                    <a:lnTo>
                      <a:pt x="6004" y="959"/>
                    </a:lnTo>
                    <a:lnTo>
                      <a:pt x="6024" y="959"/>
                    </a:lnTo>
                    <a:lnTo>
                      <a:pt x="6042" y="958"/>
                    </a:lnTo>
                    <a:lnTo>
                      <a:pt x="6063" y="956"/>
                    </a:lnTo>
                    <a:lnTo>
                      <a:pt x="6063" y="956"/>
                    </a:lnTo>
                    <a:lnTo>
                      <a:pt x="6052" y="958"/>
                    </a:lnTo>
                    <a:lnTo>
                      <a:pt x="6028" y="961"/>
                    </a:lnTo>
                    <a:lnTo>
                      <a:pt x="6004" y="964"/>
                    </a:lnTo>
                    <a:lnTo>
                      <a:pt x="5979" y="967"/>
                    </a:lnTo>
                    <a:lnTo>
                      <a:pt x="5931" y="971"/>
                    </a:lnTo>
                    <a:lnTo>
                      <a:pt x="5908" y="974"/>
                    </a:lnTo>
                    <a:lnTo>
                      <a:pt x="5884" y="976"/>
                    </a:lnTo>
                    <a:lnTo>
                      <a:pt x="5859" y="980"/>
                    </a:lnTo>
                    <a:lnTo>
                      <a:pt x="5836" y="984"/>
                    </a:lnTo>
                    <a:lnTo>
                      <a:pt x="5811" y="989"/>
                    </a:lnTo>
                    <a:lnTo>
                      <a:pt x="5788" y="995"/>
                    </a:lnTo>
                    <a:lnTo>
                      <a:pt x="5765" y="1002"/>
                    </a:lnTo>
                    <a:lnTo>
                      <a:pt x="5744" y="1012"/>
                    </a:lnTo>
                    <a:lnTo>
                      <a:pt x="5749" y="1017"/>
                    </a:lnTo>
                    <a:lnTo>
                      <a:pt x="5757" y="1022"/>
                    </a:lnTo>
                    <a:lnTo>
                      <a:pt x="5765" y="1027"/>
                    </a:lnTo>
                    <a:lnTo>
                      <a:pt x="5773" y="1028"/>
                    </a:lnTo>
                    <a:lnTo>
                      <a:pt x="5782" y="1030"/>
                    </a:lnTo>
                    <a:lnTo>
                      <a:pt x="5791" y="1030"/>
                    </a:lnTo>
                    <a:lnTo>
                      <a:pt x="5803" y="1030"/>
                    </a:lnTo>
                    <a:lnTo>
                      <a:pt x="5811" y="1030"/>
                    </a:lnTo>
                    <a:lnTo>
                      <a:pt x="5821" y="1030"/>
                    </a:lnTo>
                    <a:lnTo>
                      <a:pt x="5831" y="1028"/>
                    </a:lnTo>
                    <a:lnTo>
                      <a:pt x="5849" y="1022"/>
                    </a:lnTo>
                    <a:lnTo>
                      <a:pt x="5857" y="1020"/>
                    </a:lnTo>
                    <a:lnTo>
                      <a:pt x="5865" y="1017"/>
                    </a:lnTo>
                    <a:lnTo>
                      <a:pt x="5872" y="1015"/>
                    </a:lnTo>
                    <a:lnTo>
                      <a:pt x="5880" y="1012"/>
                    </a:lnTo>
                    <a:lnTo>
                      <a:pt x="5874" y="1017"/>
                    </a:lnTo>
                    <a:lnTo>
                      <a:pt x="5871" y="1020"/>
                    </a:lnTo>
                    <a:lnTo>
                      <a:pt x="5867" y="1025"/>
                    </a:lnTo>
                    <a:lnTo>
                      <a:pt x="5865" y="1027"/>
                    </a:lnTo>
                    <a:lnTo>
                      <a:pt x="5864" y="1028"/>
                    </a:lnTo>
                    <a:lnTo>
                      <a:pt x="5867" y="1032"/>
                    </a:lnTo>
                    <a:lnTo>
                      <a:pt x="5871" y="1033"/>
                    </a:lnTo>
                    <a:lnTo>
                      <a:pt x="5874" y="1037"/>
                    </a:lnTo>
                    <a:lnTo>
                      <a:pt x="5880" y="1040"/>
                    </a:lnTo>
                    <a:lnTo>
                      <a:pt x="5891" y="1045"/>
                    </a:lnTo>
                    <a:lnTo>
                      <a:pt x="5898" y="1047"/>
                    </a:lnTo>
                    <a:lnTo>
                      <a:pt x="5904" y="1047"/>
                    </a:lnTo>
                    <a:lnTo>
                      <a:pt x="5910" y="1048"/>
                    </a:lnTo>
                    <a:lnTo>
                      <a:pt x="5913" y="1048"/>
                    </a:lnTo>
                    <a:lnTo>
                      <a:pt x="5918" y="1047"/>
                    </a:lnTo>
                    <a:lnTo>
                      <a:pt x="5923" y="1045"/>
                    </a:lnTo>
                    <a:lnTo>
                      <a:pt x="5926" y="1043"/>
                    </a:lnTo>
                    <a:lnTo>
                      <a:pt x="5930" y="1040"/>
                    </a:lnTo>
                    <a:lnTo>
                      <a:pt x="5930" y="1033"/>
                    </a:lnTo>
                    <a:lnTo>
                      <a:pt x="5931" y="1028"/>
                    </a:lnTo>
                    <a:lnTo>
                      <a:pt x="5931" y="1025"/>
                    </a:lnTo>
                    <a:lnTo>
                      <a:pt x="5933" y="1022"/>
                    </a:lnTo>
                    <a:lnTo>
                      <a:pt x="5935" y="1022"/>
                    </a:lnTo>
                    <a:lnTo>
                      <a:pt x="5939" y="1020"/>
                    </a:lnTo>
                    <a:lnTo>
                      <a:pt x="5943" y="1020"/>
                    </a:lnTo>
                    <a:lnTo>
                      <a:pt x="5948" y="1020"/>
                    </a:lnTo>
                    <a:lnTo>
                      <a:pt x="5958" y="1019"/>
                    </a:lnTo>
                    <a:lnTo>
                      <a:pt x="5966" y="1019"/>
                    </a:lnTo>
                    <a:lnTo>
                      <a:pt x="5971" y="1019"/>
                    </a:lnTo>
                    <a:lnTo>
                      <a:pt x="5974" y="1019"/>
                    </a:lnTo>
                    <a:lnTo>
                      <a:pt x="5972" y="1020"/>
                    </a:lnTo>
                    <a:lnTo>
                      <a:pt x="5971" y="1025"/>
                    </a:lnTo>
                    <a:lnTo>
                      <a:pt x="5966" y="1027"/>
                    </a:lnTo>
                    <a:lnTo>
                      <a:pt x="5966" y="1028"/>
                    </a:lnTo>
                    <a:lnTo>
                      <a:pt x="5964" y="1028"/>
                    </a:lnTo>
                    <a:lnTo>
                      <a:pt x="5972" y="1033"/>
                    </a:lnTo>
                    <a:lnTo>
                      <a:pt x="5981" y="1037"/>
                    </a:lnTo>
                    <a:lnTo>
                      <a:pt x="5991" y="1040"/>
                    </a:lnTo>
                    <a:lnTo>
                      <a:pt x="6002" y="1041"/>
                    </a:lnTo>
                    <a:lnTo>
                      <a:pt x="6013" y="1040"/>
                    </a:lnTo>
                    <a:lnTo>
                      <a:pt x="6025" y="1037"/>
                    </a:lnTo>
                    <a:lnTo>
                      <a:pt x="6038" y="1033"/>
                    </a:lnTo>
                    <a:lnTo>
                      <a:pt x="6052" y="1028"/>
                    </a:lnTo>
                    <a:lnTo>
                      <a:pt x="6053" y="1027"/>
                    </a:lnTo>
                    <a:lnTo>
                      <a:pt x="6057" y="1025"/>
                    </a:lnTo>
                    <a:lnTo>
                      <a:pt x="6061" y="1022"/>
                    </a:lnTo>
                    <a:lnTo>
                      <a:pt x="6066" y="1020"/>
                    </a:lnTo>
                    <a:lnTo>
                      <a:pt x="6071" y="1019"/>
                    </a:lnTo>
                    <a:lnTo>
                      <a:pt x="6081" y="1013"/>
                    </a:lnTo>
                    <a:lnTo>
                      <a:pt x="6086" y="1012"/>
                    </a:lnTo>
                    <a:lnTo>
                      <a:pt x="6091" y="1010"/>
                    </a:lnTo>
                    <a:lnTo>
                      <a:pt x="6089" y="1010"/>
                    </a:lnTo>
                    <a:lnTo>
                      <a:pt x="6085" y="1012"/>
                    </a:lnTo>
                    <a:lnTo>
                      <a:pt x="6086" y="1006"/>
                    </a:lnTo>
                    <a:lnTo>
                      <a:pt x="6089" y="1002"/>
                    </a:lnTo>
                    <a:lnTo>
                      <a:pt x="6091" y="999"/>
                    </a:lnTo>
                    <a:lnTo>
                      <a:pt x="6094" y="999"/>
                    </a:lnTo>
                    <a:lnTo>
                      <a:pt x="6098" y="999"/>
                    </a:lnTo>
                    <a:lnTo>
                      <a:pt x="6099" y="1002"/>
                    </a:lnTo>
                    <a:lnTo>
                      <a:pt x="6101" y="1006"/>
                    </a:lnTo>
                    <a:lnTo>
                      <a:pt x="6103" y="1012"/>
                    </a:lnTo>
                    <a:lnTo>
                      <a:pt x="6109" y="1012"/>
                    </a:lnTo>
                    <a:lnTo>
                      <a:pt x="6118" y="1010"/>
                    </a:lnTo>
                    <a:lnTo>
                      <a:pt x="6127" y="1006"/>
                    </a:lnTo>
                    <a:lnTo>
                      <a:pt x="6135" y="1002"/>
                    </a:lnTo>
                    <a:lnTo>
                      <a:pt x="6142" y="1000"/>
                    </a:lnTo>
                    <a:lnTo>
                      <a:pt x="6145" y="999"/>
                    </a:lnTo>
                    <a:lnTo>
                      <a:pt x="6147" y="997"/>
                    </a:lnTo>
                    <a:lnTo>
                      <a:pt x="6152" y="997"/>
                    </a:lnTo>
                    <a:lnTo>
                      <a:pt x="6153" y="995"/>
                    </a:lnTo>
                    <a:lnTo>
                      <a:pt x="6155" y="995"/>
                    </a:lnTo>
                    <a:lnTo>
                      <a:pt x="6160" y="987"/>
                    </a:lnTo>
                    <a:lnTo>
                      <a:pt x="6164" y="982"/>
                    </a:lnTo>
                    <a:lnTo>
                      <a:pt x="6168" y="976"/>
                    </a:lnTo>
                    <a:lnTo>
                      <a:pt x="6172" y="973"/>
                    </a:lnTo>
                    <a:lnTo>
                      <a:pt x="6173" y="973"/>
                    </a:lnTo>
                    <a:lnTo>
                      <a:pt x="6175" y="971"/>
                    </a:lnTo>
                    <a:lnTo>
                      <a:pt x="6178" y="971"/>
                    </a:lnTo>
                    <a:lnTo>
                      <a:pt x="6181" y="971"/>
                    </a:lnTo>
                    <a:lnTo>
                      <a:pt x="6183" y="973"/>
                    </a:lnTo>
                    <a:lnTo>
                      <a:pt x="6185" y="974"/>
                    </a:lnTo>
                    <a:lnTo>
                      <a:pt x="6188" y="976"/>
                    </a:lnTo>
                    <a:lnTo>
                      <a:pt x="6192" y="980"/>
                    </a:lnTo>
                    <a:lnTo>
                      <a:pt x="6193" y="982"/>
                    </a:lnTo>
                    <a:lnTo>
                      <a:pt x="6198" y="984"/>
                    </a:lnTo>
                    <a:lnTo>
                      <a:pt x="6201" y="984"/>
                    </a:lnTo>
                    <a:lnTo>
                      <a:pt x="6205" y="986"/>
                    </a:lnTo>
                    <a:lnTo>
                      <a:pt x="6206" y="986"/>
                    </a:lnTo>
                    <a:lnTo>
                      <a:pt x="6214" y="984"/>
                    </a:lnTo>
                    <a:lnTo>
                      <a:pt x="6219" y="982"/>
                    </a:lnTo>
                    <a:lnTo>
                      <a:pt x="6214" y="986"/>
                    </a:lnTo>
                    <a:lnTo>
                      <a:pt x="6206" y="989"/>
                    </a:lnTo>
                    <a:lnTo>
                      <a:pt x="6201" y="991"/>
                    </a:lnTo>
                    <a:lnTo>
                      <a:pt x="6193" y="993"/>
                    </a:lnTo>
                    <a:lnTo>
                      <a:pt x="6188" y="995"/>
                    </a:lnTo>
                    <a:lnTo>
                      <a:pt x="6185" y="995"/>
                    </a:lnTo>
                    <a:lnTo>
                      <a:pt x="6181" y="995"/>
                    </a:lnTo>
                    <a:lnTo>
                      <a:pt x="6172" y="997"/>
                    </a:lnTo>
                    <a:lnTo>
                      <a:pt x="6160" y="1000"/>
                    </a:lnTo>
                    <a:lnTo>
                      <a:pt x="6157" y="1000"/>
                    </a:lnTo>
                    <a:lnTo>
                      <a:pt x="6152" y="1002"/>
                    </a:lnTo>
                    <a:lnTo>
                      <a:pt x="6147" y="1004"/>
                    </a:lnTo>
                    <a:lnTo>
                      <a:pt x="6145" y="1006"/>
                    </a:lnTo>
                    <a:lnTo>
                      <a:pt x="6144" y="1007"/>
                    </a:lnTo>
                    <a:lnTo>
                      <a:pt x="6142" y="1010"/>
                    </a:lnTo>
                    <a:lnTo>
                      <a:pt x="6144" y="1010"/>
                    </a:lnTo>
                    <a:lnTo>
                      <a:pt x="6145" y="1012"/>
                    </a:lnTo>
                    <a:lnTo>
                      <a:pt x="6147" y="1012"/>
                    </a:lnTo>
                    <a:lnTo>
                      <a:pt x="6144" y="1013"/>
                    </a:lnTo>
                    <a:lnTo>
                      <a:pt x="6139" y="1015"/>
                    </a:lnTo>
                    <a:lnTo>
                      <a:pt x="6132" y="1019"/>
                    </a:lnTo>
                    <a:lnTo>
                      <a:pt x="6125" y="1022"/>
                    </a:lnTo>
                    <a:lnTo>
                      <a:pt x="6120" y="1028"/>
                    </a:lnTo>
                    <a:lnTo>
                      <a:pt x="6125" y="1032"/>
                    </a:lnTo>
                    <a:lnTo>
                      <a:pt x="6132" y="1033"/>
                    </a:lnTo>
                    <a:lnTo>
                      <a:pt x="6139" y="1033"/>
                    </a:lnTo>
                    <a:lnTo>
                      <a:pt x="6145" y="1035"/>
                    </a:lnTo>
                    <a:lnTo>
                      <a:pt x="6152" y="1035"/>
                    </a:lnTo>
                    <a:lnTo>
                      <a:pt x="6157" y="1035"/>
                    </a:lnTo>
                    <a:lnTo>
                      <a:pt x="6170" y="1033"/>
                    </a:lnTo>
                    <a:lnTo>
                      <a:pt x="6178" y="1032"/>
                    </a:lnTo>
                    <a:lnTo>
                      <a:pt x="6190" y="1030"/>
                    </a:lnTo>
                    <a:lnTo>
                      <a:pt x="6198" y="1028"/>
                    </a:lnTo>
                    <a:lnTo>
                      <a:pt x="6205" y="1028"/>
                    </a:lnTo>
                    <a:lnTo>
                      <a:pt x="6213" y="1028"/>
                    </a:lnTo>
                    <a:lnTo>
                      <a:pt x="6219" y="1027"/>
                    </a:lnTo>
                    <a:lnTo>
                      <a:pt x="6227" y="1025"/>
                    </a:lnTo>
                    <a:lnTo>
                      <a:pt x="6234" y="1022"/>
                    </a:lnTo>
                    <a:lnTo>
                      <a:pt x="6249" y="1019"/>
                    </a:lnTo>
                    <a:lnTo>
                      <a:pt x="6264" y="1013"/>
                    </a:lnTo>
                    <a:lnTo>
                      <a:pt x="6277" y="1010"/>
                    </a:lnTo>
                    <a:lnTo>
                      <a:pt x="6284" y="1007"/>
                    </a:lnTo>
                    <a:lnTo>
                      <a:pt x="6290" y="1006"/>
                    </a:lnTo>
                    <a:lnTo>
                      <a:pt x="6295" y="1006"/>
                    </a:lnTo>
                    <a:lnTo>
                      <a:pt x="6300" y="1007"/>
                    </a:lnTo>
                    <a:lnTo>
                      <a:pt x="6305" y="1010"/>
                    </a:lnTo>
                    <a:lnTo>
                      <a:pt x="6308" y="1012"/>
                    </a:lnTo>
                    <a:lnTo>
                      <a:pt x="6303" y="1012"/>
                    </a:lnTo>
                    <a:lnTo>
                      <a:pt x="6299" y="1012"/>
                    </a:lnTo>
                    <a:lnTo>
                      <a:pt x="6295" y="1012"/>
                    </a:lnTo>
                    <a:lnTo>
                      <a:pt x="6293" y="1012"/>
                    </a:lnTo>
                    <a:lnTo>
                      <a:pt x="6292" y="1012"/>
                    </a:lnTo>
                    <a:lnTo>
                      <a:pt x="6297" y="1015"/>
                    </a:lnTo>
                    <a:lnTo>
                      <a:pt x="6305" y="1017"/>
                    </a:lnTo>
                    <a:lnTo>
                      <a:pt x="6315" y="1020"/>
                    </a:lnTo>
                    <a:lnTo>
                      <a:pt x="6328" y="1022"/>
                    </a:lnTo>
                    <a:lnTo>
                      <a:pt x="6340" y="1022"/>
                    </a:lnTo>
                    <a:lnTo>
                      <a:pt x="6351" y="1022"/>
                    </a:lnTo>
                    <a:lnTo>
                      <a:pt x="6364" y="1022"/>
                    </a:lnTo>
                    <a:lnTo>
                      <a:pt x="6374" y="1020"/>
                    </a:lnTo>
                    <a:lnTo>
                      <a:pt x="6386" y="1017"/>
                    </a:lnTo>
                    <a:lnTo>
                      <a:pt x="6407" y="1013"/>
                    </a:lnTo>
                    <a:lnTo>
                      <a:pt x="6419" y="1012"/>
                    </a:lnTo>
                    <a:lnTo>
                      <a:pt x="6432" y="1010"/>
                    </a:lnTo>
                    <a:lnTo>
                      <a:pt x="6443" y="1007"/>
                    </a:lnTo>
                    <a:lnTo>
                      <a:pt x="6453" y="1007"/>
                    </a:lnTo>
                    <a:lnTo>
                      <a:pt x="6467" y="1010"/>
                    </a:lnTo>
                    <a:lnTo>
                      <a:pt x="6480" y="1012"/>
                    </a:lnTo>
                    <a:lnTo>
                      <a:pt x="6463" y="1017"/>
                    </a:lnTo>
                    <a:lnTo>
                      <a:pt x="6448" y="1022"/>
                    </a:lnTo>
                    <a:lnTo>
                      <a:pt x="6432" y="1027"/>
                    </a:lnTo>
                    <a:lnTo>
                      <a:pt x="6415" y="1028"/>
                    </a:lnTo>
                    <a:lnTo>
                      <a:pt x="6399" y="1030"/>
                    </a:lnTo>
                    <a:lnTo>
                      <a:pt x="6384" y="1032"/>
                    </a:lnTo>
                    <a:lnTo>
                      <a:pt x="6351" y="1033"/>
                    </a:lnTo>
                    <a:lnTo>
                      <a:pt x="6320" y="1035"/>
                    </a:lnTo>
                    <a:lnTo>
                      <a:pt x="6286" y="1037"/>
                    </a:lnTo>
                    <a:lnTo>
                      <a:pt x="6272" y="1040"/>
                    </a:lnTo>
                    <a:lnTo>
                      <a:pt x="6254" y="1041"/>
                    </a:lnTo>
                    <a:lnTo>
                      <a:pt x="6238" y="1043"/>
                    </a:lnTo>
                    <a:lnTo>
                      <a:pt x="6223" y="1045"/>
                    </a:lnTo>
                    <a:lnTo>
                      <a:pt x="6208" y="1047"/>
                    </a:lnTo>
                    <a:lnTo>
                      <a:pt x="6193" y="1048"/>
                    </a:lnTo>
                    <a:lnTo>
                      <a:pt x="6178" y="1050"/>
                    </a:lnTo>
                    <a:lnTo>
                      <a:pt x="6162" y="1053"/>
                    </a:lnTo>
                    <a:lnTo>
                      <a:pt x="6145" y="1058"/>
                    </a:lnTo>
                    <a:lnTo>
                      <a:pt x="6131" y="1060"/>
                    </a:lnTo>
                    <a:lnTo>
                      <a:pt x="6116" y="1061"/>
                    </a:lnTo>
                    <a:lnTo>
                      <a:pt x="6103" y="1061"/>
                    </a:lnTo>
                    <a:lnTo>
                      <a:pt x="6089" y="1063"/>
                    </a:lnTo>
                    <a:lnTo>
                      <a:pt x="6074" y="1065"/>
                    </a:lnTo>
                    <a:lnTo>
                      <a:pt x="6059" y="1067"/>
                    </a:lnTo>
                    <a:lnTo>
                      <a:pt x="6042" y="1071"/>
                    </a:lnTo>
                    <a:lnTo>
                      <a:pt x="6025" y="1074"/>
                    </a:lnTo>
                    <a:lnTo>
                      <a:pt x="6011" y="1076"/>
                    </a:lnTo>
                    <a:lnTo>
                      <a:pt x="5996" y="1078"/>
                    </a:lnTo>
                    <a:lnTo>
                      <a:pt x="5984" y="1078"/>
                    </a:lnTo>
                    <a:lnTo>
                      <a:pt x="5987" y="1087"/>
                    </a:lnTo>
                    <a:lnTo>
                      <a:pt x="5994" y="1096"/>
                    </a:lnTo>
                    <a:lnTo>
                      <a:pt x="6000" y="1104"/>
                    </a:lnTo>
                    <a:lnTo>
                      <a:pt x="6009" y="1109"/>
                    </a:lnTo>
                    <a:lnTo>
                      <a:pt x="6017" y="1114"/>
                    </a:lnTo>
                    <a:lnTo>
                      <a:pt x="6025" y="1121"/>
                    </a:lnTo>
                    <a:lnTo>
                      <a:pt x="6035" y="1124"/>
                    </a:lnTo>
                    <a:lnTo>
                      <a:pt x="6046" y="1126"/>
                    </a:lnTo>
                    <a:lnTo>
                      <a:pt x="6055" y="1129"/>
                    </a:lnTo>
                    <a:lnTo>
                      <a:pt x="6066" y="1132"/>
                    </a:lnTo>
                    <a:lnTo>
                      <a:pt x="6079" y="1134"/>
                    </a:lnTo>
                    <a:lnTo>
                      <a:pt x="6091" y="1134"/>
                    </a:lnTo>
                    <a:lnTo>
                      <a:pt x="6101" y="1134"/>
                    </a:lnTo>
                    <a:lnTo>
                      <a:pt x="6114" y="1134"/>
                    </a:lnTo>
                    <a:lnTo>
                      <a:pt x="6139" y="1132"/>
                    </a:lnTo>
                    <a:lnTo>
                      <a:pt x="6164" y="1129"/>
                    </a:lnTo>
                    <a:lnTo>
                      <a:pt x="6188" y="1124"/>
                    </a:lnTo>
                    <a:lnTo>
                      <a:pt x="6213" y="1121"/>
                    </a:lnTo>
                    <a:lnTo>
                      <a:pt x="6236" y="1114"/>
                    </a:lnTo>
                    <a:lnTo>
                      <a:pt x="6247" y="1111"/>
                    </a:lnTo>
                    <a:lnTo>
                      <a:pt x="6257" y="1109"/>
                    </a:lnTo>
                    <a:lnTo>
                      <a:pt x="6267" y="1107"/>
                    </a:lnTo>
                    <a:lnTo>
                      <a:pt x="6277" y="1104"/>
                    </a:lnTo>
                    <a:lnTo>
                      <a:pt x="6286" y="1102"/>
                    </a:lnTo>
                    <a:lnTo>
                      <a:pt x="6293" y="1101"/>
                    </a:lnTo>
                    <a:lnTo>
                      <a:pt x="6300" y="1098"/>
                    </a:lnTo>
                    <a:lnTo>
                      <a:pt x="6308" y="1096"/>
                    </a:lnTo>
                    <a:lnTo>
                      <a:pt x="6321" y="1096"/>
                    </a:lnTo>
                    <a:lnTo>
                      <a:pt x="6334" y="1094"/>
                    </a:lnTo>
                    <a:lnTo>
                      <a:pt x="6345" y="1093"/>
                    </a:lnTo>
                    <a:lnTo>
                      <a:pt x="6356" y="1091"/>
                    </a:lnTo>
                    <a:lnTo>
                      <a:pt x="6380" y="1086"/>
                    </a:lnTo>
                    <a:lnTo>
                      <a:pt x="6402" y="1080"/>
                    </a:lnTo>
                    <a:lnTo>
                      <a:pt x="6425" y="1073"/>
                    </a:lnTo>
                    <a:lnTo>
                      <a:pt x="6448" y="1067"/>
                    </a:lnTo>
                    <a:lnTo>
                      <a:pt x="6460" y="1065"/>
                    </a:lnTo>
                    <a:lnTo>
                      <a:pt x="6473" y="1063"/>
                    </a:lnTo>
                    <a:lnTo>
                      <a:pt x="6483" y="1063"/>
                    </a:lnTo>
                    <a:lnTo>
                      <a:pt x="6496" y="1061"/>
                    </a:lnTo>
                    <a:lnTo>
                      <a:pt x="6509" y="1061"/>
                    </a:lnTo>
                    <a:lnTo>
                      <a:pt x="6522" y="1061"/>
                    </a:lnTo>
                    <a:lnTo>
                      <a:pt x="6534" y="1060"/>
                    </a:lnTo>
                    <a:lnTo>
                      <a:pt x="6547" y="1058"/>
                    </a:lnTo>
                    <a:lnTo>
                      <a:pt x="6568" y="1052"/>
                    </a:lnTo>
                    <a:lnTo>
                      <a:pt x="6590" y="1045"/>
                    </a:lnTo>
                    <a:lnTo>
                      <a:pt x="6613" y="1040"/>
                    </a:lnTo>
                    <a:lnTo>
                      <a:pt x="6636" y="1033"/>
                    </a:lnTo>
                    <a:lnTo>
                      <a:pt x="6648" y="1032"/>
                    </a:lnTo>
                    <a:lnTo>
                      <a:pt x="6661" y="1030"/>
                    </a:lnTo>
                    <a:lnTo>
                      <a:pt x="6672" y="1028"/>
                    </a:lnTo>
                    <a:lnTo>
                      <a:pt x="6685" y="1028"/>
                    </a:lnTo>
                    <a:lnTo>
                      <a:pt x="6682" y="1030"/>
                    </a:lnTo>
                    <a:lnTo>
                      <a:pt x="6679" y="1032"/>
                    </a:lnTo>
                    <a:lnTo>
                      <a:pt x="6675" y="1033"/>
                    </a:lnTo>
                    <a:lnTo>
                      <a:pt x="6674" y="1035"/>
                    </a:lnTo>
                    <a:lnTo>
                      <a:pt x="6674" y="1037"/>
                    </a:lnTo>
                    <a:lnTo>
                      <a:pt x="6675" y="1040"/>
                    </a:lnTo>
                    <a:lnTo>
                      <a:pt x="6677" y="1041"/>
                    </a:lnTo>
                    <a:lnTo>
                      <a:pt x="6679" y="1043"/>
                    </a:lnTo>
                    <a:lnTo>
                      <a:pt x="6682" y="1043"/>
                    </a:lnTo>
                    <a:lnTo>
                      <a:pt x="6687" y="1043"/>
                    </a:lnTo>
                    <a:lnTo>
                      <a:pt x="6692" y="1045"/>
                    </a:lnTo>
                    <a:lnTo>
                      <a:pt x="6702" y="1045"/>
                    </a:lnTo>
                    <a:lnTo>
                      <a:pt x="6712" y="1045"/>
                    </a:lnTo>
                    <a:lnTo>
                      <a:pt x="6716" y="1045"/>
                    </a:lnTo>
                    <a:lnTo>
                      <a:pt x="6720" y="1045"/>
                    </a:lnTo>
                    <a:lnTo>
                      <a:pt x="6727" y="1045"/>
                    </a:lnTo>
                    <a:lnTo>
                      <a:pt x="6735" y="1045"/>
                    </a:lnTo>
                    <a:lnTo>
                      <a:pt x="6743" y="1045"/>
                    </a:lnTo>
                    <a:lnTo>
                      <a:pt x="6755" y="1043"/>
                    </a:lnTo>
                    <a:lnTo>
                      <a:pt x="6764" y="1041"/>
                    </a:lnTo>
                    <a:lnTo>
                      <a:pt x="6773" y="1037"/>
                    </a:lnTo>
                    <a:lnTo>
                      <a:pt x="6781" y="1033"/>
                    </a:lnTo>
                    <a:lnTo>
                      <a:pt x="6788" y="1028"/>
                    </a:lnTo>
                    <a:lnTo>
                      <a:pt x="6788" y="1033"/>
                    </a:lnTo>
                    <a:lnTo>
                      <a:pt x="6788" y="1037"/>
                    </a:lnTo>
                    <a:lnTo>
                      <a:pt x="6788" y="1041"/>
                    </a:lnTo>
                    <a:lnTo>
                      <a:pt x="6788" y="1043"/>
                    </a:lnTo>
                    <a:lnTo>
                      <a:pt x="6788" y="1045"/>
                    </a:lnTo>
                    <a:lnTo>
                      <a:pt x="6795" y="1050"/>
                    </a:lnTo>
                    <a:lnTo>
                      <a:pt x="6802" y="1053"/>
                    </a:lnTo>
                    <a:lnTo>
                      <a:pt x="6812" y="1058"/>
                    </a:lnTo>
                    <a:lnTo>
                      <a:pt x="6822" y="1060"/>
                    </a:lnTo>
                    <a:lnTo>
                      <a:pt x="6832" y="1060"/>
                    </a:lnTo>
                    <a:lnTo>
                      <a:pt x="6843" y="1060"/>
                    </a:lnTo>
                    <a:lnTo>
                      <a:pt x="6855" y="1058"/>
                    </a:lnTo>
                    <a:lnTo>
                      <a:pt x="6865" y="1056"/>
                    </a:lnTo>
                    <a:lnTo>
                      <a:pt x="6876" y="1052"/>
                    </a:lnTo>
                    <a:lnTo>
                      <a:pt x="6888" y="1050"/>
                    </a:lnTo>
                    <a:lnTo>
                      <a:pt x="6899" y="1047"/>
                    </a:lnTo>
                    <a:lnTo>
                      <a:pt x="6908" y="1043"/>
                    </a:lnTo>
                    <a:lnTo>
                      <a:pt x="6919" y="1040"/>
                    </a:lnTo>
                    <a:lnTo>
                      <a:pt x="6926" y="1035"/>
                    </a:lnTo>
                    <a:lnTo>
                      <a:pt x="6936" y="1032"/>
                    </a:lnTo>
                    <a:lnTo>
                      <a:pt x="6943" y="1028"/>
                    </a:lnTo>
                    <a:lnTo>
                      <a:pt x="6954" y="1028"/>
                    </a:lnTo>
                    <a:lnTo>
                      <a:pt x="6967" y="1027"/>
                    </a:lnTo>
                    <a:lnTo>
                      <a:pt x="6978" y="1025"/>
                    </a:lnTo>
                    <a:lnTo>
                      <a:pt x="6991" y="1022"/>
                    </a:lnTo>
                    <a:lnTo>
                      <a:pt x="7002" y="1019"/>
                    </a:lnTo>
                    <a:lnTo>
                      <a:pt x="7011" y="1017"/>
                    </a:lnTo>
                    <a:lnTo>
                      <a:pt x="7031" y="1010"/>
                    </a:lnTo>
                    <a:lnTo>
                      <a:pt x="7050" y="1000"/>
                    </a:lnTo>
                    <a:lnTo>
                      <a:pt x="7069" y="993"/>
                    </a:lnTo>
                    <a:lnTo>
                      <a:pt x="7083" y="984"/>
                    </a:lnTo>
                    <a:lnTo>
                      <a:pt x="7097" y="976"/>
                    </a:lnTo>
                    <a:lnTo>
                      <a:pt x="7100" y="974"/>
                    </a:lnTo>
                    <a:lnTo>
                      <a:pt x="7105" y="971"/>
                    </a:lnTo>
                    <a:lnTo>
                      <a:pt x="7111" y="967"/>
                    </a:lnTo>
                    <a:lnTo>
                      <a:pt x="7117" y="961"/>
                    </a:lnTo>
                    <a:lnTo>
                      <a:pt x="7123" y="958"/>
                    </a:lnTo>
                    <a:lnTo>
                      <a:pt x="7131" y="953"/>
                    </a:lnTo>
                    <a:lnTo>
                      <a:pt x="7146" y="943"/>
                    </a:lnTo>
                    <a:lnTo>
                      <a:pt x="7153" y="939"/>
                    </a:lnTo>
                    <a:lnTo>
                      <a:pt x="7159" y="934"/>
                    </a:lnTo>
                    <a:lnTo>
                      <a:pt x="7166" y="930"/>
                    </a:lnTo>
                    <a:lnTo>
                      <a:pt x="7172" y="925"/>
                    </a:lnTo>
                    <a:lnTo>
                      <a:pt x="7176" y="921"/>
                    </a:lnTo>
                    <a:lnTo>
                      <a:pt x="7179" y="917"/>
                    </a:lnTo>
                    <a:lnTo>
                      <a:pt x="7181" y="913"/>
                    </a:lnTo>
                    <a:lnTo>
                      <a:pt x="7183" y="910"/>
                    </a:lnTo>
                    <a:lnTo>
                      <a:pt x="7181" y="906"/>
                    </a:lnTo>
                    <a:lnTo>
                      <a:pt x="7179" y="905"/>
                    </a:lnTo>
                    <a:lnTo>
                      <a:pt x="7177" y="902"/>
                    </a:lnTo>
                    <a:lnTo>
                      <a:pt x="7174" y="900"/>
                    </a:lnTo>
                    <a:lnTo>
                      <a:pt x="7171" y="899"/>
                    </a:lnTo>
                    <a:lnTo>
                      <a:pt x="7164" y="897"/>
                    </a:lnTo>
                    <a:lnTo>
                      <a:pt x="7153" y="895"/>
                    </a:lnTo>
                    <a:lnTo>
                      <a:pt x="7143" y="893"/>
                    </a:lnTo>
                    <a:lnTo>
                      <a:pt x="7131" y="893"/>
                    </a:lnTo>
                    <a:lnTo>
                      <a:pt x="7126" y="893"/>
                    </a:lnTo>
                    <a:lnTo>
                      <a:pt x="7122" y="893"/>
                    </a:lnTo>
                    <a:lnTo>
                      <a:pt x="7117" y="893"/>
                    </a:lnTo>
                    <a:lnTo>
                      <a:pt x="7115" y="893"/>
                    </a:lnTo>
                    <a:lnTo>
                      <a:pt x="7109" y="893"/>
                    </a:lnTo>
                    <a:lnTo>
                      <a:pt x="7105" y="895"/>
                    </a:lnTo>
                    <a:lnTo>
                      <a:pt x="7098" y="895"/>
                    </a:lnTo>
                    <a:lnTo>
                      <a:pt x="7090" y="899"/>
                    </a:lnTo>
                    <a:lnTo>
                      <a:pt x="7083" y="900"/>
                    </a:lnTo>
                    <a:lnTo>
                      <a:pt x="7076" y="905"/>
                    </a:lnTo>
                    <a:lnTo>
                      <a:pt x="7069" y="906"/>
                    </a:lnTo>
                    <a:lnTo>
                      <a:pt x="7059" y="910"/>
                    </a:lnTo>
                    <a:lnTo>
                      <a:pt x="7054" y="913"/>
                    </a:lnTo>
                    <a:lnTo>
                      <a:pt x="7046" y="915"/>
                    </a:lnTo>
                    <a:lnTo>
                      <a:pt x="7043" y="920"/>
                    </a:lnTo>
                    <a:lnTo>
                      <a:pt x="7039" y="921"/>
                    </a:lnTo>
                    <a:lnTo>
                      <a:pt x="7037" y="923"/>
                    </a:lnTo>
                    <a:lnTo>
                      <a:pt x="7037" y="925"/>
                    </a:lnTo>
                    <a:lnTo>
                      <a:pt x="7039" y="926"/>
                    </a:lnTo>
                    <a:lnTo>
                      <a:pt x="7031" y="926"/>
                    </a:lnTo>
                    <a:lnTo>
                      <a:pt x="7026" y="926"/>
                    </a:lnTo>
                    <a:lnTo>
                      <a:pt x="7019" y="928"/>
                    </a:lnTo>
                    <a:lnTo>
                      <a:pt x="7013" y="930"/>
                    </a:lnTo>
                    <a:lnTo>
                      <a:pt x="7006" y="934"/>
                    </a:lnTo>
                    <a:lnTo>
                      <a:pt x="7000" y="938"/>
                    </a:lnTo>
                    <a:lnTo>
                      <a:pt x="7004" y="934"/>
                    </a:lnTo>
                    <a:lnTo>
                      <a:pt x="7008" y="930"/>
                    </a:lnTo>
                    <a:lnTo>
                      <a:pt x="7011" y="926"/>
                    </a:lnTo>
                    <a:lnTo>
                      <a:pt x="7015" y="923"/>
                    </a:lnTo>
                    <a:lnTo>
                      <a:pt x="7019" y="920"/>
                    </a:lnTo>
                    <a:lnTo>
                      <a:pt x="7023" y="915"/>
                    </a:lnTo>
                    <a:lnTo>
                      <a:pt x="7028" y="910"/>
                    </a:lnTo>
                    <a:lnTo>
                      <a:pt x="7010" y="910"/>
                    </a:lnTo>
                    <a:lnTo>
                      <a:pt x="6993" y="912"/>
                    </a:lnTo>
                    <a:lnTo>
                      <a:pt x="6976" y="915"/>
                    </a:lnTo>
                    <a:lnTo>
                      <a:pt x="6962" y="917"/>
                    </a:lnTo>
                    <a:lnTo>
                      <a:pt x="6947" y="921"/>
                    </a:lnTo>
                    <a:lnTo>
                      <a:pt x="6934" y="925"/>
                    </a:lnTo>
                    <a:lnTo>
                      <a:pt x="6921" y="926"/>
                    </a:lnTo>
                    <a:lnTo>
                      <a:pt x="6908" y="926"/>
                    </a:lnTo>
                    <a:lnTo>
                      <a:pt x="6916" y="921"/>
                    </a:lnTo>
                    <a:lnTo>
                      <a:pt x="6921" y="917"/>
                    </a:lnTo>
                    <a:lnTo>
                      <a:pt x="6929" y="913"/>
                    </a:lnTo>
                    <a:lnTo>
                      <a:pt x="6936" y="912"/>
                    </a:lnTo>
                    <a:lnTo>
                      <a:pt x="6945" y="910"/>
                    </a:lnTo>
                    <a:lnTo>
                      <a:pt x="6954" y="910"/>
                    </a:lnTo>
                    <a:lnTo>
                      <a:pt x="6965" y="910"/>
                    </a:lnTo>
                    <a:lnTo>
                      <a:pt x="6976" y="910"/>
                    </a:lnTo>
                    <a:lnTo>
                      <a:pt x="6969" y="905"/>
                    </a:lnTo>
                    <a:lnTo>
                      <a:pt x="6962" y="900"/>
                    </a:lnTo>
                    <a:lnTo>
                      <a:pt x="6952" y="897"/>
                    </a:lnTo>
                    <a:lnTo>
                      <a:pt x="6943" y="895"/>
                    </a:lnTo>
                    <a:lnTo>
                      <a:pt x="6932" y="893"/>
                    </a:lnTo>
                    <a:lnTo>
                      <a:pt x="6922" y="893"/>
                    </a:lnTo>
                    <a:lnTo>
                      <a:pt x="6916" y="893"/>
                    </a:lnTo>
                    <a:lnTo>
                      <a:pt x="6908" y="893"/>
                    </a:lnTo>
                    <a:lnTo>
                      <a:pt x="6914" y="887"/>
                    </a:lnTo>
                    <a:lnTo>
                      <a:pt x="6921" y="882"/>
                    </a:lnTo>
                    <a:lnTo>
                      <a:pt x="6926" y="880"/>
                    </a:lnTo>
                    <a:lnTo>
                      <a:pt x="6934" y="879"/>
                    </a:lnTo>
                    <a:lnTo>
                      <a:pt x="6939" y="877"/>
                    </a:lnTo>
                    <a:lnTo>
                      <a:pt x="6947" y="877"/>
                    </a:lnTo>
                    <a:lnTo>
                      <a:pt x="6960" y="875"/>
                    </a:lnTo>
                    <a:lnTo>
                      <a:pt x="6965" y="869"/>
                    </a:lnTo>
                    <a:lnTo>
                      <a:pt x="6973" y="864"/>
                    </a:lnTo>
                    <a:lnTo>
                      <a:pt x="6976" y="859"/>
                    </a:lnTo>
                    <a:lnTo>
                      <a:pt x="6978" y="854"/>
                    </a:lnTo>
                    <a:lnTo>
                      <a:pt x="6978" y="852"/>
                    </a:lnTo>
                    <a:lnTo>
                      <a:pt x="6980" y="851"/>
                    </a:lnTo>
                    <a:lnTo>
                      <a:pt x="6980" y="849"/>
                    </a:lnTo>
                    <a:lnTo>
                      <a:pt x="6978" y="847"/>
                    </a:lnTo>
                    <a:lnTo>
                      <a:pt x="6976" y="846"/>
                    </a:lnTo>
                    <a:lnTo>
                      <a:pt x="6975" y="844"/>
                    </a:lnTo>
                    <a:lnTo>
                      <a:pt x="6970" y="844"/>
                    </a:lnTo>
                    <a:lnTo>
                      <a:pt x="6965" y="841"/>
                    </a:lnTo>
                    <a:lnTo>
                      <a:pt x="6963" y="841"/>
                    </a:lnTo>
                    <a:lnTo>
                      <a:pt x="6967" y="839"/>
                    </a:lnTo>
                    <a:lnTo>
                      <a:pt x="6973" y="838"/>
                    </a:lnTo>
                    <a:lnTo>
                      <a:pt x="6978" y="836"/>
                    </a:lnTo>
                    <a:lnTo>
                      <a:pt x="6983" y="834"/>
                    </a:lnTo>
                    <a:lnTo>
                      <a:pt x="6990" y="831"/>
                    </a:lnTo>
                    <a:lnTo>
                      <a:pt x="7000" y="823"/>
                    </a:lnTo>
                    <a:lnTo>
                      <a:pt x="7011" y="814"/>
                    </a:lnTo>
                    <a:lnTo>
                      <a:pt x="7015" y="810"/>
                    </a:lnTo>
                    <a:lnTo>
                      <a:pt x="7021" y="806"/>
                    </a:lnTo>
                    <a:lnTo>
                      <a:pt x="7023" y="803"/>
                    </a:lnTo>
                    <a:lnTo>
                      <a:pt x="7026" y="799"/>
                    </a:lnTo>
                    <a:lnTo>
                      <a:pt x="7028" y="795"/>
                    </a:lnTo>
                    <a:lnTo>
                      <a:pt x="7028" y="792"/>
                    </a:lnTo>
                    <a:lnTo>
                      <a:pt x="7015" y="788"/>
                    </a:lnTo>
                    <a:lnTo>
                      <a:pt x="7002" y="788"/>
                    </a:lnTo>
                    <a:lnTo>
                      <a:pt x="6990" y="788"/>
                    </a:lnTo>
                    <a:lnTo>
                      <a:pt x="6976" y="790"/>
                    </a:lnTo>
                    <a:lnTo>
                      <a:pt x="6963" y="792"/>
                    </a:lnTo>
                    <a:lnTo>
                      <a:pt x="6950" y="795"/>
                    </a:lnTo>
                    <a:lnTo>
                      <a:pt x="6937" y="799"/>
                    </a:lnTo>
                    <a:lnTo>
                      <a:pt x="6924" y="805"/>
                    </a:lnTo>
                    <a:lnTo>
                      <a:pt x="6899" y="814"/>
                    </a:lnTo>
                    <a:lnTo>
                      <a:pt x="6873" y="825"/>
                    </a:lnTo>
                    <a:lnTo>
                      <a:pt x="6860" y="829"/>
                    </a:lnTo>
                    <a:lnTo>
                      <a:pt x="6847" y="834"/>
                    </a:lnTo>
                    <a:lnTo>
                      <a:pt x="6836" y="838"/>
                    </a:lnTo>
                    <a:lnTo>
                      <a:pt x="6823" y="841"/>
                    </a:lnTo>
                    <a:lnTo>
                      <a:pt x="6815" y="841"/>
                    </a:lnTo>
                    <a:lnTo>
                      <a:pt x="6807" y="839"/>
                    </a:lnTo>
                    <a:lnTo>
                      <a:pt x="6797" y="838"/>
                    </a:lnTo>
                    <a:lnTo>
                      <a:pt x="6788" y="838"/>
                    </a:lnTo>
                    <a:lnTo>
                      <a:pt x="6782" y="838"/>
                    </a:lnTo>
                    <a:lnTo>
                      <a:pt x="6779" y="838"/>
                    </a:lnTo>
                    <a:lnTo>
                      <a:pt x="6773" y="839"/>
                    </a:lnTo>
                    <a:lnTo>
                      <a:pt x="6769" y="841"/>
                    </a:lnTo>
                    <a:lnTo>
                      <a:pt x="6766" y="846"/>
                    </a:lnTo>
                    <a:lnTo>
                      <a:pt x="6761" y="849"/>
                    </a:lnTo>
                    <a:lnTo>
                      <a:pt x="6756" y="852"/>
                    </a:lnTo>
                    <a:lnTo>
                      <a:pt x="6755" y="859"/>
                    </a:lnTo>
                    <a:lnTo>
                      <a:pt x="6761" y="864"/>
                    </a:lnTo>
                    <a:lnTo>
                      <a:pt x="6769" y="869"/>
                    </a:lnTo>
                    <a:lnTo>
                      <a:pt x="6779" y="873"/>
                    </a:lnTo>
                    <a:lnTo>
                      <a:pt x="6788" y="877"/>
                    </a:lnTo>
                    <a:lnTo>
                      <a:pt x="6797" y="879"/>
                    </a:lnTo>
                    <a:lnTo>
                      <a:pt x="6807" y="882"/>
                    </a:lnTo>
                    <a:lnTo>
                      <a:pt x="6815" y="887"/>
                    </a:lnTo>
                    <a:lnTo>
                      <a:pt x="6823" y="893"/>
                    </a:lnTo>
                    <a:lnTo>
                      <a:pt x="6815" y="893"/>
                    </a:lnTo>
                    <a:lnTo>
                      <a:pt x="6807" y="893"/>
                    </a:lnTo>
                    <a:lnTo>
                      <a:pt x="6797" y="893"/>
                    </a:lnTo>
                    <a:lnTo>
                      <a:pt x="6788" y="895"/>
                    </a:lnTo>
                    <a:lnTo>
                      <a:pt x="6779" y="897"/>
                    </a:lnTo>
                    <a:lnTo>
                      <a:pt x="6769" y="900"/>
                    </a:lnTo>
                    <a:lnTo>
                      <a:pt x="6761" y="905"/>
                    </a:lnTo>
                    <a:lnTo>
                      <a:pt x="6755" y="910"/>
                    </a:lnTo>
                    <a:lnTo>
                      <a:pt x="6741" y="910"/>
                    </a:lnTo>
                    <a:lnTo>
                      <a:pt x="6735" y="910"/>
                    </a:lnTo>
                    <a:lnTo>
                      <a:pt x="6728" y="912"/>
                    </a:lnTo>
                    <a:lnTo>
                      <a:pt x="6721" y="913"/>
                    </a:lnTo>
                    <a:lnTo>
                      <a:pt x="6716" y="917"/>
                    </a:lnTo>
                    <a:lnTo>
                      <a:pt x="6708" y="921"/>
                    </a:lnTo>
                    <a:lnTo>
                      <a:pt x="6703" y="926"/>
                    </a:lnTo>
                    <a:lnTo>
                      <a:pt x="6715" y="926"/>
                    </a:lnTo>
                    <a:lnTo>
                      <a:pt x="6725" y="926"/>
                    </a:lnTo>
                    <a:lnTo>
                      <a:pt x="6736" y="926"/>
                    </a:lnTo>
                    <a:lnTo>
                      <a:pt x="6746" y="928"/>
                    </a:lnTo>
                    <a:lnTo>
                      <a:pt x="6755" y="930"/>
                    </a:lnTo>
                    <a:lnTo>
                      <a:pt x="6766" y="934"/>
                    </a:lnTo>
                    <a:lnTo>
                      <a:pt x="6775" y="938"/>
                    </a:lnTo>
                    <a:lnTo>
                      <a:pt x="6788" y="943"/>
                    </a:lnTo>
                    <a:lnTo>
                      <a:pt x="6781" y="949"/>
                    </a:lnTo>
                    <a:lnTo>
                      <a:pt x="6775" y="954"/>
                    </a:lnTo>
                    <a:lnTo>
                      <a:pt x="6768" y="958"/>
                    </a:lnTo>
                    <a:lnTo>
                      <a:pt x="6761" y="959"/>
                    </a:lnTo>
                    <a:lnTo>
                      <a:pt x="6751" y="961"/>
                    </a:lnTo>
                    <a:lnTo>
                      <a:pt x="6743" y="964"/>
                    </a:lnTo>
                    <a:lnTo>
                      <a:pt x="6736" y="966"/>
                    </a:lnTo>
                    <a:lnTo>
                      <a:pt x="6728" y="966"/>
                    </a:lnTo>
                    <a:lnTo>
                      <a:pt x="6712" y="964"/>
                    </a:lnTo>
                    <a:lnTo>
                      <a:pt x="6695" y="964"/>
                    </a:lnTo>
                    <a:lnTo>
                      <a:pt x="6681" y="961"/>
                    </a:lnTo>
                    <a:lnTo>
                      <a:pt x="6667" y="959"/>
                    </a:lnTo>
                    <a:lnTo>
                      <a:pt x="6648" y="961"/>
                    </a:lnTo>
                    <a:lnTo>
                      <a:pt x="6628" y="964"/>
                    </a:lnTo>
                    <a:lnTo>
                      <a:pt x="6605" y="966"/>
                    </a:lnTo>
                    <a:lnTo>
                      <a:pt x="6583" y="967"/>
                    </a:lnTo>
                    <a:lnTo>
                      <a:pt x="6559" y="967"/>
                    </a:lnTo>
                    <a:lnTo>
                      <a:pt x="6548" y="967"/>
                    </a:lnTo>
                    <a:lnTo>
                      <a:pt x="6539" y="967"/>
                    </a:lnTo>
                    <a:lnTo>
                      <a:pt x="6527" y="967"/>
                    </a:lnTo>
                    <a:lnTo>
                      <a:pt x="6517" y="966"/>
                    </a:lnTo>
                    <a:lnTo>
                      <a:pt x="6507" y="964"/>
                    </a:lnTo>
                    <a:lnTo>
                      <a:pt x="6496" y="959"/>
                    </a:lnTo>
                    <a:lnTo>
                      <a:pt x="6496" y="958"/>
                    </a:lnTo>
                    <a:lnTo>
                      <a:pt x="6498" y="954"/>
                    </a:lnTo>
                    <a:lnTo>
                      <a:pt x="6501" y="951"/>
                    </a:lnTo>
                    <a:lnTo>
                      <a:pt x="6502" y="949"/>
                    </a:lnTo>
                    <a:lnTo>
                      <a:pt x="6507" y="943"/>
                    </a:lnTo>
                    <a:lnTo>
                      <a:pt x="6514" y="938"/>
                    </a:lnTo>
                    <a:lnTo>
                      <a:pt x="6521" y="932"/>
                    </a:lnTo>
                    <a:lnTo>
                      <a:pt x="6526" y="930"/>
                    </a:lnTo>
                    <a:lnTo>
                      <a:pt x="6527" y="928"/>
                    </a:lnTo>
                    <a:lnTo>
                      <a:pt x="6529" y="926"/>
                    </a:lnTo>
                    <a:lnTo>
                      <a:pt x="6532" y="926"/>
                    </a:lnTo>
                    <a:lnTo>
                      <a:pt x="6535" y="926"/>
                    </a:lnTo>
                    <a:lnTo>
                      <a:pt x="6532" y="925"/>
                    </a:lnTo>
                    <a:lnTo>
                      <a:pt x="6527" y="923"/>
                    </a:lnTo>
                    <a:lnTo>
                      <a:pt x="6524" y="921"/>
                    </a:lnTo>
                    <a:lnTo>
                      <a:pt x="6521" y="921"/>
                    </a:lnTo>
                    <a:lnTo>
                      <a:pt x="6517" y="920"/>
                    </a:lnTo>
                    <a:lnTo>
                      <a:pt x="6514" y="921"/>
                    </a:lnTo>
                    <a:close/>
                    <a:moveTo>
                      <a:pt x="6715" y="694"/>
                    </a:moveTo>
                    <a:lnTo>
                      <a:pt x="6721" y="698"/>
                    </a:lnTo>
                    <a:lnTo>
                      <a:pt x="6728" y="703"/>
                    </a:lnTo>
                    <a:lnTo>
                      <a:pt x="6735" y="707"/>
                    </a:lnTo>
                    <a:lnTo>
                      <a:pt x="6740" y="711"/>
                    </a:lnTo>
                    <a:lnTo>
                      <a:pt x="6743" y="712"/>
                    </a:lnTo>
                    <a:lnTo>
                      <a:pt x="6748" y="714"/>
                    </a:lnTo>
                    <a:lnTo>
                      <a:pt x="6749" y="716"/>
                    </a:lnTo>
                    <a:lnTo>
                      <a:pt x="6751" y="718"/>
                    </a:lnTo>
                    <a:lnTo>
                      <a:pt x="6753" y="719"/>
                    </a:lnTo>
                    <a:lnTo>
                      <a:pt x="6755" y="719"/>
                    </a:lnTo>
                    <a:lnTo>
                      <a:pt x="6756" y="719"/>
                    </a:lnTo>
                    <a:lnTo>
                      <a:pt x="6768" y="719"/>
                    </a:lnTo>
                    <a:lnTo>
                      <a:pt x="6779" y="719"/>
                    </a:lnTo>
                    <a:lnTo>
                      <a:pt x="6788" y="719"/>
                    </a:lnTo>
                    <a:lnTo>
                      <a:pt x="6799" y="718"/>
                    </a:lnTo>
                    <a:lnTo>
                      <a:pt x="6809" y="716"/>
                    </a:lnTo>
                    <a:lnTo>
                      <a:pt x="6817" y="714"/>
                    </a:lnTo>
                    <a:lnTo>
                      <a:pt x="6829" y="709"/>
                    </a:lnTo>
                    <a:lnTo>
                      <a:pt x="6842" y="703"/>
                    </a:lnTo>
                    <a:lnTo>
                      <a:pt x="6868" y="704"/>
                    </a:lnTo>
                    <a:lnTo>
                      <a:pt x="6895" y="704"/>
                    </a:lnTo>
                    <a:lnTo>
                      <a:pt x="6922" y="707"/>
                    </a:lnTo>
                    <a:lnTo>
                      <a:pt x="6936" y="707"/>
                    </a:lnTo>
                    <a:lnTo>
                      <a:pt x="6950" y="707"/>
                    </a:lnTo>
                    <a:lnTo>
                      <a:pt x="6963" y="704"/>
                    </a:lnTo>
                    <a:lnTo>
                      <a:pt x="6976" y="703"/>
                    </a:lnTo>
                    <a:lnTo>
                      <a:pt x="6990" y="701"/>
                    </a:lnTo>
                    <a:lnTo>
                      <a:pt x="7002" y="698"/>
                    </a:lnTo>
                    <a:lnTo>
                      <a:pt x="7013" y="692"/>
                    </a:lnTo>
                    <a:lnTo>
                      <a:pt x="7026" y="686"/>
                    </a:lnTo>
                    <a:lnTo>
                      <a:pt x="7036" y="679"/>
                    </a:lnTo>
                    <a:lnTo>
                      <a:pt x="7046" y="670"/>
                    </a:lnTo>
                    <a:lnTo>
                      <a:pt x="7046" y="668"/>
                    </a:lnTo>
                    <a:lnTo>
                      <a:pt x="7044" y="666"/>
                    </a:lnTo>
                    <a:lnTo>
                      <a:pt x="7043" y="663"/>
                    </a:lnTo>
                    <a:lnTo>
                      <a:pt x="7041" y="661"/>
                    </a:lnTo>
                    <a:lnTo>
                      <a:pt x="7037" y="658"/>
                    </a:lnTo>
                    <a:lnTo>
                      <a:pt x="7034" y="658"/>
                    </a:lnTo>
                    <a:lnTo>
                      <a:pt x="7026" y="657"/>
                    </a:lnTo>
                    <a:lnTo>
                      <a:pt x="7019" y="655"/>
                    </a:lnTo>
                    <a:lnTo>
                      <a:pt x="7010" y="655"/>
                    </a:lnTo>
                    <a:lnTo>
                      <a:pt x="7002" y="653"/>
                    </a:lnTo>
                    <a:lnTo>
                      <a:pt x="6995" y="653"/>
                    </a:lnTo>
                    <a:lnTo>
                      <a:pt x="7002" y="648"/>
                    </a:lnTo>
                    <a:lnTo>
                      <a:pt x="7008" y="644"/>
                    </a:lnTo>
                    <a:lnTo>
                      <a:pt x="7015" y="640"/>
                    </a:lnTo>
                    <a:lnTo>
                      <a:pt x="7023" y="637"/>
                    </a:lnTo>
                    <a:lnTo>
                      <a:pt x="7031" y="635"/>
                    </a:lnTo>
                    <a:lnTo>
                      <a:pt x="7039" y="635"/>
                    </a:lnTo>
                    <a:lnTo>
                      <a:pt x="7046" y="633"/>
                    </a:lnTo>
                    <a:lnTo>
                      <a:pt x="7054" y="633"/>
                    </a:lnTo>
                    <a:lnTo>
                      <a:pt x="7070" y="635"/>
                    </a:lnTo>
                    <a:lnTo>
                      <a:pt x="7085" y="635"/>
                    </a:lnTo>
                    <a:lnTo>
                      <a:pt x="7100" y="637"/>
                    </a:lnTo>
                    <a:lnTo>
                      <a:pt x="7115" y="637"/>
                    </a:lnTo>
                    <a:lnTo>
                      <a:pt x="7128" y="637"/>
                    </a:lnTo>
                    <a:lnTo>
                      <a:pt x="7135" y="637"/>
                    </a:lnTo>
                    <a:lnTo>
                      <a:pt x="7143" y="635"/>
                    </a:lnTo>
                    <a:lnTo>
                      <a:pt x="7150" y="633"/>
                    </a:lnTo>
                    <a:lnTo>
                      <a:pt x="7159" y="631"/>
                    </a:lnTo>
                    <a:lnTo>
                      <a:pt x="7171" y="625"/>
                    </a:lnTo>
                    <a:lnTo>
                      <a:pt x="7183" y="620"/>
                    </a:lnTo>
                    <a:lnTo>
                      <a:pt x="7176" y="618"/>
                    </a:lnTo>
                    <a:lnTo>
                      <a:pt x="7168" y="617"/>
                    </a:lnTo>
                    <a:lnTo>
                      <a:pt x="7161" y="615"/>
                    </a:lnTo>
                    <a:lnTo>
                      <a:pt x="7153" y="615"/>
                    </a:lnTo>
                    <a:lnTo>
                      <a:pt x="7146" y="612"/>
                    </a:lnTo>
                    <a:lnTo>
                      <a:pt x="7138" y="615"/>
                    </a:lnTo>
                    <a:lnTo>
                      <a:pt x="7126" y="615"/>
                    </a:lnTo>
                    <a:lnTo>
                      <a:pt x="7111" y="617"/>
                    </a:lnTo>
                    <a:lnTo>
                      <a:pt x="7105" y="618"/>
                    </a:lnTo>
                    <a:lnTo>
                      <a:pt x="7098" y="618"/>
                    </a:lnTo>
                    <a:lnTo>
                      <a:pt x="7092" y="620"/>
                    </a:lnTo>
                    <a:lnTo>
                      <a:pt x="7089" y="620"/>
                    </a:lnTo>
                    <a:lnTo>
                      <a:pt x="7083" y="620"/>
                    </a:lnTo>
                    <a:lnTo>
                      <a:pt x="7080" y="620"/>
                    </a:lnTo>
                    <a:lnTo>
                      <a:pt x="7043" y="620"/>
                    </a:lnTo>
                    <a:lnTo>
                      <a:pt x="7024" y="620"/>
                    </a:lnTo>
                    <a:lnTo>
                      <a:pt x="7006" y="620"/>
                    </a:lnTo>
                    <a:lnTo>
                      <a:pt x="6987" y="620"/>
                    </a:lnTo>
                    <a:lnTo>
                      <a:pt x="6973" y="620"/>
                    </a:lnTo>
                    <a:lnTo>
                      <a:pt x="6958" y="620"/>
                    </a:lnTo>
                    <a:lnTo>
                      <a:pt x="6943" y="620"/>
                    </a:lnTo>
                    <a:lnTo>
                      <a:pt x="6939" y="620"/>
                    </a:lnTo>
                    <a:lnTo>
                      <a:pt x="6936" y="620"/>
                    </a:lnTo>
                    <a:lnTo>
                      <a:pt x="6930" y="622"/>
                    </a:lnTo>
                    <a:lnTo>
                      <a:pt x="6922" y="622"/>
                    </a:lnTo>
                    <a:lnTo>
                      <a:pt x="6916" y="622"/>
                    </a:lnTo>
                    <a:lnTo>
                      <a:pt x="6908" y="622"/>
                    </a:lnTo>
                    <a:lnTo>
                      <a:pt x="6899" y="622"/>
                    </a:lnTo>
                    <a:lnTo>
                      <a:pt x="6889" y="622"/>
                    </a:lnTo>
                    <a:lnTo>
                      <a:pt x="6880" y="622"/>
                    </a:lnTo>
                    <a:lnTo>
                      <a:pt x="6869" y="624"/>
                    </a:lnTo>
                    <a:lnTo>
                      <a:pt x="6848" y="624"/>
                    </a:lnTo>
                    <a:lnTo>
                      <a:pt x="6827" y="625"/>
                    </a:lnTo>
                    <a:lnTo>
                      <a:pt x="6804" y="629"/>
                    </a:lnTo>
                    <a:lnTo>
                      <a:pt x="6784" y="633"/>
                    </a:lnTo>
                    <a:lnTo>
                      <a:pt x="6773" y="635"/>
                    </a:lnTo>
                    <a:lnTo>
                      <a:pt x="6764" y="637"/>
                    </a:lnTo>
                    <a:lnTo>
                      <a:pt x="6755" y="640"/>
                    </a:lnTo>
                    <a:lnTo>
                      <a:pt x="6746" y="642"/>
                    </a:lnTo>
                    <a:lnTo>
                      <a:pt x="6738" y="646"/>
                    </a:lnTo>
                    <a:lnTo>
                      <a:pt x="6731" y="650"/>
                    </a:lnTo>
                    <a:lnTo>
                      <a:pt x="6723" y="653"/>
                    </a:lnTo>
                    <a:lnTo>
                      <a:pt x="6718" y="657"/>
                    </a:lnTo>
                    <a:lnTo>
                      <a:pt x="6712" y="661"/>
                    </a:lnTo>
                    <a:lnTo>
                      <a:pt x="6708" y="666"/>
                    </a:lnTo>
                    <a:lnTo>
                      <a:pt x="6705" y="670"/>
                    </a:lnTo>
                    <a:lnTo>
                      <a:pt x="6703" y="676"/>
                    </a:lnTo>
                    <a:lnTo>
                      <a:pt x="6703" y="681"/>
                    </a:lnTo>
                    <a:lnTo>
                      <a:pt x="6705" y="686"/>
                    </a:lnTo>
                    <a:lnTo>
                      <a:pt x="6715" y="694"/>
                    </a:lnTo>
                    <a:close/>
                    <a:moveTo>
                      <a:pt x="7128" y="1030"/>
                    </a:moveTo>
                    <a:lnTo>
                      <a:pt x="7133" y="1035"/>
                    </a:lnTo>
                    <a:lnTo>
                      <a:pt x="7141" y="1040"/>
                    </a:lnTo>
                    <a:lnTo>
                      <a:pt x="7148" y="1041"/>
                    </a:lnTo>
                    <a:lnTo>
                      <a:pt x="7156" y="1043"/>
                    </a:lnTo>
                    <a:lnTo>
                      <a:pt x="7163" y="1043"/>
                    </a:lnTo>
                    <a:lnTo>
                      <a:pt x="7172" y="1041"/>
                    </a:lnTo>
                    <a:lnTo>
                      <a:pt x="7179" y="1041"/>
                    </a:lnTo>
                    <a:lnTo>
                      <a:pt x="7187" y="1040"/>
                    </a:lnTo>
                    <a:lnTo>
                      <a:pt x="7194" y="1037"/>
                    </a:lnTo>
                    <a:lnTo>
                      <a:pt x="7202" y="1035"/>
                    </a:lnTo>
                    <a:lnTo>
                      <a:pt x="7209" y="1033"/>
                    </a:lnTo>
                    <a:lnTo>
                      <a:pt x="7214" y="1033"/>
                    </a:lnTo>
                    <a:lnTo>
                      <a:pt x="7218" y="1032"/>
                    </a:lnTo>
                    <a:lnTo>
                      <a:pt x="7224" y="1032"/>
                    </a:lnTo>
                    <a:lnTo>
                      <a:pt x="7225" y="1032"/>
                    </a:lnTo>
                    <a:lnTo>
                      <a:pt x="7230" y="1030"/>
                    </a:lnTo>
                    <a:lnTo>
                      <a:pt x="7235" y="1028"/>
                    </a:lnTo>
                    <a:lnTo>
                      <a:pt x="7240" y="1027"/>
                    </a:lnTo>
                    <a:lnTo>
                      <a:pt x="7245" y="1025"/>
                    </a:lnTo>
                    <a:lnTo>
                      <a:pt x="7250" y="1020"/>
                    </a:lnTo>
                    <a:lnTo>
                      <a:pt x="7255" y="1017"/>
                    </a:lnTo>
                    <a:lnTo>
                      <a:pt x="7258" y="1013"/>
                    </a:lnTo>
                    <a:lnTo>
                      <a:pt x="7263" y="1010"/>
                    </a:lnTo>
                    <a:lnTo>
                      <a:pt x="7266" y="1006"/>
                    </a:lnTo>
                    <a:lnTo>
                      <a:pt x="7268" y="1002"/>
                    </a:lnTo>
                    <a:lnTo>
                      <a:pt x="7268" y="997"/>
                    </a:lnTo>
                    <a:lnTo>
                      <a:pt x="7268" y="993"/>
                    </a:lnTo>
                    <a:lnTo>
                      <a:pt x="7266" y="989"/>
                    </a:lnTo>
                    <a:lnTo>
                      <a:pt x="7263" y="986"/>
                    </a:lnTo>
                    <a:lnTo>
                      <a:pt x="7260" y="984"/>
                    </a:lnTo>
                    <a:lnTo>
                      <a:pt x="7257" y="982"/>
                    </a:lnTo>
                    <a:lnTo>
                      <a:pt x="7248" y="984"/>
                    </a:lnTo>
                    <a:lnTo>
                      <a:pt x="7238" y="984"/>
                    </a:lnTo>
                    <a:lnTo>
                      <a:pt x="7229" y="986"/>
                    </a:lnTo>
                    <a:lnTo>
                      <a:pt x="7222" y="987"/>
                    </a:lnTo>
                    <a:lnTo>
                      <a:pt x="7205" y="993"/>
                    </a:lnTo>
                    <a:lnTo>
                      <a:pt x="7189" y="999"/>
                    </a:lnTo>
                    <a:lnTo>
                      <a:pt x="7172" y="1006"/>
                    </a:lnTo>
                    <a:lnTo>
                      <a:pt x="7156" y="1010"/>
                    </a:lnTo>
                    <a:lnTo>
                      <a:pt x="7146" y="1013"/>
                    </a:lnTo>
                    <a:lnTo>
                      <a:pt x="7138" y="1013"/>
                    </a:lnTo>
                    <a:lnTo>
                      <a:pt x="7130" y="1015"/>
                    </a:lnTo>
                    <a:lnTo>
                      <a:pt x="7120" y="1015"/>
                    </a:lnTo>
                    <a:lnTo>
                      <a:pt x="7120" y="1020"/>
                    </a:lnTo>
                    <a:lnTo>
                      <a:pt x="7123" y="1025"/>
                    </a:lnTo>
                    <a:lnTo>
                      <a:pt x="7128" y="1030"/>
                    </a:lnTo>
                    <a:close/>
                    <a:moveTo>
                      <a:pt x="7355" y="892"/>
                    </a:moveTo>
                    <a:lnTo>
                      <a:pt x="7360" y="892"/>
                    </a:lnTo>
                    <a:lnTo>
                      <a:pt x="7367" y="893"/>
                    </a:lnTo>
                    <a:lnTo>
                      <a:pt x="7382" y="895"/>
                    </a:lnTo>
                    <a:lnTo>
                      <a:pt x="7397" y="895"/>
                    </a:lnTo>
                    <a:lnTo>
                      <a:pt x="7413" y="897"/>
                    </a:lnTo>
                    <a:lnTo>
                      <a:pt x="7431" y="899"/>
                    </a:lnTo>
                    <a:lnTo>
                      <a:pt x="7436" y="899"/>
                    </a:lnTo>
                    <a:lnTo>
                      <a:pt x="7426" y="900"/>
                    </a:lnTo>
                    <a:lnTo>
                      <a:pt x="7413" y="900"/>
                    </a:lnTo>
                    <a:lnTo>
                      <a:pt x="7401" y="900"/>
                    </a:lnTo>
                    <a:lnTo>
                      <a:pt x="7390" y="902"/>
                    </a:lnTo>
                    <a:lnTo>
                      <a:pt x="7385" y="902"/>
                    </a:lnTo>
                    <a:lnTo>
                      <a:pt x="7378" y="905"/>
                    </a:lnTo>
                    <a:lnTo>
                      <a:pt x="7375" y="906"/>
                    </a:lnTo>
                    <a:lnTo>
                      <a:pt x="7371" y="910"/>
                    </a:lnTo>
                    <a:lnTo>
                      <a:pt x="7380" y="910"/>
                    </a:lnTo>
                    <a:lnTo>
                      <a:pt x="7391" y="910"/>
                    </a:lnTo>
                    <a:lnTo>
                      <a:pt x="7403" y="912"/>
                    </a:lnTo>
                    <a:lnTo>
                      <a:pt x="7416" y="912"/>
                    </a:lnTo>
                    <a:lnTo>
                      <a:pt x="7439" y="913"/>
                    </a:lnTo>
                    <a:lnTo>
                      <a:pt x="7458" y="913"/>
                    </a:lnTo>
                    <a:lnTo>
                      <a:pt x="7434" y="920"/>
                    </a:lnTo>
                    <a:lnTo>
                      <a:pt x="7421" y="923"/>
                    </a:lnTo>
                    <a:lnTo>
                      <a:pt x="7420" y="923"/>
                    </a:lnTo>
                    <a:lnTo>
                      <a:pt x="7419" y="923"/>
                    </a:lnTo>
                    <a:lnTo>
                      <a:pt x="7416" y="921"/>
                    </a:lnTo>
                    <a:lnTo>
                      <a:pt x="7411" y="921"/>
                    </a:lnTo>
                    <a:lnTo>
                      <a:pt x="7408" y="920"/>
                    </a:lnTo>
                    <a:lnTo>
                      <a:pt x="7405" y="921"/>
                    </a:lnTo>
                    <a:lnTo>
                      <a:pt x="7398" y="921"/>
                    </a:lnTo>
                    <a:lnTo>
                      <a:pt x="7391" y="923"/>
                    </a:lnTo>
                    <a:lnTo>
                      <a:pt x="7385" y="925"/>
                    </a:lnTo>
                    <a:lnTo>
                      <a:pt x="7377" y="926"/>
                    </a:lnTo>
                    <a:lnTo>
                      <a:pt x="7398" y="926"/>
                    </a:lnTo>
                    <a:lnTo>
                      <a:pt x="7390" y="928"/>
                    </a:lnTo>
                    <a:lnTo>
                      <a:pt x="7401" y="930"/>
                    </a:lnTo>
                    <a:lnTo>
                      <a:pt x="7413" y="934"/>
                    </a:lnTo>
                    <a:lnTo>
                      <a:pt x="7426" y="934"/>
                    </a:lnTo>
                    <a:lnTo>
                      <a:pt x="7438" y="936"/>
                    </a:lnTo>
                    <a:lnTo>
                      <a:pt x="7451" y="936"/>
                    </a:lnTo>
                    <a:lnTo>
                      <a:pt x="7462" y="934"/>
                    </a:lnTo>
                    <a:lnTo>
                      <a:pt x="7472" y="934"/>
                    </a:lnTo>
                    <a:lnTo>
                      <a:pt x="7484" y="932"/>
                    </a:lnTo>
                    <a:lnTo>
                      <a:pt x="7505" y="928"/>
                    </a:lnTo>
                    <a:lnTo>
                      <a:pt x="7522" y="925"/>
                    </a:lnTo>
                    <a:lnTo>
                      <a:pt x="7525" y="925"/>
                    </a:lnTo>
                    <a:lnTo>
                      <a:pt x="7525" y="926"/>
                    </a:lnTo>
                    <a:lnTo>
                      <a:pt x="7523" y="928"/>
                    </a:lnTo>
                    <a:lnTo>
                      <a:pt x="7520" y="928"/>
                    </a:lnTo>
                    <a:lnTo>
                      <a:pt x="7518" y="930"/>
                    </a:lnTo>
                    <a:lnTo>
                      <a:pt x="7515" y="932"/>
                    </a:lnTo>
                    <a:lnTo>
                      <a:pt x="7510" y="934"/>
                    </a:lnTo>
                    <a:lnTo>
                      <a:pt x="7505" y="936"/>
                    </a:lnTo>
                    <a:lnTo>
                      <a:pt x="7495" y="938"/>
                    </a:lnTo>
                    <a:lnTo>
                      <a:pt x="7485" y="941"/>
                    </a:lnTo>
                    <a:lnTo>
                      <a:pt x="7482" y="941"/>
                    </a:lnTo>
                    <a:lnTo>
                      <a:pt x="7479" y="941"/>
                    </a:lnTo>
                    <a:lnTo>
                      <a:pt x="7471" y="941"/>
                    </a:lnTo>
                    <a:lnTo>
                      <a:pt x="7462" y="941"/>
                    </a:lnTo>
                    <a:lnTo>
                      <a:pt x="7454" y="941"/>
                    </a:lnTo>
                    <a:lnTo>
                      <a:pt x="7444" y="943"/>
                    </a:lnTo>
                    <a:lnTo>
                      <a:pt x="7438" y="945"/>
                    </a:lnTo>
                    <a:lnTo>
                      <a:pt x="7434" y="946"/>
                    </a:lnTo>
                    <a:lnTo>
                      <a:pt x="7432" y="949"/>
                    </a:lnTo>
                    <a:lnTo>
                      <a:pt x="7428" y="951"/>
                    </a:lnTo>
                    <a:lnTo>
                      <a:pt x="7426" y="953"/>
                    </a:lnTo>
                    <a:lnTo>
                      <a:pt x="7426" y="956"/>
                    </a:lnTo>
                    <a:lnTo>
                      <a:pt x="7426" y="958"/>
                    </a:lnTo>
                    <a:lnTo>
                      <a:pt x="7439" y="961"/>
                    </a:lnTo>
                    <a:lnTo>
                      <a:pt x="7452" y="964"/>
                    </a:lnTo>
                    <a:lnTo>
                      <a:pt x="7465" y="966"/>
                    </a:lnTo>
                    <a:lnTo>
                      <a:pt x="7479" y="966"/>
                    </a:lnTo>
                    <a:lnTo>
                      <a:pt x="7492" y="967"/>
                    </a:lnTo>
                    <a:lnTo>
                      <a:pt x="7504" y="967"/>
                    </a:lnTo>
                    <a:lnTo>
                      <a:pt x="7530" y="966"/>
                    </a:lnTo>
                    <a:lnTo>
                      <a:pt x="7556" y="964"/>
                    </a:lnTo>
                    <a:lnTo>
                      <a:pt x="7581" y="961"/>
                    </a:lnTo>
                    <a:lnTo>
                      <a:pt x="7607" y="959"/>
                    </a:lnTo>
                    <a:lnTo>
                      <a:pt x="7633" y="958"/>
                    </a:lnTo>
                    <a:lnTo>
                      <a:pt x="7661" y="953"/>
                    </a:lnTo>
                    <a:lnTo>
                      <a:pt x="7688" y="949"/>
                    </a:lnTo>
                    <a:lnTo>
                      <a:pt x="7716" y="945"/>
                    </a:lnTo>
                    <a:lnTo>
                      <a:pt x="7746" y="943"/>
                    </a:lnTo>
                    <a:lnTo>
                      <a:pt x="7775" y="941"/>
                    </a:lnTo>
                    <a:lnTo>
                      <a:pt x="7798" y="941"/>
                    </a:lnTo>
                    <a:lnTo>
                      <a:pt x="7792" y="943"/>
                    </a:lnTo>
                    <a:lnTo>
                      <a:pt x="7785" y="943"/>
                    </a:lnTo>
                    <a:lnTo>
                      <a:pt x="7777" y="945"/>
                    </a:lnTo>
                    <a:lnTo>
                      <a:pt x="7768" y="946"/>
                    </a:lnTo>
                    <a:lnTo>
                      <a:pt x="7760" y="949"/>
                    </a:lnTo>
                    <a:lnTo>
                      <a:pt x="7753" y="951"/>
                    </a:lnTo>
                    <a:lnTo>
                      <a:pt x="7746" y="953"/>
                    </a:lnTo>
                    <a:lnTo>
                      <a:pt x="7740" y="953"/>
                    </a:lnTo>
                    <a:lnTo>
                      <a:pt x="7735" y="954"/>
                    </a:lnTo>
                    <a:lnTo>
                      <a:pt x="7731" y="956"/>
                    </a:lnTo>
                    <a:lnTo>
                      <a:pt x="7729" y="958"/>
                    </a:lnTo>
                    <a:lnTo>
                      <a:pt x="7713" y="958"/>
                    </a:lnTo>
                    <a:lnTo>
                      <a:pt x="7686" y="958"/>
                    </a:lnTo>
                    <a:lnTo>
                      <a:pt x="7693" y="966"/>
                    </a:lnTo>
                    <a:lnTo>
                      <a:pt x="7696" y="969"/>
                    </a:lnTo>
                    <a:lnTo>
                      <a:pt x="7699" y="973"/>
                    </a:lnTo>
                    <a:lnTo>
                      <a:pt x="7703" y="974"/>
                    </a:lnTo>
                    <a:lnTo>
                      <a:pt x="7707" y="974"/>
                    </a:lnTo>
                    <a:lnTo>
                      <a:pt x="7711" y="976"/>
                    </a:lnTo>
                    <a:lnTo>
                      <a:pt x="7707" y="976"/>
                    </a:lnTo>
                    <a:lnTo>
                      <a:pt x="7701" y="976"/>
                    </a:lnTo>
                    <a:lnTo>
                      <a:pt x="7696" y="976"/>
                    </a:lnTo>
                    <a:lnTo>
                      <a:pt x="7694" y="976"/>
                    </a:lnTo>
                    <a:lnTo>
                      <a:pt x="7693" y="976"/>
                    </a:lnTo>
                    <a:lnTo>
                      <a:pt x="7691" y="976"/>
                    </a:lnTo>
                    <a:lnTo>
                      <a:pt x="7688" y="976"/>
                    </a:lnTo>
                    <a:lnTo>
                      <a:pt x="7686" y="976"/>
                    </a:lnTo>
                    <a:lnTo>
                      <a:pt x="7685" y="976"/>
                    </a:lnTo>
                    <a:lnTo>
                      <a:pt x="7679" y="976"/>
                    </a:lnTo>
                    <a:lnTo>
                      <a:pt x="7674" y="976"/>
                    </a:lnTo>
                    <a:lnTo>
                      <a:pt x="7666" y="976"/>
                    </a:lnTo>
                    <a:lnTo>
                      <a:pt x="7653" y="976"/>
                    </a:lnTo>
                    <a:lnTo>
                      <a:pt x="7648" y="976"/>
                    </a:lnTo>
                    <a:lnTo>
                      <a:pt x="7642" y="976"/>
                    </a:lnTo>
                    <a:lnTo>
                      <a:pt x="7637" y="976"/>
                    </a:lnTo>
                    <a:lnTo>
                      <a:pt x="7633" y="976"/>
                    </a:lnTo>
                    <a:lnTo>
                      <a:pt x="7637" y="978"/>
                    </a:lnTo>
                    <a:lnTo>
                      <a:pt x="7639" y="980"/>
                    </a:lnTo>
                    <a:lnTo>
                      <a:pt x="7642" y="982"/>
                    </a:lnTo>
                    <a:lnTo>
                      <a:pt x="7645" y="984"/>
                    </a:lnTo>
                    <a:lnTo>
                      <a:pt x="7646" y="986"/>
                    </a:lnTo>
                    <a:lnTo>
                      <a:pt x="7645" y="987"/>
                    </a:lnTo>
                    <a:lnTo>
                      <a:pt x="7645" y="989"/>
                    </a:lnTo>
                    <a:lnTo>
                      <a:pt x="7640" y="991"/>
                    </a:lnTo>
                    <a:lnTo>
                      <a:pt x="7639" y="991"/>
                    </a:lnTo>
                    <a:lnTo>
                      <a:pt x="7632" y="993"/>
                    </a:lnTo>
                    <a:lnTo>
                      <a:pt x="7633" y="993"/>
                    </a:lnTo>
                    <a:lnTo>
                      <a:pt x="7637" y="993"/>
                    </a:lnTo>
                    <a:lnTo>
                      <a:pt x="7640" y="993"/>
                    </a:lnTo>
                    <a:lnTo>
                      <a:pt x="7646" y="993"/>
                    </a:lnTo>
                    <a:lnTo>
                      <a:pt x="7652" y="993"/>
                    </a:lnTo>
                    <a:lnTo>
                      <a:pt x="7646" y="995"/>
                    </a:lnTo>
                    <a:lnTo>
                      <a:pt x="7642" y="997"/>
                    </a:lnTo>
                    <a:lnTo>
                      <a:pt x="7639" y="999"/>
                    </a:lnTo>
                    <a:lnTo>
                      <a:pt x="7637" y="999"/>
                    </a:lnTo>
                    <a:lnTo>
                      <a:pt x="7635" y="1000"/>
                    </a:lnTo>
                    <a:lnTo>
                      <a:pt x="7633" y="1002"/>
                    </a:lnTo>
                    <a:lnTo>
                      <a:pt x="7632" y="1004"/>
                    </a:lnTo>
                    <a:lnTo>
                      <a:pt x="7624" y="1004"/>
                    </a:lnTo>
                    <a:lnTo>
                      <a:pt x="7620" y="1004"/>
                    </a:lnTo>
                    <a:lnTo>
                      <a:pt x="7615" y="1004"/>
                    </a:lnTo>
                    <a:lnTo>
                      <a:pt x="7611" y="1004"/>
                    </a:lnTo>
                    <a:lnTo>
                      <a:pt x="7606" y="1006"/>
                    </a:lnTo>
                    <a:lnTo>
                      <a:pt x="7602" y="1007"/>
                    </a:lnTo>
                    <a:lnTo>
                      <a:pt x="7600" y="1012"/>
                    </a:lnTo>
                    <a:lnTo>
                      <a:pt x="7600" y="1017"/>
                    </a:lnTo>
                    <a:lnTo>
                      <a:pt x="7602" y="1025"/>
                    </a:lnTo>
                    <a:lnTo>
                      <a:pt x="7606" y="1030"/>
                    </a:lnTo>
                    <a:lnTo>
                      <a:pt x="7609" y="1035"/>
                    </a:lnTo>
                    <a:lnTo>
                      <a:pt x="7615" y="1040"/>
                    </a:lnTo>
                    <a:lnTo>
                      <a:pt x="7620" y="1043"/>
                    </a:lnTo>
                    <a:lnTo>
                      <a:pt x="7627" y="1045"/>
                    </a:lnTo>
                    <a:lnTo>
                      <a:pt x="7633" y="1045"/>
                    </a:lnTo>
                    <a:lnTo>
                      <a:pt x="7646" y="1045"/>
                    </a:lnTo>
                    <a:lnTo>
                      <a:pt x="7657" y="1045"/>
                    </a:lnTo>
                    <a:lnTo>
                      <a:pt x="7666" y="1045"/>
                    </a:lnTo>
                    <a:lnTo>
                      <a:pt x="7678" y="1043"/>
                    </a:lnTo>
                    <a:lnTo>
                      <a:pt x="7686" y="1041"/>
                    </a:lnTo>
                    <a:lnTo>
                      <a:pt x="7698" y="1040"/>
                    </a:lnTo>
                    <a:lnTo>
                      <a:pt x="7709" y="1033"/>
                    </a:lnTo>
                    <a:lnTo>
                      <a:pt x="7720" y="1028"/>
                    </a:lnTo>
                    <a:lnTo>
                      <a:pt x="7718" y="1030"/>
                    </a:lnTo>
                    <a:lnTo>
                      <a:pt x="7714" y="1032"/>
                    </a:lnTo>
                    <a:lnTo>
                      <a:pt x="7713" y="1033"/>
                    </a:lnTo>
                    <a:lnTo>
                      <a:pt x="7711" y="1033"/>
                    </a:lnTo>
                    <a:lnTo>
                      <a:pt x="7709" y="1035"/>
                    </a:lnTo>
                    <a:lnTo>
                      <a:pt x="7709" y="1037"/>
                    </a:lnTo>
                    <a:lnTo>
                      <a:pt x="7709" y="1040"/>
                    </a:lnTo>
                    <a:lnTo>
                      <a:pt x="7713" y="1041"/>
                    </a:lnTo>
                    <a:lnTo>
                      <a:pt x="7714" y="1041"/>
                    </a:lnTo>
                    <a:lnTo>
                      <a:pt x="7718" y="1041"/>
                    </a:lnTo>
                    <a:lnTo>
                      <a:pt x="7722" y="1041"/>
                    </a:lnTo>
                    <a:lnTo>
                      <a:pt x="7727" y="1041"/>
                    </a:lnTo>
                    <a:lnTo>
                      <a:pt x="7739" y="1037"/>
                    </a:lnTo>
                    <a:lnTo>
                      <a:pt x="7742" y="1035"/>
                    </a:lnTo>
                    <a:lnTo>
                      <a:pt x="7747" y="1033"/>
                    </a:lnTo>
                    <a:lnTo>
                      <a:pt x="7752" y="1032"/>
                    </a:lnTo>
                    <a:lnTo>
                      <a:pt x="7755" y="1028"/>
                    </a:lnTo>
                    <a:lnTo>
                      <a:pt x="7762" y="1030"/>
                    </a:lnTo>
                    <a:lnTo>
                      <a:pt x="7768" y="1032"/>
                    </a:lnTo>
                    <a:lnTo>
                      <a:pt x="7773" y="1033"/>
                    </a:lnTo>
                    <a:lnTo>
                      <a:pt x="7779" y="1037"/>
                    </a:lnTo>
                    <a:lnTo>
                      <a:pt x="7783" y="1041"/>
                    </a:lnTo>
                    <a:lnTo>
                      <a:pt x="7787" y="1043"/>
                    </a:lnTo>
                    <a:lnTo>
                      <a:pt x="7788" y="1045"/>
                    </a:lnTo>
                    <a:lnTo>
                      <a:pt x="7790" y="1045"/>
                    </a:lnTo>
                    <a:lnTo>
                      <a:pt x="7798" y="1045"/>
                    </a:lnTo>
                    <a:lnTo>
                      <a:pt x="7805" y="1043"/>
                    </a:lnTo>
                    <a:lnTo>
                      <a:pt x="7814" y="1041"/>
                    </a:lnTo>
                    <a:lnTo>
                      <a:pt x="7825" y="1037"/>
                    </a:lnTo>
                    <a:lnTo>
                      <a:pt x="7834" y="1033"/>
                    </a:lnTo>
                    <a:lnTo>
                      <a:pt x="7844" y="1032"/>
                    </a:lnTo>
                    <a:lnTo>
                      <a:pt x="7851" y="1030"/>
                    </a:lnTo>
                    <a:lnTo>
                      <a:pt x="7859" y="1028"/>
                    </a:lnTo>
                    <a:lnTo>
                      <a:pt x="7859" y="1032"/>
                    </a:lnTo>
                    <a:lnTo>
                      <a:pt x="7860" y="1032"/>
                    </a:lnTo>
                    <a:lnTo>
                      <a:pt x="7860" y="1033"/>
                    </a:lnTo>
                    <a:lnTo>
                      <a:pt x="7862" y="1033"/>
                    </a:lnTo>
                    <a:lnTo>
                      <a:pt x="7862" y="1032"/>
                    </a:lnTo>
                    <a:lnTo>
                      <a:pt x="7864" y="1030"/>
                    </a:lnTo>
                    <a:lnTo>
                      <a:pt x="7867" y="1027"/>
                    </a:lnTo>
                    <a:lnTo>
                      <a:pt x="7871" y="1020"/>
                    </a:lnTo>
                    <a:lnTo>
                      <a:pt x="7874" y="1017"/>
                    </a:lnTo>
                    <a:lnTo>
                      <a:pt x="7875" y="1013"/>
                    </a:lnTo>
                    <a:lnTo>
                      <a:pt x="7877" y="1012"/>
                    </a:lnTo>
                    <a:lnTo>
                      <a:pt x="7877" y="1013"/>
                    </a:lnTo>
                    <a:lnTo>
                      <a:pt x="7879" y="1017"/>
                    </a:lnTo>
                    <a:lnTo>
                      <a:pt x="7880" y="1019"/>
                    </a:lnTo>
                    <a:lnTo>
                      <a:pt x="7882" y="1020"/>
                    </a:lnTo>
                    <a:lnTo>
                      <a:pt x="7884" y="1022"/>
                    </a:lnTo>
                    <a:lnTo>
                      <a:pt x="7888" y="1025"/>
                    </a:lnTo>
                    <a:lnTo>
                      <a:pt x="7895" y="1027"/>
                    </a:lnTo>
                    <a:lnTo>
                      <a:pt x="7905" y="1028"/>
                    </a:lnTo>
                    <a:lnTo>
                      <a:pt x="7913" y="1028"/>
                    </a:lnTo>
                    <a:lnTo>
                      <a:pt x="7921" y="1028"/>
                    </a:lnTo>
                    <a:lnTo>
                      <a:pt x="7928" y="1028"/>
                    </a:lnTo>
                    <a:lnTo>
                      <a:pt x="7928" y="1022"/>
                    </a:lnTo>
                    <a:lnTo>
                      <a:pt x="7925" y="1015"/>
                    </a:lnTo>
                    <a:lnTo>
                      <a:pt x="7923" y="1010"/>
                    </a:lnTo>
                    <a:lnTo>
                      <a:pt x="7918" y="1004"/>
                    </a:lnTo>
                    <a:lnTo>
                      <a:pt x="7912" y="1000"/>
                    </a:lnTo>
                    <a:lnTo>
                      <a:pt x="7907" y="997"/>
                    </a:lnTo>
                    <a:lnTo>
                      <a:pt x="7900" y="995"/>
                    </a:lnTo>
                    <a:lnTo>
                      <a:pt x="7894" y="993"/>
                    </a:lnTo>
                    <a:lnTo>
                      <a:pt x="7900" y="993"/>
                    </a:lnTo>
                    <a:lnTo>
                      <a:pt x="7907" y="991"/>
                    </a:lnTo>
                    <a:lnTo>
                      <a:pt x="7913" y="987"/>
                    </a:lnTo>
                    <a:lnTo>
                      <a:pt x="7920" y="986"/>
                    </a:lnTo>
                    <a:lnTo>
                      <a:pt x="7927" y="982"/>
                    </a:lnTo>
                    <a:lnTo>
                      <a:pt x="7933" y="978"/>
                    </a:lnTo>
                    <a:lnTo>
                      <a:pt x="7940" y="976"/>
                    </a:lnTo>
                    <a:lnTo>
                      <a:pt x="7938" y="976"/>
                    </a:lnTo>
                    <a:lnTo>
                      <a:pt x="7936" y="974"/>
                    </a:lnTo>
                    <a:lnTo>
                      <a:pt x="7936" y="973"/>
                    </a:lnTo>
                    <a:lnTo>
                      <a:pt x="7938" y="973"/>
                    </a:lnTo>
                    <a:lnTo>
                      <a:pt x="7941" y="971"/>
                    </a:lnTo>
                    <a:lnTo>
                      <a:pt x="7945" y="969"/>
                    </a:lnTo>
                    <a:lnTo>
                      <a:pt x="7951" y="967"/>
                    </a:lnTo>
                    <a:lnTo>
                      <a:pt x="7960" y="964"/>
                    </a:lnTo>
                    <a:lnTo>
                      <a:pt x="7966" y="964"/>
                    </a:lnTo>
                    <a:lnTo>
                      <a:pt x="7969" y="961"/>
                    </a:lnTo>
                    <a:lnTo>
                      <a:pt x="7974" y="959"/>
                    </a:lnTo>
                    <a:lnTo>
                      <a:pt x="7976" y="959"/>
                    </a:lnTo>
                    <a:lnTo>
                      <a:pt x="7981" y="959"/>
                    </a:lnTo>
                    <a:lnTo>
                      <a:pt x="7981" y="966"/>
                    </a:lnTo>
                    <a:lnTo>
                      <a:pt x="7982" y="969"/>
                    </a:lnTo>
                    <a:lnTo>
                      <a:pt x="7986" y="971"/>
                    </a:lnTo>
                    <a:lnTo>
                      <a:pt x="7987" y="973"/>
                    </a:lnTo>
                    <a:lnTo>
                      <a:pt x="7994" y="973"/>
                    </a:lnTo>
                    <a:lnTo>
                      <a:pt x="7997" y="973"/>
                    </a:lnTo>
                    <a:lnTo>
                      <a:pt x="8002" y="971"/>
                    </a:lnTo>
                    <a:lnTo>
                      <a:pt x="8006" y="969"/>
                    </a:lnTo>
                    <a:lnTo>
                      <a:pt x="8012" y="967"/>
                    </a:lnTo>
                    <a:lnTo>
                      <a:pt x="8015" y="964"/>
                    </a:lnTo>
                    <a:lnTo>
                      <a:pt x="8021" y="959"/>
                    </a:lnTo>
                    <a:lnTo>
                      <a:pt x="8025" y="956"/>
                    </a:lnTo>
                    <a:lnTo>
                      <a:pt x="8028" y="953"/>
                    </a:lnTo>
                    <a:lnTo>
                      <a:pt x="8030" y="949"/>
                    </a:lnTo>
                    <a:lnTo>
                      <a:pt x="8032" y="945"/>
                    </a:lnTo>
                    <a:lnTo>
                      <a:pt x="8032" y="941"/>
                    </a:lnTo>
                    <a:lnTo>
                      <a:pt x="8030" y="941"/>
                    </a:lnTo>
                    <a:lnTo>
                      <a:pt x="8027" y="941"/>
                    </a:lnTo>
                    <a:lnTo>
                      <a:pt x="8021" y="941"/>
                    </a:lnTo>
                    <a:lnTo>
                      <a:pt x="8017" y="941"/>
                    </a:lnTo>
                    <a:lnTo>
                      <a:pt x="8010" y="941"/>
                    </a:lnTo>
                    <a:lnTo>
                      <a:pt x="7999" y="941"/>
                    </a:lnTo>
                    <a:lnTo>
                      <a:pt x="8004" y="936"/>
                    </a:lnTo>
                    <a:lnTo>
                      <a:pt x="8012" y="930"/>
                    </a:lnTo>
                    <a:lnTo>
                      <a:pt x="8017" y="926"/>
                    </a:lnTo>
                    <a:lnTo>
                      <a:pt x="8025" y="925"/>
                    </a:lnTo>
                    <a:lnTo>
                      <a:pt x="8030" y="921"/>
                    </a:lnTo>
                    <a:lnTo>
                      <a:pt x="8037" y="917"/>
                    </a:lnTo>
                    <a:lnTo>
                      <a:pt x="8043" y="912"/>
                    </a:lnTo>
                    <a:lnTo>
                      <a:pt x="8050" y="906"/>
                    </a:lnTo>
                    <a:lnTo>
                      <a:pt x="8056" y="906"/>
                    </a:lnTo>
                    <a:lnTo>
                      <a:pt x="8060" y="905"/>
                    </a:lnTo>
                    <a:lnTo>
                      <a:pt x="8063" y="900"/>
                    </a:lnTo>
                    <a:lnTo>
                      <a:pt x="8067" y="897"/>
                    </a:lnTo>
                    <a:lnTo>
                      <a:pt x="8071" y="895"/>
                    </a:lnTo>
                    <a:lnTo>
                      <a:pt x="8075" y="892"/>
                    </a:lnTo>
                    <a:lnTo>
                      <a:pt x="8078" y="890"/>
                    </a:lnTo>
                    <a:lnTo>
                      <a:pt x="8086" y="890"/>
                    </a:lnTo>
                    <a:lnTo>
                      <a:pt x="8088" y="890"/>
                    </a:lnTo>
                    <a:lnTo>
                      <a:pt x="8089" y="887"/>
                    </a:lnTo>
                    <a:lnTo>
                      <a:pt x="8093" y="887"/>
                    </a:lnTo>
                    <a:lnTo>
                      <a:pt x="8096" y="884"/>
                    </a:lnTo>
                    <a:lnTo>
                      <a:pt x="8098" y="882"/>
                    </a:lnTo>
                    <a:lnTo>
                      <a:pt x="8101" y="877"/>
                    </a:lnTo>
                    <a:lnTo>
                      <a:pt x="8102" y="871"/>
                    </a:lnTo>
                    <a:lnTo>
                      <a:pt x="8108" y="866"/>
                    </a:lnTo>
                    <a:lnTo>
                      <a:pt x="8111" y="859"/>
                    </a:lnTo>
                    <a:lnTo>
                      <a:pt x="8114" y="852"/>
                    </a:lnTo>
                    <a:lnTo>
                      <a:pt x="8119" y="847"/>
                    </a:lnTo>
                    <a:lnTo>
                      <a:pt x="8122" y="844"/>
                    </a:lnTo>
                    <a:lnTo>
                      <a:pt x="8126" y="839"/>
                    </a:lnTo>
                    <a:lnTo>
                      <a:pt x="8129" y="838"/>
                    </a:lnTo>
                    <a:lnTo>
                      <a:pt x="8137" y="836"/>
                    </a:lnTo>
                    <a:lnTo>
                      <a:pt x="8129" y="831"/>
                    </a:lnTo>
                    <a:lnTo>
                      <a:pt x="8124" y="826"/>
                    </a:lnTo>
                    <a:lnTo>
                      <a:pt x="8117" y="823"/>
                    </a:lnTo>
                    <a:lnTo>
                      <a:pt x="8111" y="821"/>
                    </a:lnTo>
                    <a:lnTo>
                      <a:pt x="8104" y="819"/>
                    </a:lnTo>
                    <a:lnTo>
                      <a:pt x="8098" y="819"/>
                    </a:lnTo>
                    <a:lnTo>
                      <a:pt x="8101" y="818"/>
                    </a:lnTo>
                    <a:lnTo>
                      <a:pt x="8102" y="818"/>
                    </a:lnTo>
                    <a:lnTo>
                      <a:pt x="8104" y="816"/>
                    </a:lnTo>
                    <a:lnTo>
                      <a:pt x="8102" y="816"/>
                    </a:lnTo>
                    <a:lnTo>
                      <a:pt x="8101" y="814"/>
                    </a:lnTo>
                    <a:lnTo>
                      <a:pt x="8098" y="811"/>
                    </a:lnTo>
                    <a:lnTo>
                      <a:pt x="8093" y="810"/>
                    </a:lnTo>
                    <a:lnTo>
                      <a:pt x="8088" y="808"/>
                    </a:lnTo>
                    <a:lnTo>
                      <a:pt x="8081" y="806"/>
                    </a:lnTo>
                    <a:lnTo>
                      <a:pt x="8079" y="806"/>
                    </a:lnTo>
                    <a:lnTo>
                      <a:pt x="8081" y="805"/>
                    </a:lnTo>
                    <a:lnTo>
                      <a:pt x="8086" y="801"/>
                    </a:lnTo>
                    <a:lnTo>
                      <a:pt x="8083" y="801"/>
                    </a:lnTo>
                    <a:lnTo>
                      <a:pt x="8081" y="801"/>
                    </a:lnTo>
                    <a:lnTo>
                      <a:pt x="8078" y="801"/>
                    </a:lnTo>
                    <a:lnTo>
                      <a:pt x="8075" y="801"/>
                    </a:lnTo>
                    <a:lnTo>
                      <a:pt x="8068" y="801"/>
                    </a:lnTo>
                    <a:lnTo>
                      <a:pt x="8063" y="801"/>
                    </a:lnTo>
                    <a:lnTo>
                      <a:pt x="8050" y="801"/>
                    </a:lnTo>
                    <a:lnTo>
                      <a:pt x="8055" y="803"/>
                    </a:lnTo>
                    <a:lnTo>
                      <a:pt x="8058" y="803"/>
                    </a:lnTo>
                    <a:lnTo>
                      <a:pt x="8063" y="803"/>
                    </a:lnTo>
                    <a:lnTo>
                      <a:pt x="8071" y="805"/>
                    </a:lnTo>
                    <a:lnTo>
                      <a:pt x="8079" y="806"/>
                    </a:lnTo>
                    <a:lnTo>
                      <a:pt x="8078" y="806"/>
                    </a:lnTo>
                    <a:lnTo>
                      <a:pt x="8073" y="808"/>
                    </a:lnTo>
                    <a:lnTo>
                      <a:pt x="8068" y="810"/>
                    </a:lnTo>
                    <a:lnTo>
                      <a:pt x="8060" y="810"/>
                    </a:lnTo>
                    <a:lnTo>
                      <a:pt x="8050" y="810"/>
                    </a:lnTo>
                    <a:lnTo>
                      <a:pt x="8040" y="810"/>
                    </a:lnTo>
                    <a:lnTo>
                      <a:pt x="8030" y="811"/>
                    </a:lnTo>
                    <a:lnTo>
                      <a:pt x="8027" y="811"/>
                    </a:lnTo>
                    <a:lnTo>
                      <a:pt x="8022" y="814"/>
                    </a:lnTo>
                    <a:lnTo>
                      <a:pt x="8019" y="816"/>
                    </a:lnTo>
                    <a:lnTo>
                      <a:pt x="8015" y="819"/>
                    </a:lnTo>
                    <a:lnTo>
                      <a:pt x="8015" y="825"/>
                    </a:lnTo>
                    <a:lnTo>
                      <a:pt x="8012" y="829"/>
                    </a:lnTo>
                    <a:lnTo>
                      <a:pt x="8010" y="832"/>
                    </a:lnTo>
                    <a:lnTo>
                      <a:pt x="8004" y="834"/>
                    </a:lnTo>
                    <a:lnTo>
                      <a:pt x="7999" y="836"/>
                    </a:lnTo>
                    <a:lnTo>
                      <a:pt x="7994" y="836"/>
                    </a:lnTo>
                    <a:lnTo>
                      <a:pt x="7981" y="836"/>
                    </a:lnTo>
                    <a:lnTo>
                      <a:pt x="7986" y="831"/>
                    </a:lnTo>
                    <a:lnTo>
                      <a:pt x="7989" y="826"/>
                    </a:lnTo>
                    <a:lnTo>
                      <a:pt x="7994" y="823"/>
                    </a:lnTo>
                    <a:lnTo>
                      <a:pt x="7994" y="821"/>
                    </a:lnTo>
                    <a:lnTo>
                      <a:pt x="7994" y="819"/>
                    </a:lnTo>
                    <a:lnTo>
                      <a:pt x="7989" y="819"/>
                    </a:lnTo>
                    <a:lnTo>
                      <a:pt x="7986" y="819"/>
                    </a:lnTo>
                    <a:lnTo>
                      <a:pt x="7981" y="819"/>
                    </a:lnTo>
                    <a:lnTo>
                      <a:pt x="7967" y="819"/>
                    </a:lnTo>
                    <a:lnTo>
                      <a:pt x="7961" y="818"/>
                    </a:lnTo>
                    <a:lnTo>
                      <a:pt x="7954" y="818"/>
                    </a:lnTo>
                    <a:lnTo>
                      <a:pt x="7949" y="816"/>
                    </a:lnTo>
                    <a:lnTo>
                      <a:pt x="7941" y="811"/>
                    </a:lnTo>
                    <a:lnTo>
                      <a:pt x="7936" y="808"/>
                    </a:lnTo>
                    <a:lnTo>
                      <a:pt x="7928" y="801"/>
                    </a:lnTo>
                    <a:lnTo>
                      <a:pt x="7915" y="803"/>
                    </a:lnTo>
                    <a:lnTo>
                      <a:pt x="7909" y="804"/>
                    </a:lnTo>
                    <a:lnTo>
                      <a:pt x="7908" y="803"/>
                    </a:lnTo>
                    <a:lnTo>
                      <a:pt x="7905" y="801"/>
                    </a:lnTo>
                    <a:lnTo>
                      <a:pt x="7900" y="801"/>
                    </a:lnTo>
                    <a:lnTo>
                      <a:pt x="7895" y="801"/>
                    </a:lnTo>
                    <a:lnTo>
                      <a:pt x="7890" y="801"/>
                    </a:lnTo>
                    <a:lnTo>
                      <a:pt x="7877" y="801"/>
                    </a:lnTo>
                    <a:lnTo>
                      <a:pt x="7864" y="803"/>
                    </a:lnTo>
                    <a:lnTo>
                      <a:pt x="7859" y="803"/>
                    </a:lnTo>
                    <a:lnTo>
                      <a:pt x="7853" y="805"/>
                    </a:lnTo>
                    <a:lnTo>
                      <a:pt x="7849" y="805"/>
                    </a:lnTo>
                    <a:lnTo>
                      <a:pt x="7846" y="806"/>
                    </a:lnTo>
                    <a:lnTo>
                      <a:pt x="7844" y="806"/>
                    </a:lnTo>
                    <a:lnTo>
                      <a:pt x="7816" y="806"/>
                    </a:lnTo>
                    <a:lnTo>
                      <a:pt x="7805" y="806"/>
                    </a:lnTo>
                    <a:lnTo>
                      <a:pt x="7792" y="808"/>
                    </a:lnTo>
                    <a:lnTo>
                      <a:pt x="7779" y="810"/>
                    </a:lnTo>
                    <a:lnTo>
                      <a:pt x="7767" y="811"/>
                    </a:lnTo>
                    <a:lnTo>
                      <a:pt x="7753" y="816"/>
                    </a:lnTo>
                    <a:lnTo>
                      <a:pt x="7740" y="819"/>
                    </a:lnTo>
                    <a:lnTo>
                      <a:pt x="7764" y="819"/>
                    </a:lnTo>
                    <a:lnTo>
                      <a:pt x="7788" y="818"/>
                    </a:lnTo>
                    <a:lnTo>
                      <a:pt x="7810" y="816"/>
                    </a:lnTo>
                    <a:lnTo>
                      <a:pt x="7833" y="814"/>
                    </a:lnTo>
                    <a:lnTo>
                      <a:pt x="7853" y="810"/>
                    </a:lnTo>
                    <a:lnTo>
                      <a:pt x="7874" y="808"/>
                    </a:lnTo>
                    <a:lnTo>
                      <a:pt x="7889" y="807"/>
                    </a:lnTo>
                    <a:lnTo>
                      <a:pt x="7879" y="810"/>
                    </a:lnTo>
                    <a:lnTo>
                      <a:pt x="7867" y="814"/>
                    </a:lnTo>
                    <a:lnTo>
                      <a:pt x="7859" y="816"/>
                    </a:lnTo>
                    <a:lnTo>
                      <a:pt x="7849" y="819"/>
                    </a:lnTo>
                    <a:lnTo>
                      <a:pt x="7842" y="819"/>
                    </a:lnTo>
                    <a:lnTo>
                      <a:pt x="7834" y="819"/>
                    </a:lnTo>
                    <a:lnTo>
                      <a:pt x="7827" y="819"/>
                    </a:lnTo>
                    <a:lnTo>
                      <a:pt x="7818" y="819"/>
                    </a:lnTo>
                    <a:lnTo>
                      <a:pt x="7813" y="821"/>
                    </a:lnTo>
                    <a:lnTo>
                      <a:pt x="7808" y="823"/>
                    </a:lnTo>
                    <a:lnTo>
                      <a:pt x="7806" y="823"/>
                    </a:lnTo>
                    <a:lnTo>
                      <a:pt x="7803" y="825"/>
                    </a:lnTo>
                    <a:lnTo>
                      <a:pt x="7803" y="826"/>
                    </a:lnTo>
                    <a:lnTo>
                      <a:pt x="7803" y="829"/>
                    </a:lnTo>
                    <a:lnTo>
                      <a:pt x="7803" y="831"/>
                    </a:lnTo>
                    <a:lnTo>
                      <a:pt x="7805" y="834"/>
                    </a:lnTo>
                    <a:lnTo>
                      <a:pt x="7806" y="836"/>
                    </a:lnTo>
                    <a:lnTo>
                      <a:pt x="7806" y="839"/>
                    </a:lnTo>
                    <a:lnTo>
                      <a:pt x="7808" y="841"/>
                    </a:lnTo>
                    <a:lnTo>
                      <a:pt x="7810" y="844"/>
                    </a:lnTo>
                    <a:lnTo>
                      <a:pt x="7813" y="846"/>
                    </a:lnTo>
                    <a:lnTo>
                      <a:pt x="7816" y="846"/>
                    </a:lnTo>
                    <a:lnTo>
                      <a:pt x="7820" y="846"/>
                    </a:lnTo>
                    <a:lnTo>
                      <a:pt x="7827" y="846"/>
                    </a:lnTo>
                    <a:lnTo>
                      <a:pt x="7834" y="846"/>
                    </a:lnTo>
                    <a:lnTo>
                      <a:pt x="7844" y="847"/>
                    </a:lnTo>
                    <a:lnTo>
                      <a:pt x="7847" y="847"/>
                    </a:lnTo>
                    <a:lnTo>
                      <a:pt x="7851" y="849"/>
                    </a:lnTo>
                    <a:lnTo>
                      <a:pt x="7854" y="851"/>
                    </a:lnTo>
                    <a:lnTo>
                      <a:pt x="7859" y="854"/>
                    </a:lnTo>
                    <a:lnTo>
                      <a:pt x="7833" y="854"/>
                    </a:lnTo>
                    <a:lnTo>
                      <a:pt x="7806" y="854"/>
                    </a:lnTo>
                    <a:lnTo>
                      <a:pt x="7814" y="860"/>
                    </a:lnTo>
                    <a:lnTo>
                      <a:pt x="7823" y="864"/>
                    </a:lnTo>
                    <a:lnTo>
                      <a:pt x="7833" y="867"/>
                    </a:lnTo>
                    <a:lnTo>
                      <a:pt x="7842" y="869"/>
                    </a:lnTo>
                    <a:lnTo>
                      <a:pt x="7851" y="871"/>
                    </a:lnTo>
                    <a:lnTo>
                      <a:pt x="7860" y="871"/>
                    </a:lnTo>
                    <a:lnTo>
                      <a:pt x="7869" y="871"/>
                    </a:lnTo>
                    <a:lnTo>
                      <a:pt x="7877" y="871"/>
                    </a:lnTo>
                    <a:lnTo>
                      <a:pt x="7874" y="875"/>
                    </a:lnTo>
                    <a:lnTo>
                      <a:pt x="7869" y="877"/>
                    </a:lnTo>
                    <a:lnTo>
                      <a:pt x="7866" y="879"/>
                    </a:lnTo>
                    <a:lnTo>
                      <a:pt x="7860" y="879"/>
                    </a:lnTo>
                    <a:lnTo>
                      <a:pt x="7851" y="880"/>
                    </a:lnTo>
                    <a:lnTo>
                      <a:pt x="7842" y="880"/>
                    </a:lnTo>
                    <a:lnTo>
                      <a:pt x="7833" y="880"/>
                    </a:lnTo>
                    <a:lnTo>
                      <a:pt x="7823" y="882"/>
                    </a:lnTo>
                    <a:lnTo>
                      <a:pt x="7818" y="882"/>
                    </a:lnTo>
                    <a:lnTo>
                      <a:pt x="7814" y="884"/>
                    </a:lnTo>
                    <a:lnTo>
                      <a:pt x="7810" y="885"/>
                    </a:lnTo>
                    <a:lnTo>
                      <a:pt x="7806" y="890"/>
                    </a:lnTo>
                    <a:lnTo>
                      <a:pt x="7814" y="895"/>
                    </a:lnTo>
                    <a:lnTo>
                      <a:pt x="7820" y="899"/>
                    </a:lnTo>
                    <a:lnTo>
                      <a:pt x="7825" y="902"/>
                    </a:lnTo>
                    <a:lnTo>
                      <a:pt x="7831" y="905"/>
                    </a:lnTo>
                    <a:lnTo>
                      <a:pt x="7836" y="906"/>
                    </a:lnTo>
                    <a:lnTo>
                      <a:pt x="7829" y="906"/>
                    </a:lnTo>
                    <a:lnTo>
                      <a:pt x="7821" y="906"/>
                    </a:lnTo>
                    <a:lnTo>
                      <a:pt x="7814" y="906"/>
                    </a:lnTo>
                    <a:lnTo>
                      <a:pt x="7805" y="906"/>
                    </a:lnTo>
                    <a:lnTo>
                      <a:pt x="7796" y="906"/>
                    </a:lnTo>
                    <a:lnTo>
                      <a:pt x="7785" y="906"/>
                    </a:lnTo>
                    <a:lnTo>
                      <a:pt x="7773" y="906"/>
                    </a:lnTo>
                    <a:lnTo>
                      <a:pt x="7775" y="905"/>
                    </a:lnTo>
                    <a:lnTo>
                      <a:pt x="7775" y="900"/>
                    </a:lnTo>
                    <a:lnTo>
                      <a:pt x="7775" y="899"/>
                    </a:lnTo>
                    <a:lnTo>
                      <a:pt x="7775" y="897"/>
                    </a:lnTo>
                    <a:lnTo>
                      <a:pt x="7773" y="895"/>
                    </a:lnTo>
                    <a:lnTo>
                      <a:pt x="7772" y="893"/>
                    </a:lnTo>
                    <a:lnTo>
                      <a:pt x="7768" y="892"/>
                    </a:lnTo>
                    <a:lnTo>
                      <a:pt x="7767" y="892"/>
                    </a:lnTo>
                    <a:lnTo>
                      <a:pt x="7767" y="890"/>
                    </a:lnTo>
                    <a:lnTo>
                      <a:pt x="7762" y="890"/>
                    </a:lnTo>
                    <a:lnTo>
                      <a:pt x="7759" y="890"/>
                    </a:lnTo>
                    <a:lnTo>
                      <a:pt x="7755" y="890"/>
                    </a:lnTo>
                    <a:lnTo>
                      <a:pt x="7755" y="884"/>
                    </a:lnTo>
                    <a:lnTo>
                      <a:pt x="7755" y="879"/>
                    </a:lnTo>
                    <a:lnTo>
                      <a:pt x="7755" y="877"/>
                    </a:lnTo>
                    <a:lnTo>
                      <a:pt x="7753" y="873"/>
                    </a:lnTo>
                    <a:lnTo>
                      <a:pt x="7752" y="873"/>
                    </a:lnTo>
                    <a:lnTo>
                      <a:pt x="7747" y="871"/>
                    </a:lnTo>
                    <a:lnTo>
                      <a:pt x="7744" y="871"/>
                    </a:lnTo>
                    <a:lnTo>
                      <a:pt x="7739" y="871"/>
                    </a:lnTo>
                    <a:lnTo>
                      <a:pt x="7740" y="866"/>
                    </a:lnTo>
                    <a:lnTo>
                      <a:pt x="7742" y="860"/>
                    </a:lnTo>
                    <a:lnTo>
                      <a:pt x="7744" y="856"/>
                    </a:lnTo>
                    <a:lnTo>
                      <a:pt x="7746" y="851"/>
                    </a:lnTo>
                    <a:lnTo>
                      <a:pt x="7746" y="849"/>
                    </a:lnTo>
                    <a:lnTo>
                      <a:pt x="7744" y="846"/>
                    </a:lnTo>
                    <a:lnTo>
                      <a:pt x="7744" y="844"/>
                    </a:lnTo>
                    <a:lnTo>
                      <a:pt x="7742" y="841"/>
                    </a:lnTo>
                    <a:lnTo>
                      <a:pt x="7739" y="838"/>
                    </a:lnTo>
                    <a:lnTo>
                      <a:pt x="7732" y="838"/>
                    </a:lnTo>
                    <a:lnTo>
                      <a:pt x="7727" y="838"/>
                    </a:lnTo>
                    <a:lnTo>
                      <a:pt x="7720" y="836"/>
                    </a:lnTo>
                    <a:lnTo>
                      <a:pt x="7707" y="838"/>
                    </a:lnTo>
                    <a:lnTo>
                      <a:pt x="7694" y="838"/>
                    </a:lnTo>
                    <a:lnTo>
                      <a:pt x="7681" y="838"/>
                    </a:lnTo>
                    <a:lnTo>
                      <a:pt x="7668" y="841"/>
                    </a:lnTo>
                    <a:lnTo>
                      <a:pt x="7663" y="844"/>
                    </a:lnTo>
                    <a:lnTo>
                      <a:pt x="7655" y="846"/>
                    </a:lnTo>
                    <a:lnTo>
                      <a:pt x="7650" y="849"/>
                    </a:lnTo>
                    <a:lnTo>
                      <a:pt x="7642" y="851"/>
                    </a:lnTo>
                    <a:lnTo>
                      <a:pt x="7637" y="856"/>
                    </a:lnTo>
                    <a:lnTo>
                      <a:pt x="7630" y="860"/>
                    </a:lnTo>
                    <a:lnTo>
                      <a:pt x="7624" y="866"/>
                    </a:lnTo>
                    <a:lnTo>
                      <a:pt x="7617" y="871"/>
                    </a:lnTo>
                    <a:lnTo>
                      <a:pt x="7630" y="871"/>
                    </a:lnTo>
                    <a:lnTo>
                      <a:pt x="7640" y="871"/>
                    </a:lnTo>
                    <a:lnTo>
                      <a:pt x="7650" y="871"/>
                    </a:lnTo>
                    <a:lnTo>
                      <a:pt x="7660" y="869"/>
                    </a:lnTo>
                    <a:lnTo>
                      <a:pt x="7670" y="867"/>
                    </a:lnTo>
                    <a:lnTo>
                      <a:pt x="7679" y="864"/>
                    </a:lnTo>
                    <a:lnTo>
                      <a:pt x="7691" y="860"/>
                    </a:lnTo>
                    <a:lnTo>
                      <a:pt x="7703" y="854"/>
                    </a:lnTo>
                    <a:lnTo>
                      <a:pt x="7703" y="856"/>
                    </a:lnTo>
                    <a:lnTo>
                      <a:pt x="7701" y="859"/>
                    </a:lnTo>
                    <a:lnTo>
                      <a:pt x="7699" y="859"/>
                    </a:lnTo>
                    <a:lnTo>
                      <a:pt x="7698" y="860"/>
                    </a:lnTo>
                    <a:lnTo>
                      <a:pt x="7694" y="862"/>
                    </a:lnTo>
                    <a:lnTo>
                      <a:pt x="7686" y="864"/>
                    </a:lnTo>
                    <a:lnTo>
                      <a:pt x="7679" y="867"/>
                    </a:lnTo>
                    <a:lnTo>
                      <a:pt x="7670" y="867"/>
                    </a:lnTo>
                    <a:lnTo>
                      <a:pt x="7653" y="871"/>
                    </a:lnTo>
                    <a:lnTo>
                      <a:pt x="7645" y="873"/>
                    </a:lnTo>
                    <a:lnTo>
                      <a:pt x="7637" y="875"/>
                    </a:lnTo>
                    <a:lnTo>
                      <a:pt x="7630" y="877"/>
                    </a:lnTo>
                    <a:lnTo>
                      <a:pt x="7622" y="879"/>
                    </a:lnTo>
                    <a:lnTo>
                      <a:pt x="7620" y="880"/>
                    </a:lnTo>
                    <a:lnTo>
                      <a:pt x="7619" y="880"/>
                    </a:lnTo>
                    <a:lnTo>
                      <a:pt x="7617" y="882"/>
                    </a:lnTo>
                    <a:lnTo>
                      <a:pt x="7615" y="884"/>
                    </a:lnTo>
                    <a:lnTo>
                      <a:pt x="7615" y="885"/>
                    </a:lnTo>
                    <a:lnTo>
                      <a:pt x="7615" y="887"/>
                    </a:lnTo>
                    <a:lnTo>
                      <a:pt x="7617" y="890"/>
                    </a:lnTo>
                    <a:lnTo>
                      <a:pt x="7622" y="895"/>
                    </a:lnTo>
                    <a:lnTo>
                      <a:pt x="7630" y="899"/>
                    </a:lnTo>
                    <a:lnTo>
                      <a:pt x="7635" y="902"/>
                    </a:lnTo>
                    <a:lnTo>
                      <a:pt x="7640" y="905"/>
                    </a:lnTo>
                    <a:lnTo>
                      <a:pt x="7645" y="906"/>
                    </a:lnTo>
                    <a:lnTo>
                      <a:pt x="7640" y="906"/>
                    </a:lnTo>
                    <a:lnTo>
                      <a:pt x="7635" y="906"/>
                    </a:lnTo>
                    <a:lnTo>
                      <a:pt x="7630" y="906"/>
                    </a:lnTo>
                    <a:lnTo>
                      <a:pt x="7617" y="906"/>
                    </a:lnTo>
                    <a:lnTo>
                      <a:pt x="7624" y="912"/>
                    </a:lnTo>
                    <a:lnTo>
                      <a:pt x="7630" y="917"/>
                    </a:lnTo>
                    <a:lnTo>
                      <a:pt x="7637" y="920"/>
                    </a:lnTo>
                    <a:lnTo>
                      <a:pt x="7642" y="921"/>
                    </a:lnTo>
                    <a:lnTo>
                      <a:pt x="7650" y="923"/>
                    </a:lnTo>
                    <a:lnTo>
                      <a:pt x="7655" y="923"/>
                    </a:lnTo>
                    <a:lnTo>
                      <a:pt x="7668" y="923"/>
                    </a:lnTo>
                    <a:lnTo>
                      <a:pt x="7660" y="926"/>
                    </a:lnTo>
                    <a:lnTo>
                      <a:pt x="7650" y="928"/>
                    </a:lnTo>
                    <a:lnTo>
                      <a:pt x="7639" y="928"/>
                    </a:lnTo>
                    <a:lnTo>
                      <a:pt x="7630" y="928"/>
                    </a:lnTo>
                    <a:lnTo>
                      <a:pt x="7620" y="928"/>
                    </a:lnTo>
                    <a:lnTo>
                      <a:pt x="7609" y="926"/>
                    </a:lnTo>
                    <a:lnTo>
                      <a:pt x="7591" y="925"/>
                    </a:lnTo>
                    <a:lnTo>
                      <a:pt x="7571" y="921"/>
                    </a:lnTo>
                    <a:lnTo>
                      <a:pt x="7561" y="920"/>
                    </a:lnTo>
                    <a:lnTo>
                      <a:pt x="7552" y="920"/>
                    </a:lnTo>
                    <a:lnTo>
                      <a:pt x="7546" y="920"/>
                    </a:lnTo>
                    <a:lnTo>
                      <a:pt x="7554" y="917"/>
                    </a:lnTo>
                    <a:lnTo>
                      <a:pt x="7579" y="910"/>
                    </a:lnTo>
                    <a:lnTo>
                      <a:pt x="7574" y="906"/>
                    </a:lnTo>
                    <a:lnTo>
                      <a:pt x="7569" y="905"/>
                    </a:lnTo>
                    <a:lnTo>
                      <a:pt x="7563" y="902"/>
                    </a:lnTo>
                    <a:lnTo>
                      <a:pt x="7558" y="900"/>
                    </a:lnTo>
                    <a:lnTo>
                      <a:pt x="7549" y="899"/>
                    </a:lnTo>
                    <a:lnTo>
                      <a:pt x="7550" y="899"/>
                    </a:lnTo>
                    <a:lnTo>
                      <a:pt x="7561" y="892"/>
                    </a:lnTo>
                    <a:lnTo>
                      <a:pt x="7554" y="890"/>
                    </a:lnTo>
                    <a:lnTo>
                      <a:pt x="7548" y="885"/>
                    </a:lnTo>
                    <a:lnTo>
                      <a:pt x="7541" y="885"/>
                    </a:lnTo>
                    <a:lnTo>
                      <a:pt x="7540" y="885"/>
                    </a:lnTo>
                    <a:lnTo>
                      <a:pt x="7545" y="882"/>
                    </a:lnTo>
                    <a:lnTo>
                      <a:pt x="7548" y="879"/>
                    </a:lnTo>
                    <a:lnTo>
                      <a:pt x="7552" y="873"/>
                    </a:lnTo>
                    <a:lnTo>
                      <a:pt x="7556" y="867"/>
                    </a:lnTo>
                    <a:lnTo>
                      <a:pt x="7558" y="862"/>
                    </a:lnTo>
                    <a:lnTo>
                      <a:pt x="7561" y="854"/>
                    </a:lnTo>
                    <a:lnTo>
                      <a:pt x="7462" y="854"/>
                    </a:lnTo>
                    <a:lnTo>
                      <a:pt x="7454" y="859"/>
                    </a:lnTo>
                    <a:lnTo>
                      <a:pt x="7447" y="860"/>
                    </a:lnTo>
                    <a:lnTo>
                      <a:pt x="7441" y="862"/>
                    </a:lnTo>
                    <a:lnTo>
                      <a:pt x="7434" y="864"/>
                    </a:lnTo>
                    <a:lnTo>
                      <a:pt x="7418" y="866"/>
                    </a:lnTo>
                    <a:lnTo>
                      <a:pt x="7403" y="867"/>
                    </a:lnTo>
                    <a:lnTo>
                      <a:pt x="7395" y="867"/>
                    </a:lnTo>
                    <a:lnTo>
                      <a:pt x="7388" y="869"/>
                    </a:lnTo>
                    <a:lnTo>
                      <a:pt x="7378" y="871"/>
                    </a:lnTo>
                    <a:lnTo>
                      <a:pt x="7371" y="873"/>
                    </a:lnTo>
                    <a:lnTo>
                      <a:pt x="7364" y="877"/>
                    </a:lnTo>
                    <a:lnTo>
                      <a:pt x="7358" y="880"/>
                    </a:lnTo>
                    <a:lnTo>
                      <a:pt x="7351" y="885"/>
                    </a:lnTo>
                    <a:lnTo>
                      <a:pt x="7345" y="892"/>
                    </a:lnTo>
                    <a:lnTo>
                      <a:pt x="7349" y="892"/>
                    </a:lnTo>
                    <a:lnTo>
                      <a:pt x="7355" y="892"/>
                    </a:lnTo>
                    <a:close/>
                    <a:moveTo>
                      <a:pt x="7431" y="854"/>
                    </a:moveTo>
                    <a:lnTo>
                      <a:pt x="7452" y="854"/>
                    </a:lnTo>
                    <a:lnTo>
                      <a:pt x="7474" y="852"/>
                    </a:lnTo>
                    <a:lnTo>
                      <a:pt x="7497" y="851"/>
                    </a:lnTo>
                    <a:lnTo>
                      <a:pt x="7518" y="847"/>
                    </a:lnTo>
                    <a:lnTo>
                      <a:pt x="7541" y="844"/>
                    </a:lnTo>
                    <a:lnTo>
                      <a:pt x="7561" y="838"/>
                    </a:lnTo>
                    <a:lnTo>
                      <a:pt x="7558" y="834"/>
                    </a:lnTo>
                    <a:lnTo>
                      <a:pt x="7552" y="831"/>
                    </a:lnTo>
                    <a:lnTo>
                      <a:pt x="7548" y="829"/>
                    </a:lnTo>
                    <a:lnTo>
                      <a:pt x="7543" y="825"/>
                    </a:lnTo>
                    <a:lnTo>
                      <a:pt x="7530" y="819"/>
                    </a:lnTo>
                    <a:lnTo>
                      <a:pt x="7517" y="816"/>
                    </a:lnTo>
                    <a:lnTo>
                      <a:pt x="7512" y="814"/>
                    </a:lnTo>
                    <a:lnTo>
                      <a:pt x="7504" y="811"/>
                    </a:lnTo>
                    <a:lnTo>
                      <a:pt x="7498" y="811"/>
                    </a:lnTo>
                    <a:lnTo>
                      <a:pt x="7493" y="811"/>
                    </a:lnTo>
                    <a:lnTo>
                      <a:pt x="7487" y="814"/>
                    </a:lnTo>
                    <a:lnTo>
                      <a:pt x="7489" y="811"/>
                    </a:lnTo>
                    <a:lnTo>
                      <a:pt x="7492" y="811"/>
                    </a:lnTo>
                    <a:lnTo>
                      <a:pt x="7492" y="810"/>
                    </a:lnTo>
                    <a:lnTo>
                      <a:pt x="7489" y="808"/>
                    </a:lnTo>
                    <a:lnTo>
                      <a:pt x="7485" y="806"/>
                    </a:lnTo>
                    <a:lnTo>
                      <a:pt x="7480" y="806"/>
                    </a:lnTo>
                    <a:lnTo>
                      <a:pt x="7474" y="806"/>
                    </a:lnTo>
                    <a:lnTo>
                      <a:pt x="7467" y="806"/>
                    </a:lnTo>
                    <a:lnTo>
                      <a:pt x="7459" y="806"/>
                    </a:lnTo>
                    <a:lnTo>
                      <a:pt x="7444" y="810"/>
                    </a:lnTo>
                    <a:lnTo>
                      <a:pt x="7439" y="811"/>
                    </a:lnTo>
                    <a:lnTo>
                      <a:pt x="7432" y="814"/>
                    </a:lnTo>
                    <a:lnTo>
                      <a:pt x="7426" y="818"/>
                    </a:lnTo>
                    <a:lnTo>
                      <a:pt x="7423" y="819"/>
                    </a:lnTo>
                    <a:lnTo>
                      <a:pt x="7418" y="821"/>
                    </a:lnTo>
                    <a:lnTo>
                      <a:pt x="7413" y="823"/>
                    </a:lnTo>
                    <a:lnTo>
                      <a:pt x="7410" y="826"/>
                    </a:lnTo>
                    <a:lnTo>
                      <a:pt x="7406" y="831"/>
                    </a:lnTo>
                    <a:lnTo>
                      <a:pt x="7403" y="836"/>
                    </a:lnTo>
                    <a:lnTo>
                      <a:pt x="7398" y="841"/>
                    </a:lnTo>
                    <a:lnTo>
                      <a:pt x="7395" y="849"/>
                    </a:lnTo>
                    <a:lnTo>
                      <a:pt x="7390" y="854"/>
                    </a:lnTo>
                    <a:lnTo>
                      <a:pt x="7408" y="854"/>
                    </a:lnTo>
                    <a:lnTo>
                      <a:pt x="7431" y="854"/>
                    </a:lnTo>
                    <a:close/>
                    <a:moveTo>
                      <a:pt x="7465" y="732"/>
                    </a:moveTo>
                    <a:lnTo>
                      <a:pt x="7471" y="737"/>
                    </a:lnTo>
                    <a:lnTo>
                      <a:pt x="7479" y="740"/>
                    </a:lnTo>
                    <a:lnTo>
                      <a:pt x="7484" y="744"/>
                    </a:lnTo>
                    <a:lnTo>
                      <a:pt x="7489" y="747"/>
                    </a:lnTo>
                    <a:lnTo>
                      <a:pt x="7492" y="749"/>
                    </a:lnTo>
                    <a:lnTo>
                      <a:pt x="7493" y="752"/>
                    </a:lnTo>
                    <a:lnTo>
                      <a:pt x="7495" y="755"/>
                    </a:lnTo>
                    <a:lnTo>
                      <a:pt x="7495" y="757"/>
                    </a:lnTo>
                    <a:lnTo>
                      <a:pt x="7498" y="755"/>
                    </a:lnTo>
                    <a:lnTo>
                      <a:pt x="7502" y="753"/>
                    </a:lnTo>
                    <a:lnTo>
                      <a:pt x="7505" y="752"/>
                    </a:lnTo>
                    <a:lnTo>
                      <a:pt x="7510" y="749"/>
                    </a:lnTo>
                    <a:lnTo>
                      <a:pt x="7518" y="747"/>
                    </a:lnTo>
                    <a:lnTo>
                      <a:pt x="7528" y="745"/>
                    </a:lnTo>
                    <a:lnTo>
                      <a:pt x="7533" y="745"/>
                    </a:lnTo>
                    <a:lnTo>
                      <a:pt x="7538" y="744"/>
                    </a:lnTo>
                    <a:lnTo>
                      <a:pt x="7543" y="742"/>
                    </a:lnTo>
                    <a:lnTo>
                      <a:pt x="7546" y="740"/>
                    </a:lnTo>
                    <a:lnTo>
                      <a:pt x="7550" y="737"/>
                    </a:lnTo>
                    <a:lnTo>
                      <a:pt x="7556" y="732"/>
                    </a:lnTo>
                    <a:lnTo>
                      <a:pt x="7559" y="727"/>
                    </a:lnTo>
                    <a:lnTo>
                      <a:pt x="7563" y="722"/>
                    </a:lnTo>
                    <a:lnTo>
                      <a:pt x="7565" y="718"/>
                    </a:lnTo>
                    <a:lnTo>
                      <a:pt x="7566" y="716"/>
                    </a:lnTo>
                    <a:lnTo>
                      <a:pt x="7566" y="712"/>
                    </a:lnTo>
                    <a:lnTo>
                      <a:pt x="7566" y="711"/>
                    </a:lnTo>
                    <a:lnTo>
                      <a:pt x="7565" y="709"/>
                    </a:lnTo>
                    <a:lnTo>
                      <a:pt x="7565" y="707"/>
                    </a:lnTo>
                    <a:lnTo>
                      <a:pt x="7559" y="704"/>
                    </a:lnTo>
                    <a:lnTo>
                      <a:pt x="7556" y="704"/>
                    </a:lnTo>
                    <a:lnTo>
                      <a:pt x="7550" y="703"/>
                    </a:lnTo>
                    <a:lnTo>
                      <a:pt x="7548" y="703"/>
                    </a:lnTo>
                    <a:lnTo>
                      <a:pt x="7546" y="703"/>
                    </a:lnTo>
                    <a:lnTo>
                      <a:pt x="7545" y="703"/>
                    </a:lnTo>
                    <a:lnTo>
                      <a:pt x="7548" y="701"/>
                    </a:lnTo>
                    <a:lnTo>
                      <a:pt x="7550" y="699"/>
                    </a:lnTo>
                    <a:lnTo>
                      <a:pt x="7554" y="696"/>
                    </a:lnTo>
                    <a:lnTo>
                      <a:pt x="7556" y="692"/>
                    </a:lnTo>
                    <a:lnTo>
                      <a:pt x="7556" y="686"/>
                    </a:lnTo>
                    <a:lnTo>
                      <a:pt x="7556" y="683"/>
                    </a:lnTo>
                    <a:lnTo>
                      <a:pt x="7554" y="678"/>
                    </a:lnTo>
                    <a:lnTo>
                      <a:pt x="7550" y="673"/>
                    </a:lnTo>
                    <a:lnTo>
                      <a:pt x="7546" y="670"/>
                    </a:lnTo>
                    <a:lnTo>
                      <a:pt x="7543" y="665"/>
                    </a:lnTo>
                    <a:lnTo>
                      <a:pt x="7539" y="661"/>
                    </a:lnTo>
                    <a:lnTo>
                      <a:pt x="7533" y="657"/>
                    </a:lnTo>
                    <a:lnTo>
                      <a:pt x="7528" y="655"/>
                    </a:lnTo>
                    <a:lnTo>
                      <a:pt x="7525" y="651"/>
                    </a:lnTo>
                    <a:lnTo>
                      <a:pt x="7518" y="650"/>
                    </a:lnTo>
                    <a:lnTo>
                      <a:pt x="7515" y="650"/>
                    </a:lnTo>
                    <a:lnTo>
                      <a:pt x="7512" y="648"/>
                    </a:lnTo>
                    <a:lnTo>
                      <a:pt x="7508" y="650"/>
                    </a:lnTo>
                    <a:lnTo>
                      <a:pt x="7505" y="650"/>
                    </a:lnTo>
                    <a:lnTo>
                      <a:pt x="7502" y="651"/>
                    </a:lnTo>
                    <a:lnTo>
                      <a:pt x="7498" y="655"/>
                    </a:lnTo>
                    <a:lnTo>
                      <a:pt x="7497" y="657"/>
                    </a:lnTo>
                    <a:lnTo>
                      <a:pt x="7493" y="661"/>
                    </a:lnTo>
                    <a:lnTo>
                      <a:pt x="7489" y="670"/>
                    </a:lnTo>
                    <a:lnTo>
                      <a:pt x="7484" y="678"/>
                    </a:lnTo>
                    <a:lnTo>
                      <a:pt x="7480" y="686"/>
                    </a:lnTo>
                    <a:lnTo>
                      <a:pt x="7479" y="696"/>
                    </a:lnTo>
                    <a:lnTo>
                      <a:pt x="7479" y="703"/>
                    </a:lnTo>
                    <a:lnTo>
                      <a:pt x="7472" y="703"/>
                    </a:lnTo>
                    <a:lnTo>
                      <a:pt x="7467" y="707"/>
                    </a:lnTo>
                    <a:lnTo>
                      <a:pt x="7465" y="709"/>
                    </a:lnTo>
                    <a:lnTo>
                      <a:pt x="7464" y="712"/>
                    </a:lnTo>
                    <a:lnTo>
                      <a:pt x="7462" y="716"/>
                    </a:lnTo>
                    <a:lnTo>
                      <a:pt x="7462" y="718"/>
                    </a:lnTo>
                    <a:lnTo>
                      <a:pt x="7462" y="722"/>
                    </a:lnTo>
                    <a:lnTo>
                      <a:pt x="7462" y="725"/>
                    </a:lnTo>
                    <a:lnTo>
                      <a:pt x="7462" y="727"/>
                    </a:lnTo>
                    <a:lnTo>
                      <a:pt x="7464" y="731"/>
                    </a:lnTo>
                    <a:lnTo>
                      <a:pt x="7465" y="732"/>
                    </a:lnTo>
                    <a:close/>
                    <a:moveTo>
                      <a:pt x="7565" y="742"/>
                    </a:moveTo>
                    <a:lnTo>
                      <a:pt x="7563" y="744"/>
                    </a:lnTo>
                    <a:lnTo>
                      <a:pt x="7559" y="747"/>
                    </a:lnTo>
                    <a:lnTo>
                      <a:pt x="7556" y="752"/>
                    </a:lnTo>
                    <a:lnTo>
                      <a:pt x="7552" y="757"/>
                    </a:lnTo>
                    <a:lnTo>
                      <a:pt x="7561" y="757"/>
                    </a:lnTo>
                    <a:lnTo>
                      <a:pt x="7566" y="757"/>
                    </a:lnTo>
                    <a:lnTo>
                      <a:pt x="7571" y="755"/>
                    </a:lnTo>
                    <a:lnTo>
                      <a:pt x="7574" y="753"/>
                    </a:lnTo>
                    <a:lnTo>
                      <a:pt x="7576" y="749"/>
                    </a:lnTo>
                    <a:lnTo>
                      <a:pt x="7578" y="745"/>
                    </a:lnTo>
                    <a:lnTo>
                      <a:pt x="7579" y="739"/>
                    </a:lnTo>
                    <a:lnTo>
                      <a:pt x="7574" y="739"/>
                    </a:lnTo>
                    <a:lnTo>
                      <a:pt x="7571" y="740"/>
                    </a:lnTo>
                    <a:lnTo>
                      <a:pt x="7566" y="740"/>
                    </a:lnTo>
                    <a:lnTo>
                      <a:pt x="7565" y="742"/>
                    </a:lnTo>
                    <a:close/>
                    <a:moveTo>
                      <a:pt x="7744" y="574"/>
                    </a:moveTo>
                    <a:lnTo>
                      <a:pt x="7747" y="577"/>
                    </a:lnTo>
                    <a:lnTo>
                      <a:pt x="7753" y="579"/>
                    </a:lnTo>
                    <a:lnTo>
                      <a:pt x="7759" y="581"/>
                    </a:lnTo>
                    <a:lnTo>
                      <a:pt x="7764" y="583"/>
                    </a:lnTo>
                    <a:lnTo>
                      <a:pt x="7772" y="585"/>
                    </a:lnTo>
                    <a:lnTo>
                      <a:pt x="7779" y="585"/>
                    </a:lnTo>
                    <a:lnTo>
                      <a:pt x="7788" y="587"/>
                    </a:lnTo>
                    <a:lnTo>
                      <a:pt x="7798" y="587"/>
                    </a:lnTo>
                    <a:lnTo>
                      <a:pt x="7805" y="587"/>
                    </a:lnTo>
                    <a:lnTo>
                      <a:pt x="7825" y="585"/>
                    </a:lnTo>
                    <a:lnTo>
                      <a:pt x="7846" y="585"/>
                    </a:lnTo>
                    <a:lnTo>
                      <a:pt x="7866" y="583"/>
                    </a:lnTo>
                    <a:lnTo>
                      <a:pt x="7884" y="581"/>
                    </a:lnTo>
                    <a:lnTo>
                      <a:pt x="7905" y="579"/>
                    </a:lnTo>
                    <a:lnTo>
                      <a:pt x="7912" y="577"/>
                    </a:lnTo>
                    <a:lnTo>
                      <a:pt x="7921" y="577"/>
                    </a:lnTo>
                    <a:lnTo>
                      <a:pt x="7928" y="577"/>
                    </a:lnTo>
                    <a:lnTo>
                      <a:pt x="7936" y="576"/>
                    </a:lnTo>
                    <a:lnTo>
                      <a:pt x="7943" y="576"/>
                    </a:lnTo>
                    <a:lnTo>
                      <a:pt x="7949" y="576"/>
                    </a:lnTo>
                    <a:lnTo>
                      <a:pt x="7954" y="577"/>
                    </a:lnTo>
                    <a:lnTo>
                      <a:pt x="7958" y="577"/>
                    </a:lnTo>
                    <a:lnTo>
                      <a:pt x="7961" y="577"/>
                    </a:lnTo>
                    <a:lnTo>
                      <a:pt x="7964" y="579"/>
                    </a:lnTo>
                    <a:lnTo>
                      <a:pt x="7966" y="579"/>
                    </a:lnTo>
                    <a:lnTo>
                      <a:pt x="7971" y="579"/>
                    </a:lnTo>
                    <a:lnTo>
                      <a:pt x="7979" y="579"/>
                    </a:lnTo>
                    <a:lnTo>
                      <a:pt x="7986" y="579"/>
                    </a:lnTo>
                    <a:lnTo>
                      <a:pt x="7994" y="579"/>
                    </a:lnTo>
                    <a:lnTo>
                      <a:pt x="8002" y="579"/>
                    </a:lnTo>
                    <a:lnTo>
                      <a:pt x="8010" y="579"/>
                    </a:lnTo>
                    <a:lnTo>
                      <a:pt x="8017" y="579"/>
                    </a:lnTo>
                    <a:lnTo>
                      <a:pt x="8022" y="579"/>
                    </a:lnTo>
                    <a:lnTo>
                      <a:pt x="8028" y="579"/>
                    </a:lnTo>
                    <a:lnTo>
                      <a:pt x="8032" y="579"/>
                    </a:lnTo>
                    <a:lnTo>
                      <a:pt x="8035" y="579"/>
                    </a:lnTo>
                    <a:lnTo>
                      <a:pt x="8040" y="579"/>
                    </a:lnTo>
                    <a:lnTo>
                      <a:pt x="8045" y="579"/>
                    </a:lnTo>
                    <a:lnTo>
                      <a:pt x="8050" y="581"/>
                    </a:lnTo>
                    <a:lnTo>
                      <a:pt x="8063" y="581"/>
                    </a:lnTo>
                    <a:lnTo>
                      <a:pt x="8075" y="585"/>
                    </a:lnTo>
                    <a:lnTo>
                      <a:pt x="8081" y="587"/>
                    </a:lnTo>
                    <a:lnTo>
                      <a:pt x="8088" y="589"/>
                    </a:lnTo>
                    <a:lnTo>
                      <a:pt x="8094" y="591"/>
                    </a:lnTo>
                    <a:lnTo>
                      <a:pt x="8101" y="594"/>
                    </a:lnTo>
                    <a:lnTo>
                      <a:pt x="8106" y="597"/>
                    </a:lnTo>
                    <a:lnTo>
                      <a:pt x="8109" y="604"/>
                    </a:lnTo>
                    <a:lnTo>
                      <a:pt x="8114" y="609"/>
                    </a:lnTo>
                    <a:lnTo>
                      <a:pt x="8119" y="615"/>
                    </a:lnTo>
                    <a:lnTo>
                      <a:pt x="8111" y="615"/>
                    </a:lnTo>
                    <a:lnTo>
                      <a:pt x="8108" y="615"/>
                    </a:lnTo>
                    <a:lnTo>
                      <a:pt x="8102" y="617"/>
                    </a:lnTo>
                    <a:lnTo>
                      <a:pt x="8098" y="617"/>
                    </a:lnTo>
                    <a:lnTo>
                      <a:pt x="8094" y="618"/>
                    </a:lnTo>
                    <a:lnTo>
                      <a:pt x="8093" y="620"/>
                    </a:lnTo>
                    <a:lnTo>
                      <a:pt x="8091" y="622"/>
                    </a:lnTo>
                    <a:lnTo>
                      <a:pt x="8091" y="624"/>
                    </a:lnTo>
                    <a:lnTo>
                      <a:pt x="8089" y="624"/>
                    </a:lnTo>
                    <a:lnTo>
                      <a:pt x="8089" y="625"/>
                    </a:lnTo>
                    <a:lnTo>
                      <a:pt x="8091" y="627"/>
                    </a:lnTo>
                    <a:lnTo>
                      <a:pt x="8091" y="629"/>
                    </a:lnTo>
                    <a:lnTo>
                      <a:pt x="8093" y="629"/>
                    </a:lnTo>
                    <a:lnTo>
                      <a:pt x="8094" y="631"/>
                    </a:lnTo>
                    <a:lnTo>
                      <a:pt x="8102" y="631"/>
                    </a:lnTo>
                    <a:lnTo>
                      <a:pt x="8113" y="637"/>
                    </a:lnTo>
                    <a:lnTo>
                      <a:pt x="8126" y="642"/>
                    </a:lnTo>
                    <a:lnTo>
                      <a:pt x="8139" y="644"/>
                    </a:lnTo>
                    <a:lnTo>
                      <a:pt x="8150" y="646"/>
                    </a:lnTo>
                    <a:lnTo>
                      <a:pt x="8162" y="648"/>
                    </a:lnTo>
                    <a:lnTo>
                      <a:pt x="8170" y="648"/>
                    </a:lnTo>
                    <a:lnTo>
                      <a:pt x="8180" y="648"/>
                    </a:lnTo>
                    <a:lnTo>
                      <a:pt x="8187" y="648"/>
                    </a:lnTo>
                    <a:lnTo>
                      <a:pt x="8213" y="648"/>
                    </a:lnTo>
                    <a:lnTo>
                      <a:pt x="8226" y="648"/>
                    </a:lnTo>
                    <a:lnTo>
                      <a:pt x="8236" y="646"/>
                    </a:lnTo>
                    <a:lnTo>
                      <a:pt x="8248" y="644"/>
                    </a:lnTo>
                    <a:lnTo>
                      <a:pt x="8257" y="642"/>
                    </a:lnTo>
                    <a:lnTo>
                      <a:pt x="8266" y="637"/>
                    </a:lnTo>
                    <a:lnTo>
                      <a:pt x="8274" y="631"/>
                    </a:lnTo>
                    <a:lnTo>
                      <a:pt x="8279" y="624"/>
                    </a:lnTo>
                    <a:lnTo>
                      <a:pt x="8281" y="620"/>
                    </a:lnTo>
                    <a:lnTo>
                      <a:pt x="8282" y="617"/>
                    </a:lnTo>
                    <a:lnTo>
                      <a:pt x="8282" y="612"/>
                    </a:lnTo>
                    <a:lnTo>
                      <a:pt x="8285" y="607"/>
                    </a:lnTo>
                    <a:lnTo>
                      <a:pt x="8285" y="604"/>
                    </a:lnTo>
                    <a:lnTo>
                      <a:pt x="8285" y="600"/>
                    </a:lnTo>
                    <a:lnTo>
                      <a:pt x="8282" y="596"/>
                    </a:lnTo>
                    <a:lnTo>
                      <a:pt x="8281" y="592"/>
                    </a:lnTo>
                    <a:lnTo>
                      <a:pt x="8279" y="589"/>
                    </a:lnTo>
                    <a:lnTo>
                      <a:pt x="8275" y="585"/>
                    </a:lnTo>
                    <a:lnTo>
                      <a:pt x="8272" y="583"/>
                    </a:lnTo>
                    <a:lnTo>
                      <a:pt x="8266" y="581"/>
                    </a:lnTo>
                    <a:lnTo>
                      <a:pt x="8262" y="579"/>
                    </a:lnTo>
                    <a:lnTo>
                      <a:pt x="8256" y="579"/>
                    </a:lnTo>
                    <a:lnTo>
                      <a:pt x="8262" y="574"/>
                    </a:lnTo>
                    <a:lnTo>
                      <a:pt x="8272" y="571"/>
                    </a:lnTo>
                    <a:lnTo>
                      <a:pt x="8281" y="566"/>
                    </a:lnTo>
                    <a:lnTo>
                      <a:pt x="8290" y="563"/>
                    </a:lnTo>
                    <a:lnTo>
                      <a:pt x="8300" y="559"/>
                    </a:lnTo>
                    <a:lnTo>
                      <a:pt x="8309" y="556"/>
                    </a:lnTo>
                    <a:lnTo>
                      <a:pt x="8318" y="551"/>
                    </a:lnTo>
                    <a:lnTo>
                      <a:pt x="8325" y="544"/>
                    </a:lnTo>
                    <a:lnTo>
                      <a:pt x="8323" y="544"/>
                    </a:lnTo>
                    <a:lnTo>
                      <a:pt x="8322" y="543"/>
                    </a:lnTo>
                    <a:lnTo>
                      <a:pt x="8318" y="541"/>
                    </a:lnTo>
                    <a:lnTo>
                      <a:pt x="8315" y="538"/>
                    </a:lnTo>
                    <a:lnTo>
                      <a:pt x="8309" y="537"/>
                    </a:lnTo>
                    <a:lnTo>
                      <a:pt x="8305" y="537"/>
                    </a:lnTo>
                    <a:lnTo>
                      <a:pt x="8303" y="538"/>
                    </a:lnTo>
                    <a:lnTo>
                      <a:pt x="8300" y="538"/>
                    </a:lnTo>
                    <a:lnTo>
                      <a:pt x="8295" y="541"/>
                    </a:lnTo>
                    <a:lnTo>
                      <a:pt x="8294" y="543"/>
                    </a:lnTo>
                    <a:lnTo>
                      <a:pt x="8290" y="544"/>
                    </a:lnTo>
                    <a:lnTo>
                      <a:pt x="8295" y="538"/>
                    </a:lnTo>
                    <a:lnTo>
                      <a:pt x="8303" y="535"/>
                    </a:lnTo>
                    <a:lnTo>
                      <a:pt x="8307" y="531"/>
                    </a:lnTo>
                    <a:lnTo>
                      <a:pt x="8312" y="528"/>
                    </a:lnTo>
                    <a:lnTo>
                      <a:pt x="8312" y="526"/>
                    </a:lnTo>
                    <a:lnTo>
                      <a:pt x="8315" y="524"/>
                    </a:lnTo>
                    <a:lnTo>
                      <a:pt x="8315" y="520"/>
                    </a:lnTo>
                    <a:lnTo>
                      <a:pt x="8315" y="518"/>
                    </a:lnTo>
                    <a:lnTo>
                      <a:pt x="8312" y="517"/>
                    </a:lnTo>
                    <a:lnTo>
                      <a:pt x="8310" y="515"/>
                    </a:lnTo>
                    <a:lnTo>
                      <a:pt x="8307" y="511"/>
                    </a:lnTo>
                    <a:lnTo>
                      <a:pt x="8294" y="511"/>
                    </a:lnTo>
                    <a:lnTo>
                      <a:pt x="8282" y="513"/>
                    </a:lnTo>
                    <a:lnTo>
                      <a:pt x="8270" y="515"/>
                    </a:lnTo>
                    <a:lnTo>
                      <a:pt x="8259" y="517"/>
                    </a:lnTo>
                    <a:lnTo>
                      <a:pt x="8248" y="518"/>
                    </a:lnTo>
                    <a:lnTo>
                      <a:pt x="8242" y="518"/>
                    </a:lnTo>
                    <a:lnTo>
                      <a:pt x="8236" y="518"/>
                    </a:lnTo>
                    <a:lnTo>
                      <a:pt x="8233" y="517"/>
                    </a:lnTo>
                    <a:lnTo>
                      <a:pt x="8229" y="517"/>
                    </a:lnTo>
                    <a:lnTo>
                      <a:pt x="8226" y="515"/>
                    </a:lnTo>
                    <a:lnTo>
                      <a:pt x="8221" y="511"/>
                    </a:lnTo>
                    <a:lnTo>
                      <a:pt x="8224" y="507"/>
                    </a:lnTo>
                    <a:lnTo>
                      <a:pt x="8228" y="505"/>
                    </a:lnTo>
                    <a:lnTo>
                      <a:pt x="8233" y="502"/>
                    </a:lnTo>
                    <a:lnTo>
                      <a:pt x="8236" y="498"/>
                    </a:lnTo>
                    <a:lnTo>
                      <a:pt x="8242" y="497"/>
                    </a:lnTo>
                    <a:lnTo>
                      <a:pt x="8249" y="495"/>
                    </a:lnTo>
                    <a:lnTo>
                      <a:pt x="8256" y="492"/>
                    </a:lnTo>
                    <a:lnTo>
                      <a:pt x="8244" y="492"/>
                    </a:lnTo>
                    <a:lnTo>
                      <a:pt x="8233" y="490"/>
                    </a:lnTo>
                    <a:lnTo>
                      <a:pt x="8224" y="489"/>
                    </a:lnTo>
                    <a:lnTo>
                      <a:pt x="8215" y="485"/>
                    </a:lnTo>
                    <a:lnTo>
                      <a:pt x="8208" y="482"/>
                    </a:lnTo>
                    <a:lnTo>
                      <a:pt x="8200" y="480"/>
                    </a:lnTo>
                    <a:lnTo>
                      <a:pt x="8195" y="477"/>
                    </a:lnTo>
                    <a:lnTo>
                      <a:pt x="8187" y="476"/>
                    </a:lnTo>
                    <a:lnTo>
                      <a:pt x="8174" y="477"/>
                    </a:lnTo>
                    <a:lnTo>
                      <a:pt x="8162" y="480"/>
                    </a:lnTo>
                    <a:lnTo>
                      <a:pt x="8148" y="484"/>
                    </a:lnTo>
                    <a:lnTo>
                      <a:pt x="8135" y="487"/>
                    </a:lnTo>
                    <a:lnTo>
                      <a:pt x="8122" y="492"/>
                    </a:lnTo>
                    <a:lnTo>
                      <a:pt x="8109" y="498"/>
                    </a:lnTo>
                    <a:lnTo>
                      <a:pt x="8083" y="511"/>
                    </a:lnTo>
                    <a:lnTo>
                      <a:pt x="8083" y="507"/>
                    </a:lnTo>
                    <a:lnTo>
                      <a:pt x="8086" y="505"/>
                    </a:lnTo>
                    <a:lnTo>
                      <a:pt x="8088" y="502"/>
                    </a:lnTo>
                    <a:lnTo>
                      <a:pt x="8089" y="500"/>
                    </a:lnTo>
                    <a:lnTo>
                      <a:pt x="8093" y="497"/>
                    </a:lnTo>
                    <a:lnTo>
                      <a:pt x="8098" y="490"/>
                    </a:lnTo>
                    <a:lnTo>
                      <a:pt x="8104" y="485"/>
                    </a:lnTo>
                    <a:lnTo>
                      <a:pt x="8104" y="484"/>
                    </a:lnTo>
                    <a:lnTo>
                      <a:pt x="8106" y="480"/>
                    </a:lnTo>
                    <a:lnTo>
                      <a:pt x="8106" y="476"/>
                    </a:lnTo>
                    <a:lnTo>
                      <a:pt x="8106" y="470"/>
                    </a:lnTo>
                    <a:lnTo>
                      <a:pt x="8104" y="465"/>
                    </a:lnTo>
                    <a:lnTo>
                      <a:pt x="8102" y="459"/>
                    </a:lnTo>
                    <a:lnTo>
                      <a:pt x="8101" y="456"/>
                    </a:lnTo>
                    <a:lnTo>
                      <a:pt x="8098" y="454"/>
                    </a:lnTo>
                    <a:lnTo>
                      <a:pt x="8096" y="452"/>
                    </a:lnTo>
                    <a:lnTo>
                      <a:pt x="8093" y="449"/>
                    </a:lnTo>
                    <a:lnTo>
                      <a:pt x="8089" y="449"/>
                    </a:lnTo>
                    <a:lnTo>
                      <a:pt x="8083" y="446"/>
                    </a:lnTo>
                    <a:lnTo>
                      <a:pt x="8073" y="444"/>
                    </a:lnTo>
                    <a:lnTo>
                      <a:pt x="8061" y="443"/>
                    </a:lnTo>
                    <a:lnTo>
                      <a:pt x="8050" y="443"/>
                    </a:lnTo>
                    <a:lnTo>
                      <a:pt x="8045" y="443"/>
                    </a:lnTo>
                    <a:lnTo>
                      <a:pt x="8040" y="441"/>
                    </a:lnTo>
                    <a:lnTo>
                      <a:pt x="8035" y="441"/>
                    </a:lnTo>
                    <a:lnTo>
                      <a:pt x="8032" y="441"/>
                    </a:lnTo>
                    <a:lnTo>
                      <a:pt x="8006" y="443"/>
                    </a:lnTo>
                    <a:lnTo>
                      <a:pt x="7979" y="443"/>
                    </a:lnTo>
                    <a:lnTo>
                      <a:pt x="7949" y="443"/>
                    </a:lnTo>
                    <a:lnTo>
                      <a:pt x="7921" y="446"/>
                    </a:lnTo>
                    <a:lnTo>
                      <a:pt x="7907" y="449"/>
                    </a:lnTo>
                    <a:lnTo>
                      <a:pt x="7892" y="450"/>
                    </a:lnTo>
                    <a:lnTo>
                      <a:pt x="7877" y="454"/>
                    </a:lnTo>
                    <a:lnTo>
                      <a:pt x="7862" y="456"/>
                    </a:lnTo>
                    <a:lnTo>
                      <a:pt x="7849" y="461"/>
                    </a:lnTo>
                    <a:lnTo>
                      <a:pt x="7834" y="465"/>
                    </a:lnTo>
                    <a:lnTo>
                      <a:pt x="7821" y="470"/>
                    </a:lnTo>
                    <a:lnTo>
                      <a:pt x="7808" y="476"/>
                    </a:lnTo>
                    <a:lnTo>
                      <a:pt x="7813" y="480"/>
                    </a:lnTo>
                    <a:lnTo>
                      <a:pt x="7816" y="482"/>
                    </a:lnTo>
                    <a:lnTo>
                      <a:pt x="7820" y="484"/>
                    </a:lnTo>
                    <a:lnTo>
                      <a:pt x="7823" y="484"/>
                    </a:lnTo>
                    <a:lnTo>
                      <a:pt x="7829" y="484"/>
                    </a:lnTo>
                    <a:lnTo>
                      <a:pt x="7833" y="484"/>
                    </a:lnTo>
                    <a:lnTo>
                      <a:pt x="7844" y="484"/>
                    </a:lnTo>
                    <a:lnTo>
                      <a:pt x="7853" y="482"/>
                    </a:lnTo>
                    <a:lnTo>
                      <a:pt x="7862" y="480"/>
                    </a:lnTo>
                    <a:lnTo>
                      <a:pt x="7869" y="477"/>
                    </a:lnTo>
                    <a:lnTo>
                      <a:pt x="7877" y="476"/>
                    </a:lnTo>
                    <a:lnTo>
                      <a:pt x="7864" y="489"/>
                    </a:lnTo>
                    <a:lnTo>
                      <a:pt x="7857" y="495"/>
                    </a:lnTo>
                    <a:lnTo>
                      <a:pt x="7849" y="500"/>
                    </a:lnTo>
                    <a:lnTo>
                      <a:pt x="7840" y="503"/>
                    </a:lnTo>
                    <a:lnTo>
                      <a:pt x="7831" y="507"/>
                    </a:lnTo>
                    <a:lnTo>
                      <a:pt x="7821" y="511"/>
                    </a:lnTo>
                    <a:lnTo>
                      <a:pt x="7808" y="511"/>
                    </a:lnTo>
                    <a:lnTo>
                      <a:pt x="7818" y="513"/>
                    </a:lnTo>
                    <a:lnTo>
                      <a:pt x="7827" y="515"/>
                    </a:lnTo>
                    <a:lnTo>
                      <a:pt x="7836" y="515"/>
                    </a:lnTo>
                    <a:lnTo>
                      <a:pt x="7846" y="513"/>
                    </a:lnTo>
                    <a:lnTo>
                      <a:pt x="7853" y="511"/>
                    </a:lnTo>
                    <a:lnTo>
                      <a:pt x="7862" y="510"/>
                    </a:lnTo>
                    <a:lnTo>
                      <a:pt x="7877" y="502"/>
                    </a:lnTo>
                    <a:lnTo>
                      <a:pt x="7894" y="497"/>
                    </a:lnTo>
                    <a:lnTo>
                      <a:pt x="7900" y="492"/>
                    </a:lnTo>
                    <a:lnTo>
                      <a:pt x="7910" y="490"/>
                    </a:lnTo>
                    <a:lnTo>
                      <a:pt x="7920" y="490"/>
                    </a:lnTo>
                    <a:lnTo>
                      <a:pt x="7927" y="490"/>
                    </a:lnTo>
                    <a:lnTo>
                      <a:pt x="7936" y="490"/>
                    </a:lnTo>
                    <a:lnTo>
                      <a:pt x="7947" y="492"/>
                    </a:lnTo>
                    <a:lnTo>
                      <a:pt x="7940" y="500"/>
                    </a:lnTo>
                    <a:lnTo>
                      <a:pt x="7934" y="503"/>
                    </a:lnTo>
                    <a:lnTo>
                      <a:pt x="7927" y="507"/>
                    </a:lnTo>
                    <a:lnTo>
                      <a:pt x="7921" y="510"/>
                    </a:lnTo>
                    <a:lnTo>
                      <a:pt x="7913" y="510"/>
                    </a:lnTo>
                    <a:lnTo>
                      <a:pt x="7907" y="511"/>
                    </a:lnTo>
                    <a:lnTo>
                      <a:pt x="7895" y="511"/>
                    </a:lnTo>
                    <a:lnTo>
                      <a:pt x="7900" y="517"/>
                    </a:lnTo>
                    <a:lnTo>
                      <a:pt x="7910" y="520"/>
                    </a:lnTo>
                    <a:lnTo>
                      <a:pt x="7920" y="522"/>
                    </a:lnTo>
                    <a:lnTo>
                      <a:pt x="7928" y="524"/>
                    </a:lnTo>
                    <a:lnTo>
                      <a:pt x="7938" y="522"/>
                    </a:lnTo>
                    <a:lnTo>
                      <a:pt x="7947" y="520"/>
                    </a:lnTo>
                    <a:lnTo>
                      <a:pt x="7938" y="524"/>
                    </a:lnTo>
                    <a:lnTo>
                      <a:pt x="7928" y="526"/>
                    </a:lnTo>
                    <a:lnTo>
                      <a:pt x="7920" y="528"/>
                    </a:lnTo>
                    <a:lnTo>
                      <a:pt x="7910" y="528"/>
                    </a:lnTo>
                    <a:lnTo>
                      <a:pt x="7900" y="528"/>
                    </a:lnTo>
                    <a:lnTo>
                      <a:pt x="7895" y="528"/>
                    </a:lnTo>
                    <a:lnTo>
                      <a:pt x="7895" y="533"/>
                    </a:lnTo>
                    <a:lnTo>
                      <a:pt x="7897" y="538"/>
                    </a:lnTo>
                    <a:lnTo>
                      <a:pt x="7900" y="541"/>
                    </a:lnTo>
                    <a:lnTo>
                      <a:pt x="7905" y="543"/>
                    </a:lnTo>
                    <a:lnTo>
                      <a:pt x="7910" y="544"/>
                    </a:lnTo>
                    <a:lnTo>
                      <a:pt x="7915" y="544"/>
                    </a:lnTo>
                    <a:lnTo>
                      <a:pt x="7928" y="544"/>
                    </a:lnTo>
                    <a:lnTo>
                      <a:pt x="7921" y="551"/>
                    </a:lnTo>
                    <a:lnTo>
                      <a:pt x="7913" y="556"/>
                    </a:lnTo>
                    <a:lnTo>
                      <a:pt x="7905" y="557"/>
                    </a:lnTo>
                    <a:lnTo>
                      <a:pt x="7895" y="559"/>
                    </a:lnTo>
                    <a:lnTo>
                      <a:pt x="7884" y="557"/>
                    </a:lnTo>
                    <a:lnTo>
                      <a:pt x="7875" y="556"/>
                    </a:lnTo>
                    <a:lnTo>
                      <a:pt x="7867" y="551"/>
                    </a:lnTo>
                    <a:lnTo>
                      <a:pt x="7860" y="544"/>
                    </a:lnTo>
                    <a:lnTo>
                      <a:pt x="7847" y="544"/>
                    </a:lnTo>
                    <a:lnTo>
                      <a:pt x="7833" y="546"/>
                    </a:lnTo>
                    <a:lnTo>
                      <a:pt x="7816" y="546"/>
                    </a:lnTo>
                    <a:lnTo>
                      <a:pt x="7800" y="548"/>
                    </a:lnTo>
                    <a:lnTo>
                      <a:pt x="7785" y="550"/>
                    </a:lnTo>
                    <a:lnTo>
                      <a:pt x="7768" y="551"/>
                    </a:lnTo>
                    <a:lnTo>
                      <a:pt x="7753" y="557"/>
                    </a:lnTo>
                    <a:lnTo>
                      <a:pt x="7740" y="563"/>
                    </a:lnTo>
                    <a:lnTo>
                      <a:pt x="7740" y="566"/>
                    </a:lnTo>
                    <a:lnTo>
                      <a:pt x="7742" y="572"/>
                    </a:lnTo>
                    <a:lnTo>
                      <a:pt x="7744" y="574"/>
                    </a:lnTo>
                    <a:close/>
                    <a:moveTo>
                      <a:pt x="8012" y="668"/>
                    </a:moveTo>
                    <a:lnTo>
                      <a:pt x="8010" y="661"/>
                    </a:lnTo>
                    <a:lnTo>
                      <a:pt x="8010" y="657"/>
                    </a:lnTo>
                    <a:lnTo>
                      <a:pt x="8010" y="653"/>
                    </a:lnTo>
                    <a:lnTo>
                      <a:pt x="8007" y="650"/>
                    </a:lnTo>
                    <a:lnTo>
                      <a:pt x="8006" y="648"/>
                    </a:lnTo>
                    <a:lnTo>
                      <a:pt x="8004" y="646"/>
                    </a:lnTo>
                    <a:lnTo>
                      <a:pt x="8002" y="644"/>
                    </a:lnTo>
                    <a:lnTo>
                      <a:pt x="8001" y="642"/>
                    </a:lnTo>
                    <a:lnTo>
                      <a:pt x="7995" y="642"/>
                    </a:lnTo>
                    <a:lnTo>
                      <a:pt x="7989" y="640"/>
                    </a:lnTo>
                    <a:lnTo>
                      <a:pt x="7986" y="638"/>
                    </a:lnTo>
                    <a:lnTo>
                      <a:pt x="7984" y="637"/>
                    </a:lnTo>
                    <a:lnTo>
                      <a:pt x="7981" y="635"/>
                    </a:lnTo>
                    <a:lnTo>
                      <a:pt x="7976" y="631"/>
                    </a:lnTo>
                    <a:lnTo>
                      <a:pt x="7973" y="631"/>
                    </a:lnTo>
                    <a:lnTo>
                      <a:pt x="7967" y="631"/>
                    </a:lnTo>
                    <a:lnTo>
                      <a:pt x="7961" y="631"/>
                    </a:lnTo>
                    <a:lnTo>
                      <a:pt x="7954" y="629"/>
                    </a:lnTo>
                    <a:lnTo>
                      <a:pt x="7947" y="629"/>
                    </a:lnTo>
                    <a:lnTo>
                      <a:pt x="7938" y="629"/>
                    </a:lnTo>
                    <a:lnTo>
                      <a:pt x="7928" y="629"/>
                    </a:lnTo>
                    <a:lnTo>
                      <a:pt x="7921" y="629"/>
                    </a:lnTo>
                    <a:lnTo>
                      <a:pt x="7912" y="631"/>
                    </a:lnTo>
                    <a:lnTo>
                      <a:pt x="7903" y="633"/>
                    </a:lnTo>
                    <a:lnTo>
                      <a:pt x="7895" y="635"/>
                    </a:lnTo>
                    <a:lnTo>
                      <a:pt x="7890" y="638"/>
                    </a:lnTo>
                    <a:lnTo>
                      <a:pt x="7884" y="644"/>
                    </a:lnTo>
                    <a:lnTo>
                      <a:pt x="7880" y="650"/>
                    </a:lnTo>
                    <a:lnTo>
                      <a:pt x="7877" y="658"/>
                    </a:lnTo>
                    <a:lnTo>
                      <a:pt x="7877" y="663"/>
                    </a:lnTo>
                    <a:lnTo>
                      <a:pt x="7877" y="668"/>
                    </a:lnTo>
                    <a:lnTo>
                      <a:pt x="7886" y="670"/>
                    </a:lnTo>
                    <a:lnTo>
                      <a:pt x="7895" y="673"/>
                    </a:lnTo>
                    <a:lnTo>
                      <a:pt x="7905" y="673"/>
                    </a:lnTo>
                    <a:lnTo>
                      <a:pt x="7913" y="676"/>
                    </a:lnTo>
                    <a:lnTo>
                      <a:pt x="7923" y="676"/>
                    </a:lnTo>
                    <a:lnTo>
                      <a:pt x="7933" y="676"/>
                    </a:lnTo>
                    <a:lnTo>
                      <a:pt x="7949" y="673"/>
                    </a:lnTo>
                    <a:lnTo>
                      <a:pt x="7967" y="671"/>
                    </a:lnTo>
                    <a:lnTo>
                      <a:pt x="7982" y="670"/>
                    </a:lnTo>
                    <a:lnTo>
                      <a:pt x="7997" y="668"/>
                    </a:lnTo>
                    <a:lnTo>
                      <a:pt x="8012" y="668"/>
                    </a:lnTo>
                    <a:close/>
                    <a:moveTo>
                      <a:pt x="7973" y="795"/>
                    </a:moveTo>
                    <a:lnTo>
                      <a:pt x="7966" y="795"/>
                    </a:lnTo>
                    <a:lnTo>
                      <a:pt x="7958" y="795"/>
                    </a:lnTo>
                    <a:lnTo>
                      <a:pt x="7953" y="798"/>
                    </a:lnTo>
                    <a:lnTo>
                      <a:pt x="7945" y="799"/>
                    </a:lnTo>
                    <a:lnTo>
                      <a:pt x="7940" y="801"/>
                    </a:lnTo>
                    <a:lnTo>
                      <a:pt x="7966" y="801"/>
                    </a:lnTo>
                    <a:lnTo>
                      <a:pt x="7994" y="801"/>
                    </a:lnTo>
                    <a:lnTo>
                      <a:pt x="7986" y="799"/>
                    </a:lnTo>
                    <a:lnTo>
                      <a:pt x="7979" y="798"/>
                    </a:lnTo>
                    <a:lnTo>
                      <a:pt x="7973" y="795"/>
                    </a:lnTo>
                    <a:close/>
                    <a:moveTo>
                      <a:pt x="8269" y="768"/>
                    </a:moveTo>
                    <a:lnTo>
                      <a:pt x="8277" y="770"/>
                    </a:lnTo>
                    <a:lnTo>
                      <a:pt x="8285" y="770"/>
                    </a:lnTo>
                    <a:lnTo>
                      <a:pt x="8289" y="770"/>
                    </a:lnTo>
                    <a:lnTo>
                      <a:pt x="8290" y="770"/>
                    </a:lnTo>
                    <a:lnTo>
                      <a:pt x="8292" y="768"/>
                    </a:lnTo>
                    <a:lnTo>
                      <a:pt x="8294" y="768"/>
                    </a:lnTo>
                    <a:lnTo>
                      <a:pt x="8294" y="765"/>
                    </a:lnTo>
                    <a:lnTo>
                      <a:pt x="8294" y="762"/>
                    </a:lnTo>
                    <a:lnTo>
                      <a:pt x="8292" y="760"/>
                    </a:lnTo>
                    <a:lnTo>
                      <a:pt x="8290" y="757"/>
                    </a:lnTo>
                    <a:lnTo>
                      <a:pt x="8282" y="757"/>
                    </a:lnTo>
                    <a:lnTo>
                      <a:pt x="8279" y="757"/>
                    </a:lnTo>
                    <a:lnTo>
                      <a:pt x="8274" y="757"/>
                    </a:lnTo>
                    <a:lnTo>
                      <a:pt x="8272" y="757"/>
                    </a:lnTo>
                    <a:lnTo>
                      <a:pt x="8269" y="757"/>
                    </a:lnTo>
                    <a:lnTo>
                      <a:pt x="8262" y="757"/>
                    </a:lnTo>
                    <a:lnTo>
                      <a:pt x="8259" y="757"/>
                    </a:lnTo>
                    <a:lnTo>
                      <a:pt x="8254" y="757"/>
                    </a:lnTo>
                    <a:lnTo>
                      <a:pt x="8261" y="762"/>
                    </a:lnTo>
                    <a:lnTo>
                      <a:pt x="8269" y="768"/>
                    </a:lnTo>
                    <a:close/>
                    <a:moveTo>
                      <a:pt x="8379" y="934"/>
                    </a:moveTo>
                    <a:lnTo>
                      <a:pt x="8389" y="926"/>
                    </a:lnTo>
                    <a:lnTo>
                      <a:pt x="8397" y="917"/>
                    </a:lnTo>
                    <a:lnTo>
                      <a:pt x="8407" y="910"/>
                    </a:lnTo>
                    <a:lnTo>
                      <a:pt x="8394" y="910"/>
                    </a:lnTo>
                    <a:lnTo>
                      <a:pt x="8383" y="912"/>
                    </a:lnTo>
                    <a:lnTo>
                      <a:pt x="8371" y="912"/>
                    </a:lnTo>
                    <a:lnTo>
                      <a:pt x="8363" y="913"/>
                    </a:lnTo>
                    <a:lnTo>
                      <a:pt x="8355" y="915"/>
                    </a:lnTo>
                    <a:lnTo>
                      <a:pt x="8348" y="920"/>
                    </a:lnTo>
                    <a:lnTo>
                      <a:pt x="8340" y="923"/>
                    </a:lnTo>
                    <a:lnTo>
                      <a:pt x="8335" y="928"/>
                    </a:lnTo>
                    <a:lnTo>
                      <a:pt x="8336" y="934"/>
                    </a:lnTo>
                    <a:lnTo>
                      <a:pt x="8342" y="939"/>
                    </a:lnTo>
                    <a:lnTo>
                      <a:pt x="8346" y="941"/>
                    </a:lnTo>
                    <a:lnTo>
                      <a:pt x="8349" y="943"/>
                    </a:lnTo>
                    <a:lnTo>
                      <a:pt x="8355" y="943"/>
                    </a:lnTo>
                    <a:lnTo>
                      <a:pt x="8361" y="943"/>
                    </a:lnTo>
                    <a:lnTo>
                      <a:pt x="8364" y="941"/>
                    </a:lnTo>
                    <a:lnTo>
                      <a:pt x="8369" y="939"/>
                    </a:lnTo>
                    <a:lnTo>
                      <a:pt x="8376" y="938"/>
                    </a:lnTo>
                    <a:lnTo>
                      <a:pt x="8379" y="934"/>
                    </a:lnTo>
                    <a:close/>
                    <a:moveTo>
                      <a:pt x="8363" y="892"/>
                    </a:moveTo>
                    <a:lnTo>
                      <a:pt x="8368" y="892"/>
                    </a:lnTo>
                    <a:lnTo>
                      <a:pt x="8371" y="890"/>
                    </a:lnTo>
                    <a:lnTo>
                      <a:pt x="8373" y="887"/>
                    </a:lnTo>
                    <a:lnTo>
                      <a:pt x="8379" y="884"/>
                    </a:lnTo>
                    <a:lnTo>
                      <a:pt x="8383" y="880"/>
                    </a:lnTo>
                    <a:lnTo>
                      <a:pt x="8389" y="873"/>
                    </a:lnTo>
                    <a:lnTo>
                      <a:pt x="8383" y="875"/>
                    </a:lnTo>
                    <a:lnTo>
                      <a:pt x="8376" y="877"/>
                    </a:lnTo>
                    <a:lnTo>
                      <a:pt x="8369" y="880"/>
                    </a:lnTo>
                    <a:lnTo>
                      <a:pt x="8364" y="882"/>
                    </a:lnTo>
                    <a:lnTo>
                      <a:pt x="8358" y="885"/>
                    </a:lnTo>
                    <a:lnTo>
                      <a:pt x="8355" y="890"/>
                    </a:lnTo>
                    <a:lnTo>
                      <a:pt x="8353" y="892"/>
                    </a:lnTo>
                    <a:lnTo>
                      <a:pt x="8358" y="892"/>
                    </a:lnTo>
                    <a:lnTo>
                      <a:pt x="8363" y="892"/>
                    </a:lnTo>
                    <a:close/>
                    <a:moveTo>
                      <a:pt x="8501" y="607"/>
                    </a:moveTo>
                    <a:lnTo>
                      <a:pt x="8497" y="611"/>
                    </a:lnTo>
                    <a:lnTo>
                      <a:pt x="8491" y="612"/>
                    </a:lnTo>
                    <a:lnTo>
                      <a:pt x="8486" y="615"/>
                    </a:lnTo>
                    <a:lnTo>
                      <a:pt x="8478" y="615"/>
                    </a:lnTo>
                    <a:lnTo>
                      <a:pt x="8473" y="615"/>
                    </a:lnTo>
                    <a:lnTo>
                      <a:pt x="8465" y="612"/>
                    </a:lnTo>
                    <a:lnTo>
                      <a:pt x="8453" y="611"/>
                    </a:lnTo>
                    <a:lnTo>
                      <a:pt x="8447" y="611"/>
                    </a:lnTo>
                    <a:lnTo>
                      <a:pt x="8442" y="611"/>
                    </a:lnTo>
                    <a:lnTo>
                      <a:pt x="8437" y="611"/>
                    </a:lnTo>
                    <a:lnTo>
                      <a:pt x="8430" y="611"/>
                    </a:lnTo>
                    <a:lnTo>
                      <a:pt x="8427" y="612"/>
                    </a:lnTo>
                    <a:lnTo>
                      <a:pt x="8423" y="615"/>
                    </a:lnTo>
                    <a:lnTo>
                      <a:pt x="8429" y="617"/>
                    </a:lnTo>
                    <a:lnTo>
                      <a:pt x="8437" y="618"/>
                    </a:lnTo>
                    <a:lnTo>
                      <a:pt x="8442" y="620"/>
                    </a:lnTo>
                    <a:lnTo>
                      <a:pt x="8449" y="624"/>
                    </a:lnTo>
                    <a:lnTo>
                      <a:pt x="8455" y="627"/>
                    </a:lnTo>
                    <a:lnTo>
                      <a:pt x="8462" y="629"/>
                    </a:lnTo>
                    <a:lnTo>
                      <a:pt x="8468" y="631"/>
                    </a:lnTo>
                    <a:lnTo>
                      <a:pt x="8475" y="631"/>
                    </a:lnTo>
                    <a:lnTo>
                      <a:pt x="8470" y="633"/>
                    </a:lnTo>
                    <a:lnTo>
                      <a:pt x="8463" y="633"/>
                    </a:lnTo>
                    <a:lnTo>
                      <a:pt x="8458" y="633"/>
                    </a:lnTo>
                    <a:lnTo>
                      <a:pt x="8455" y="635"/>
                    </a:lnTo>
                    <a:lnTo>
                      <a:pt x="8453" y="637"/>
                    </a:lnTo>
                    <a:lnTo>
                      <a:pt x="8449" y="637"/>
                    </a:lnTo>
                    <a:lnTo>
                      <a:pt x="8447" y="638"/>
                    </a:lnTo>
                    <a:lnTo>
                      <a:pt x="8447" y="640"/>
                    </a:lnTo>
                    <a:lnTo>
                      <a:pt x="8445" y="642"/>
                    </a:lnTo>
                    <a:lnTo>
                      <a:pt x="8447" y="644"/>
                    </a:lnTo>
                    <a:lnTo>
                      <a:pt x="8447" y="646"/>
                    </a:lnTo>
                    <a:lnTo>
                      <a:pt x="8449" y="648"/>
                    </a:lnTo>
                    <a:lnTo>
                      <a:pt x="8453" y="648"/>
                    </a:lnTo>
                    <a:lnTo>
                      <a:pt x="8458" y="648"/>
                    </a:lnTo>
                    <a:lnTo>
                      <a:pt x="8484" y="648"/>
                    </a:lnTo>
                    <a:lnTo>
                      <a:pt x="8491" y="648"/>
                    </a:lnTo>
                    <a:lnTo>
                      <a:pt x="8490" y="646"/>
                    </a:lnTo>
                    <a:lnTo>
                      <a:pt x="8490" y="644"/>
                    </a:lnTo>
                    <a:lnTo>
                      <a:pt x="8491" y="644"/>
                    </a:lnTo>
                    <a:lnTo>
                      <a:pt x="8495" y="642"/>
                    </a:lnTo>
                    <a:lnTo>
                      <a:pt x="8499" y="640"/>
                    </a:lnTo>
                    <a:lnTo>
                      <a:pt x="8503" y="638"/>
                    </a:lnTo>
                    <a:lnTo>
                      <a:pt x="8506" y="637"/>
                    </a:lnTo>
                    <a:lnTo>
                      <a:pt x="8511" y="637"/>
                    </a:lnTo>
                    <a:lnTo>
                      <a:pt x="8516" y="635"/>
                    </a:lnTo>
                    <a:lnTo>
                      <a:pt x="8521" y="633"/>
                    </a:lnTo>
                    <a:lnTo>
                      <a:pt x="8523" y="633"/>
                    </a:lnTo>
                    <a:lnTo>
                      <a:pt x="8524" y="633"/>
                    </a:lnTo>
                    <a:lnTo>
                      <a:pt x="8526" y="631"/>
                    </a:lnTo>
                    <a:lnTo>
                      <a:pt x="8537" y="631"/>
                    </a:lnTo>
                    <a:lnTo>
                      <a:pt x="8549" y="631"/>
                    </a:lnTo>
                    <a:lnTo>
                      <a:pt x="8558" y="631"/>
                    </a:lnTo>
                    <a:lnTo>
                      <a:pt x="8567" y="631"/>
                    </a:lnTo>
                    <a:lnTo>
                      <a:pt x="8575" y="631"/>
                    </a:lnTo>
                    <a:lnTo>
                      <a:pt x="8582" y="631"/>
                    </a:lnTo>
                    <a:lnTo>
                      <a:pt x="8595" y="631"/>
                    </a:lnTo>
                    <a:lnTo>
                      <a:pt x="8613" y="631"/>
                    </a:lnTo>
                    <a:lnTo>
                      <a:pt x="8631" y="631"/>
                    </a:lnTo>
                    <a:lnTo>
                      <a:pt x="8648" y="631"/>
                    </a:lnTo>
                    <a:lnTo>
                      <a:pt x="8663" y="629"/>
                    </a:lnTo>
                    <a:lnTo>
                      <a:pt x="8680" y="627"/>
                    </a:lnTo>
                    <a:lnTo>
                      <a:pt x="8697" y="625"/>
                    </a:lnTo>
                    <a:lnTo>
                      <a:pt x="8715" y="620"/>
                    </a:lnTo>
                    <a:lnTo>
                      <a:pt x="8733" y="615"/>
                    </a:lnTo>
                    <a:lnTo>
                      <a:pt x="8728" y="609"/>
                    </a:lnTo>
                    <a:lnTo>
                      <a:pt x="8722" y="605"/>
                    </a:lnTo>
                    <a:lnTo>
                      <a:pt x="8718" y="602"/>
                    </a:lnTo>
                    <a:lnTo>
                      <a:pt x="8715" y="600"/>
                    </a:lnTo>
                    <a:lnTo>
                      <a:pt x="8713" y="600"/>
                    </a:lnTo>
                    <a:lnTo>
                      <a:pt x="8709" y="597"/>
                    </a:lnTo>
                    <a:lnTo>
                      <a:pt x="8704" y="597"/>
                    </a:lnTo>
                    <a:lnTo>
                      <a:pt x="8698" y="597"/>
                    </a:lnTo>
                    <a:lnTo>
                      <a:pt x="8705" y="592"/>
                    </a:lnTo>
                    <a:lnTo>
                      <a:pt x="8715" y="589"/>
                    </a:lnTo>
                    <a:lnTo>
                      <a:pt x="8724" y="585"/>
                    </a:lnTo>
                    <a:lnTo>
                      <a:pt x="8735" y="583"/>
                    </a:lnTo>
                    <a:lnTo>
                      <a:pt x="8746" y="581"/>
                    </a:lnTo>
                    <a:lnTo>
                      <a:pt x="8759" y="581"/>
                    </a:lnTo>
                    <a:lnTo>
                      <a:pt x="8784" y="581"/>
                    </a:lnTo>
                    <a:lnTo>
                      <a:pt x="8778" y="576"/>
                    </a:lnTo>
                    <a:lnTo>
                      <a:pt x="8770" y="571"/>
                    </a:lnTo>
                    <a:lnTo>
                      <a:pt x="8763" y="566"/>
                    </a:lnTo>
                    <a:lnTo>
                      <a:pt x="8756" y="564"/>
                    </a:lnTo>
                    <a:lnTo>
                      <a:pt x="8748" y="563"/>
                    </a:lnTo>
                    <a:lnTo>
                      <a:pt x="8741" y="561"/>
                    </a:lnTo>
                    <a:lnTo>
                      <a:pt x="8724" y="557"/>
                    </a:lnTo>
                    <a:lnTo>
                      <a:pt x="8707" y="557"/>
                    </a:lnTo>
                    <a:lnTo>
                      <a:pt x="8692" y="556"/>
                    </a:lnTo>
                    <a:lnTo>
                      <a:pt x="8685" y="553"/>
                    </a:lnTo>
                    <a:lnTo>
                      <a:pt x="8677" y="551"/>
                    </a:lnTo>
                    <a:lnTo>
                      <a:pt x="8671" y="550"/>
                    </a:lnTo>
                    <a:lnTo>
                      <a:pt x="8665" y="548"/>
                    </a:lnTo>
                    <a:lnTo>
                      <a:pt x="8667" y="548"/>
                    </a:lnTo>
                    <a:lnTo>
                      <a:pt x="8669" y="548"/>
                    </a:lnTo>
                    <a:lnTo>
                      <a:pt x="8671" y="548"/>
                    </a:lnTo>
                    <a:lnTo>
                      <a:pt x="8672" y="546"/>
                    </a:lnTo>
                    <a:lnTo>
                      <a:pt x="8674" y="546"/>
                    </a:lnTo>
                    <a:lnTo>
                      <a:pt x="8672" y="544"/>
                    </a:lnTo>
                    <a:lnTo>
                      <a:pt x="8671" y="544"/>
                    </a:lnTo>
                    <a:lnTo>
                      <a:pt x="8667" y="543"/>
                    </a:lnTo>
                    <a:lnTo>
                      <a:pt x="8663" y="541"/>
                    </a:lnTo>
                    <a:lnTo>
                      <a:pt x="8657" y="538"/>
                    </a:lnTo>
                    <a:lnTo>
                      <a:pt x="8652" y="537"/>
                    </a:lnTo>
                    <a:lnTo>
                      <a:pt x="8644" y="537"/>
                    </a:lnTo>
                    <a:lnTo>
                      <a:pt x="8631" y="533"/>
                    </a:lnTo>
                    <a:lnTo>
                      <a:pt x="8626" y="533"/>
                    </a:lnTo>
                    <a:lnTo>
                      <a:pt x="8621" y="531"/>
                    </a:lnTo>
                    <a:lnTo>
                      <a:pt x="8617" y="531"/>
                    </a:lnTo>
                    <a:lnTo>
                      <a:pt x="8613" y="531"/>
                    </a:lnTo>
                    <a:lnTo>
                      <a:pt x="8606" y="526"/>
                    </a:lnTo>
                    <a:lnTo>
                      <a:pt x="8598" y="520"/>
                    </a:lnTo>
                    <a:lnTo>
                      <a:pt x="8591" y="518"/>
                    </a:lnTo>
                    <a:lnTo>
                      <a:pt x="8583" y="517"/>
                    </a:lnTo>
                    <a:lnTo>
                      <a:pt x="8577" y="515"/>
                    </a:lnTo>
                    <a:lnTo>
                      <a:pt x="8567" y="515"/>
                    </a:lnTo>
                    <a:lnTo>
                      <a:pt x="8556" y="513"/>
                    </a:lnTo>
                    <a:lnTo>
                      <a:pt x="8544" y="513"/>
                    </a:lnTo>
                    <a:lnTo>
                      <a:pt x="8539" y="515"/>
                    </a:lnTo>
                    <a:lnTo>
                      <a:pt x="8534" y="515"/>
                    </a:lnTo>
                    <a:lnTo>
                      <a:pt x="8529" y="515"/>
                    </a:lnTo>
                    <a:lnTo>
                      <a:pt x="8521" y="517"/>
                    </a:lnTo>
                    <a:lnTo>
                      <a:pt x="8514" y="518"/>
                    </a:lnTo>
                    <a:lnTo>
                      <a:pt x="8504" y="520"/>
                    </a:lnTo>
                    <a:lnTo>
                      <a:pt x="8497" y="522"/>
                    </a:lnTo>
                    <a:lnTo>
                      <a:pt x="8490" y="524"/>
                    </a:lnTo>
                    <a:lnTo>
                      <a:pt x="8483" y="528"/>
                    </a:lnTo>
                    <a:lnTo>
                      <a:pt x="8476" y="530"/>
                    </a:lnTo>
                    <a:lnTo>
                      <a:pt x="8471" y="533"/>
                    </a:lnTo>
                    <a:lnTo>
                      <a:pt x="8470" y="535"/>
                    </a:lnTo>
                    <a:lnTo>
                      <a:pt x="8468" y="537"/>
                    </a:lnTo>
                    <a:lnTo>
                      <a:pt x="8468" y="538"/>
                    </a:lnTo>
                    <a:lnTo>
                      <a:pt x="8468" y="541"/>
                    </a:lnTo>
                    <a:lnTo>
                      <a:pt x="8468" y="543"/>
                    </a:lnTo>
                    <a:lnTo>
                      <a:pt x="8470" y="544"/>
                    </a:lnTo>
                    <a:lnTo>
                      <a:pt x="8471" y="546"/>
                    </a:lnTo>
                    <a:lnTo>
                      <a:pt x="8475" y="548"/>
                    </a:lnTo>
                    <a:lnTo>
                      <a:pt x="8462" y="548"/>
                    </a:lnTo>
                    <a:lnTo>
                      <a:pt x="8455" y="548"/>
                    </a:lnTo>
                    <a:lnTo>
                      <a:pt x="8449" y="550"/>
                    </a:lnTo>
                    <a:lnTo>
                      <a:pt x="8442" y="551"/>
                    </a:lnTo>
                    <a:lnTo>
                      <a:pt x="8437" y="556"/>
                    </a:lnTo>
                    <a:lnTo>
                      <a:pt x="8429" y="559"/>
                    </a:lnTo>
                    <a:lnTo>
                      <a:pt x="8423" y="564"/>
                    </a:lnTo>
                    <a:lnTo>
                      <a:pt x="8429" y="564"/>
                    </a:lnTo>
                    <a:lnTo>
                      <a:pt x="8432" y="564"/>
                    </a:lnTo>
                    <a:lnTo>
                      <a:pt x="8437" y="564"/>
                    </a:lnTo>
                    <a:lnTo>
                      <a:pt x="8438" y="564"/>
                    </a:lnTo>
                    <a:lnTo>
                      <a:pt x="8440" y="564"/>
                    </a:lnTo>
                    <a:lnTo>
                      <a:pt x="8438" y="566"/>
                    </a:lnTo>
                    <a:lnTo>
                      <a:pt x="8434" y="568"/>
                    </a:lnTo>
                    <a:lnTo>
                      <a:pt x="8432" y="568"/>
                    </a:lnTo>
                    <a:lnTo>
                      <a:pt x="8432" y="571"/>
                    </a:lnTo>
                    <a:lnTo>
                      <a:pt x="8430" y="572"/>
                    </a:lnTo>
                    <a:lnTo>
                      <a:pt x="8430" y="574"/>
                    </a:lnTo>
                    <a:lnTo>
                      <a:pt x="8432" y="576"/>
                    </a:lnTo>
                    <a:lnTo>
                      <a:pt x="8434" y="577"/>
                    </a:lnTo>
                    <a:lnTo>
                      <a:pt x="8438" y="579"/>
                    </a:lnTo>
                    <a:lnTo>
                      <a:pt x="8440" y="581"/>
                    </a:lnTo>
                    <a:lnTo>
                      <a:pt x="8443" y="583"/>
                    </a:lnTo>
                    <a:lnTo>
                      <a:pt x="8447" y="585"/>
                    </a:lnTo>
                    <a:lnTo>
                      <a:pt x="8449" y="587"/>
                    </a:lnTo>
                    <a:lnTo>
                      <a:pt x="8450" y="589"/>
                    </a:lnTo>
                    <a:lnTo>
                      <a:pt x="8450" y="591"/>
                    </a:lnTo>
                    <a:lnTo>
                      <a:pt x="8449" y="592"/>
                    </a:lnTo>
                    <a:lnTo>
                      <a:pt x="8447" y="594"/>
                    </a:lnTo>
                    <a:lnTo>
                      <a:pt x="8445" y="596"/>
                    </a:lnTo>
                    <a:lnTo>
                      <a:pt x="8443" y="596"/>
                    </a:lnTo>
                    <a:lnTo>
                      <a:pt x="8440" y="597"/>
                    </a:lnTo>
                    <a:lnTo>
                      <a:pt x="8447" y="597"/>
                    </a:lnTo>
                    <a:lnTo>
                      <a:pt x="8456" y="597"/>
                    </a:lnTo>
                    <a:lnTo>
                      <a:pt x="8465" y="597"/>
                    </a:lnTo>
                    <a:lnTo>
                      <a:pt x="8475" y="597"/>
                    </a:lnTo>
                    <a:lnTo>
                      <a:pt x="8484" y="597"/>
                    </a:lnTo>
                    <a:lnTo>
                      <a:pt x="8493" y="597"/>
                    </a:lnTo>
                    <a:lnTo>
                      <a:pt x="8503" y="597"/>
                    </a:lnTo>
                    <a:lnTo>
                      <a:pt x="8509" y="597"/>
                    </a:lnTo>
                    <a:lnTo>
                      <a:pt x="8506" y="604"/>
                    </a:lnTo>
                    <a:lnTo>
                      <a:pt x="8501" y="607"/>
                    </a:lnTo>
                    <a:close/>
                    <a:moveTo>
                      <a:pt x="7665" y="1137"/>
                    </a:moveTo>
                    <a:lnTo>
                      <a:pt x="7661" y="1137"/>
                    </a:lnTo>
                    <a:lnTo>
                      <a:pt x="7657" y="1139"/>
                    </a:lnTo>
                    <a:lnTo>
                      <a:pt x="7652" y="1140"/>
                    </a:lnTo>
                    <a:lnTo>
                      <a:pt x="7645" y="1142"/>
                    </a:lnTo>
                    <a:lnTo>
                      <a:pt x="7639" y="1148"/>
                    </a:lnTo>
                    <a:lnTo>
                      <a:pt x="7633" y="1152"/>
                    </a:lnTo>
                    <a:lnTo>
                      <a:pt x="7645" y="1152"/>
                    </a:lnTo>
                    <a:lnTo>
                      <a:pt x="7652" y="1152"/>
                    </a:lnTo>
                    <a:lnTo>
                      <a:pt x="7657" y="1150"/>
                    </a:lnTo>
                    <a:lnTo>
                      <a:pt x="7661" y="1148"/>
                    </a:lnTo>
                    <a:lnTo>
                      <a:pt x="7665" y="1147"/>
                    </a:lnTo>
                    <a:lnTo>
                      <a:pt x="7666" y="1140"/>
                    </a:lnTo>
                    <a:lnTo>
                      <a:pt x="7668" y="1135"/>
                    </a:lnTo>
                    <a:lnTo>
                      <a:pt x="7666" y="1135"/>
                    </a:lnTo>
                    <a:lnTo>
                      <a:pt x="7665" y="1137"/>
                    </a:lnTo>
                    <a:close/>
                    <a:moveTo>
                      <a:pt x="7842" y="1102"/>
                    </a:moveTo>
                    <a:lnTo>
                      <a:pt x="7831" y="1106"/>
                    </a:lnTo>
                    <a:lnTo>
                      <a:pt x="7821" y="1107"/>
                    </a:lnTo>
                    <a:lnTo>
                      <a:pt x="7813" y="1111"/>
                    </a:lnTo>
                    <a:lnTo>
                      <a:pt x="7801" y="1114"/>
                    </a:lnTo>
                    <a:lnTo>
                      <a:pt x="7793" y="1117"/>
                    </a:lnTo>
                    <a:lnTo>
                      <a:pt x="7801" y="1117"/>
                    </a:lnTo>
                    <a:lnTo>
                      <a:pt x="7813" y="1117"/>
                    </a:lnTo>
                    <a:lnTo>
                      <a:pt x="7821" y="1114"/>
                    </a:lnTo>
                    <a:lnTo>
                      <a:pt x="7831" y="1113"/>
                    </a:lnTo>
                    <a:lnTo>
                      <a:pt x="7842" y="1109"/>
                    </a:lnTo>
                    <a:lnTo>
                      <a:pt x="7849" y="1106"/>
                    </a:lnTo>
                    <a:lnTo>
                      <a:pt x="7859" y="1098"/>
                    </a:lnTo>
                    <a:lnTo>
                      <a:pt x="7849" y="1101"/>
                    </a:lnTo>
                    <a:lnTo>
                      <a:pt x="7842" y="1102"/>
                    </a:lnTo>
                    <a:close/>
                    <a:moveTo>
                      <a:pt x="8075" y="1074"/>
                    </a:moveTo>
                    <a:lnTo>
                      <a:pt x="8081" y="1076"/>
                    </a:lnTo>
                    <a:lnTo>
                      <a:pt x="8094" y="1080"/>
                    </a:lnTo>
                    <a:lnTo>
                      <a:pt x="8101" y="1081"/>
                    </a:lnTo>
                    <a:lnTo>
                      <a:pt x="8106" y="1081"/>
                    </a:lnTo>
                    <a:lnTo>
                      <a:pt x="8111" y="1081"/>
                    </a:lnTo>
                    <a:lnTo>
                      <a:pt x="8114" y="1081"/>
                    </a:lnTo>
                    <a:lnTo>
                      <a:pt x="8128" y="1087"/>
                    </a:lnTo>
                    <a:lnTo>
                      <a:pt x="8142" y="1093"/>
                    </a:lnTo>
                    <a:lnTo>
                      <a:pt x="8159" y="1094"/>
                    </a:lnTo>
                    <a:lnTo>
                      <a:pt x="8178" y="1096"/>
                    </a:lnTo>
                    <a:lnTo>
                      <a:pt x="8196" y="1098"/>
                    </a:lnTo>
                    <a:lnTo>
                      <a:pt x="8215" y="1098"/>
                    </a:lnTo>
                    <a:lnTo>
                      <a:pt x="8254" y="1098"/>
                    </a:lnTo>
                    <a:lnTo>
                      <a:pt x="8261" y="1096"/>
                    </a:lnTo>
                    <a:lnTo>
                      <a:pt x="8270" y="1094"/>
                    </a:lnTo>
                    <a:lnTo>
                      <a:pt x="8277" y="1093"/>
                    </a:lnTo>
                    <a:lnTo>
                      <a:pt x="8285" y="1089"/>
                    </a:lnTo>
                    <a:lnTo>
                      <a:pt x="8302" y="1080"/>
                    </a:lnTo>
                    <a:lnTo>
                      <a:pt x="8316" y="1071"/>
                    </a:lnTo>
                    <a:lnTo>
                      <a:pt x="8331" y="1060"/>
                    </a:lnTo>
                    <a:lnTo>
                      <a:pt x="8338" y="1053"/>
                    </a:lnTo>
                    <a:lnTo>
                      <a:pt x="8343" y="1048"/>
                    </a:lnTo>
                    <a:lnTo>
                      <a:pt x="8349" y="1041"/>
                    </a:lnTo>
                    <a:lnTo>
                      <a:pt x="8355" y="1035"/>
                    </a:lnTo>
                    <a:lnTo>
                      <a:pt x="8358" y="1030"/>
                    </a:lnTo>
                    <a:lnTo>
                      <a:pt x="8363" y="1022"/>
                    </a:lnTo>
                    <a:lnTo>
                      <a:pt x="8366" y="1017"/>
                    </a:lnTo>
                    <a:lnTo>
                      <a:pt x="8369" y="1010"/>
                    </a:lnTo>
                    <a:lnTo>
                      <a:pt x="8371" y="1004"/>
                    </a:lnTo>
                    <a:lnTo>
                      <a:pt x="8371" y="997"/>
                    </a:lnTo>
                    <a:lnTo>
                      <a:pt x="8371" y="991"/>
                    </a:lnTo>
                    <a:lnTo>
                      <a:pt x="8371" y="986"/>
                    </a:lnTo>
                    <a:lnTo>
                      <a:pt x="8369" y="980"/>
                    </a:lnTo>
                    <a:lnTo>
                      <a:pt x="8368" y="974"/>
                    </a:lnTo>
                    <a:lnTo>
                      <a:pt x="8364" y="969"/>
                    </a:lnTo>
                    <a:lnTo>
                      <a:pt x="8358" y="966"/>
                    </a:lnTo>
                    <a:lnTo>
                      <a:pt x="8353" y="959"/>
                    </a:lnTo>
                    <a:lnTo>
                      <a:pt x="8346" y="956"/>
                    </a:lnTo>
                    <a:lnTo>
                      <a:pt x="8336" y="953"/>
                    </a:lnTo>
                    <a:lnTo>
                      <a:pt x="8327" y="951"/>
                    </a:lnTo>
                    <a:lnTo>
                      <a:pt x="8316" y="949"/>
                    </a:lnTo>
                    <a:lnTo>
                      <a:pt x="8305" y="945"/>
                    </a:lnTo>
                    <a:lnTo>
                      <a:pt x="8279" y="953"/>
                    </a:lnTo>
                    <a:lnTo>
                      <a:pt x="8256" y="958"/>
                    </a:lnTo>
                    <a:lnTo>
                      <a:pt x="8233" y="964"/>
                    </a:lnTo>
                    <a:lnTo>
                      <a:pt x="8209" y="969"/>
                    </a:lnTo>
                    <a:lnTo>
                      <a:pt x="8187" y="974"/>
                    </a:lnTo>
                    <a:lnTo>
                      <a:pt x="8163" y="976"/>
                    </a:lnTo>
                    <a:lnTo>
                      <a:pt x="8139" y="980"/>
                    </a:lnTo>
                    <a:lnTo>
                      <a:pt x="8134" y="980"/>
                    </a:lnTo>
                    <a:lnTo>
                      <a:pt x="8139" y="982"/>
                    </a:lnTo>
                    <a:lnTo>
                      <a:pt x="8142" y="984"/>
                    </a:lnTo>
                    <a:lnTo>
                      <a:pt x="8147" y="987"/>
                    </a:lnTo>
                    <a:lnTo>
                      <a:pt x="8148" y="991"/>
                    </a:lnTo>
                    <a:lnTo>
                      <a:pt x="8150" y="997"/>
                    </a:lnTo>
                    <a:lnTo>
                      <a:pt x="8124" y="997"/>
                    </a:lnTo>
                    <a:lnTo>
                      <a:pt x="8109" y="997"/>
                    </a:lnTo>
                    <a:lnTo>
                      <a:pt x="8111" y="999"/>
                    </a:lnTo>
                    <a:lnTo>
                      <a:pt x="8113" y="999"/>
                    </a:lnTo>
                    <a:lnTo>
                      <a:pt x="8114" y="999"/>
                    </a:lnTo>
                    <a:lnTo>
                      <a:pt x="8117" y="999"/>
                    </a:lnTo>
                    <a:lnTo>
                      <a:pt x="8117" y="1000"/>
                    </a:lnTo>
                    <a:lnTo>
                      <a:pt x="8114" y="1002"/>
                    </a:lnTo>
                    <a:lnTo>
                      <a:pt x="8111" y="1004"/>
                    </a:lnTo>
                    <a:lnTo>
                      <a:pt x="8108" y="1006"/>
                    </a:lnTo>
                    <a:lnTo>
                      <a:pt x="8104" y="1007"/>
                    </a:lnTo>
                    <a:lnTo>
                      <a:pt x="8098" y="1010"/>
                    </a:lnTo>
                    <a:lnTo>
                      <a:pt x="8094" y="1010"/>
                    </a:lnTo>
                    <a:lnTo>
                      <a:pt x="8089" y="1012"/>
                    </a:lnTo>
                    <a:lnTo>
                      <a:pt x="8086" y="1013"/>
                    </a:lnTo>
                    <a:lnTo>
                      <a:pt x="8083" y="1013"/>
                    </a:lnTo>
                    <a:lnTo>
                      <a:pt x="8080" y="1013"/>
                    </a:lnTo>
                    <a:lnTo>
                      <a:pt x="8067" y="1015"/>
                    </a:lnTo>
                    <a:lnTo>
                      <a:pt x="8058" y="1017"/>
                    </a:lnTo>
                    <a:lnTo>
                      <a:pt x="8047" y="1020"/>
                    </a:lnTo>
                    <a:lnTo>
                      <a:pt x="8040" y="1025"/>
                    </a:lnTo>
                    <a:lnTo>
                      <a:pt x="8032" y="1030"/>
                    </a:lnTo>
                    <a:lnTo>
                      <a:pt x="8025" y="1035"/>
                    </a:lnTo>
                    <a:lnTo>
                      <a:pt x="8012" y="1048"/>
                    </a:lnTo>
                    <a:lnTo>
                      <a:pt x="8037" y="1048"/>
                    </a:lnTo>
                    <a:lnTo>
                      <a:pt x="8063" y="1048"/>
                    </a:lnTo>
                    <a:lnTo>
                      <a:pt x="8060" y="1050"/>
                    </a:lnTo>
                    <a:lnTo>
                      <a:pt x="8058" y="1052"/>
                    </a:lnTo>
                    <a:lnTo>
                      <a:pt x="8056" y="1053"/>
                    </a:lnTo>
                    <a:lnTo>
                      <a:pt x="8055" y="1053"/>
                    </a:lnTo>
                    <a:lnTo>
                      <a:pt x="8055" y="1056"/>
                    </a:lnTo>
                    <a:lnTo>
                      <a:pt x="8055" y="1058"/>
                    </a:lnTo>
                    <a:lnTo>
                      <a:pt x="8055" y="1061"/>
                    </a:lnTo>
                    <a:lnTo>
                      <a:pt x="8056" y="1063"/>
                    </a:lnTo>
                    <a:lnTo>
                      <a:pt x="8060" y="1067"/>
                    </a:lnTo>
                    <a:lnTo>
                      <a:pt x="8063" y="1068"/>
                    </a:lnTo>
                    <a:lnTo>
                      <a:pt x="8068" y="1073"/>
                    </a:lnTo>
                    <a:lnTo>
                      <a:pt x="8075" y="1074"/>
                    </a:lnTo>
                    <a:close/>
                    <a:moveTo>
                      <a:pt x="8061" y="1102"/>
                    </a:moveTo>
                    <a:lnTo>
                      <a:pt x="8060" y="1101"/>
                    </a:lnTo>
                    <a:lnTo>
                      <a:pt x="8058" y="1101"/>
                    </a:lnTo>
                    <a:lnTo>
                      <a:pt x="8052" y="1098"/>
                    </a:lnTo>
                    <a:lnTo>
                      <a:pt x="8047" y="1098"/>
                    </a:lnTo>
                    <a:lnTo>
                      <a:pt x="8043" y="1098"/>
                    </a:lnTo>
                    <a:lnTo>
                      <a:pt x="8040" y="1098"/>
                    </a:lnTo>
                    <a:lnTo>
                      <a:pt x="8035" y="1098"/>
                    </a:lnTo>
                    <a:lnTo>
                      <a:pt x="8030" y="1098"/>
                    </a:lnTo>
                    <a:lnTo>
                      <a:pt x="8025" y="1098"/>
                    </a:lnTo>
                    <a:lnTo>
                      <a:pt x="8012" y="1098"/>
                    </a:lnTo>
                    <a:lnTo>
                      <a:pt x="8017" y="1106"/>
                    </a:lnTo>
                    <a:lnTo>
                      <a:pt x="8025" y="1109"/>
                    </a:lnTo>
                    <a:lnTo>
                      <a:pt x="8030" y="1113"/>
                    </a:lnTo>
                    <a:lnTo>
                      <a:pt x="8037" y="1114"/>
                    </a:lnTo>
                    <a:lnTo>
                      <a:pt x="8045" y="1117"/>
                    </a:lnTo>
                    <a:lnTo>
                      <a:pt x="8050" y="1117"/>
                    </a:lnTo>
                    <a:lnTo>
                      <a:pt x="8065" y="1117"/>
                    </a:lnTo>
                    <a:lnTo>
                      <a:pt x="8065" y="1111"/>
                    </a:lnTo>
                    <a:lnTo>
                      <a:pt x="8063" y="1107"/>
                    </a:lnTo>
                    <a:lnTo>
                      <a:pt x="8063" y="1104"/>
                    </a:lnTo>
                    <a:lnTo>
                      <a:pt x="8061" y="1102"/>
                    </a:lnTo>
                    <a:close/>
                    <a:moveTo>
                      <a:pt x="8144" y="966"/>
                    </a:moveTo>
                    <a:lnTo>
                      <a:pt x="8152" y="967"/>
                    </a:lnTo>
                    <a:lnTo>
                      <a:pt x="8155" y="967"/>
                    </a:lnTo>
                    <a:lnTo>
                      <a:pt x="8159" y="967"/>
                    </a:lnTo>
                    <a:lnTo>
                      <a:pt x="8162" y="966"/>
                    </a:lnTo>
                    <a:lnTo>
                      <a:pt x="8163" y="966"/>
                    </a:lnTo>
                    <a:lnTo>
                      <a:pt x="8163" y="964"/>
                    </a:lnTo>
                    <a:lnTo>
                      <a:pt x="8165" y="959"/>
                    </a:lnTo>
                    <a:lnTo>
                      <a:pt x="8163" y="959"/>
                    </a:lnTo>
                    <a:lnTo>
                      <a:pt x="8159" y="958"/>
                    </a:lnTo>
                    <a:lnTo>
                      <a:pt x="8157" y="956"/>
                    </a:lnTo>
                    <a:lnTo>
                      <a:pt x="8154" y="956"/>
                    </a:lnTo>
                    <a:lnTo>
                      <a:pt x="8144" y="954"/>
                    </a:lnTo>
                    <a:lnTo>
                      <a:pt x="8135" y="953"/>
                    </a:lnTo>
                    <a:lnTo>
                      <a:pt x="8126" y="953"/>
                    </a:lnTo>
                    <a:lnTo>
                      <a:pt x="8113" y="953"/>
                    </a:lnTo>
                    <a:lnTo>
                      <a:pt x="8102" y="953"/>
                    </a:lnTo>
                    <a:lnTo>
                      <a:pt x="8091" y="953"/>
                    </a:lnTo>
                    <a:lnTo>
                      <a:pt x="8078" y="954"/>
                    </a:lnTo>
                    <a:lnTo>
                      <a:pt x="8067" y="958"/>
                    </a:lnTo>
                    <a:lnTo>
                      <a:pt x="8058" y="961"/>
                    </a:lnTo>
                    <a:lnTo>
                      <a:pt x="8048" y="966"/>
                    </a:lnTo>
                    <a:lnTo>
                      <a:pt x="8040" y="969"/>
                    </a:lnTo>
                    <a:lnTo>
                      <a:pt x="8037" y="973"/>
                    </a:lnTo>
                    <a:lnTo>
                      <a:pt x="8034" y="976"/>
                    </a:lnTo>
                    <a:lnTo>
                      <a:pt x="8032" y="978"/>
                    </a:lnTo>
                    <a:lnTo>
                      <a:pt x="8030" y="982"/>
                    </a:lnTo>
                    <a:lnTo>
                      <a:pt x="8030" y="986"/>
                    </a:lnTo>
                    <a:lnTo>
                      <a:pt x="8030" y="989"/>
                    </a:lnTo>
                    <a:lnTo>
                      <a:pt x="8035" y="989"/>
                    </a:lnTo>
                    <a:lnTo>
                      <a:pt x="8041" y="989"/>
                    </a:lnTo>
                    <a:lnTo>
                      <a:pt x="8047" y="987"/>
                    </a:lnTo>
                    <a:lnTo>
                      <a:pt x="8052" y="986"/>
                    </a:lnTo>
                    <a:lnTo>
                      <a:pt x="8061" y="980"/>
                    </a:lnTo>
                    <a:lnTo>
                      <a:pt x="8071" y="974"/>
                    </a:lnTo>
                    <a:lnTo>
                      <a:pt x="8081" y="971"/>
                    </a:lnTo>
                    <a:lnTo>
                      <a:pt x="8091" y="966"/>
                    </a:lnTo>
                    <a:lnTo>
                      <a:pt x="8096" y="964"/>
                    </a:lnTo>
                    <a:lnTo>
                      <a:pt x="8102" y="961"/>
                    </a:lnTo>
                    <a:lnTo>
                      <a:pt x="8108" y="961"/>
                    </a:lnTo>
                    <a:lnTo>
                      <a:pt x="8113" y="959"/>
                    </a:lnTo>
                    <a:lnTo>
                      <a:pt x="8121" y="961"/>
                    </a:lnTo>
                    <a:lnTo>
                      <a:pt x="8128" y="964"/>
                    </a:lnTo>
                    <a:lnTo>
                      <a:pt x="8137" y="966"/>
                    </a:lnTo>
                    <a:lnTo>
                      <a:pt x="8144" y="966"/>
                    </a:lnTo>
                    <a:close/>
                    <a:moveTo>
                      <a:pt x="8325" y="772"/>
                    </a:moveTo>
                    <a:lnTo>
                      <a:pt x="8328" y="770"/>
                    </a:lnTo>
                    <a:lnTo>
                      <a:pt x="8333" y="765"/>
                    </a:lnTo>
                    <a:lnTo>
                      <a:pt x="8338" y="762"/>
                    </a:lnTo>
                    <a:lnTo>
                      <a:pt x="8343" y="760"/>
                    </a:lnTo>
                    <a:lnTo>
                      <a:pt x="8351" y="758"/>
                    </a:lnTo>
                    <a:lnTo>
                      <a:pt x="8356" y="757"/>
                    </a:lnTo>
                    <a:lnTo>
                      <a:pt x="8364" y="757"/>
                    </a:lnTo>
                    <a:lnTo>
                      <a:pt x="8373" y="757"/>
                    </a:lnTo>
                    <a:lnTo>
                      <a:pt x="8383" y="757"/>
                    </a:lnTo>
                    <a:lnTo>
                      <a:pt x="8394" y="757"/>
                    </a:lnTo>
                    <a:lnTo>
                      <a:pt x="8404" y="757"/>
                    </a:lnTo>
                    <a:lnTo>
                      <a:pt x="8417" y="757"/>
                    </a:lnTo>
                    <a:lnTo>
                      <a:pt x="8443" y="757"/>
                    </a:lnTo>
                    <a:lnTo>
                      <a:pt x="8456" y="757"/>
                    </a:lnTo>
                    <a:lnTo>
                      <a:pt x="8471" y="758"/>
                    </a:lnTo>
                    <a:lnTo>
                      <a:pt x="8488" y="758"/>
                    </a:lnTo>
                    <a:lnTo>
                      <a:pt x="8504" y="760"/>
                    </a:lnTo>
                    <a:lnTo>
                      <a:pt x="8523" y="762"/>
                    </a:lnTo>
                    <a:lnTo>
                      <a:pt x="8541" y="764"/>
                    </a:lnTo>
                    <a:lnTo>
                      <a:pt x="8562" y="770"/>
                    </a:lnTo>
                    <a:lnTo>
                      <a:pt x="8580" y="775"/>
                    </a:lnTo>
                    <a:lnTo>
                      <a:pt x="8582" y="775"/>
                    </a:lnTo>
                    <a:lnTo>
                      <a:pt x="8583" y="775"/>
                    </a:lnTo>
                    <a:lnTo>
                      <a:pt x="8585" y="775"/>
                    </a:lnTo>
                    <a:lnTo>
                      <a:pt x="8587" y="775"/>
                    </a:lnTo>
                    <a:lnTo>
                      <a:pt x="8591" y="775"/>
                    </a:lnTo>
                    <a:lnTo>
                      <a:pt x="8598" y="775"/>
                    </a:lnTo>
                    <a:lnTo>
                      <a:pt x="8606" y="777"/>
                    </a:lnTo>
                    <a:lnTo>
                      <a:pt x="8615" y="777"/>
                    </a:lnTo>
                    <a:lnTo>
                      <a:pt x="8624" y="778"/>
                    </a:lnTo>
                    <a:lnTo>
                      <a:pt x="8633" y="778"/>
                    </a:lnTo>
                    <a:lnTo>
                      <a:pt x="8643" y="780"/>
                    </a:lnTo>
                    <a:lnTo>
                      <a:pt x="8651" y="783"/>
                    </a:lnTo>
                    <a:lnTo>
                      <a:pt x="8652" y="785"/>
                    </a:lnTo>
                    <a:lnTo>
                      <a:pt x="8656" y="786"/>
                    </a:lnTo>
                    <a:lnTo>
                      <a:pt x="8657" y="788"/>
                    </a:lnTo>
                    <a:lnTo>
                      <a:pt x="8659" y="790"/>
                    </a:lnTo>
                    <a:lnTo>
                      <a:pt x="8661" y="792"/>
                    </a:lnTo>
                    <a:lnTo>
                      <a:pt x="8661" y="793"/>
                    </a:lnTo>
                    <a:lnTo>
                      <a:pt x="8661" y="795"/>
                    </a:lnTo>
                    <a:lnTo>
                      <a:pt x="8661" y="798"/>
                    </a:lnTo>
                    <a:lnTo>
                      <a:pt x="8659" y="801"/>
                    </a:lnTo>
                    <a:lnTo>
                      <a:pt x="8656" y="803"/>
                    </a:lnTo>
                    <a:lnTo>
                      <a:pt x="8654" y="806"/>
                    </a:lnTo>
                    <a:lnTo>
                      <a:pt x="8648" y="808"/>
                    </a:lnTo>
                    <a:lnTo>
                      <a:pt x="8641" y="816"/>
                    </a:lnTo>
                    <a:lnTo>
                      <a:pt x="8636" y="818"/>
                    </a:lnTo>
                    <a:lnTo>
                      <a:pt x="8644" y="816"/>
                    </a:lnTo>
                    <a:lnTo>
                      <a:pt x="8657" y="811"/>
                    </a:lnTo>
                    <a:lnTo>
                      <a:pt x="8671" y="810"/>
                    </a:lnTo>
                    <a:lnTo>
                      <a:pt x="8684" y="808"/>
                    </a:lnTo>
                    <a:lnTo>
                      <a:pt x="8694" y="810"/>
                    </a:lnTo>
                    <a:lnTo>
                      <a:pt x="8705" y="811"/>
                    </a:lnTo>
                    <a:lnTo>
                      <a:pt x="8717" y="814"/>
                    </a:lnTo>
                    <a:lnTo>
                      <a:pt x="8726" y="816"/>
                    </a:lnTo>
                    <a:lnTo>
                      <a:pt x="8735" y="818"/>
                    </a:lnTo>
                    <a:lnTo>
                      <a:pt x="8741" y="818"/>
                    </a:lnTo>
                    <a:lnTo>
                      <a:pt x="8746" y="816"/>
                    </a:lnTo>
                    <a:lnTo>
                      <a:pt x="8751" y="816"/>
                    </a:lnTo>
                    <a:lnTo>
                      <a:pt x="8758" y="814"/>
                    </a:lnTo>
                    <a:lnTo>
                      <a:pt x="8763" y="811"/>
                    </a:lnTo>
                    <a:lnTo>
                      <a:pt x="8768" y="808"/>
                    </a:lnTo>
                    <a:lnTo>
                      <a:pt x="8789" y="808"/>
                    </a:lnTo>
                    <a:lnTo>
                      <a:pt x="8809" y="806"/>
                    </a:lnTo>
                    <a:lnTo>
                      <a:pt x="8831" y="806"/>
                    </a:lnTo>
                    <a:lnTo>
                      <a:pt x="8840" y="806"/>
                    </a:lnTo>
                    <a:lnTo>
                      <a:pt x="8852" y="806"/>
                    </a:lnTo>
                    <a:lnTo>
                      <a:pt x="8860" y="808"/>
                    </a:lnTo>
                    <a:lnTo>
                      <a:pt x="8870" y="810"/>
                    </a:lnTo>
                    <a:lnTo>
                      <a:pt x="8878" y="811"/>
                    </a:lnTo>
                    <a:lnTo>
                      <a:pt x="8885" y="816"/>
                    </a:lnTo>
                    <a:lnTo>
                      <a:pt x="8891" y="821"/>
                    </a:lnTo>
                    <a:lnTo>
                      <a:pt x="8898" y="826"/>
                    </a:lnTo>
                    <a:lnTo>
                      <a:pt x="8903" y="834"/>
                    </a:lnTo>
                    <a:lnTo>
                      <a:pt x="8906" y="841"/>
                    </a:lnTo>
                    <a:lnTo>
                      <a:pt x="8914" y="841"/>
                    </a:lnTo>
                    <a:lnTo>
                      <a:pt x="8929" y="844"/>
                    </a:lnTo>
                    <a:lnTo>
                      <a:pt x="8944" y="846"/>
                    </a:lnTo>
                    <a:lnTo>
                      <a:pt x="8957" y="847"/>
                    </a:lnTo>
                    <a:lnTo>
                      <a:pt x="8970" y="851"/>
                    </a:lnTo>
                    <a:lnTo>
                      <a:pt x="8982" y="856"/>
                    </a:lnTo>
                    <a:lnTo>
                      <a:pt x="8993" y="862"/>
                    </a:lnTo>
                    <a:lnTo>
                      <a:pt x="9001" y="869"/>
                    </a:lnTo>
                    <a:lnTo>
                      <a:pt x="9006" y="873"/>
                    </a:lnTo>
                    <a:lnTo>
                      <a:pt x="9010" y="879"/>
                    </a:lnTo>
                    <a:lnTo>
                      <a:pt x="8997" y="879"/>
                    </a:lnTo>
                    <a:lnTo>
                      <a:pt x="8986" y="879"/>
                    </a:lnTo>
                    <a:lnTo>
                      <a:pt x="8975" y="879"/>
                    </a:lnTo>
                    <a:lnTo>
                      <a:pt x="8965" y="879"/>
                    </a:lnTo>
                    <a:lnTo>
                      <a:pt x="8957" y="879"/>
                    </a:lnTo>
                    <a:lnTo>
                      <a:pt x="8945" y="879"/>
                    </a:lnTo>
                    <a:lnTo>
                      <a:pt x="8936" y="879"/>
                    </a:lnTo>
                    <a:lnTo>
                      <a:pt x="8924" y="879"/>
                    </a:lnTo>
                    <a:lnTo>
                      <a:pt x="8919" y="879"/>
                    </a:lnTo>
                    <a:lnTo>
                      <a:pt x="8918" y="879"/>
                    </a:lnTo>
                    <a:lnTo>
                      <a:pt x="8912" y="879"/>
                    </a:lnTo>
                    <a:lnTo>
                      <a:pt x="8909" y="879"/>
                    </a:lnTo>
                    <a:lnTo>
                      <a:pt x="8903" y="879"/>
                    </a:lnTo>
                    <a:lnTo>
                      <a:pt x="8894" y="879"/>
                    </a:lnTo>
                    <a:lnTo>
                      <a:pt x="8890" y="879"/>
                    </a:lnTo>
                    <a:lnTo>
                      <a:pt x="8875" y="877"/>
                    </a:lnTo>
                    <a:lnTo>
                      <a:pt x="8860" y="875"/>
                    </a:lnTo>
                    <a:lnTo>
                      <a:pt x="8845" y="873"/>
                    </a:lnTo>
                    <a:lnTo>
                      <a:pt x="8829" y="869"/>
                    </a:lnTo>
                    <a:lnTo>
                      <a:pt x="8812" y="866"/>
                    </a:lnTo>
                    <a:lnTo>
                      <a:pt x="8798" y="864"/>
                    </a:lnTo>
                    <a:lnTo>
                      <a:pt x="8783" y="862"/>
                    </a:lnTo>
                    <a:lnTo>
                      <a:pt x="8768" y="860"/>
                    </a:lnTo>
                    <a:lnTo>
                      <a:pt x="8774" y="867"/>
                    </a:lnTo>
                    <a:lnTo>
                      <a:pt x="8778" y="871"/>
                    </a:lnTo>
                    <a:lnTo>
                      <a:pt x="8781" y="873"/>
                    </a:lnTo>
                    <a:lnTo>
                      <a:pt x="8781" y="877"/>
                    </a:lnTo>
                    <a:lnTo>
                      <a:pt x="8778" y="879"/>
                    </a:lnTo>
                    <a:lnTo>
                      <a:pt x="8781" y="879"/>
                    </a:lnTo>
                    <a:lnTo>
                      <a:pt x="8787" y="879"/>
                    </a:lnTo>
                    <a:lnTo>
                      <a:pt x="8794" y="879"/>
                    </a:lnTo>
                    <a:lnTo>
                      <a:pt x="8799" y="880"/>
                    </a:lnTo>
                    <a:lnTo>
                      <a:pt x="8805" y="880"/>
                    </a:lnTo>
                    <a:lnTo>
                      <a:pt x="8811" y="880"/>
                    </a:lnTo>
                    <a:lnTo>
                      <a:pt x="8814" y="882"/>
                    </a:lnTo>
                    <a:lnTo>
                      <a:pt x="8818" y="884"/>
                    </a:lnTo>
                    <a:lnTo>
                      <a:pt x="8820" y="884"/>
                    </a:lnTo>
                    <a:lnTo>
                      <a:pt x="8820" y="885"/>
                    </a:lnTo>
                    <a:lnTo>
                      <a:pt x="8820" y="887"/>
                    </a:lnTo>
                    <a:lnTo>
                      <a:pt x="8818" y="887"/>
                    </a:lnTo>
                    <a:lnTo>
                      <a:pt x="8817" y="890"/>
                    </a:lnTo>
                    <a:lnTo>
                      <a:pt x="8814" y="892"/>
                    </a:lnTo>
                    <a:lnTo>
                      <a:pt x="8811" y="893"/>
                    </a:lnTo>
                    <a:lnTo>
                      <a:pt x="8807" y="893"/>
                    </a:lnTo>
                    <a:lnTo>
                      <a:pt x="8804" y="895"/>
                    </a:lnTo>
                    <a:lnTo>
                      <a:pt x="8817" y="895"/>
                    </a:lnTo>
                    <a:lnTo>
                      <a:pt x="8825" y="895"/>
                    </a:lnTo>
                    <a:lnTo>
                      <a:pt x="8835" y="895"/>
                    </a:lnTo>
                    <a:lnTo>
                      <a:pt x="8844" y="895"/>
                    </a:lnTo>
                    <a:lnTo>
                      <a:pt x="8852" y="895"/>
                    </a:lnTo>
                    <a:lnTo>
                      <a:pt x="8858" y="895"/>
                    </a:lnTo>
                    <a:lnTo>
                      <a:pt x="8871" y="895"/>
                    </a:lnTo>
                    <a:lnTo>
                      <a:pt x="8865" y="899"/>
                    </a:lnTo>
                    <a:lnTo>
                      <a:pt x="8858" y="900"/>
                    </a:lnTo>
                    <a:lnTo>
                      <a:pt x="8852" y="902"/>
                    </a:lnTo>
                    <a:lnTo>
                      <a:pt x="8844" y="902"/>
                    </a:lnTo>
                    <a:lnTo>
                      <a:pt x="8827" y="905"/>
                    </a:lnTo>
                    <a:lnTo>
                      <a:pt x="8812" y="906"/>
                    </a:lnTo>
                    <a:lnTo>
                      <a:pt x="8796" y="908"/>
                    </a:lnTo>
                    <a:lnTo>
                      <a:pt x="8811" y="910"/>
                    </a:lnTo>
                    <a:lnTo>
                      <a:pt x="8827" y="910"/>
                    </a:lnTo>
                    <a:lnTo>
                      <a:pt x="8840" y="912"/>
                    </a:lnTo>
                    <a:lnTo>
                      <a:pt x="8855" y="912"/>
                    </a:lnTo>
                    <a:lnTo>
                      <a:pt x="8858" y="912"/>
                    </a:lnTo>
                    <a:lnTo>
                      <a:pt x="8863" y="912"/>
                    </a:lnTo>
                    <a:lnTo>
                      <a:pt x="8871" y="913"/>
                    </a:lnTo>
                    <a:lnTo>
                      <a:pt x="8883" y="913"/>
                    </a:lnTo>
                    <a:lnTo>
                      <a:pt x="8886" y="913"/>
                    </a:lnTo>
                    <a:lnTo>
                      <a:pt x="8891" y="915"/>
                    </a:lnTo>
                    <a:lnTo>
                      <a:pt x="8896" y="915"/>
                    </a:lnTo>
                    <a:lnTo>
                      <a:pt x="8898" y="917"/>
                    </a:lnTo>
                    <a:lnTo>
                      <a:pt x="8899" y="917"/>
                    </a:lnTo>
                    <a:lnTo>
                      <a:pt x="8901" y="920"/>
                    </a:lnTo>
                    <a:lnTo>
                      <a:pt x="8899" y="921"/>
                    </a:lnTo>
                    <a:lnTo>
                      <a:pt x="8898" y="924"/>
                    </a:lnTo>
                    <a:lnTo>
                      <a:pt x="8899" y="923"/>
                    </a:lnTo>
                    <a:lnTo>
                      <a:pt x="8901" y="923"/>
                    </a:lnTo>
                    <a:lnTo>
                      <a:pt x="8905" y="923"/>
                    </a:lnTo>
                    <a:lnTo>
                      <a:pt x="8909" y="923"/>
                    </a:lnTo>
                    <a:lnTo>
                      <a:pt x="8912" y="925"/>
                    </a:lnTo>
                    <a:lnTo>
                      <a:pt x="8914" y="925"/>
                    </a:lnTo>
                    <a:lnTo>
                      <a:pt x="8921" y="930"/>
                    </a:lnTo>
                    <a:lnTo>
                      <a:pt x="8927" y="934"/>
                    </a:lnTo>
                    <a:lnTo>
                      <a:pt x="8934" y="941"/>
                    </a:lnTo>
                    <a:lnTo>
                      <a:pt x="8940" y="946"/>
                    </a:lnTo>
                    <a:lnTo>
                      <a:pt x="8936" y="951"/>
                    </a:lnTo>
                    <a:lnTo>
                      <a:pt x="8932" y="953"/>
                    </a:lnTo>
                    <a:lnTo>
                      <a:pt x="8929" y="954"/>
                    </a:lnTo>
                    <a:lnTo>
                      <a:pt x="8925" y="954"/>
                    </a:lnTo>
                    <a:lnTo>
                      <a:pt x="8916" y="956"/>
                    </a:lnTo>
                    <a:lnTo>
                      <a:pt x="8906" y="956"/>
                    </a:lnTo>
                    <a:lnTo>
                      <a:pt x="8901" y="956"/>
                    </a:lnTo>
                    <a:lnTo>
                      <a:pt x="8903" y="958"/>
                    </a:lnTo>
                    <a:lnTo>
                      <a:pt x="8905" y="959"/>
                    </a:lnTo>
                    <a:lnTo>
                      <a:pt x="8906" y="961"/>
                    </a:lnTo>
                    <a:lnTo>
                      <a:pt x="8906" y="964"/>
                    </a:lnTo>
                    <a:lnTo>
                      <a:pt x="8912" y="971"/>
                    </a:lnTo>
                    <a:lnTo>
                      <a:pt x="8916" y="974"/>
                    </a:lnTo>
                    <a:lnTo>
                      <a:pt x="8919" y="976"/>
                    </a:lnTo>
                    <a:lnTo>
                      <a:pt x="8924" y="980"/>
                    </a:lnTo>
                    <a:lnTo>
                      <a:pt x="8927" y="980"/>
                    </a:lnTo>
                    <a:lnTo>
                      <a:pt x="8931" y="982"/>
                    </a:lnTo>
                    <a:lnTo>
                      <a:pt x="8934" y="982"/>
                    </a:lnTo>
                    <a:lnTo>
                      <a:pt x="8940" y="982"/>
                    </a:lnTo>
                    <a:lnTo>
                      <a:pt x="8945" y="974"/>
                    </a:lnTo>
                    <a:lnTo>
                      <a:pt x="8951" y="969"/>
                    </a:lnTo>
                    <a:lnTo>
                      <a:pt x="8955" y="964"/>
                    </a:lnTo>
                    <a:lnTo>
                      <a:pt x="8959" y="958"/>
                    </a:lnTo>
                    <a:lnTo>
                      <a:pt x="8960" y="953"/>
                    </a:lnTo>
                    <a:lnTo>
                      <a:pt x="8964" y="951"/>
                    </a:lnTo>
                    <a:lnTo>
                      <a:pt x="8970" y="946"/>
                    </a:lnTo>
                    <a:lnTo>
                      <a:pt x="8975" y="946"/>
                    </a:lnTo>
                    <a:lnTo>
                      <a:pt x="8982" y="953"/>
                    </a:lnTo>
                    <a:lnTo>
                      <a:pt x="8990" y="958"/>
                    </a:lnTo>
                    <a:lnTo>
                      <a:pt x="8997" y="961"/>
                    </a:lnTo>
                    <a:lnTo>
                      <a:pt x="9001" y="964"/>
                    </a:lnTo>
                    <a:lnTo>
                      <a:pt x="9003" y="964"/>
                    </a:lnTo>
                    <a:lnTo>
                      <a:pt x="9005" y="966"/>
                    </a:lnTo>
                    <a:lnTo>
                      <a:pt x="9006" y="967"/>
                    </a:lnTo>
                    <a:lnTo>
                      <a:pt x="9006" y="969"/>
                    </a:lnTo>
                    <a:lnTo>
                      <a:pt x="9006" y="971"/>
                    </a:lnTo>
                    <a:lnTo>
                      <a:pt x="9005" y="973"/>
                    </a:lnTo>
                    <a:lnTo>
                      <a:pt x="9003" y="976"/>
                    </a:lnTo>
                    <a:lnTo>
                      <a:pt x="8997" y="978"/>
                    </a:lnTo>
                    <a:lnTo>
                      <a:pt x="8992" y="982"/>
                    </a:lnTo>
                    <a:lnTo>
                      <a:pt x="8995" y="982"/>
                    </a:lnTo>
                    <a:lnTo>
                      <a:pt x="9001" y="980"/>
                    </a:lnTo>
                    <a:lnTo>
                      <a:pt x="9008" y="978"/>
                    </a:lnTo>
                    <a:lnTo>
                      <a:pt x="9016" y="976"/>
                    </a:lnTo>
                    <a:lnTo>
                      <a:pt x="9023" y="974"/>
                    </a:lnTo>
                    <a:lnTo>
                      <a:pt x="9031" y="973"/>
                    </a:lnTo>
                    <a:lnTo>
                      <a:pt x="9038" y="971"/>
                    </a:lnTo>
                    <a:lnTo>
                      <a:pt x="9046" y="969"/>
                    </a:lnTo>
                    <a:lnTo>
                      <a:pt x="9052" y="967"/>
                    </a:lnTo>
                    <a:lnTo>
                      <a:pt x="9058" y="966"/>
                    </a:lnTo>
                    <a:lnTo>
                      <a:pt x="9064" y="966"/>
                    </a:lnTo>
                    <a:lnTo>
                      <a:pt x="9067" y="967"/>
                    </a:lnTo>
                    <a:lnTo>
                      <a:pt x="9069" y="969"/>
                    </a:lnTo>
                    <a:lnTo>
                      <a:pt x="9067" y="971"/>
                    </a:lnTo>
                    <a:lnTo>
                      <a:pt x="9067" y="973"/>
                    </a:lnTo>
                    <a:lnTo>
                      <a:pt x="9066" y="976"/>
                    </a:lnTo>
                    <a:lnTo>
                      <a:pt x="9067" y="974"/>
                    </a:lnTo>
                    <a:lnTo>
                      <a:pt x="9077" y="969"/>
                    </a:lnTo>
                    <a:lnTo>
                      <a:pt x="9086" y="964"/>
                    </a:lnTo>
                    <a:lnTo>
                      <a:pt x="9095" y="959"/>
                    </a:lnTo>
                    <a:lnTo>
                      <a:pt x="9100" y="958"/>
                    </a:lnTo>
                    <a:lnTo>
                      <a:pt x="9104" y="958"/>
                    </a:lnTo>
                    <a:lnTo>
                      <a:pt x="9110" y="958"/>
                    </a:lnTo>
                    <a:lnTo>
                      <a:pt x="9113" y="958"/>
                    </a:lnTo>
                    <a:lnTo>
                      <a:pt x="9117" y="958"/>
                    </a:lnTo>
                    <a:lnTo>
                      <a:pt x="9123" y="959"/>
                    </a:lnTo>
                    <a:lnTo>
                      <a:pt x="9126" y="961"/>
                    </a:lnTo>
                    <a:lnTo>
                      <a:pt x="9130" y="964"/>
                    </a:lnTo>
                    <a:lnTo>
                      <a:pt x="9133" y="966"/>
                    </a:lnTo>
                    <a:lnTo>
                      <a:pt x="9138" y="966"/>
                    </a:lnTo>
                    <a:lnTo>
                      <a:pt x="9143" y="967"/>
                    </a:lnTo>
                    <a:lnTo>
                      <a:pt x="9148" y="969"/>
                    </a:lnTo>
                    <a:lnTo>
                      <a:pt x="9161" y="974"/>
                    </a:lnTo>
                    <a:lnTo>
                      <a:pt x="9166" y="978"/>
                    </a:lnTo>
                    <a:lnTo>
                      <a:pt x="9173" y="982"/>
                    </a:lnTo>
                    <a:lnTo>
                      <a:pt x="9176" y="984"/>
                    </a:lnTo>
                    <a:lnTo>
                      <a:pt x="9179" y="987"/>
                    </a:lnTo>
                    <a:lnTo>
                      <a:pt x="9181" y="991"/>
                    </a:lnTo>
                    <a:lnTo>
                      <a:pt x="9181" y="993"/>
                    </a:lnTo>
                    <a:lnTo>
                      <a:pt x="9181" y="995"/>
                    </a:lnTo>
                    <a:lnTo>
                      <a:pt x="9179" y="997"/>
                    </a:lnTo>
                    <a:lnTo>
                      <a:pt x="9178" y="997"/>
                    </a:lnTo>
                    <a:lnTo>
                      <a:pt x="9174" y="999"/>
                    </a:lnTo>
                    <a:lnTo>
                      <a:pt x="9189" y="999"/>
                    </a:lnTo>
                    <a:lnTo>
                      <a:pt x="9204" y="997"/>
                    </a:lnTo>
                    <a:lnTo>
                      <a:pt x="9217" y="997"/>
                    </a:lnTo>
                    <a:lnTo>
                      <a:pt x="9232" y="995"/>
                    </a:lnTo>
                    <a:lnTo>
                      <a:pt x="9248" y="991"/>
                    </a:lnTo>
                    <a:lnTo>
                      <a:pt x="9265" y="987"/>
                    </a:lnTo>
                    <a:lnTo>
                      <a:pt x="9283" y="982"/>
                    </a:lnTo>
                    <a:lnTo>
                      <a:pt x="9270" y="982"/>
                    </a:lnTo>
                    <a:lnTo>
                      <a:pt x="9265" y="980"/>
                    </a:lnTo>
                    <a:lnTo>
                      <a:pt x="9261" y="980"/>
                    </a:lnTo>
                    <a:lnTo>
                      <a:pt x="9255" y="976"/>
                    </a:lnTo>
                    <a:lnTo>
                      <a:pt x="9252" y="974"/>
                    </a:lnTo>
                    <a:lnTo>
                      <a:pt x="9250" y="971"/>
                    </a:lnTo>
                    <a:lnTo>
                      <a:pt x="9250" y="964"/>
                    </a:lnTo>
                    <a:lnTo>
                      <a:pt x="9255" y="964"/>
                    </a:lnTo>
                    <a:lnTo>
                      <a:pt x="9265" y="964"/>
                    </a:lnTo>
                    <a:lnTo>
                      <a:pt x="9272" y="964"/>
                    </a:lnTo>
                    <a:lnTo>
                      <a:pt x="9281" y="964"/>
                    </a:lnTo>
                    <a:lnTo>
                      <a:pt x="9291" y="964"/>
                    </a:lnTo>
                    <a:lnTo>
                      <a:pt x="9300" y="964"/>
                    </a:lnTo>
                    <a:lnTo>
                      <a:pt x="9321" y="961"/>
                    </a:lnTo>
                    <a:lnTo>
                      <a:pt x="9342" y="959"/>
                    </a:lnTo>
                    <a:lnTo>
                      <a:pt x="9362" y="956"/>
                    </a:lnTo>
                    <a:lnTo>
                      <a:pt x="9383" y="953"/>
                    </a:lnTo>
                    <a:lnTo>
                      <a:pt x="9403" y="946"/>
                    </a:lnTo>
                    <a:lnTo>
                      <a:pt x="9423" y="946"/>
                    </a:lnTo>
                    <a:lnTo>
                      <a:pt x="9442" y="945"/>
                    </a:lnTo>
                    <a:lnTo>
                      <a:pt x="9462" y="941"/>
                    </a:lnTo>
                    <a:lnTo>
                      <a:pt x="9481" y="938"/>
                    </a:lnTo>
                    <a:lnTo>
                      <a:pt x="9501" y="936"/>
                    </a:lnTo>
                    <a:lnTo>
                      <a:pt x="9520" y="932"/>
                    </a:lnTo>
                    <a:lnTo>
                      <a:pt x="9540" y="930"/>
                    </a:lnTo>
                    <a:lnTo>
                      <a:pt x="9558" y="930"/>
                    </a:lnTo>
                    <a:lnTo>
                      <a:pt x="9571" y="932"/>
                    </a:lnTo>
                    <a:lnTo>
                      <a:pt x="9586" y="934"/>
                    </a:lnTo>
                    <a:lnTo>
                      <a:pt x="9601" y="934"/>
                    </a:lnTo>
                    <a:lnTo>
                      <a:pt x="9615" y="932"/>
                    </a:lnTo>
                    <a:lnTo>
                      <a:pt x="9630" y="930"/>
                    </a:lnTo>
                    <a:lnTo>
                      <a:pt x="9647" y="928"/>
                    </a:lnTo>
                    <a:lnTo>
                      <a:pt x="9678" y="925"/>
                    </a:lnTo>
                    <a:lnTo>
                      <a:pt x="9695" y="925"/>
                    </a:lnTo>
                    <a:lnTo>
                      <a:pt x="9711" y="923"/>
                    </a:lnTo>
                    <a:lnTo>
                      <a:pt x="9726" y="923"/>
                    </a:lnTo>
                    <a:lnTo>
                      <a:pt x="9741" y="925"/>
                    </a:lnTo>
                    <a:lnTo>
                      <a:pt x="9757" y="928"/>
                    </a:lnTo>
                    <a:lnTo>
                      <a:pt x="9765" y="930"/>
                    </a:lnTo>
                    <a:lnTo>
                      <a:pt x="9772" y="932"/>
                    </a:lnTo>
                    <a:lnTo>
                      <a:pt x="9778" y="936"/>
                    </a:lnTo>
                    <a:lnTo>
                      <a:pt x="9785" y="938"/>
                    </a:lnTo>
                    <a:lnTo>
                      <a:pt x="9793" y="943"/>
                    </a:lnTo>
                    <a:lnTo>
                      <a:pt x="9798" y="946"/>
                    </a:lnTo>
                    <a:lnTo>
                      <a:pt x="9796" y="946"/>
                    </a:lnTo>
                    <a:lnTo>
                      <a:pt x="9795" y="946"/>
                    </a:lnTo>
                    <a:lnTo>
                      <a:pt x="9790" y="946"/>
                    </a:lnTo>
                    <a:lnTo>
                      <a:pt x="9787" y="946"/>
                    </a:lnTo>
                    <a:lnTo>
                      <a:pt x="9782" y="946"/>
                    </a:lnTo>
                    <a:lnTo>
                      <a:pt x="9789" y="949"/>
                    </a:lnTo>
                    <a:lnTo>
                      <a:pt x="9795" y="951"/>
                    </a:lnTo>
                    <a:lnTo>
                      <a:pt x="9802" y="953"/>
                    </a:lnTo>
                    <a:lnTo>
                      <a:pt x="9810" y="953"/>
                    </a:lnTo>
                    <a:lnTo>
                      <a:pt x="9818" y="953"/>
                    </a:lnTo>
                    <a:lnTo>
                      <a:pt x="9826" y="951"/>
                    </a:lnTo>
                    <a:lnTo>
                      <a:pt x="9843" y="949"/>
                    </a:lnTo>
                    <a:lnTo>
                      <a:pt x="9849" y="949"/>
                    </a:lnTo>
                    <a:lnTo>
                      <a:pt x="9857" y="949"/>
                    </a:lnTo>
                    <a:lnTo>
                      <a:pt x="9864" y="949"/>
                    </a:lnTo>
                    <a:lnTo>
                      <a:pt x="9874" y="949"/>
                    </a:lnTo>
                    <a:lnTo>
                      <a:pt x="9881" y="951"/>
                    </a:lnTo>
                    <a:lnTo>
                      <a:pt x="9889" y="954"/>
                    </a:lnTo>
                    <a:lnTo>
                      <a:pt x="9894" y="958"/>
                    </a:lnTo>
                    <a:lnTo>
                      <a:pt x="9902" y="964"/>
                    </a:lnTo>
                    <a:lnTo>
                      <a:pt x="9896" y="971"/>
                    </a:lnTo>
                    <a:lnTo>
                      <a:pt x="9889" y="974"/>
                    </a:lnTo>
                    <a:lnTo>
                      <a:pt x="9882" y="976"/>
                    </a:lnTo>
                    <a:lnTo>
                      <a:pt x="9877" y="980"/>
                    </a:lnTo>
                    <a:lnTo>
                      <a:pt x="9882" y="980"/>
                    </a:lnTo>
                    <a:lnTo>
                      <a:pt x="9892" y="978"/>
                    </a:lnTo>
                    <a:lnTo>
                      <a:pt x="9902" y="976"/>
                    </a:lnTo>
                    <a:lnTo>
                      <a:pt x="9907" y="978"/>
                    </a:lnTo>
                    <a:lnTo>
                      <a:pt x="9910" y="978"/>
                    </a:lnTo>
                    <a:lnTo>
                      <a:pt x="9917" y="980"/>
                    </a:lnTo>
                    <a:lnTo>
                      <a:pt x="9920" y="982"/>
                    </a:lnTo>
                    <a:lnTo>
                      <a:pt x="9923" y="984"/>
                    </a:lnTo>
                    <a:lnTo>
                      <a:pt x="9930" y="987"/>
                    </a:lnTo>
                    <a:lnTo>
                      <a:pt x="9933" y="993"/>
                    </a:lnTo>
                    <a:lnTo>
                      <a:pt x="9936" y="999"/>
                    </a:lnTo>
                    <a:lnTo>
                      <a:pt x="9930" y="1004"/>
                    </a:lnTo>
                    <a:lnTo>
                      <a:pt x="9920" y="1010"/>
                    </a:lnTo>
                    <a:lnTo>
                      <a:pt x="9910" y="1013"/>
                    </a:lnTo>
                    <a:lnTo>
                      <a:pt x="9900" y="1017"/>
                    </a:lnTo>
                    <a:lnTo>
                      <a:pt x="9889" y="1019"/>
                    </a:lnTo>
                    <a:lnTo>
                      <a:pt x="9877" y="1020"/>
                    </a:lnTo>
                    <a:lnTo>
                      <a:pt x="9854" y="1025"/>
                    </a:lnTo>
                    <a:lnTo>
                      <a:pt x="9843" y="1027"/>
                    </a:lnTo>
                    <a:lnTo>
                      <a:pt x="9833" y="1028"/>
                    </a:lnTo>
                    <a:lnTo>
                      <a:pt x="9824" y="1030"/>
                    </a:lnTo>
                    <a:lnTo>
                      <a:pt x="9815" y="1032"/>
                    </a:lnTo>
                    <a:lnTo>
                      <a:pt x="9810" y="1035"/>
                    </a:lnTo>
                    <a:lnTo>
                      <a:pt x="9805" y="1037"/>
                    </a:lnTo>
                    <a:lnTo>
                      <a:pt x="9803" y="1040"/>
                    </a:lnTo>
                    <a:lnTo>
                      <a:pt x="9802" y="1041"/>
                    </a:lnTo>
                    <a:lnTo>
                      <a:pt x="9800" y="1045"/>
                    </a:lnTo>
                    <a:lnTo>
                      <a:pt x="9798" y="1047"/>
                    </a:lnTo>
                    <a:lnTo>
                      <a:pt x="9798" y="1050"/>
                    </a:lnTo>
                    <a:lnTo>
                      <a:pt x="9802" y="1050"/>
                    </a:lnTo>
                    <a:lnTo>
                      <a:pt x="9808" y="1048"/>
                    </a:lnTo>
                    <a:lnTo>
                      <a:pt x="9811" y="1047"/>
                    </a:lnTo>
                    <a:lnTo>
                      <a:pt x="9816" y="1047"/>
                    </a:lnTo>
                    <a:lnTo>
                      <a:pt x="9829" y="1043"/>
                    </a:lnTo>
                    <a:lnTo>
                      <a:pt x="9835" y="1041"/>
                    </a:lnTo>
                    <a:lnTo>
                      <a:pt x="9843" y="1040"/>
                    </a:lnTo>
                    <a:lnTo>
                      <a:pt x="9848" y="1040"/>
                    </a:lnTo>
                    <a:lnTo>
                      <a:pt x="9854" y="1040"/>
                    </a:lnTo>
                    <a:lnTo>
                      <a:pt x="9861" y="1041"/>
                    </a:lnTo>
                    <a:lnTo>
                      <a:pt x="9866" y="1043"/>
                    </a:lnTo>
                    <a:lnTo>
                      <a:pt x="9872" y="1047"/>
                    </a:lnTo>
                    <a:lnTo>
                      <a:pt x="9876" y="1052"/>
                    </a:lnTo>
                    <a:lnTo>
                      <a:pt x="9881" y="1060"/>
                    </a:lnTo>
                    <a:lnTo>
                      <a:pt x="9882" y="1063"/>
                    </a:lnTo>
                    <a:lnTo>
                      <a:pt x="9885" y="1067"/>
                    </a:lnTo>
                    <a:lnTo>
                      <a:pt x="9877" y="1067"/>
                    </a:lnTo>
                    <a:lnTo>
                      <a:pt x="9869" y="1067"/>
                    </a:lnTo>
                    <a:lnTo>
                      <a:pt x="9859" y="1067"/>
                    </a:lnTo>
                    <a:lnTo>
                      <a:pt x="9849" y="1067"/>
                    </a:lnTo>
                    <a:lnTo>
                      <a:pt x="9841" y="1067"/>
                    </a:lnTo>
                    <a:lnTo>
                      <a:pt x="9831" y="1067"/>
                    </a:lnTo>
                    <a:lnTo>
                      <a:pt x="9823" y="1067"/>
                    </a:lnTo>
                    <a:lnTo>
                      <a:pt x="9816" y="1067"/>
                    </a:lnTo>
                    <a:lnTo>
                      <a:pt x="9810" y="1067"/>
                    </a:lnTo>
                    <a:lnTo>
                      <a:pt x="9803" y="1065"/>
                    </a:lnTo>
                    <a:lnTo>
                      <a:pt x="9796" y="1063"/>
                    </a:lnTo>
                    <a:lnTo>
                      <a:pt x="9790" y="1061"/>
                    </a:lnTo>
                    <a:lnTo>
                      <a:pt x="9783" y="1060"/>
                    </a:lnTo>
                    <a:lnTo>
                      <a:pt x="9780" y="1060"/>
                    </a:lnTo>
                    <a:lnTo>
                      <a:pt x="9778" y="1060"/>
                    </a:lnTo>
                    <a:lnTo>
                      <a:pt x="9774" y="1061"/>
                    </a:lnTo>
                    <a:lnTo>
                      <a:pt x="9770" y="1063"/>
                    </a:lnTo>
                    <a:lnTo>
                      <a:pt x="9769" y="1065"/>
                    </a:lnTo>
                    <a:lnTo>
                      <a:pt x="9765" y="1067"/>
                    </a:lnTo>
                    <a:lnTo>
                      <a:pt x="9765" y="1068"/>
                    </a:lnTo>
                    <a:lnTo>
                      <a:pt x="9767" y="1068"/>
                    </a:lnTo>
                    <a:lnTo>
                      <a:pt x="9769" y="1073"/>
                    </a:lnTo>
                    <a:lnTo>
                      <a:pt x="9772" y="1074"/>
                    </a:lnTo>
                    <a:lnTo>
                      <a:pt x="9775" y="1080"/>
                    </a:lnTo>
                    <a:lnTo>
                      <a:pt x="9782" y="1086"/>
                    </a:lnTo>
                    <a:lnTo>
                      <a:pt x="9769" y="1091"/>
                    </a:lnTo>
                    <a:lnTo>
                      <a:pt x="9755" y="1096"/>
                    </a:lnTo>
                    <a:lnTo>
                      <a:pt x="9742" y="1102"/>
                    </a:lnTo>
                    <a:lnTo>
                      <a:pt x="9729" y="1106"/>
                    </a:lnTo>
                    <a:lnTo>
                      <a:pt x="9724" y="1107"/>
                    </a:lnTo>
                    <a:lnTo>
                      <a:pt x="9717" y="1109"/>
                    </a:lnTo>
                    <a:lnTo>
                      <a:pt x="9711" y="1109"/>
                    </a:lnTo>
                    <a:lnTo>
                      <a:pt x="9704" y="1109"/>
                    </a:lnTo>
                    <a:lnTo>
                      <a:pt x="9698" y="1107"/>
                    </a:lnTo>
                    <a:lnTo>
                      <a:pt x="9691" y="1107"/>
                    </a:lnTo>
                    <a:lnTo>
                      <a:pt x="9686" y="1106"/>
                    </a:lnTo>
                    <a:lnTo>
                      <a:pt x="9678" y="1102"/>
                    </a:lnTo>
                    <a:lnTo>
                      <a:pt x="9660" y="1102"/>
                    </a:lnTo>
                    <a:lnTo>
                      <a:pt x="9643" y="1104"/>
                    </a:lnTo>
                    <a:lnTo>
                      <a:pt x="9627" y="1107"/>
                    </a:lnTo>
                    <a:lnTo>
                      <a:pt x="9612" y="1111"/>
                    </a:lnTo>
                    <a:lnTo>
                      <a:pt x="9599" y="1113"/>
                    </a:lnTo>
                    <a:lnTo>
                      <a:pt x="9584" y="1117"/>
                    </a:lnTo>
                    <a:lnTo>
                      <a:pt x="9571" y="1119"/>
                    </a:lnTo>
                    <a:lnTo>
                      <a:pt x="9558" y="1119"/>
                    </a:lnTo>
                    <a:lnTo>
                      <a:pt x="9555" y="1119"/>
                    </a:lnTo>
                    <a:lnTo>
                      <a:pt x="9551" y="1119"/>
                    </a:lnTo>
                    <a:lnTo>
                      <a:pt x="9541" y="1119"/>
                    </a:lnTo>
                    <a:lnTo>
                      <a:pt x="9532" y="1119"/>
                    </a:lnTo>
                    <a:lnTo>
                      <a:pt x="9521" y="1119"/>
                    </a:lnTo>
                    <a:lnTo>
                      <a:pt x="9508" y="1117"/>
                    </a:lnTo>
                    <a:lnTo>
                      <a:pt x="9497" y="1117"/>
                    </a:lnTo>
                    <a:lnTo>
                      <a:pt x="9486" y="1114"/>
                    </a:lnTo>
                    <a:lnTo>
                      <a:pt x="9475" y="1113"/>
                    </a:lnTo>
                    <a:lnTo>
                      <a:pt x="9464" y="1109"/>
                    </a:lnTo>
                    <a:lnTo>
                      <a:pt x="9456" y="1106"/>
                    </a:lnTo>
                    <a:lnTo>
                      <a:pt x="9453" y="1104"/>
                    </a:lnTo>
                    <a:lnTo>
                      <a:pt x="9449" y="1102"/>
                    </a:lnTo>
                    <a:lnTo>
                      <a:pt x="9448" y="1101"/>
                    </a:lnTo>
                    <a:lnTo>
                      <a:pt x="9446" y="1096"/>
                    </a:lnTo>
                    <a:lnTo>
                      <a:pt x="9444" y="1094"/>
                    </a:lnTo>
                    <a:lnTo>
                      <a:pt x="9442" y="1091"/>
                    </a:lnTo>
                    <a:lnTo>
                      <a:pt x="9442" y="1087"/>
                    </a:lnTo>
                    <a:lnTo>
                      <a:pt x="9444" y="1083"/>
                    </a:lnTo>
                    <a:lnTo>
                      <a:pt x="9446" y="1080"/>
                    </a:lnTo>
                    <a:lnTo>
                      <a:pt x="9448" y="1076"/>
                    </a:lnTo>
                    <a:lnTo>
                      <a:pt x="9451" y="1073"/>
                    </a:lnTo>
                    <a:lnTo>
                      <a:pt x="9454" y="1067"/>
                    </a:lnTo>
                    <a:lnTo>
                      <a:pt x="9449" y="1065"/>
                    </a:lnTo>
                    <a:lnTo>
                      <a:pt x="9442" y="1063"/>
                    </a:lnTo>
                    <a:lnTo>
                      <a:pt x="9436" y="1065"/>
                    </a:lnTo>
                    <a:lnTo>
                      <a:pt x="9431" y="1065"/>
                    </a:lnTo>
                    <a:lnTo>
                      <a:pt x="9423" y="1067"/>
                    </a:lnTo>
                    <a:lnTo>
                      <a:pt x="9418" y="1071"/>
                    </a:lnTo>
                    <a:lnTo>
                      <a:pt x="9413" y="1074"/>
                    </a:lnTo>
                    <a:lnTo>
                      <a:pt x="9407" y="1078"/>
                    </a:lnTo>
                    <a:lnTo>
                      <a:pt x="9395" y="1087"/>
                    </a:lnTo>
                    <a:lnTo>
                      <a:pt x="9390" y="1091"/>
                    </a:lnTo>
                    <a:lnTo>
                      <a:pt x="9385" y="1094"/>
                    </a:lnTo>
                    <a:lnTo>
                      <a:pt x="9381" y="1096"/>
                    </a:lnTo>
                    <a:lnTo>
                      <a:pt x="9377" y="1101"/>
                    </a:lnTo>
                    <a:lnTo>
                      <a:pt x="9374" y="1102"/>
                    </a:lnTo>
                    <a:lnTo>
                      <a:pt x="9370" y="1102"/>
                    </a:lnTo>
                    <a:lnTo>
                      <a:pt x="9362" y="1106"/>
                    </a:lnTo>
                    <a:lnTo>
                      <a:pt x="9355" y="1107"/>
                    </a:lnTo>
                    <a:lnTo>
                      <a:pt x="9346" y="1111"/>
                    </a:lnTo>
                    <a:lnTo>
                      <a:pt x="9337" y="1113"/>
                    </a:lnTo>
                    <a:lnTo>
                      <a:pt x="9326" y="1117"/>
                    </a:lnTo>
                    <a:lnTo>
                      <a:pt x="9314" y="1119"/>
                    </a:lnTo>
                    <a:lnTo>
                      <a:pt x="9303" y="1121"/>
                    </a:lnTo>
                    <a:lnTo>
                      <a:pt x="9293" y="1121"/>
                    </a:lnTo>
                    <a:lnTo>
                      <a:pt x="9281" y="1122"/>
                    </a:lnTo>
                    <a:lnTo>
                      <a:pt x="9270" y="1122"/>
                    </a:lnTo>
                    <a:lnTo>
                      <a:pt x="9260" y="1121"/>
                    </a:lnTo>
                    <a:lnTo>
                      <a:pt x="9248" y="1119"/>
                    </a:lnTo>
                    <a:lnTo>
                      <a:pt x="9239" y="1117"/>
                    </a:lnTo>
                    <a:lnTo>
                      <a:pt x="9230" y="1113"/>
                    </a:lnTo>
                    <a:lnTo>
                      <a:pt x="9222" y="1107"/>
                    </a:lnTo>
                    <a:lnTo>
                      <a:pt x="9215" y="1102"/>
                    </a:lnTo>
                    <a:lnTo>
                      <a:pt x="9217" y="1101"/>
                    </a:lnTo>
                    <a:lnTo>
                      <a:pt x="9219" y="1098"/>
                    </a:lnTo>
                    <a:lnTo>
                      <a:pt x="9222" y="1094"/>
                    </a:lnTo>
                    <a:lnTo>
                      <a:pt x="9224" y="1093"/>
                    </a:lnTo>
                    <a:lnTo>
                      <a:pt x="9226" y="1091"/>
                    </a:lnTo>
                    <a:lnTo>
                      <a:pt x="9232" y="1086"/>
                    </a:lnTo>
                    <a:lnTo>
                      <a:pt x="9227" y="1089"/>
                    </a:lnTo>
                    <a:lnTo>
                      <a:pt x="9224" y="1093"/>
                    </a:lnTo>
                    <a:lnTo>
                      <a:pt x="9219" y="1096"/>
                    </a:lnTo>
                    <a:lnTo>
                      <a:pt x="9211" y="1101"/>
                    </a:lnTo>
                    <a:lnTo>
                      <a:pt x="9199" y="1107"/>
                    </a:lnTo>
                    <a:lnTo>
                      <a:pt x="9191" y="1109"/>
                    </a:lnTo>
                    <a:lnTo>
                      <a:pt x="9186" y="1113"/>
                    </a:lnTo>
                    <a:lnTo>
                      <a:pt x="9178" y="1114"/>
                    </a:lnTo>
                    <a:lnTo>
                      <a:pt x="9173" y="1117"/>
                    </a:lnTo>
                    <a:lnTo>
                      <a:pt x="9169" y="1117"/>
                    </a:lnTo>
                    <a:lnTo>
                      <a:pt x="9165" y="1117"/>
                    </a:lnTo>
                    <a:lnTo>
                      <a:pt x="9161" y="1114"/>
                    </a:lnTo>
                    <a:lnTo>
                      <a:pt x="9161" y="1111"/>
                    </a:lnTo>
                    <a:lnTo>
                      <a:pt x="9161" y="1107"/>
                    </a:lnTo>
                    <a:lnTo>
                      <a:pt x="9163" y="1106"/>
                    </a:lnTo>
                    <a:lnTo>
                      <a:pt x="9163" y="1102"/>
                    </a:lnTo>
                    <a:lnTo>
                      <a:pt x="9159" y="1106"/>
                    </a:lnTo>
                    <a:lnTo>
                      <a:pt x="9156" y="1107"/>
                    </a:lnTo>
                    <a:lnTo>
                      <a:pt x="9148" y="1111"/>
                    </a:lnTo>
                    <a:lnTo>
                      <a:pt x="9143" y="1113"/>
                    </a:lnTo>
                    <a:lnTo>
                      <a:pt x="9135" y="1117"/>
                    </a:lnTo>
                    <a:lnTo>
                      <a:pt x="9128" y="1119"/>
                    </a:lnTo>
                    <a:lnTo>
                      <a:pt x="9120" y="1121"/>
                    </a:lnTo>
                    <a:lnTo>
                      <a:pt x="9113" y="1121"/>
                    </a:lnTo>
                    <a:lnTo>
                      <a:pt x="9108" y="1122"/>
                    </a:lnTo>
                    <a:lnTo>
                      <a:pt x="9100" y="1122"/>
                    </a:lnTo>
                    <a:lnTo>
                      <a:pt x="9095" y="1121"/>
                    </a:lnTo>
                    <a:lnTo>
                      <a:pt x="9089" y="1119"/>
                    </a:lnTo>
                    <a:lnTo>
                      <a:pt x="9084" y="1117"/>
                    </a:lnTo>
                    <a:lnTo>
                      <a:pt x="9080" y="1113"/>
                    </a:lnTo>
                    <a:lnTo>
                      <a:pt x="9079" y="1107"/>
                    </a:lnTo>
                    <a:lnTo>
                      <a:pt x="9079" y="1102"/>
                    </a:lnTo>
                    <a:lnTo>
                      <a:pt x="9071" y="1107"/>
                    </a:lnTo>
                    <a:lnTo>
                      <a:pt x="9066" y="1111"/>
                    </a:lnTo>
                    <a:lnTo>
                      <a:pt x="9058" y="1113"/>
                    </a:lnTo>
                    <a:lnTo>
                      <a:pt x="9051" y="1114"/>
                    </a:lnTo>
                    <a:lnTo>
                      <a:pt x="9041" y="1113"/>
                    </a:lnTo>
                    <a:lnTo>
                      <a:pt x="9033" y="1111"/>
                    </a:lnTo>
                    <a:lnTo>
                      <a:pt x="9021" y="1107"/>
                    </a:lnTo>
                    <a:lnTo>
                      <a:pt x="9010" y="1102"/>
                    </a:lnTo>
                    <a:lnTo>
                      <a:pt x="9010" y="1106"/>
                    </a:lnTo>
                    <a:lnTo>
                      <a:pt x="9012" y="1107"/>
                    </a:lnTo>
                    <a:lnTo>
                      <a:pt x="9012" y="1111"/>
                    </a:lnTo>
                    <a:lnTo>
                      <a:pt x="9010" y="1114"/>
                    </a:lnTo>
                    <a:lnTo>
                      <a:pt x="9008" y="1117"/>
                    </a:lnTo>
                    <a:lnTo>
                      <a:pt x="9005" y="1117"/>
                    </a:lnTo>
                    <a:lnTo>
                      <a:pt x="8998" y="1119"/>
                    </a:lnTo>
                    <a:lnTo>
                      <a:pt x="8993" y="1117"/>
                    </a:lnTo>
                    <a:lnTo>
                      <a:pt x="8988" y="1117"/>
                    </a:lnTo>
                    <a:lnTo>
                      <a:pt x="8975" y="1114"/>
                    </a:lnTo>
                    <a:lnTo>
                      <a:pt x="8967" y="1114"/>
                    </a:lnTo>
                    <a:lnTo>
                      <a:pt x="8960" y="1113"/>
                    </a:lnTo>
                    <a:lnTo>
                      <a:pt x="8955" y="1114"/>
                    </a:lnTo>
                    <a:lnTo>
                      <a:pt x="8949" y="1114"/>
                    </a:lnTo>
                    <a:lnTo>
                      <a:pt x="8944" y="1117"/>
                    </a:lnTo>
                    <a:lnTo>
                      <a:pt x="8940" y="1119"/>
                    </a:lnTo>
                    <a:lnTo>
                      <a:pt x="8936" y="1119"/>
                    </a:lnTo>
                    <a:lnTo>
                      <a:pt x="8931" y="1121"/>
                    </a:lnTo>
                    <a:lnTo>
                      <a:pt x="8925" y="1121"/>
                    </a:lnTo>
                    <a:lnTo>
                      <a:pt x="8918" y="1122"/>
                    </a:lnTo>
                    <a:lnTo>
                      <a:pt x="8909" y="1122"/>
                    </a:lnTo>
                    <a:lnTo>
                      <a:pt x="8899" y="1124"/>
                    </a:lnTo>
                    <a:lnTo>
                      <a:pt x="8881" y="1126"/>
                    </a:lnTo>
                    <a:lnTo>
                      <a:pt x="8860" y="1126"/>
                    </a:lnTo>
                    <a:lnTo>
                      <a:pt x="8853" y="1126"/>
                    </a:lnTo>
                    <a:lnTo>
                      <a:pt x="8844" y="1126"/>
                    </a:lnTo>
                    <a:lnTo>
                      <a:pt x="8837" y="1126"/>
                    </a:lnTo>
                    <a:lnTo>
                      <a:pt x="8829" y="1124"/>
                    </a:lnTo>
                    <a:lnTo>
                      <a:pt x="8824" y="1122"/>
                    </a:lnTo>
                    <a:lnTo>
                      <a:pt x="8820" y="1119"/>
                    </a:lnTo>
                    <a:lnTo>
                      <a:pt x="8833" y="1106"/>
                    </a:lnTo>
                    <a:lnTo>
                      <a:pt x="8840" y="1101"/>
                    </a:lnTo>
                    <a:lnTo>
                      <a:pt x="8845" y="1096"/>
                    </a:lnTo>
                    <a:lnTo>
                      <a:pt x="8853" y="1091"/>
                    </a:lnTo>
                    <a:lnTo>
                      <a:pt x="8858" y="1087"/>
                    </a:lnTo>
                    <a:lnTo>
                      <a:pt x="8866" y="1086"/>
                    </a:lnTo>
                    <a:lnTo>
                      <a:pt x="8871" y="1086"/>
                    </a:lnTo>
                    <a:lnTo>
                      <a:pt x="8868" y="1080"/>
                    </a:lnTo>
                    <a:lnTo>
                      <a:pt x="8865" y="1074"/>
                    </a:lnTo>
                    <a:lnTo>
                      <a:pt x="8860" y="1073"/>
                    </a:lnTo>
                    <a:lnTo>
                      <a:pt x="8857" y="1071"/>
                    </a:lnTo>
                    <a:lnTo>
                      <a:pt x="8852" y="1068"/>
                    </a:lnTo>
                    <a:lnTo>
                      <a:pt x="8848" y="1068"/>
                    </a:lnTo>
                    <a:lnTo>
                      <a:pt x="8842" y="1071"/>
                    </a:lnTo>
                    <a:lnTo>
                      <a:pt x="8838" y="1073"/>
                    </a:lnTo>
                    <a:lnTo>
                      <a:pt x="8827" y="1076"/>
                    </a:lnTo>
                    <a:lnTo>
                      <a:pt x="8818" y="1080"/>
                    </a:lnTo>
                    <a:lnTo>
                      <a:pt x="8814" y="1081"/>
                    </a:lnTo>
                    <a:lnTo>
                      <a:pt x="8811" y="1083"/>
                    </a:lnTo>
                    <a:lnTo>
                      <a:pt x="8807" y="1086"/>
                    </a:lnTo>
                    <a:lnTo>
                      <a:pt x="8804" y="1086"/>
                    </a:lnTo>
                    <a:lnTo>
                      <a:pt x="8805" y="1083"/>
                    </a:lnTo>
                    <a:lnTo>
                      <a:pt x="8807" y="1080"/>
                    </a:lnTo>
                    <a:lnTo>
                      <a:pt x="8811" y="1078"/>
                    </a:lnTo>
                    <a:lnTo>
                      <a:pt x="8814" y="1073"/>
                    </a:lnTo>
                    <a:lnTo>
                      <a:pt x="8820" y="1067"/>
                    </a:lnTo>
                    <a:lnTo>
                      <a:pt x="8807" y="1071"/>
                    </a:lnTo>
                    <a:lnTo>
                      <a:pt x="8796" y="1074"/>
                    </a:lnTo>
                    <a:lnTo>
                      <a:pt x="8784" y="1078"/>
                    </a:lnTo>
                    <a:lnTo>
                      <a:pt x="8774" y="1081"/>
                    </a:lnTo>
                    <a:lnTo>
                      <a:pt x="8764" y="1087"/>
                    </a:lnTo>
                    <a:lnTo>
                      <a:pt x="8756" y="1091"/>
                    </a:lnTo>
                    <a:lnTo>
                      <a:pt x="8737" y="1098"/>
                    </a:lnTo>
                    <a:lnTo>
                      <a:pt x="8728" y="1101"/>
                    </a:lnTo>
                    <a:lnTo>
                      <a:pt x="8720" y="1104"/>
                    </a:lnTo>
                    <a:lnTo>
                      <a:pt x="8711" y="1106"/>
                    </a:lnTo>
                    <a:lnTo>
                      <a:pt x="8702" y="1106"/>
                    </a:lnTo>
                    <a:lnTo>
                      <a:pt x="8692" y="1106"/>
                    </a:lnTo>
                    <a:lnTo>
                      <a:pt x="8685" y="1106"/>
                    </a:lnTo>
                    <a:lnTo>
                      <a:pt x="8676" y="1104"/>
                    </a:lnTo>
                    <a:lnTo>
                      <a:pt x="8667" y="1102"/>
                    </a:lnTo>
                    <a:lnTo>
                      <a:pt x="8659" y="1102"/>
                    </a:lnTo>
                    <a:lnTo>
                      <a:pt x="8651" y="1102"/>
                    </a:lnTo>
                    <a:lnTo>
                      <a:pt x="8641" y="1102"/>
                    </a:lnTo>
                    <a:lnTo>
                      <a:pt x="8631" y="1102"/>
                    </a:lnTo>
                    <a:lnTo>
                      <a:pt x="8623" y="1102"/>
                    </a:lnTo>
                    <a:lnTo>
                      <a:pt x="8613" y="1102"/>
                    </a:lnTo>
                    <a:lnTo>
                      <a:pt x="8604" y="1102"/>
                    </a:lnTo>
                    <a:lnTo>
                      <a:pt x="8598" y="1102"/>
                    </a:lnTo>
                    <a:lnTo>
                      <a:pt x="8598" y="1101"/>
                    </a:lnTo>
                    <a:lnTo>
                      <a:pt x="8600" y="1096"/>
                    </a:lnTo>
                    <a:lnTo>
                      <a:pt x="8602" y="1093"/>
                    </a:lnTo>
                    <a:lnTo>
                      <a:pt x="8600" y="1091"/>
                    </a:lnTo>
                    <a:lnTo>
                      <a:pt x="8598" y="1089"/>
                    </a:lnTo>
                    <a:lnTo>
                      <a:pt x="8597" y="1087"/>
                    </a:lnTo>
                    <a:lnTo>
                      <a:pt x="8595" y="1087"/>
                    </a:lnTo>
                    <a:lnTo>
                      <a:pt x="8591" y="1086"/>
                    </a:lnTo>
                    <a:lnTo>
                      <a:pt x="8585" y="1086"/>
                    </a:lnTo>
                    <a:lnTo>
                      <a:pt x="8580" y="1086"/>
                    </a:lnTo>
                    <a:lnTo>
                      <a:pt x="8585" y="1083"/>
                    </a:lnTo>
                    <a:lnTo>
                      <a:pt x="8593" y="1081"/>
                    </a:lnTo>
                    <a:lnTo>
                      <a:pt x="8598" y="1080"/>
                    </a:lnTo>
                    <a:lnTo>
                      <a:pt x="8604" y="1076"/>
                    </a:lnTo>
                    <a:lnTo>
                      <a:pt x="8608" y="1073"/>
                    </a:lnTo>
                    <a:lnTo>
                      <a:pt x="8611" y="1071"/>
                    </a:lnTo>
                    <a:lnTo>
                      <a:pt x="8613" y="1068"/>
                    </a:lnTo>
                    <a:lnTo>
                      <a:pt x="8615" y="1067"/>
                    </a:lnTo>
                    <a:lnTo>
                      <a:pt x="8602" y="1074"/>
                    </a:lnTo>
                    <a:lnTo>
                      <a:pt x="8587" y="1080"/>
                    </a:lnTo>
                    <a:lnTo>
                      <a:pt x="8575" y="1086"/>
                    </a:lnTo>
                    <a:lnTo>
                      <a:pt x="8562" y="1089"/>
                    </a:lnTo>
                    <a:lnTo>
                      <a:pt x="8554" y="1091"/>
                    </a:lnTo>
                    <a:lnTo>
                      <a:pt x="8547" y="1091"/>
                    </a:lnTo>
                    <a:lnTo>
                      <a:pt x="8537" y="1093"/>
                    </a:lnTo>
                    <a:lnTo>
                      <a:pt x="8530" y="1091"/>
                    </a:lnTo>
                    <a:lnTo>
                      <a:pt x="8521" y="1091"/>
                    </a:lnTo>
                    <a:lnTo>
                      <a:pt x="8514" y="1089"/>
                    </a:lnTo>
                    <a:lnTo>
                      <a:pt x="8504" y="1087"/>
                    </a:lnTo>
                    <a:lnTo>
                      <a:pt x="8495" y="1086"/>
                    </a:lnTo>
                    <a:lnTo>
                      <a:pt x="8490" y="1083"/>
                    </a:lnTo>
                    <a:lnTo>
                      <a:pt x="8486" y="1081"/>
                    </a:lnTo>
                    <a:lnTo>
                      <a:pt x="8483" y="1080"/>
                    </a:lnTo>
                    <a:lnTo>
                      <a:pt x="8480" y="1078"/>
                    </a:lnTo>
                    <a:lnTo>
                      <a:pt x="8478" y="1076"/>
                    </a:lnTo>
                    <a:lnTo>
                      <a:pt x="8476" y="1074"/>
                    </a:lnTo>
                    <a:lnTo>
                      <a:pt x="8476" y="1071"/>
                    </a:lnTo>
                    <a:lnTo>
                      <a:pt x="8475" y="1068"/>
                    </a:lnTo>
                    <a:lnTo>
                      <a:pt x="8476" y="1065"/>
                    </a:lnTo>
                    <a:lnTo>
                      <a:pt x="8478" y="1060"/>
                    </a:lnTo>
                    <a:lnTo>
                      <a:pt x="8480" y="1056"/>
                    </a:lnTo>
                    <a:lnTo>
                      <a:pt x="8486" y="1050"/>
                    </a:lnTo>
                    <a:lnTo>
                      <a:pt x="8491" y="1045"/>
                    </a:lnTo>
                    <a:lnTo>
                      <a:pt x="8497" y="1041"/>
                    </a:lnTo>
                    <a:lnTo>
                      <a:pt x="8508" y="1032"/>
                    </a:lnTo>
                    <a:lnTo>
                      <a:pt x="8514" y="1028"/>
                    </a:lnTo>
                    <a:lnTo>
                      <a:pt x="8519" y="1022"/>
                    </a:lnTo>
                    <a:lnTo>
                      <a:pt x="8516" y="1025"/>
                    </a:lnTo>
                    <a:lnTo>
                      <a:pt x="8511" y="1022"/>
                    </a:lnTo>
                    <a:lnTo>
                      <a:pt x="8508" y="1020"/>
                    </a:lnTo>
                    <a:lnTo>
                      <a:pt x="8504" y="1019"/>
                    </a:lnTo>
                    <a:lnTo>
                      <a:pt x="8501" y="1017"/>
                    </a:lnTo>
                    <a:lnTo>
                      <a:pt x="8495" y="1015"/>
                    </a:lnTo>
                    <a:lnTo>
                      <a:pt x="8497" y="1010"/>
                    </a:lnTo>
                    <a:lnTo>
                      <a:pt x="8501" y="1004"/>
                    </a:lnTo>
                    <a:lnTo>
                      <a:pt x="8506" y="1000"/>
                    </a:lnTo>
                    <a:lnTo>
                      <a:pt x="8509" y="995"/>
                    </a:lnTo>
                    <a:lnTo>
                      <a:pt x="8516" y="993"/>
                    </a:lnTo>
                    <a:lnTo>
                      <a:pt x="8519" y="989"/>
                    </a:lnTo>
                    <a:lnTo>
                      <a:pt x="8530" y="984"/>
                    </a:lnTo>
                    <a:lnTo>
                      <a:pt x="8544" y="978"/>
                    </a:lnTo>
                    <a:lnTo>
                      <a:pt x="8554" y="974"/>
                    </a:lnTo>
                    <a:lnTo>
                      <a:pt x="8567" y="971"/>
                    </a:lnTo>
                    <a:lnTo>
                      <a:pt x="8580" y="964"/>
                    </a:lnTo>
                    <a:lnTo>
                      <a:pt x="8585" y="964"/>
                    </a:lnTo>
                    <a:lnTo>
                      <a:pt x="8591" y="964"/>
                    </a:lnTo>
                    <a:lnTo>
                      <a:pt x="8597" y="961"/>
                    </a:lnTo>
                    <a:lnTo>
                      <a:pt x="8600" y="958"/>
                    </a:lnTo>
                    <a:lnTo>
                      <a:pt x="8604" y="956"/>
                    </a:lnTo>
                    <a:lnTo>
                      <a:pt x="8608" y="953"/>
                    </a:lnTo>
                    <a:lnTo>
                      <a:pt x="8611" y="945"/>
                    </a:lnTo>
                    <a:lnTo>
                      <a:pt x="8617" y="936"/>
                    </a:lnTo>
                    <a:lnTo>
                      <a:pt x="8621" y="928"/>
                    </a:lnTo>
                    <a:lnTo>
                      <a:pt x="8626" y="920"/>
                    </a:lnTo>
                    <a:lnTo>
                      <a:pt x="8631" y="912"/>
                    </a:lnTo>
                    <a:lnTo>
                      <a:pt x="8626" y="912"/>
                    </a:lnTo>
                    <a:lnTo>
                      <a:pt x="8623" y="910"/>
                    </a:lnTo>
                    <a:lnTo>
                      <a:pt x="8619" y="908"/>
                    </a:lnTo>
                    <a:lnTo>
                      <a:pt x="8617" y="905"/>
                    </a:lnTo>
                    <a:lnTo>
                      <a:pt x="8615" y="900"/>
                    </a:lnTo>
                    <a:lnTo>
                      <a:pt x="8615" y="897"/>
                    </a:lnTo>
                    <a:lnTo>
                      <a:pt x="8615" y="892"/>
                    </a:lnTo>
                    <a:lnTo>
                      <a:pt x="8617" y="885"/>
                    </a:lnTo>
                    <a:lnTo>
                      <a:pt x="8619" y="877"/>
                    </a:lnTo>
                    <a:lnTo>
                      <a:pt x="8619" y="873"/>
                    </a:lnTo>
                    <a:lnTo>
                      <a:pt x="8619" y="869"/>
                    </a:lnTo>
                    <a:lnTo>
                      <a:pt x="8619" y="866"/>
                    </a:lnTo>
                    <a:lnTo>
                      <a:pt x="8619" y="864"/>
                    </a:lnTo>
                    <a:lnTo>
                      <a:pt x="8617" y="862"/>
                    </a:lnTo>
                    <a:lnTo>
                      <a:pt x="8615" y="860"/>
                    </a:lnTo>
                    <a:lnTo>
                      <a:pt x="8608" y="859"/>
                    </a:lnTo>
                    <a:lnTo>
                      <a:pt x="8602" y="856"/>
                    </a:lnTo>
                    <a:lnTo>
                      <a:pt x="8595" y="856"/>
                    </a:lnTo>
                    <a:lnTo>
                      <a:pt x="8590" y="856"/>
                    </a:lnTo>
                    <a:lnTo>
                      <a:pt x="8582" y="856"/>
                    </a:lnTo>
                    <a:lnTo>
                      <a:pt x="8577" y="859"/>
                    </a:lnTo>
                    <a:lnTo>
                      <a:pt x="8563" y="860"/>
                    </a:lnTo>
                    <a:lnTo>
                      <a:pt x="8550" y="864"/>
                    </a:lnTo>
                    <a:lnTo>
                      <a:pt x="8544" y="866"/>
                    </a:lnTo>
                    <a:lnTo>
                      <a:pt x="8537" y="866"/>
                    </a:lnTo>
                    <a:lnTo>
                      <a:pt x="8530" y="866"/>
                    </a:lnTo>
                    <a:lnTo>
                      <a:pt x="8524" y="866"/>
                    </a:lnTo>
                    <a:lnTo>
                      <a:pt x="8517" y="864"/>
                    </a:lnTo>
                    <a:lnTo>
                      <a:pt x="8511" y="860"/>
                    </a:lnTo>
                    <a:lnTo>
                      <a:pt x="8504" y="864"/>
                    </a:lnTo>
                    <a:lnTo>
                      <a:pt x="8499" y="866"/>
                    </a:lnTo>
                    <a:lnTo>
                      <a:pt x="8493" y="867"/>
                    </a:lnTo>
                    <a:lnTo>
                      <a:pt x="8488" y="867"/>
                    </a:lnTo>
                    <a:lnTo>
                      <a:pt x="8484" y="869"/>
                    </a:lnTo>
                    <a:lnTo>
                      <a:pt x="8478" y="869"/>
                    </a:lnTo>
                    <a:lnTo>
                      <a:pt x="8470" y="867"/>
                    </a:lnTo>
                    <a:lnTo>
                      <a:pt x="8458" y="866"/>
                    </a:lnTo>
                    <a:lnTo>
                      <a:pt x="8449" y="864"/>
                    </a:lnTo>
                    <a:lnTo>
                      <a:pt x="8438" y="862"/>
                    </a:lnTo>
                    <a:lnTo>
                      <a:pt x="8425" y="860"/>
                    </a:lnTo>
                    <a:lnTo>
                      <a:pt x="8417" y="862"/>
                    </a:lnTo>
                    <a:lnTo>
                      <a:pt x="8410" y="864"/>
                    </a:lnTo>
                    <a:lnTo>
                      <a:pt x="8401" y="866"/>
                    </a:lnTo>
                    <a:lnTo>
                      <a:pt x="8392" y="867"/>
                    </a:lnTo>
                    <a:lnTo>
                      <a:pt x="8383" y="869"/>
                    </a:lnTo>
                    <a:lnTo>
                      <a:pt x="8377" y="869"/>
                    </a:lnTo>
                    <a:lnTo>
                      <a:pt x="8373" y="867"/>
                    </a:lnTo>
                    <a:lnTo>
                      <a:pt x="8368" y="867"/>
                    </a:lnTo>
                    <a:lnTo>
                      <a:pt x="8364" y="866"/>
                    </a:lnTo>
                    <a:lnTo>
                      <a:pt x="8361" y="864"/>
                    </a:lnTo>
                    <a:lnTo>
                      <a:pt x="8356" y="860"/>
                    </a:lnTo>
                    <a:lnTo>
                      <a:pt x="8364" y="860"/>
                    </a:lnTo>
                    <a:lnTo>
                      <a:pt x="8373" y="860"/>
                    </a:lnTo>
                    <a:lnTo>
                      <a:pt x="8383" y="860"/>
                    </a:lnTo>
                    <a:lnTo>
                      <a:pt x="8386" y="860"/>
                    </a:lnTo>
                    <a:lnTo>
                      <a:pt x="8368" y="856"/>
                    </a:lnTo>
                    <a:lnTo>
                      <a:pt x="8358" y="854"/>
                    </a:lnTo>
                    <a:lnTo>
                      <a:pt x="8351" y="852"/>
                    </a:lnTo>
                    <a:lnTo>
                      <a:pt x="8343" y="849"/>
                    </a:lnTo>
                    <a:lnTo>
                      <a:pt x="8336" y="847"/>
                    </a:lnTo>
                    <a:lnTo>
                      <a:pt x="8331" y="844"/>
                    </a:lnTo>
                    <a:lnTo>
                      <a:pt x="8327" y="838"/>
                    </a:lnTo>
                    <a:lnTo>
                      <a:pt x="8323" y="832"/>
                    </a:lnTo>
                    <a:lnTo>
                      <a:pt x="8323" y="831"/>
                    </a:lnTo>
                    <a:lnTo>
                      <a:pt x="8323" y="826"/>
                    </a:lnTo>
                    <a:lnTo>
                      <a:pt x="8328" y="826"/>
                    </a:lnTo>
                    <a:lnTo>
                      <a:pt x="8338" y="826"/>
                    </a:lnTo>
                    <a:lnTo>
                      <a:pt x="8348" y="826"/>
                    </a:lnTo>
                    <a:lnTo>
                      <a:pt x="8356" y="826"/>
                    </a:lnTo>
                    <a:lnTo>
                      <a:pt x="8366" y="826"/>
                    </a:lnTo>
                    <a:lnTo>
                      <a:pt x="8376" y="826"/>
                    </a:lnTo>
                    <a:lnTo>
                      <a:pt x="8377" y="826"/>
                    </a:lnTo>
                    <a:lnTo>
                      <a:pt x="8363" y="823"/>
                    </a:lnTo>
                    <a:lnTo>
                      <a:pt x="8348" y="819"/>
                    </a:lnTo>
                    <a:lnTo>
                      <a:pt x="8331" y="816"/>
                    </a:lnTo>
                    <a:lnTo>
                      <a:pt x="8315" y="810"/>
                    </a:lnTo>
                    <a:lnTo>
                      <a:pt x="8300" y="805"/>
                    </a:lnTo>
                    <a:lnTo>
                      <a:pt x="8285" y="799"/>
                    </a:lnTo>
                    <a:lnTo>
                      <a:pt x="8272" y="792"/>
                    </a:lnTo>
                    <a:lnTo>
                      <a:pt x="8277" y="792"/>
                    </a:lnTo>
                    <a:lnTo>
                      <a:pt x="8287" y="792"/>
                    </a:lnTo>
                    <a:lnTo>
                      <a:pt x="8295" y="792"/>
                    </a:lnTo>
                    <a:lnTo>
                      <a:pt x="8305" y="792"/>
                    </a:lnTo>
                    <a:lnTo>
                      <a:pt x="8315" y="792"/>
                    </a:lnTo>
                    <a:lnTo>
                      <a:pt x="8323" y="792"/>
                    </a:lnTo>
                    <a:lnTo>
                      <a:pt x="8327" y="792"/>
                    </a:lnTo>
                    <a:lnTo>
                      <a:pt x="8325" y="790"/>
                    </a:lnTo>
                    <a:lnTo>
                      <a:pt x="8323" y="788"/>
                    </a:lnTo>
                    <a:lnTo>
                      <a:pt x="8323" y="785"/>
                    </a:lnTo>
                    <a:lnTo>
                      <a:pt x="8323" y="780"/>
                    </a:lnTo>
                    <a:lnTo>
                      <a:pt x="8323" y="775"/>
                    </a:lnTo>
                    <a:lnTo>
                      <a:pt x="8325" y="772"/>
                    </a:lnTo>
                    <a:close/>
                    <a:moveTo>
                      <a:pt x="8879" y="959"/>
                    </a:moveTo>
                    <a:lnTo>
                      <a:pt x="8886" y="958"/>
                    </a:lnTo>
                    <a:lnTo>
                      <a:pt x="8894" y="956"/>
                    </a:lnTo>
                    <a:lnTo>
                      <a:pt x="8888" y="956"/>
                    </a:lnTo>
                    <a:lnTo>
                      <a:pt x="8883" y="958"/>
                    </a:lnTo>
                    <a:lnTo>
                      <a:pt x="8879" y="959"/>
                    </a:lnTo>
                    <a:close/>
                    <a:moveTo>
                      <a:pt x="8820" y="844"/>
                    </a:moveTo>
                    <a:lnTo>
                      <a:pt x="8824" y="844"/>
                    </a:lnTo>
                    <a:lnTo>
                      <a:pt x="8827" y="844"/>
                    </a:lnTo>
                    <a:lnTo>
                      <a:pt x="8837" y="844"/>
                    </a:lnTo>
                    <a:lnTo>
                      <a:pt x="8848" y="844"/>
                    </a:lnTo>
                    <a:lnTo>
                      <a:pt x="8858" y="841"/>
                    </a:lnTo>
                    <a:lnTo>
                      <a:pt x="8871" y="841"/>
                    </a:lnTo>
                    <a:lnTo>
                      <a:pt x="8886" y="841"/>
                    </a:lnTo>
                    <a:lnTo>
                      <a:pt x="8890" y="841"/>
                    </a:lnTo>
                    <a:lnTo>
                      <a:pt x="8881" y="839"/>
                    </a:lnTo>
                    <a:lnTo>
                      <a:pt x="8870" y="838"/>
                    </a:lnTo>
                    <a:lnTo>
                      <a:pt x="8858" y="836"/>
                    </a:lnTo>
                    <a:lnTo>
                      <a:pt x="8852" y="836"/>
                    </a:lnTo>
                    <a:lnTo>
                      <a:pt x="8845" y="836"/>
                    </a:lnTo>
                    <a:lnTo>
                      <a:pt x="8840" y="838"/>
                    </a:lnTo>
                    <a:lnTo>
                      <a:pt x="8833" y="839"/>
                    </a:lnTo>
                    <a:lnTo>
                      <a:pt x="8827" y="841"/>
                    </a:lnTo>
                    <a:lnTo>
                      <a:pt x="8820" y="844"/>
                    </a:lnTo>
                    <a:close/>
                    <a:moveTo>
                      <a:pt x="8580" y="844"/>
                    </a:moveTo>
                    <a:lnTo>
                      <a:pt x="8606" y="831"/>
                    </a:lnTo>
                    <a:lnTo>
                      <a:pt x="8612" y="828"/>
                    </a:lnTo>
                    <a:lnTo>
                      <a:pt x="8604" y="831"/>
                    </a:lnTo>
                    <a:lnTo>
                      <a:pt x="8595" y="834"/>
                    </a:lnTo>
                    <a:lnTo>
                      <a:pt x="8587" y="838"/>
                    </a:lnTo>
                    <a:lnTo>
                      <a:pt x="8580" y="844"/>
                    </a:lnTo>
                    <a:close/>
                    <a:moveTo>
                      <a:pt x="8794" y="650"/>
                    </a:moveTo>
                    <a:lnTo>
                      <a:pt x="8784" y="650"/>
                    </a:lnTo>
                    <a:lnTo>
                      <a:pt x="8776" y="648"/>
                    </a:lnTo>
                    <a:lnTo>
                      <a:pt x="8770" y="648"/>
                    </a:lnTo>
                    <a:lnTo>
                      <a:pt x="8763" y="651"/>
                    </a:lnTo>
                    <a:lnTo>
                      <a:pt x="8758" y="653"/>
                    </a:lnTo>
                    <a:lnTo>
                      <a:pt x="8750" y="655"/>
                    </a:lnTo>
                    <a:lnTo>
                      <a:pt x="8744" y="657"/>
                    </a:lnTo>
                    <a:lnTo>
                      <a:pt x="8737" y="657"/>
                    </a:lnTo>
                    <a:lnTo>
                      <a:pt x="8731" y="657"/>
                    </a:lnTo>
                    <a:lnTo>
                      <a:pt x="8718" y="655"/>
                    </a:lnTo>
                    <a:lnTo>
                      <a:pt x="8705" y="653"/>
                    </a:lnTo>
                    <a:lnTo>
                      <a:pt x="8692" y="651"/>
                    </a:lnTo>
                    <a:lnTo>
                      <a:pt x="8680" y="650"/>
                    </a:lnTo>
                    <a:lnTo>
                      <a:pt x="8667" y="648"/>
                    </a:lnTo>
                    <a:lnTo>
                      <a:pt x="8643" y="650"/>
                    </a:lnTo>
                    <a:lnTo>
                      <a:pt x="8619" y="650"/>
                    </a:lnTo>
                    <a:lnTo>
                      <a:pt x="8597" y="651"/>
                    </a:lnTo>
                    <a:lnTo>
                      <a:pt x="8575" y="653"/>
                    </a:lnTo>
                    <a:lnTo>
                      <a:pt x="8565" y="655"/>
                    </a:lnTo>
                    <a:lnTo>
                      <a:pt x="8554" y="657"/>
                    </a:lnTo>
                    <a:lnTo>
                      <a:pt x="8545" y="661"/>
                    </a:lnTo>
                    <a:lnTo>
                      <a:pt x="8534" y="665"/>
                    </a:lnTo>
                    <a:lnTo>
                      <a:pt x="8524" y="668"/>
                    </a:lnTo>
                    <a:lnTo>
                      <a:pt x="8516" y="673"/>
                    </a:lnTo>
                    <a:lnTo>
                      <a:pt x="8506" y="679"/>
                    </a:lnTo>
                    <a:lnTo>
                      <a:pt x="8497" y="684"/>
                    </a:lnTo>
                    <a:lnTo>
                      <a:pt x="8499" y="688"/>
                    </a:lnTo>
                    <a:lnTo>
                      <a:pt x="8501" y="691"/>
                    </a:lnTo>
                    <a:lnTo>
                      <a:pt x="8506" y="696"/>
                    </a:lnTo>
                    <a:lnTo>
                      <a:pt x="8514" y="699"/>
                    </a:lnTo>
                    <a:lnTo>
                      <a:pt x="8523" y="703"/>
                    </a:lnTo>
                    <a:lnTo>
                      <a:pt x="8532" y="704"/>
                    </a:lnTo>
                    <a:lnTo>
                      <a:pt x="8544" y="707"/>
                    </a:lnTo>
                    <a:lnTo>
                      <a:pt x="8554" y="707"/>
                    </a:lnTo>
                    <a:lnTo>
                      <a:pt x="8567" y="707"/>
                    </a:lnTo>
                    <a:lnTo>
                      <a:pt x="8591" y="707"/>
                    </a:lnTo>
                    <a:lnTo>
                      <a:pt x="8602" y="704"/>
                    </a:lnTo>
                    <a:lnTo>
                      <a:pt x="8613" y="704"/>
                    </a:lnTo>
                    <a:lnTo>
                      <a:pt x="8624" y="704"/>
                    </a:lnTo>
                    <a:lnTo>
                      <a:pt x="8633" y="703"/>
                    </a:lnTo>
                    <a:lnTo>
                      <a:pt x="8643" y="703"/>
                    </a:lnTo>
                    <a:lnTo>
                      <a:pt x="8651" y="703"/>
                    </a:lnTo>
                    <a:lnTo>
                      <a:pt x="8663" y="699"/>
                    </a:lnTo>
                    <a:lnTo>
                      <a:pt x="8674" y="698"/>
                    </a:lnTo>
                    <a:lnTo>
                      <a:pt x="8687" y="698"/>
                    </a:lnTo>
                    <a:lnTo>
                      <a:pt x="8698" y="698"/>
                    </a:lnTo>
                    <a:lnTo>
                      <a:pt x="8720" y="698"/>
                    </a:lnTo>
                    <a:lnTo>
                      <a:pt x="8744" y="698"/>
                    </a:lnTo>
                    <a:lnTo>
                      <a:pt x="8756" y="698"/>
                    </a:lnTo>
                    <a:lnTo>
                      <a:pt x="8766" y="698"/>
                    </a:lnTo>
                    <a:lnTo>
                      <a:pt x="8778" y="696"/>
                    </a:lnTo>
                    <a:lnTo>
                      <a:pt x="8789" y="692"/>
                    </a:lnTo>
                    <a:lnTo>
                      <a:pt x="8802" y="688"/>
                    </a:lnTo>
                    <a:lnTo>
                      <a:pt x="8812" y="683"/>
                    </a:lnTo>
                    <a:lnTo>
                      <a:pt x="8818" y="679"/>
                    </a:lnTo>
                    <a:lnTo>
                      <a:pt x="8825" y="676"/>
                    </a:lnTo>
                    <a:lnTo>
                      <a:pt x="8831" y="671"/>
                    </a:lnTo>
                    <a:lnTo>
                      <a:pt x="8838" y="666"/>
                    </a:lnTo>
                    <a:lnTo>
                      <a:pt x="8831" y="661"/>
                    </a:lnTo>
                    <a:lnTo>
                      <a:pt x="8822" y="657"/>
                    </a:lnTo>
                    <a:lnTo>
                      <a:pt x="8812" y="653"/>
                    </a:lnTo>
                    <a:lnTo>
                      <a:pt x="8804" y="651"/>
                    </a:lnTo>
                    <a:lnTo>
                      <a:pt x="8794" y="650"/>
                    </a:lnTo>
                    <a:close/>
                    <a:moveTo>
                      <a:pt x="8949" y="798"/>
                    </a:moveTo>
                    <a:lnTo>
                      <a:pt x="8945" y="799"/>
                    </a:lnTo>
                    <a:lnTo>
                      <a:pt x="8944" y="803"/>
                    </a:lnTo>
                    <a:lnTo>
                      <a:pt x="8942" y="806"/>
                    </a:lnTo>
                    <a:lnTo>
                      <a:pt x="8942" y="810"/>
                    </a:lnTo>
                    <a:lnTo>
                      <a:pt x="8942" y="814"/>
                    </a:lnTo>
                    <a:lnTo>
                      <a:pt x="8942" y="818"/>
                    </a:lnTo>
                    <a:lnTo>
                      <a:pt x="8944" y="821"/>
                    </a:lnTo>
                    <a:lnTo>
                      <a:pt x="8945" y="825"/>
                    </a:lnTo>
                    <a:lnTo>
                      <a:pt x="8947" y="831"/>
                    </a:lnTo>
                    <a:lnTo>
                      <a:pt x="8951" y="834"/>
                    </a:lnTo>
                    <a:lnTo>
                      <a:pt x="8957" y="838"/>
                    </a:lnTo>
                    <a:lnTo>
                      <a:pt x="8982" y="826"/>
                    </a:lnTo>
                    <a:lnTo>
                      <a:pt x="8995" y="821"/>
                    </a:lnTo>
                    <a:lnTo>
                      <a:pt x="9008" y="814"/>
                    </a:lnTo>
                    <a:lnTo>
                      <a:pt x="9019" y="808"/>
                    </a:lnTo>
                    <a:lnTo>
                      <a:pt x="9031" y="803"/>
                    </a:lnTo>
                    <a:lnTo>
                      <a:pt x="9038" y="798"/>
                    </a:lnTo>
                    <a:lnTo>
                      <a:pt x="9047" y="790"/>
                    </a:lnTo>
                    <a:lnTo>
                      <a:pt x="9038" y="785"/>
                    </a:lnTo>
                    <a:lnTo>
                      <a:pt x="9031" y="780"/>
                    </a:lnTo>
                    <a:lnTo>
                      <a:pt x="9019" y="778"/>
                    </a:lnTo>
                    <a:lnTo>
                      <a:pt x="9010" y="777"/>
                    </a:lnTo>
                    <a:lnTo>
                      <a:pt x="8998" y="777"/>
                    </a:lnTo>
                    <a:lnTo>
                      <a:pt x="8988" y="778"/>
                    </a:lnTo>
                    <a:lnTo>
                      <a:pt x="8977" y="780"/>
                    </a:lnTo>
                    <a:lnTo>
                      <a:pt x="8967" y="785"/>
                    </a:lnTo>
                    <a:lnTo>
                      <a:pt x="8959" y="788"/>
                    </a:lnTo>
                    <a:lnTo>
                      <a:pt x="8951" y="793"/>
                    </a:lnTo>
                    <a:lnTo>
                      <a:pt x="8949" y="798"/>
                    </a:lnTo>
                    <a:close/>
                    <a:moveTo>
                      <a:pt x="8967" y="742"/>
                    </a:moveTo>
                    <a:lnTo>
                      <a:pt x="8975" y="744"/>
                    </a:lnTo>
                    <a:lnTo>
                      <a:pt x="8980" y="744"/>
                    </a:lnTo>
                    <a:lnTo>
                      <a:pt x="8982" y="744"/>
                    </a:lnTo>
                    <a:lnTo>
                      <a:pt x="8985" y="742"/>
                    </a:lnTo>
                    <a:lnTo>
                      <a:pt x="8986" y="742"/>
                    </a:lnTo>
                    <a:lnTo>
                      <a:pt x="8988" y="739"/>
                    </a:lnTo>
                    <a:lnTo>
                      <a:pt x="8990" y="737"/>
                    </a:lnTo>
                    <a:lnTo>
                      <a:pt x="8990" y="732"/>
                    </a:lnTo>
                    <a:lnTo>
                      <a:pt x="8990" y="727"/>
                    </a:lnTo>
                    <a:lnTo>
                      <a:pt x="8992" y="719"/>
                    </a:lnTo>
                    <a:lnTo>
                      <a:pt x="8985" y="719"/>
                    </a:lnTo>
                    <a:lnTo>
                      <a:pt x="8980" y="719"/>
                    </a:lnTo>
                    <a:lnTo>
                      <a:pt x="8977" y="719"/>
                    </a:lnTo>
                    <a:lnTo>
                      <a:pt x="8975" y="719"/>
                    </a:lnTo>
                    <a:lnTo>
                      <a:pt x="8973" y="719"/>
                    </a:lnTo>
                    <a:lnTo>
                      <a:pt x="8973" y="722"/>
                    </a:lnTo>
                    <a:lnTo>
                      <a:pt x="8972" y="724"/>
                    </a:lnTo>
                    <a:lnTo>
                      <a:pt x="8967" y="727"/>
                    </a:lnTo>
                    <a:lnTo>
                      <a:pt x="8964" y="729"/>
                    </a:lnTo>
                    <a:lnTo>
                      <a:pt x="8962" y="732"/>
                    </a:lnTo>
                    <a:lnTo>
                      <a:pt x="8959" y="737"/>
                    </a:lnTo>
                    <a:lnTo>
                      <a:pt x="8957" y="739"/>
                    </a:lnTo>
                    <a:lnTo>
                      <a:pt x="8962" y="740"/>
                    </a:lnTo>
                    <a:lnTo>
                      <a:pt x="8967" y="742"/>
                    </a:lnTo>
                    <a:close/>
                    <a:moveTo>
                      <a:pt x="9059" y="734"/>
                    </a:moveTo>
                    <a:lnTo>
                      <a:pt x="9069" y="737"/>
                    </a:lnTo>
                    <a:lnTo>
                      <a:pt x="9077" y="739"/>
                    </a:lnTo>
                    <a:lnTo>
                      <a:pt x="9084" y="739"/>
                    </a:lnTo>
                    <a:lnTo>
                      <a:pt x="9089" y="739"/>
                    </a:lnTo>
                    <a:lnTo>
                      <a:pt x="9093" y="739"/>
                    </a:lnTo>
                    <a:lnTo>
                      <a:pt x="9095" y="739"/>
                    </a:lnTo>
                    <a:lnTo>
                      <a:pt x="9097" y="737"/>
                    </a:lnTo>
                    <a:lnTo>
                      <a:pt x="9102" y="732"/>
                    </a:lnTo>
                    <a:lnTo>
                      <a:pt x="9105" y="731"/>
                    </a:lnTo>
                    <a:lnTo>
                      <a:pt x="9112" y="729"/>
                    </a:lnTo>
                    <a:lnTo>
                      <a:pt x="9123" y="725"/>
                    </a:lnTo>
                    <a:lnTo>
                      <a:pt x="9132" y="722"/>
                    </a:lnTo>
                    <a:lnTo>
                      <a:pt x="9138" y="719"/>
                    </a:lnTo>
                    <a:lnTo>
                      <a:pt x="9141" y="718"/>
                    </a:lnTo>
                    <a:lnTo>
                      <a:pt x="9145" y="716"/>
                    </a:lnTo>
                    <a:lnTo>
                      <a:pt x="9146" y="714"/>
                    </a:lnTo>
                    <a:lnTo>
                      <a:pt x="9148" y="712"/>
                    </a:lnTo>
                    <a:lnTo>
                      <a:pt x="9148" y="709"/>
                    </a:lnTo>
                    <a:lnTo>
                      <a:pt x="9148" y="707"/>
                    </a:lnTo>
                    <a:lnTo>
                      <a:pt x="9145" y="703"/>
                    </a:lnTo>
                    <a:lnTo>
                      <a:pt x="9145" y="698"/>
                    </a:lnTo>
                    <a:lnTo>
                      <a:pt x="9143" y="692"/>
                    </a:lnTo>
                    <a:lnTo>
                      <a:pt x="9141" y="686"/>
                    </a:lnTo>
                    <a:lnTo>
                      <a:pt x="9138" y="683"/>
                    </a:lnTo>
                    <a:lnTo>
                      <a:pt x="9132" y="679"/>
                    </a:lnTo>
                    <a:lnTo>
                      <a:pt x="9128" y="676"/>
                    </a:lnTo>
                    <a:lnTo>
                      <a:pt x="9120" y="673"/>
                    </a:lnTo>
                    <a:lnTo>
                      <a:pt x="9115" y="671"/>
                    </a:lnTo>
                    <a:lnTo>
                      <a:pt x="9102" y="670"/>
                    </a:lnTo>
                    <a:lnTo>
                      <a:pt x="9087" y="668"/>
                    </a:lnTo>
                    <a:lnTo>
                      <a:pt x="9072" y="668"/>
                    </a:lnTo>
                    <a:lnTo>
                      <a:pt x="9059" y="666"/>
                    </a:lnTo>
                    <a:lnTo>
                      <a:pt x="9054" y="668"/>
                    </a:lnTo>
                    <a:lnTo>
                      <a:pt x="9047" y="670"/>
                    </a:lnTo>
                    <a:lnTo>
                      <a:pt x="9041" y="673"/>
                    </a:lnTo>
                    <a:lnTo>
                      <a:pt x="9034" y="679"/>
                    </a:lnTo>
                    <a:lnTo>
                      <a:pt x="9028" y="684"/>
                    </a:lnTo>
                    <a:lnTo>
                      <a:pt x="9021" y="691"/>
                    </a:lnTo>
                    <a:lnTo>
                      <a:pt x="9008" y="703"/>
                    </a:lnTo>
                    <a:lnTo>
                      <a:pt x="9006" y="704"/>
                    </a:lnTo>
                    <a:lnTo>
                      <a:pt x="9005" y="707"/>
                    </a:lnTo>
                    <a:lnTo>
                      <a:pt x="9003" y="709"/>
                    </a:lnTo>
                    <a:lnTo>
                      <a:pt x="9001" y="711"/>
                    </a:lnTo>
                    <a:lnTo>
                      <a:pt x="9001" y="712"/>
                    </a:lnTo>
                    <a:lnTo>
                      <a:pt x="9003" y="712"/>
                    </a:lnTo>
                    <a:lnTo>
                      <a:pt x="9003" y="714"/>
                    </a:lnTo>
                    <a:lnTo>
                      <a:pt x="9005" y="716"/>
                    </a:lnTo>
                    <a:lnTo>
                      <a:pt x="9006" y="718"/>
                    </a:lnTo>
                    <a:lnTo>
                      <a:pt x="9010" y="719"/>
                    </a:lnTo>
                    <a:lnTo>
                      <a:pt x="9016" y="722"/>
                    </a:lnTo>
                    <a:lnTo>
                      <a:pt x="9023" y="725"/>
                    </a:lnTo>
                    <a:lnTo>
                      <a:pt x="9033" y="727"/>
                    </a:lnTo>
                    <a:lnTo>
                      <a:pt x="9041" y="731"/>
                    </a:lnTo>
                    <a:lnTo>
                      <a:pt x="9051" y="732"/>
                    </a:lnTo>
                    <a:lnTo>
                      <a:pt x="9059" y="734"/>
                    </a:lnTo>
                    <a:close/>
                    <a:moveTo>
                      <a:pt x="10378" y="272"/>
                    </a:moveTo>
                    <a:lnTo>
                      <a:pt x="10370" y="273"/>
                    </a:lnTo>
                    <a:lnTo>
                      <a:pt x="10361" y="275"/>
                    </a:lnTo>
                    <a:lnTo>
                      <a:pt x="10363" y="275"/>
                    </a:lnTo>
                    <a:lnTo>
                      <a:pt x="10368" y="275"/>
                    </a:lnTo>
                    <a:lnTo>
                      <a:pt x="10374" y="273"/>
                    </a:lnTo>
                    <a:lnTo>
                      <a:pt x="10378" y="272"/>
                    </a:lnTo>
                    <a:lnTo>
                      <a:pt x="10378" y="272"/>
                    </a:lnTo>
                    <a:lnTo>
                      <a:pt x="10378" y="272"/>
                    </a:lnTo>
                    <a:close/>
                    <a:moveTo>
                      <a:pt x="10038" y="707"/>
                    </a:moveTo>
                    <a:lnTo>
                      <a:pt x="10038" y="707"/>
                    </a:lnTo>
                    <a:lnTo>
                      <a:pt x="10042" y="703"/>
                    </a:lnTo>
                    <a:lnTo>
                      <a:pt x="10038" y="707"/>
                    </a:lnTo>
                    <a:lnTo>
                      <a:pt x="10038" y="707"/>
                    </a:lnTo>
                    <a:lnTo>
                      <a:pt x="10038" y="707"/>
                    </a:lnTo>
                    <a:close/>
                    <a:moveTo>
                      <a:pt x="10850" y="464"/>
                    </a:moveTo>
                    <a:lnTo>
                      <a:pt x="10868" y="470"/>
                    </a:lnTo>
                    <a:lnTo>
                      <a:pt x="10887" y="477"/>
                    </a:lnTo>
                    <a:lnTo>
                      <a:pt x="10908" y="485"/>
                    </a:lnTo>
                    <a:lnTo>
                      <a:pt x="10916" y="489"/>
                    </a:lnTo>
                    <a:lnTo>
                      <a:pt x="10926" y="490"/>
                    </a:lnTo>
                    <a:lnTo>
                      <a:pt x="10934" y="492"/>
                    </a:lnTo>
                    <a:lnTo>
                      <a:pt x="10946" y="495"/>
                    </a:lnTo>
                    <a:lnTo>
                      <a:pt x="10955" y="495"/>
                    </a:lnTo>
                    <a:lnTo>
                      <a:pt x="10964" y="495"/>
                    </a:lnTo>
                    <a:lnTo>
                      <a:pt x="10974" y="492"/>
                    </a:lnTo>
                    <a:lnTo>
                      <a:pt x="10985" y="490"/>
                    </a:lnTo>
                    <a:lnTo>
                      <a:pt x="10994" y="487"/>
                    </a:lnTo>
                    <a:lnTo>
                      <a:pt x="11003" y="480"/>
                    </a:lnTo>
                    <a:lnTo>
                      <a:pt x="10998" y="474"/>
                    </a:lnTo>
                    <a:lnTo>
                      <a:pt x="10994" y="470"/>
                    </a:lnTo>
                    <a:lnTo>
                      <a:pt x="10990" y="467"/>
                    </a:lnTo>
                    <a:lnTo>
                      <a:pt x="10988" y="465"/>
                    </a:lnTo>
                    <a:lnTo>
                      <a:pt x="10987" y="464"/>
                    </a:lnTo>
                    <a:lnTo>
                      <a:pt x="10983" y="464"/>
                    </a:lnTo>
                    <a:lnTo>
                      <a:pt x="10946" y="461"/>
                    </a:lnTo>
                    <a:lnTo>
                      <a:pt x="10911" y="459"/>
                    </a:lnTo>
                    <a:lnTo>
                      <a:pt x="10875" y="457"/>
                    </a:lnTo>
                    <a:lnTo>
                      <a:pt x="10839" y="456"/>
                    </a:lnTo>
                    <a:lnTo>
                      <a:pt x="10821" y="456"/>
                    </a:lnTo>
                    <a:lnTo>
                      <a:pt x="10804" y="456"/>
                    </a:lnTo>
                    <a:lnTo>
                      <a:pt x="10786" y="457"/>
                    </a:lnTo>
                    <a:lnTo>
                      <a:pt x="10766" y="457"/>
                    </a:lnTo>
                    <a:lnTo>
                      <a:pt x="10747" y="459"/>
                    </a:lnTo>
                    <a:lnTo>
                      <a:pt x="10728" y="464"/>
                    </a:lnTo>
                    <a:lnTo>
                      <a:pt x="10747" y="464"/>
                    </a:lnTo>
                    <a:lnTo>
                      <a:pt x="10850" y="464"/>
                    </a:lnTo>
                    <a:close/>
                    <a:moveTo>
                      <a:pt x="12756" y="87"/>
                    </a:moveTo>
                    <a:lnTo>
                      <a:pt x="12756" y="88"/>
                    </a:lnTo>
                    <a:lnTo>
                      <a:pt x="12756" y="90"/>
                    </a:lnTo>
                    <a:lnTo>
                      <a:pt x="12756" y="92"/>
                    </a:lnTo>
                    <a:lnTo>
                      <a:pt x="12755" y="94"/>
                    </a:lnTo>
                    <a:lnTo>
                      <a:pt x="12753" y="94"/>
                    </a:lnTo>
                    <a:lnTo>
                      <a:pt x="12751" y="95"/>
                    </a:lnTo>
                    <a:lnTo>
                      <a:pt x="12747" y="97"/>
                    </a:lnTo>
                    <a:lnTo>
                      <a:pt x="12743" y="100"/>
                    </a:lnTo>
                    <a:lnTo>
                      <a:pt x="12740" y="101"/>
                    </a:lnTo>
                    <a:lnTo>
                      <a:pt x="12735" y="101"/>
                    </a:lnTo>
                    <a:lnTo>
                      <a:pt x="12723" y="105"/>
                    </a:lnTo>
                    <a:lnTo>
                      <a:pt x="12712" y="107"/>
                    </a:lnTo>
                    <a:lnTo>
                      <a:pt x="12699" y="110"/>
                    </a:lnTo>
                    <a:lnTo>
                      <a:pt x="12674" y="115"/>
                    </a:lnTo>
                    <a:lnTo>
                      <a:pt x="12661" y="116"/>
                    </a:lnTo>
                    <a:lnTo>
                      <a:pt x="12649" y="118"/>
                    </a:lnTo>
                    <a:lnTo>
                      <a:pt x="12638" y="120"/>
                    </a:lnTo>
                    <a:lnTo>
                      <a:pt x="12635" y="120"/>
                    </a:lnTo>
                    <a:lnTo>
                      <a:pt x="12629" y="120"/>
                    </a:lnTo>
                    <a:lnTo>
                      <a:pt x="12625" y="120"/>
                    </a:lnTo>
                    <a:lnTo>
                      <a:pt x="12623" y="120"/>
                    </a:lnTo>
                    <a:lnTo>
                      <a:pt x="12620" y="120"/>
                    </a:lnTo>
                    <a:lnTo>
                      <a:pt x="12618" y="120"/>
                    </a:lnTo>
                    <a:lnTo>
                      <a:pt x="12595" y="127"/>
                    </a:lnTo>
                    <a:lnTo>
                      <a:pt x="12572" y="133"/>
                    </a:lnTo>
                    <a:lnTo>
                      <a:pt x="12549" y="136"/>
                    </a:lnTo>
                    <a:lnTo>
                      <a:pt x="12526" y="140"/>
                    </a:lnTo>
                    <a:lnTo>
                      <a:pt x="12501" y="143"/>
                    </a:lnTo>
                    <a:lnTo>
                      <a:pt x="12476" y="146"/>
                    </a:lnTo>
                    <a:lnTo>
                      <a:pt x="12452" y="149"/>
                    </a:lnTo>
                    <a:lnTo>
                      <a:pt x="12429" y="151"/>
                    </a:lnTo>
                    <a:lnTo>
                      <a:pt x="12376" y="153"/>
                    </a:lnTo>
                    <a:lnTo>
                      <a:pt x="12327" y="155"/>
                    </a:lnTo>
                    <a:lnTo>
                      <a:pt x="12274" y="155"/>
                    </a:lnTo>
                    <a:lnTo>
                      <a:pt x="12241" y="155"/>
                    </a:lnTo>
                    <a:lnTo>
                      <a:pt x="12248" y="156"/>
                    </a:lnTo>
                    <a:lnTo>
                      <a:pt x="12251" y="158"/>
                    </a:lnTo>
                    <a:lnTo>
                      <a:pt x="12254" y="162"/>
                    </a:lnTo>
                    <a:lnTo>
                      <a:pt x="12256" y="166"/>
                    </a:lnTo>
                    <a:lnTo>
                      <a:pt x="12258" y="171"/>
                    </a:lnTo>
                    <a:lnTo>
                      <a:pt x="12155" y="171"/>
                    </a:lnTo>
                    <a:lnTo>
                      <a:pt x="12052" y="171"/>
                    </a:lnTo>
                    <a:lnTo>
                      <a:pt x="12039" y="173"/>
                    </a:lnTo>
                    <a:lnTo>
                      <a:pt x="12026" y="175"/>
                    </a:lnTo>
                    <a:lnTo>
                      <a:pt x="12013" y="177"/>
                    </a:lnTo>
                    <a:lnTo>
                      <a:pt x="11999" y="179"/>
                    </a:lnTo>
                    <a:lnTo>
                      <a:pt x="11987" y="181"/>
                    </a:lnTo>
                    <a:lnTo>
                      <a:pt x="11979" y="181"/>
                    </a:lnTo>
                    <a:lnTo>
                      <a:pt x="11974" y="179"/>
                    </a:lnTo>
                    <a:lnTo>
                      <a:pt x="11966" y="179"/>
                    </a:lnTo>
                    <a:lnTo>
                      <a:pt x="11961" y="177"/>
                    </a:lnTo>
                    <a:lnTo>
                      <a:pt x="11953" y="175"/>
                    </a:lnTo>
                    <a:lnTo>
                      <a:pt x="11948" y="171"/>
                    </a:lnTo>
                    <a:lnTo>
                      <a:pt x="11945" y="171"/>
                    </a:lnTo>
                    <a:lnTo>
                      <a:pt x="11943" y="171"/>
                    </a:lnTo>
                    <a:lnTo>
                      <a:pt x="11940" y="171"/>
                    </a:lnTo>
                    <a:lnTo>
                      <a:pt x="11937" y="171"/>
                    </a:lnTo>
                    <a:lnTo>
                      <a:pt x="11932" y="171"/>
                    </a:lnTo>
                    <a:lnTo>
                      <a:pt x="11926" y="171"/>
                    </a:lnTo>
                    <a:lnTo>
                      <a:pt x="11915" y="171"/>
                    </a:lnTo>
                    <a:lnTo>
                      <a:pt x="11920" y="175"/>
                    </a:lnTo>
                    <a:lnTo>
                      <a:pt x="11926" y="177"/>
                    </a:lnTo>
                    <a:lnTo>
                      <a:pt x="11939" y="181"/>
                    </a:lnTo>
                    <a:lnTo>
                      <a:pt x="11952" y="184"/>
                    </a:lnTo>
                    <a:lnTo>
                      <a:pt x="11965" y="184"/>
                    </a:lnTo>
                    <a:lnTo>
                      <a:pt x="11979" y="184"/>
                    </a:lnTo>
                    <a:lnTo>
                      <a:pt x="11993" y="184"/>
                    </a:lnTo>
                    <a:lnTo>
                      <a:pt x="12006" y="182"/>
                    </a:lnTo>
                    <a:lnTo>
                      <a:pt x="12019" y="181"/>
                    </a:lnTo>
                    <a:lnTo>
                      <a:pt x="12033" y="179"/>
                    </a:lnTo>
                    <a:lnTo>
                      <a:pt x="12048" y="179"/>
                    </a:lnTo>
                    <a:lnTo>
                      <a:pt x="12060" y="177"/>
                    </a:lnTo>
                    <a:lnTo>
                      <a:pt x="12075" y="177"/>
                    </a:lnTo>
                    <a:lnTo>
                      <a:pt x="12090" y="179"/>
                    </a:lnTo>
                    <a:lnTo>
                      <a:pt x="12105" y="181"/>
                    </a:lnTo>
                    <a:lnTo>
                      <a:pt x="12121" y="184"/>
                    </a:lnTo>
                    <a:lnTo>
                      <a:pt x="12129" y="186"/>
                    </a:lnTo>
                    <a:lnTo>
                      <a:pt x="12138" y="189"/>
                    </a:lnTo>
                    <a:lnTo>
                      <a:pt x="12155" y="189"/>
                    </a:lnTo>
                    <a:lnTo>
                      <a:pt x="12172" y="189"/>
                    </a:lnTo>
                    <a:lnTo>
                      <a:pt x="12188" y="189"/>
                    </a:lnTo>
                    <a:lnTo>
                      <a:pt x="12205" y="189"/>
                    </a:lnTo>
                    <a:lnTo>
                      <a:pt x="12223" y="189"/>
                    </a:lnTo>
                    <a:lnTo>
                      <a:pt x="12236" y="184"/>
                    </a:lnTo>
                    <a:lnTo>
                      <a:pt x="12251" y="181"/>
                    </a:lnTo>
                    <a:lnTo>
                      <a:pt x="12266" y="177"/>
                    </a:lnTo>
                    <a:lnTo>
                      <a:pt x="12281" y="177"/>
                    </a:lnTo>
                    <a:lnTo>
                      <a:pt x="12295" y="177"/>
                    </a:lnTo>
                    <a:lnTo>
                      <a:pt x="12301" y="179"/>
                    </a:lnTo>
                    <a:lnTo>
                      <a:pt x="12308" y="181"/>
                    </a:lnTo>
                    <a:lnTo>
                      <a:pt x="12314" y="182"/>
                    </a:lnTo>
                    <a:lnTo>
                      <a:pt x="12317" y="184"/>
                    </a:lnTo>
                    <a:lnTo>
                      <a:pt x="12323" y="186"/>
                    </a:lnTo>
                    <a:lnTo>
                      <a:pt x="12327" y="189"/>
                    </a:lnTo>
                    <a:lnTo>
                      <a:pt x="12315" y="194"/>
                    </a:lnTo>
                    <a:lnTo>
                      <a:pt x="12304" y="195"/>
                    </a:lnTo>
                    <a:lnTo>
                      <a:pt x="12294" y="197"/>
                    </a:lnTo>
                    <a:lnTo>
                      <a:pt x="12282" y="199"/>
                    </a:lnTo>
                    <a:lnTo>
                      <a:pt x="12258" y="202"/>
                    </a:lnTo>
                    <a:lnTo>
                      <a:pt x="12233" y="207"/>
                    </a:lnTo>
                    <a:lnTo>
                      <a:pt x="12207" y="210"/>
                    </a:lnTo>
                    <a:lnTo>
                      <a:pt x="12180" y="214"/>
                    </a:lnTo>
                    <a:lnTo>
                      <a:pt x="12170" y="215"/>
                    </a:lnTo>
                    <a:lnTo>
                      <a:pt x="12159" y="217"/>
                    </a:lnTo>
                    <a:lnTo>
                      <a:pt x="12147" y="222"/>
                    </a:lnTo>
                    <a:lnTo>
                      <a:pt x="12138" y="223"/>
                    </a:lnTo>
                    <a:lnTo>
                      <a:pt x="12105" y="230"/>
                    </a:lnTo>
                    <a:lnTo>
                      <a:pt x="12075" y="236"/>
                    </a:lnTo>
                    <a:lnTo>
                      <a:pt x="12048" y="242"/>
                    </a:lnTo>
                    <a:lnTo>
                      <a:pt x="12019" y="247"/>
                    </a:lnTo>
                    <a:lnTo>
                      <a:pt x="11993" y="251"/>
                    </a:lnTo>
                    <a:lnTo>
                      <a:pt x="11965" y="255"/>
                    </a:lnTo>
                    <a:lnTo>
                      <a:pt x="11939" y="258"/>
                    </a:lnTo>
                    <a:lnTo>
                      <a:pt x="11915" y="258"/>
                    </a:lnTo>
                    <a:lnTo>
                      <a:pt x="11812" y="284"/>
                    </a:lnTo>
                    <a:lnTo>
                      <a:pt x="11708" y="308"/>
                    </a:lnTo>
                    <a:lnTo>
                      <a:pt x="11701" y="309"/>
                    </a:lnTo>
                    <a:lnTo>
                      <a:pt x="11691" y="312"/>
                    </a:lnTo>
                    <a:lnTo>
                      <a:pt x="11683" y="314"/>
                    </a:lnTo>
                    <a:lnTo>
                      <a:pt x="11673" y="316"/>
                    </a:lnTo>
                    <a:lnTo>
                      <a:pt x="11664" y="317"/>
                    </a:lnTo>
                    <a:lnTo>
                      <a:pt x="11658" y="317"/>
                    </a:lnTo>
                    <a:lnTo>
                      <a:pt x="11655" y="316"/>
                    </a:lnTo>
                    <a:lnTo>
                      <a:pt x="11652" y="316"/>
                    </a:lnTo>
                    <a:lnTo>
                      <a:pt x="11645" y="314"/>
                    </a:lnTo>
                    <a:lnTo>
                      <a:pt x="11642" y="312"/>
                    </a:lnTo>
                    <a:lnTo>
                      <a:pt x="11640" y="308"/>
                    </a:lnTo>
                    <a:lnTo>
                      <a:pt x="11632" y="308"/>
                    </a:lnTo>
                    <a:lnTo>
                      <a:pt x="11625" y="306"/>
                    </a:lnTo>
                    <a:lnTo>
                      <a:pt x="11619" y="304"/>
                    </a:lnTo>
                    <a:lnTo>
                      <a:pt x="11614" y="301"/>
                    </a:lnTo>
                    <a:lnTo>
                      <a:pt x="11607" y="297"/>
                    </a:lnTo>
                    <a:lnTo>
                      <a:pt x="11601" y="295"/>
                    </a:lnTo>
                    <a:lnTo>
                      <a:pt x="11594" y="293"/>
                    </a:lnTo>
                    <a:lnTo>
                      <a:pt x="11588" y="291"/>
                    </a:lnTo>
                    <a:lnTo>
                      <a:pt x="11591" y="295"/>
                    </a:lnTo>
                    <a:lnTo>
                      <a:pt x="11592" y="299"/>
                    </a:lnTo>
                    <a:lnTo>
                      <a:pt x="11594" y="302"/>
                    </a:lnTo>
                    <a:lnTo>
                      <a:pt x="11596" y="304"/>
                    </a:lnTo>
                    <a:lnTo>
                      <a:pt x="11598" y="309"/>
                    </a:lnTo>
                    <a:lnTo>
                      <a:pt x="11598" y="316"/>
                    </a:lnTo>
                    <a:lnTo>
                      <a:pt x="11601" y="319"/>
                    </a:lnTo>
                    <a:lnTo>
                      <a:pt x="11601" y="322"/>
                    </a:lnTo>
                    <a:lnTo>
                      <a:pt x="11604" y="322"/>
                    </a:lnTo>
                    <a:lnTo>
                      <a:pt x="11607" y="324"/>
                    </a:lnTo>
                    <a:lnTo>
                      <a:pt x="11611" y="327"/>
                    </a:lnTo>
                    <a:lnTo>
                      <a:pt x="11616" y="327"/>
                    </a:lnTo>
                    <a:lnTo>
                      <a:pt x="11622" y="327"/>
                    </a:lnTo>
                    <a:lnTo>
                      <a:pt x="11609" y="332"/>
                    </a:lnTo>
                    <a:lnTo>
                      <a:pt x="11594" y="336"/>
                    </a:lnTo>
                    <a:lnTo>
                      <a:pt x="11578" y="339"/>
                    </a:lnTo>
                    <a:lnTo>
                      <a:pt x="11563" y="342"/>
                    </a:lnTo>
                    <a:lnTo>
                      <a:pt x="11546" y="343"/>
                    </a:lnTo>
                    <a:lnTo>
                      <a:pt x="11530" y="343"/>
                    </a:lnTo>
                    <a:lnTo>
                      <a:pt x="11515" y="343"/>
                    </a:lnTo>
                    <a:lnTo>
                      <a:pt x="11502" y="343"/>
                    </a:lnTo>
                    <a:lnTo>
                      <a:pt x="11492" y="343"/>
                    </a:lnTo>
                    <a:lnTo>
                      <a:pt x="11502" y="345"/>
                    </a:lnTo>
                    <a:lnTo>
                      <a:pt x="11510" y="347"/>
                    </a:lnTo>
                    <a:lnTo>
                      <a:pt x="11520" y="350"/>
                    </a:lnTo>
                    <a:lnTo>
                      <a:pt x="11530" y="354"/>
                    </a:lnTo>
                    <a:lnTo>
                      <a:pt x="11537" y="360"/>
                    </a:lnTo>
                    <a:lnTo>
                      <a:pt x="11533" y="363"/>
                    </a:lnTo>
                    <a:lnTo>
                      <a:pt x="11527" y="365"/>
                    </a:lnTo>
                    <a:lnTo>
                      <a:pt x="11524" y="367"/>
                    </a:lnTo>
                    <a:lnTo>
                      <a:pt x="11518" y="369"/>
                    </a:lnTo>
                    <a:lnTo>
                      <a:pt x="11510" y="369"/>
                    </a:lnTo>
                    <a:lnTo>
                      <a:pt x="11505" y="369"/>
                    </a:lnTo>
                    <a:lnTo>
                      <a:pt x="11490" y="369"/>
                    </a:lnTo>
                    <a:lnTo>
                      <a:pt x="11476" y="369"/>
                    </a:lnTo>
                    <a:lnTo>
                      <a:pt x="11461" y="370"/>
                    </a:lnTo>
                    <a:lnTo>
                      <a:pt x="11454" y="370"/>
                    </a:lnTo>
                    <a:lnTo>
                      <a:pt x="11446" y="373"/>
                    </a:lnTo>
                    <a:lnTo>
                      <a:pt x="11441" y="375"/>
                    </a:lnTo>
                    <a:lnTo>
                      <a:pt x="11433" y="378"/>
                    </a:lnTo>
                    <a:lnTo>
                      <a:pt x="11446" y="378"/>
                    </a:lnTo>
                    <a:lnTo>
                      <a:pt x="11451" y="378"/>
                    </a:lnTo>
                    <a:lnTo>
                      <a:pt x="11457" y="378"/>
                    </a:lnTo>
                    <a:lnTo>
                      <a:pt x="11461" y="378"/>
                    </a:lnTo>
                    <a:lnTo>
                      <a:pt x="11464" y="378"/>
                    </a:lnTo>
                    <a:lnTo>
                      <a:pt x="11466" y="378"/>
                    </a:lnTo>
                    <a:lnTo>
                      <a:pt x="11469" y="378"/>
                    </a:lnTo>
                    <a:lnTo>
                      <a:pt x="11441" y="383"/>
                    </a:lnTo>
                    <a:lnTo>
                      <a:pt x="11415" y="391"/>
                    </a:lnTo>
                    <a:lnTo>
                      <a:pt x="11389" y="395"/>
                    </a:lnTo>
                    <a:lnTo>
                      <a:pt x="11365" y="398"/>
                    </a:lnTo>
                    <a:lnTo>
                      <a:pt x="11352" y="400"/>
                    </a:lnTo>
                    <a:lnTo>
                      <a:pt x="11339" y="403"/>
                    </a:lnTo>
                    <a:lnTo>
                      <a:pt x="11326" y="403"/>
                    </a:lnTo>
                    <a:lnTo>
                      <a:pt x="11313" y="403"/>
                    </a:lnTo>
                    <a:lnTo>
                      <a:pt x="11300" y="400"/>
                    </a:lnTo>
                    <a:lnTo>
                      <a:pt x="11288" y="400"/>
                    </a:lnTo>
                    <a:lnTo>
                      <a:pt x="11275" y="398"/>
                    </a:lnTo>
                    <a:lnTo>
                      <a:pt x="11262" y="395"/>
                    </a:lnTo>
                    <a:lnTo>
                      <a:pt x="11262" y="393"/>
                    </a:lnTo>
                    <a:lnTo>
                      <a:pt x="11262" y="391"/>
                    </a:lnTo>
                    <a:lnTo>
                      <a:pt x="11262" y="388"/>
                    </a:lnTo>
                    <a:lnTo>
                      <a:pt x="11262" y="383"/>
                    </a:lnTo>
                    <a:lnTo>
                      <a:pt x="11262" y="378"/>
                    </a:lnTo>
                    <a:lnTo>
                      <a:pt x="11250" y="380"/>
                    </a:lnTo>
                    <a:lnTo>
                      <a:pt x="11242" y="382"/>
                    </a:lnTo>
                    <a:lnTo>
                      <a:pt x="11230" y="383"/>
                    </a:lnTo>
                    <a:lnTo>
                      <a:pt x="11219" y="383"/>
                    </a:lnTo>
                    <a:lnTo>
                      <a:pt x="11208" y="382"/>
                    </a:lnTo>
                    <a:lnTo>
                      <a:pt x="11197" y="382"/>
                    </a:lnTo>
                    <a:lnTo>
                      <a:pt x="11175" y="380"/>
                    </a:lnTo>
                    <a:lnTo>
                      <a:pt x="11164" y="380"/>
                    </a:lnTo>
                    <a:lnTo>
                      <a:pt x="11153" y="378"/>
                    </a:lnTo>
                    <a:lnTo>
                      <a:pt x="11142" y="380"/>
                    </a:lnTo>
                    <a:lnTo>
                      <a:pt x="11130" y="380"/>
                    </a:lnTo>
                    <a:lnTo>
                      <a:pt x="11120" y="382"/>
                    </a:lnTo>
                    <a:lnTo>
                      <a:pt x="11109" y="385"/>
                    </a:lnTo>
                    <a:lnTo>
                      <a:pt x="11099" y="390"/>
                    </a:lnTo>
                    <a:lnTo>
                      <a:pt x="11090" y="395"/>
                    </a:lnTo>
                    <a:lnTo>
                      <a:pt x="11101" y="395"/>
                    </a:lnTo>
                    <a:lnTo>
                      <a:pt x="11114" y="393"/>
                    </a:lnTo>
                    <a:lnTo>
                      <a:pt x="11127" y="391"/>
                    </a:lnTo>
                    <a:lnTo>
                      <a:pt x="11142" y="390"/>
                    </a:lnTo>
                    <a:lnTo>
                      <a:pt x="11155" y="388"/>
                    </a:lnTo>
                    <a:lnTo>
                      <a:pt x="11160" y="388"/>
                    </a:lnTo>
                    <a:lnTo>
                      <a:pt x="11168" y="388"/>
                    </a:lnTo>
                    <a:lnTo>
                      <a:pt x="11173" y="390"/>
                    </a:lnTo>
                    <a:lnTo>
                      <a:pt x="11181" y="390"/>
                    </a:lnTo>
                    <a:lnTo>
                      <a:pt x="11186" y="391"/>
                    </a:lnTo>
                    <a:lnTo>
                      <a:pt x="11193" y="395"/>
                    </a:lnTo>
                    <a:lnTo>
                      <a:pt x="11197" y="396"/>
                    </a:lnTo>
                    <a:lnTo>
                      <a:pt x="11201" y="398"/>
                    </a:lnTo>
                    <a:lnTo>
                      <a:pt x="11204" y="400"/>
                    </a:lnTo>
                    <a:lnTo>
                      <a:pt x="11208" y="403"/>
                    </a:lnTo>
                    <a:lnTo>
                      <a:pt x="11210" y="403"/>
                    </a:lnTo>
                    <a:lnTo>
                      <a:pt x="11212" y="404"/>
                    </a:lnTo>
                    <a:lnTo>
                      <a:pt x="11214" y="408"/>
                    </a:lnTo>
                    <a:lnTo>
                      <a:pt x="11216" y="410"/>
                    </a:lnTo>
                    <a:lnTo>
                      <a:pt x="11214" y="413"/>
                    </a:lnTo>
                    <a:lnTo>
                      <a:pt x="11212" y="415"/>
                    </a:lnTo>
                    <a:lnTo>
                      <a:pt x="11210" y="419"/>
                    </a:lnTo>
                    <a:lnTo>
                      <a:pt x="11206" y="421"/>
                    </a:lnTo>
                    <a:lnTo>
                      <a:pt x="11202" y="423"/>
                    </a:lnTo>
                    <a:lnTo>
                      <a:pt x="11191" y="426"/>
                    </a:lnTo>
                    <a:lnTo>
                      <a:pt x="11183" y="428"/>
                    </a:lnTo>
                    <a:lnTo>
                      <a:pt x="11178" y="428"/>
                    </a:lnTo>
                    <a:lnTo>
                      <a:pt x="11175" y="428"/>
                    </a:lnTo>
                    <a:lnTo>
                      <a:pt x="11097" y="428"/>
                    </a:lnTo>
                    <a:lnTo>
                      <a:pt x="11021" y="428"/>
                    </a:lnTo>
                    <a:lnTo>
                      <a:pt x="11007" y="431"/>
                    </a:lnTo>
                    <a:lnTo>
                      <a:pt x="10994" y="434"/>
                    </a:lnTo>
                    <a:lnTo>
                      <a:pt x="10982" y="436"/>
                    </a:lnTo>
                    <a:lnTo>
                      <a:pt x="10967" y="436"/>
                    </a:lnTo>
                    <a:lnTo>
                      <a:pt x="10952" y="437"/>
                    </a:lnTo>
                    <a:lnTo>
                      <a:pt x="10939" y="437"/>
                    </a:lnTo>
                    <a:lnTo>
                      <a:pt x="10909" y="436"/>
                    </a:lnTo>
                    <a:lnTo>
                      <a:pt x="10891" y="435"/>
                    </a:lnTo>
                    <a:lnTo>
                      <a:pt x="10893" y="436"/>
                    </a:lnTo>
                    <a:lnTo>
                      <a:pt x="10896" y="441"/>
                    </a:lnTo>
                    <a:lnTo>
                      <a:pt x="10900" y="446"/>
                    </a:lnTo>
                    <a:lnTo>
                      <a:pt x="10893" y="446"/>
                    </a:lnTo>
                    <a:lnTo>
                      <a:pt x="10885" y="446"/>
                    </a:lnTo>
                    <a:lnTo>
                      <a:pt x="10876" y="446"/>
                    </a:lnTo>
                    <a:lnTo>
                      <a:pt x="10867" y="446"/>
                    </a:lnTo>
                    <a:lnTo>
                      <a:pt x="10857" y="446"/>
                    </a:lnTo>
                    <a:lnTo>
                      <a:pt x="10848" y="446"/>
                    </a:lnTo>
                    <a:lnTo>
                      <a:pt x="10839" y="446"/>
                    </a:lnTo>
                    <a:lnTo>
                      <a:pt x="10832" y="446"/>
                    </a:lnTo>
                    <a:lnTo>
                      <a:pt x="10824" y="446"/>
                    </a:lnTo>
                    <a:lnTo>
                      <a:pt x="10819" y="443"/>
                    </a:lnTo>
                    <a:lnTo>
                      <a:pt x="10811" y="441"/>
                    </a:lnTo>
                    <a:lnTo>
                      <a:pt x="10806" y="437"/>
                    </a:lnTo>
                    <a:lnTo>
                      <a:pt x="10801" y="434"/>
                    </a:lnTo>
                    <a:lnTo>
                      <a:pt x="10793" y="431"/>
                    </a:lnTo>
                    <a:lnTo>
                      <a:pt x="10787" y="429"/>
                    </a:lnTo>
                    <a:lnTo>
                      <a:pt x="10780" y="428"/>
                    </a:lnTo>
                    <a:lnTo>
                      <a:pt x="10778" y="429"/>
                    </a:lnTo>
                    <a:lnTo>
                      <a:pt x="10774" y="429"/>
                    </a:lnTo>
                    <a:lnTo>
                      <a:pt x="10773" y="431"/>
                    </a:lnTo>
                    <a:lnTo>
                      <a:pt x="10773" y="434"/>
                    </a:lnTo>
                    <a:lnTo>
                      <a:pt x="10773" y="437"/>
                    </a:lnTo>
                    <a:lnTo>
                      <a:pt x="10771" y="441"/>
                    </a:lnTo>
                    <a:lnTo>
                      <a:pt x="10771" y="443"/>
                    </a:lnTo>
                    <a:lnTo>
                      <a:pt x="10769" y="444"/>
                    </a:lnTo>
                    <a:lnTo>
                      <a:pt x="10769" y="446"/>
                    </a:lnTo>
                    <a:lnTo>
                      <a:pt x="10766" y="446"/>
                    </a:lnTo>
                    <a:lnTo>
                      <a:pt x="10763" y="446"/>
                    </a:lnTo>
                    <a:lnTo>
                      <a:pt x="10750" y="446"/>
                    </a:lnTo>
                    <a:lnTo>
                      <a:pt x="10740" y="446"/>
                    </a:lnTo>
                    <a:lnTo>
                      <a:pt x="10730" y="446"/>
                    </a:lnTo>
                    <a:lnTo>
                      <a:pt x="10723" y="446"/>
                    </a:lnTo>
                    <a:lnTo>
                      <a:pt x="10715" y="446"/>
                    </a:lnTo>
                    <a:lnTo>
                      <a:pt x="10713" y="446"/>
                    </a:lnTo>
                    <a:lnTo>
                      <a:pt x="10725" y="449"/>
                    </a:lnTo>
                    <a:lnTo>
                      <a:pt x="10728" y="450"/>
                    </a:lnTo>
                    <a:lnTo>
                      <a:pt x="10733" y="450"/>
                    </a:lnTo>
                    <a:lnTo>
                      <a:pt x="10735" y="452"/>
                    </a:lnTo>
                    <a:lnTo>
                      <a:pt x="10738" y="454"/>
                    </a:lnTo>
                    <a:lnTo>
                      <a:pt x="10738" y="456"/>
                    </a:lnTo>
                    <a:lnTo>
                      <a:pt x="10738" y="457"/>
                    </a:lnTo>
                    <a:lnTo>
                      <a:pt x="10735" y="459"/>
                    </a:lnTo>
                    <a:lnTo>
                      <a:pt x="10733" y="459"/>
                    </a:lnTo>
                    <a:lnTo>
                      <a:pt x="10732" y="461"/>
                    </a:lnTo>
                    <a:lnTo>
                      <a:pt x="10728" y="464"/>
                    </a:lnTo>
                    <a:lnTo>
                      <a:pt x="10643" y="464"/>
                    </a:lnTo>
                    <a:lnTo>
                      <a:pt x="10656" y="467"/>
                    </a:lnTo>
                    <a:lnTo>
                      <a:pt x="10669" y="469"/>
                    </a:lnTo>
                    <a:lnTo>
                      <a:pt x="10682" y="470"/>
                    </a:lnTo>
                    <a:lnTo>
                      <a:pt x="10695" y="470"/>
                    </a:lnTo>
                    <a:lnTo>
                      <a:pt x="10720" y="472"/>
                    </a:lnTo>
                    <a:lnTo>
                      <a:pt x="10747" y="472"/>
                    </a:lnTo>
                    <a:lnTo>
                      <a:pt x="10771" y="472"/>
                    </a:lnTo>
                    <a:lnTo>
                      <a:pt x="10796" y="472"/>
                    </a:lnTo>
                    <a:lnTo>
                      <a:pt x="10809" y="474"/>
                    </a:lnTo>
                    <a:lnTo>
                      <a:pt x="10822" y="476"/>
                    </a:lnTo>
                    <a:lnTo>
                      <a:pt x="10835" y="477"/>
                    </a:lnTo>
                    <a:lnTo>
                      <a:pt x="10850" y="480"/>
                    </a:lnTo>
                    <a:lnTo>
                      <a:pt x="10842" y="484"/>
                    </a:lnTo>
                    <a:lnTo>
                      <a:pt x="10835" y="485"/>
                    </a:lnTo>
                    <a:lnTo>
                      <a:pt x="10827" y="487"/>
                    </a:lnTo>
                    <a:lnTo>
                      <a:pt x="10821" y="487"/>
                    </a:lnTo>
                    <a:lnTo>
                      <a:pt x="10814" y="487"/>
                    </a:lnTo>
                    <a:lnTo>
                      <a:pt x="10804" y="487"/>
                    </a:lnTo>
                    <a:lnTo>
                      <a:pt x="10789" y="487"/>
                    </a:lnTo>
                    <a:lnTo>
                      <a:pt x="10773" y="485"/>
                    </a:lnTo>
                    <a:lnTo>
                      <a:pt x="10758" y="484"/>
                    </a:lnTo>
                    <a:lnTo>
                      <a:pt x="10743" y="482"/>
                    </a:lnTo>
                    <a:lnTo>
                      <a:pt x="10728" y="480"/>
                    </a:lnTo>
                    <a:lnTo>
                      <a:pt x="10704" y="480"/>
                    </a:lnTo>
                    <a:lnTo>
                      <a:pt x="10680" y="480"/>
                    </a:lnTo>
                    <a:lnTo>
                      <a:pt x="10658" y="480"/>
                    </a:lnTo>
                    <a:lnTo>
                      <a:pt x="10636" y="480"/>
                    </a:lnTo>
                    <a:lnTo>
                      <a:pt x="10616" y="480"/>
                    </a:lnTo>
                    <a:lnTo>
                      <a:pt x="10595" y="480"/>
                    </a:lnTo>
                    <a:lnTo>
                      <a:pt x="10557" y="480"/>
                    </a:lnTo>
                    <a:lnTo>
                      <a:pt x="10582" y="482"/>
                    </a:lnTo>
                    <a:lnTo>
                      <a:pt x="10595" y="482"/>
                    </a:lnTo>
                    <a:lnTo>
                      <a:pt x="10608" y="484"/>
                    </a:lnTo>
                    <a:lnTo>
                      <a:pt x="10621" y="485"/>
                    </a:lnTo>
                    <a:lnTo>
                      <a:pt x="10634" y="487"/>
                    </a:lnTo>
                    <a:lnTo>
                      <a:pt x="10647" y="492"/>
                    </a:lnTo>
                    <a:lnTo>
                      <a:pt x="10659" y="497"/>
                    </a:lnTo>
                    <a:lnTo>
                      <a:pt x="10653" y="497"/>
                    </a:lnTo>
                    <a:lnTo>
                      <a:pt x="10643" y="498"/>
                    </a:lnTo>
                    <a:lnTo>
                      <a:pt x="10634" y="498"/>
                    </a:lnTo>
                    <a:lnTo>
                      <a:pt x="10623" y="500"/>
                    </a:lnTo>
                    <a:lnTo>
                      <a:pt x="10612" y="502"/>
                    </a:lnTo>
                    <a:lnTo>
                      <a:pt x="10599" y="503"/>
                    </a:lnTo>
                    <a:lnTo>
                      <a:pt x="10587" y="510"/>
                    </a:lnTo>
                    <a:lnTo>
                      <a:pt x="10575" y="515"/>
                    </a:lnTo>
                    <a:lnTo>
                      <a:pt x="10593" y="515"/>
                    </a:lnTo>
                    <a:lnTo>
                      <a:pt x="10612" y="513"/>
                    </a:lnTo>
                    <a:lnTo>
                      <a:pt x="10631" y="511"/>
                    </a:lnTo>
                    <a:lnTo>
                      <a:pt x="10649" y="510"/>
                    </a:lnTo>
                    <a:lnTo>
                      <a:pt x="10684" y="505"/>
                    </a:lnTo>
                    <a:lnTo>
                      <a:pt x="10717" y="500"/>
                    </a:lnTo>
                    <a:lnTo>
                      <a:pt x="10753" y="497"/>
                    </a:lnTo>
                    <a:lnTo>
                      <a:pt x="10769" y="495"/>
                    </a:lnTo>
                    <a:lnTo>
                      <a:pt x="10784" y="492"/>
                    </a:lnTo>
                    <a:lnTo>
                      <a:pt x="10801" y="492"/>
                    </a:lnTo>
                    <a:lnTo>
                      <a:pt x="10817" y="492"/>
                    </a:lnTo>
                    <a:lnTo>
                      <a:pt x="10834" y="495"/>
                    </a:lnTo>
                    <a:lnTo>
                      <a:pt x="10850" y="497"/>
                    </a:lnTo>
                    <a:lnTo>
                      <a:pt x="10847" y="500"/>
                    </a:lnTo>
                    <a:lnTo>
                      <a:pt x="10842" y="502"/>
                    </a:lnTo>
                    <a:lnTo>
                      <a:pt x="10857" y="502"/>
                    </a:lnTo>
                    <a:lnTo>
                      <a:pt x="10878" y="502"/>
                    </a:lnTo>
                    <a:lnTo>
                      <a:pt x="10896" y="505"/>
                    </a:lnTo>
                    <a:lnTo>
                      <a:pt x="10916" y="510"/>
                    </a:lnTo>
                    <a:lnTo>
                      <a:pt x="10934" y="515"/>
                    </a:lnTo>
                    <a:lnTo>
                      <a:pt x="10929" y="515"/>
                    </a:lnTo>
                    <a:lnTo>
                      <a:pt x="10924" y="518"/>
                    </a:lnTo>
                    <a:lnTo>
                      <a:pt x="10921" y="520"/>
                    </a:lnTo>
                    <a:lnTo>
                      <a:pt x="10918" y="526"/>
                    </a:lnTo>
                    <a:lnTo>
                      <a:pt x="10914" y="530"/>
                    </a:lnTo>
                    <a:lnTo>
                      <a:pt x="10911" y="537"/>
                    </a:lnTo>
                    <a:lnTo>
                      <a:pt x="10906" y="543"/>
                    </a:lnTo>
                    <a:lnTo>
                      <a:pt x="10900" y="548"/>
                    </a:lnTo>
                    <a:lnTo>
                      <a:pt x="10875" y="548"/>
                    </a:lnTo>
                    <a:lnTo>
                      <a:pt x="10850" y="548"/>
                    </a:lnTo>
                    <a:lnTo>
                      <a:pt x="10839" y="551"/>
                    </a:lnTo>
                    <a:lnTo>
                      <a:pt x="10830" y="553"/>
                    </a:lnTo>
                    <a:lnTo>
                      <a:pt x="10821" y="556"/>
                    </a:lnTo>
                    <a:lnTo>
                      <a:pt x="10811" y="556"/>
                    </a:lnTo>
                    <a:lnTo>
                      <a:pt x="10801" y="557"/>
                    </a:lnTo>
                    <a:lnTo>
                      <a:pt x="10791" y="557"/>
                    </a:lnTo>
                    <a:lnTo>
                      <a:pt x="10773" y="556"/>
                    </a:lnTo>
                    <a:lnTo>
                      <a:pt x="10753" y="553"/>
                    </a:lnTo>
                    <a:lnTo>
                      <a:pt x="10733" y="551"/>
                    </a:lnTo>
                    <a:lnTo>
                      <a:pt x="10713" y="550"/>
                    </a:lnTo>
                    <a:lnTo>
                      <a:pt x="10695" y="548"/>
                    </a:lnTo>
                    <a:lnTo>
                      <a:pt x="10713" y="556"/>
                    </a:lnTo>
                    <a:lnTo>
                      <a:pt x="10732" y="559"/>
                    </a:lnTo>
                    <a:lnTo>
                      <a:pt x="10753" y="563"/>
                    </a:lnTo>
                    <a:lnTo>
                      <a:pt x="10769" y="566"/>
                    </a:lnTo>
                    <a:lnTo>
                      <a:pt x="10787" y="571"/>
                    </a:lnTo>
                    <a:lnTo>
                      <a:pt x="10804" y="574"/>
                    </a:lnTo>
                    <a:lnTo>
                      <a:pt x="10819" y="577"/>
                    </a:lnTo>
                    <a:lnTo>
                      <a:pt x="10832" y="583"/>
                    </a:lnTo>
                    <a:lnTo>
                      <a:pt x="10827" y="587"/>
                    </a:lnTo>
                    <a:lnTo>
                      <a:pt x="10824" y="589"/>
                    </a:lnTo>
                    <a:lnTo>
                      <a:pt x="10815" y="594"/>
                    </a:lnTo>
                    <a:lnTo>
                      <a:pt x="10804" y="597"/>
                    </a:lnTo>
                    <a:lnTo>
                      <a:pt x="10793" y="600"/>
                    </a:lnTo>
                    <a:lnTo>
                      <a:pt x="10780" y="602"/>
                    </a:lnTo>
                    <a:lnTo>
                      <a:pt x="10765" y="604"/>
                    </a:lnTo>
                    <a:lnTo>
                      <a:pt x="10753" y="605"/>
                    </a:lnTo>
                    <a:lnTo>
                      <a:pt x="10741" y="605"/>
                    </a:lnTo>
                    <a:lnTo>
                      <a:pt x="10740" y="607"/>
                    </a:lnTo>
                    <a:lnTo>
                      <a:pt x="10733" y="612"/>
                    </a:lnTo>
                    <a:lnTo>
                      <a:pt x="10728" y="617"/>
                    </a:lnTo>
                    <a:lnTo>
                      <a:pt x="10723" y="620"/>
                    </a:lnTo>
                    <a:lnTo>
                      <a:pt x="10717" y="624"/>
                    </a:lnTo>
                    <a:lnTo>
                      <a:pt x="10713" y="625"/>
                    </a:lnTo>
                    <a:lnTo>
                      <a:pt x="10708" y="627"/>
                    </a:lnTo>
                    <a:lnTo>
                      <a:pt x="10702" y="627"/>
                    </a:lnTo>
                    <a:lnTo>
                      <a:pt x="10699" y="629"/>
                    </a:lnTo>
                    <a:lnTo>
                      <a:pt x="10694" y="629"/>
                    </a:lnTo>
                    <a:lnTo>
                      <a:pt x="10687" y="627"/>
                    </a:lnTo>
                    <a:lnTo>
                      <a:pt x="10682" y="627"/>
                    </a:lnTo>
                    <a:lnTo>
                      <a:pt x="10679" y="625"/>
                    </a:lnTo>
                    <a:lnTo>
                      <a:pt x="10673" y="624"/>
                    </a:lnTo>
                    <a:lnTo>
                      <a:pt x="10659" y="617"/>
                    </a:lnTo>
                    <a:lnTo>
                      <a:pt x="10653" y="618"/>
                    </a:lnTo>
                    <a:lnTo>
                      <a:pt x="10643" y="620"/>
                    </a:lnTo>
                    <a:lnTo>
                      <a:pt x="10634" y="622"/>
                    </a:lnTo>
                    <a:lnTo>
                      <a:pt x="10625" y="625"/>
                    </a:lnTo>
                    <a:lnTo>
                      <a:pt x="10616" y="629"/>
                    </a:lnTo>
                    <a:lnTo>
                      <a:pt x="10606" y="631"/>
                    </a:lnTo>
                    <a:lnTo>
                      <a:pt x="10597" y="635"/>
                    </a:lnTo>
                    <a:lnTo>
                      <a:pt x="10592" y="635"/>
                    </a:lnTo>
                    <a:lnTo>
                      <a:pt x="10488" y="635"/>
                    </a:lnTo>
                    <a:lnTo>
                      <a:pt x="10475" y="635"/>
                    </a:lnTo>
                    <a:lnTo>
                      <a:pt x="10468" y="635"/>
                    </a:lnTo>
                    <a:lnTo>
                      <a:pt x="10460" y="635"/>
                    </a:lnTo>
                    <a:lnTo>
                      <a:pt x="10452" y="635"/>
                    </a:lnTo>
                    <a:lnTo>
                      <a:pt x="10442" y="635"/>
                    </a:lnTo>
                    <a:lnTo>
                      <a:pt x="10431" y="635"/>
                    </a:lnTo>
                    <a:lnTo>
                      <a:pt x="10422" y="635"/>
                    </a:lnTo>
                    <a:lnTo>
                      <a:pt x="10425" y="637"/>
                    </a:lnTo>
                    <a:lnTo>
                      <a:pt x="10429" y="638"/>
                    </a:lnTo>
                    <a:lnTo>
                      <a:pt x="10431" y="640"/>
                    </a:lnTo>
                    <a:lnTo>
                      <a:pt x="10437" y="646"/>
                    </a:lnTo>
                    <a:lnTo>
                      <a:pt x="10437" y="650"/>
                    </a:lnTo>
                    <a:lnTo>
                      <a:pt x="10439" y="651"/>
                    </a:lnTo>
                    <a:lnTo>
                      <a:pt x="10439" y="655"/>
                    </a:lnTo>
                    <a:lnTo>
                      <a:pt x="10439" y="658"/>
                    </a:lnTo>
                    <a:lnTo>
                      <a:pt x="10439" y="661"/>
                    </a:lnTo>
                    <a:lnTo>
                      <a:pt x="10437" y="665"/>
                    </a:lnTo>
                    <a:lnTo>
                      <a:pt x="10433" y="666"/>
                    </a:lnTo>
                    <a:lnTo>
                      <a:pt x="10429" y="668"/>
                    </a:lnTo>
                    <a:lnTo>
                      <a:pt x="10425" y="668"/>
                    </a:lnTo>
                    <a:lnTo>
                      <a:pt x="10420" y="668"/>
                    </a:lnTo>
                    <a:lnTo>
                      <a:pt x="10424" y="670"/>
                    </a:lnTo>
                    <a:lnTo>
                      <a:pt x="10427" y="670"/>
                    </a:lnTo>
                    <a:lnTo>
                      <a:pt x="10431" y="670"/>
                    </a:lnTo>
                    <a:lnTo>
                      <a:pt x="10433" y="670"/>
                    </a:lnTo>
                    <a:lnTo>
                      <a:pt x="10435" y="671"/>
                    </a:lnTo>
                    <a:lnTo>
                      <a:pt x="10435" y="673"/>
                    </a:lnTo>
                    <a:lnTo>
                      <a:pt x="10435" y="676"/>
                    </a:lnTo>
                    <a:lnTo>
                      <a:pt x="10433" y="678"/>
                    </a:lnTo>
                    <a:lnTo>
                      <a:pt x="10429" y="679"/>
                    </a:lnTo>
                    <a:lnTo>
                      <a:pt x="10425" y="683"/>
                    </a:lnTo>
                    <a:lnTo>
                      <a:pt x="10420" y="686"/>
                    </a:lnTo>
                    <a:lnTo>
                      <a:pt x="10412" y="688"/>
                    </a:lnTo>
                    <a:lnTo>
                      <a:pt x="10406" y="692"/>
                    </a:lnTo>
                    <a:lnTo>
                      <a:pt x="10391" y="698"/>
                    </a:lnTo>
                    <a:lnTo>
                      <a:pt x="10383" y="699"/>
                    </a:lnTo>
                    <a:lnTo>
                      <a:pt x="10378" y="701"/>
                    </a:lnTo>
                    <a:lnTo>
                      <a:pt x="10372" y="703"/>
                    </a:lnTo>
                    <a:lnTo>
                      <a:pt x="10368" y="703"/>
                    </a:lnTo>
                    <a:lnTo>
                      <a:pt x="10361" y="709"/>
                    </a:lnTo>
                    <a:lnTo>
                      <a:pt x="10351" y="712"/>
                    </a:lnTo>
                    <a:lnTo>
                      <a:pt x="10343" y="716"/>
                    </a:lnTo>
                    <a:lnTo>
                      <a:pt x="10333" y="718"/>
                    </a:lnTo>
                    <a:lnTo>
                      <a:pt x="10324" y="719"/>
                    </a:lnTo>
                    <a:lnTo>
                      <a:pt x="10315" y="719"/>
                    </a:lnTo>
                    <a:lnTo>
                      <a:pt x="10305" y="719"/>
                    </a:lnTo>
                    <a:lnTo>
                      <a:pt x="10302" y="719"/>
                    </a:lnTo>
                    <a:lnTo>
                      <a:pt x="10304" y="718"/>
                    </a:lnTo>
                    <a:lnTo>
                      <a:pt x="10305" y="716"/>
                    </a:lnTo>
                    <a:lnTo>
                      <a:pt x="10307" y="716"/>
                    </a:lnTo>
                    <a:lnTo>
                      <a:pt x="10307" y="714"/>
                    </a:lnTo>
                    <a:lnTo>
                      <a:pt x="10305" y="714"/>
                    </a:lnTo>
                    <a:lnTo>
                      <a:pt x="10305" y="712"/>
                    </a:lnTo>
                    <a:lnTo>
                      <a:pt x="10302" y="712"/>
                    </a:lnTo>
                    <a:lnTo>
                      <a:pt x="10297" y="712"/>
                    </a:lnTo>
                    <a:lnTo>
                      <a:pt x="10291" y="714"/>
                    </a:lnTo>
                    <a:lnTo>
                      <a:pt x="10284" y="714"/>
                    </a:lnTo>
                    <a:lnTo>
                      <a:pt x="10276" y="714"/>
                    </a:lnTo>
                    <a:lnTo>
                      <a:pt x="10269" y="716"/>
                    </a:lnTo>
                    <a:lnTo>
                      <a:pt x="10261" y="718"/>
                    </a:lnTo>
                    <a:lnTo>
                      <a:pt x="10252" y="718"/>
                    </a:lnTo>
                    <a:lnTo>
                      <a:pt x="10246" y="719"/>
                    </a:lnTo>
                    <a:lnTo>
                      <a:pt x="10239" y="719"/>
                    </a:lnTo>
                    <a:lnTo>
                      <a:pt x="10233" y="719"/>
                    </a:lnTo>
                    <a:lnTo>
                      <a:pt x="10230" y="719"/>
                    </a:lnTo>
                    <a:lnTo>
                      <a:pt x="10217" y="719"/>
                    </a:lnTo>
                    <a:lnTo>
                      <a:pt x="10208" y="719"/>
                    </a:lnTo>
                    <a:lnTo>
                      <a:pt x="10197" y="719"/>
                    </a:lnTo>
                    <a:lnTo>
                      <a:pt x="10187" y="719"/>
                    </a:lnTo>
                    <a:lnTo>
                      <a:pt x="10178" y="719"/>
                    </a:lnTo>
                    <a:lnTo>
                      <a:pt x="10167" y="719"/>
                    </a:lnTo>
                    <a:lnTo>
                      <a:pt x="10156" y="719"/>
                    </a:lnTo>
                    <a:lnTo>
                      <a:pt x="10145" y="719"/>
                    </a:lnTo>
                    <a:lnTo>
                      <a:pt x="10137" y="719"/>
                    </a:lnTo>
                    <a:lnTo>
                      <a:pt x="10129" y="719"/>
                    </a:lnTo>
                    <a:lnTo>
                      <a:pt x="10119" y="719"/>
                    </a:lnTo>
                    <a:lnTo>
                      <a:pt x="10108" y="718"/>
                    </a:lnTo>
                    <a:lnTo>
                      <a:pt x="10098" y="716"/>
                    </a:lnTo>
                    <a:lnTo>
                      <a:pt x="10084" y="712"/>
                    </a:lnTo>
                    <a:lnTo>
                      <a:pt x="10071" y="709"/>
                    </a:lnTo>
                    <a:lnTo>
                      <a:pt x="10058" y="703"/>
                    </a:lnTo>
                    <a:lnTo>
                      <a:pt x="10053" y="703"/>
                    </a:lnTo>
                    <a:lnTo>
                      <a:pt x="10049" y="699"/>
                    </a:lnTo>
                    <a:lnTo>
                      <a:pt x="10045" y="696"/>
                    </a:lnTo>
                    <a:lnTo>
                      <a:pt x="10042" y="692"/>
                    </a:lnTo>
                    <a:lnTo>
                      <a:pt x="10038" y="686"/>
                    </a:lnTo>
                    <a:lnTo>
                      <a:pt x="10034" y="681"/>
                    </a:lnTo>
                    <a:lnTo>
                      <a:pt x="10030" y="676"/>
                    </a:lnTo>
                    <a:lnTo>
                      <a:pt x="10025" y="668"/>
                    </a:lnTo>
                    <a:lnTo>
                      <a:pt x="10024" y="673"/>
                    </a:lnTo>
                    <a:lnTo>
                      <a:pt x="10022" y="679"/>
                    </a:lnTo>
                    <a:lnTo>
                      <a:pt x="10019" y="683"/>
                    </a:lnTo>
                    <a:lnTo>
                      <a:pt x="10016" y="686"/>
                    </a:lnTo>
                    <a:lnTo>
                      <a:pt x="10012" y="688"/>
                    </a:lnTo>
                    <a:lnTo>
                      <a:pt x="10010" y="692"/>
                    </a:lnTo>
                    <a:lnTo>
                      <a:pt x="10009" y="698"/>
                    </a:lnTo>
                    <a:lnTo>
                      <a:pt x="10009" y="703"/>
                    </a:lnTo>
                    <a:lnTo>
                      <a:pt x="10010" y="704"/>
                    </a:lnTo>
                    <a:lnTo>
                      <a:pt x="10014" y="707"/>
                    </a:lnTo>
                    <a:lnTo>
                      <a:pt x="10017" y="711"/>
                    </a:lnTo>
                    <a:lnTo>
                      <a:pt x="10024" y="711"/>
                    </a:lnTo>
                    <a:lnTo>
                      <a:pt x="10027" y="711"/>
                    </a:lnTo>
                    <a:lnTo>
                      <a:pt x="10029" y="711"/>
                    </a:lnTo>
                    <a:lnTo>
                      <a:pt x="10032" y="711"/>
                    </a:lnTo>
                    <a:lnTo>
                      <a:pt x="10034" y="709"/>
                    </a:lnTo>
                    <a:lnTo>
                      <a:pt x="10038" y="707"/>
                    </a:lnTo>
                    <a:lnTo>
                      <a:pt x="10038" y="707"/>
                    </a:lnTo>
                    <a:lnTo>
                      <a:pt x="10038" y="707"/>
                    </a:lnTo>
                    <a:lnTo>
                      <a:pt x="10037" y="709"/>
                    </a:lnTo>
                    <a:lnTo>
                      <a:pt x="10029" y="714"/>
                    </a:lnTo>
                    <a:lnTo>
                      <a:pt x="10024" y="718"/>
                    </a:lnTo>
                    <a:lnTo>
                      <a:pt x="10016" y="719"/>
                    </a:lnTo>
                    <a:lnTo>
                      <a:pt x="10010" y="722"/>
                    </a:lnTo>
                    <a:lnTo>
                      <a:pt x="10003" y="724"/>
                    </a:lnTo>
                    <a:lnTo>
                      <a:pt x="10009" y="724"/>
                    </a:lnTo>
                    <a:lnTo>
                      <a:pt x="10016" y="722"/>
                    </a:lnTo>
                    <a:lnTo>
                      <a:pt x="10024" y="722"/>
                    </a:lnTo>
                    <a:lnTo>
                      <a:pt x="10032" y="722"/>
                    </a:lnTo>
                    <a:lnTo>
                      <a:pt x="10042" y="719"/>
                    </a:lnTo>
                    <a:lnTo>
                      <a:pt x="10049" y="722"/>
                    </a:lnTo>
                    <a:lnTo>
                      <a:pt x="10057" y="724"/>
                    </a:lnTo>
                    <a:lnTo>
                      <a:pt x="10068" y="725"/>
                    </a:lnTo>
                    <a:lnTo>
                      <a:pt x="10078" y="729"/>
                    </a:lnTo>
                    <a:lnTo>
                      <a:pt x="10090" y="732"/>
                    </a:lnTo>
                    <a:lnTo>
                      <a:pt x="10103" y="734"/>
                    </a:lnTo>
                    <a:lnTo>
                      <a:pt x="10116" y="737"/>
                    </a:lnTo>
                    <a:lnTo>
                      <a:pt x="10126" y="737"/>
                    </a:lnTo>
                    <a:lnTo>
                      <a:pt x="10124" y="739"/>
                    </a:lnTo>
                    <a:lnTo>
                      <a:pt x="10121" y="739"/>
                    </a:lnTo>
                    <a:lnTo>
                      <a:pt x="10117" y="740"/>
                    </a:lnTo>
                    <a:lnTo>
                      <a:pt x="10111" y="742"/>
                    </a:lnTo>
                    <a:lnTo>
                      <a:pt x="10106" y="744"/>
                    </a:lnTo>
                    <a:lnTo>
                      <a:pt x="10099" y="749"/>
                    </a:lnTo>
                    <a:lnTo>
                      <a:pt x="10093" y="755"/>
                    </a:lnTo>
                    <a:lnTo>
                      <a:pt x="10103" y="755"/>
                    </a:lnTo>
                    <a:lnTo>
                      <a:pt x="10111" y="753"/>
                    </a:lnTo>
                    <a:lnTo>
                      <a:pt x="10123" y="752"/>
                    </a:lnTo>
                    <a:lnTo>
                      <a:pt x="10132" y="747"/>
                    </a:lnTo>
                    <a:lnTo>
                      <a:pt x="10151" y="740"/>
                    </a:lnTo>
                    <a:lnTo>
                      <a:pt x="10170" y="732"/>
                    </a:lnTo>
                    <a:lnTo>
                      <a:pt x="10180" y="731"/>
                    </a:lnTo>
                    <a:lnTo>
                      <a:pt x="10190" y="727"/>
                    </a:lnTo>
                    <a:lnTo>
                      <a:pt x="10198" y="725"/>
                    </a:lnTo>
                    <a:lnTo>
                      <a:pt x="10210" y="725"/>
                    </a:lnTo>
                    <a:lnTo>
                      <a:pt x="10218" y="725"/>
                    </a:lnTo>
                    <a:lnTo>
                      <a:pt x="10228" y="729"/>
                    </a:lnTo>
                    <a:lnTo>
                      <a:pt x="10238" y="732"/>
                    </a:lnTo>
                    <a:lnTo>
                      <a:pt x="10243" y="734"/>
                    </a:lnTo>
                    <a:lnTo>
                      <a:pt x="10248" y="737"/>
                    </a:lnTo>
                    <a:lnTo>
                      <a:pt x="10241" y="744"/>
                    </a:lnTo>
                    <a:lnTo>
                      <a:pt x="10231" y="747"/>
                    </a:lnTo>
                    <a:lnTo>
                      <a:pt x="10223" y="752"/>
                    </a:lnTo>
                    <a:lnTo>
                      <a:pt x="10213" y="755"/>
                    </a:lnTo>
                    <a:lnTo>
                      <a:pt x="10205" y="758"/>
                    </a:lnTo>
                    <a:lnTo>
                      <a:pt x="10195" y="762"/>
                    </a:lnTo>
                    <a:lnTo>
                      <a:pt x="10185" y="765"/>
                    </a:lnTo>
                    <a:lnTo>
                      <a:pt x="10180" y="772"/>
                    </a:lnTo>
                    <a:lnTo>
                      <a:pt x="10205" y="772"/>
                    </a:lnTo>
                    <a:lnTo>
                      <a:pt x="10230" y="772"/>
                    </a:lnTo>
                    <a:lnTo>
                      <a:pt x="10228" y="773"/>
                    </a:lnTo>
                    <a:lnTo>
                      <a:pt x="10226" y="775"/>
                    </a:lnTo>
                    <a:lnTo>
                      <a:pt x="10223" y="778"/>
                    </a:lnTo>
                    <a:lnTo>
                      <a:pt x="10218" y="783"/>
                    </a:lnTo>
                    <a:lnTo>
                      <a:pt x="10213" y="788"/>
                    </a:lnTo>
                    <a:lnTo>
                      <a:pt x="10215" y="788"/>
                    </a:lnTo>
                    <a:lnTo>
                      <a:pt x="10217" y="788"/>
                    </a:lnTo>
                    <a:lnTo>
                      <a:pt x="10218" y="786"/>
                    </a:lnTo>
                    <a:lnTo>
                      <a:pt x="10223" y="786"/>
                    </a:lnTo>
                    <a:lnTo>
                      <a:pt x="10226" y="785"/>
                    </a:lnTo>
                    <a:lnTo>
                      <a:pt x="10230" y="783"/>
                    </a:lnTo>
                    <a:lnTo>
                      <a:pt x="10236" y="783"/>
                    </a:lnTo>
                    <a:lnTo>
                      <a:pt x="10244" y="778"/>
                    </a:lnTo>
                    <a:lnTo>
                      <a:pt x="10256" y="775"/>
                    </a:lnTo>
                    <a:lnTo>
                      <a:pt x="10269" y="772"/>
                    </a:lnTo>
                    <a:lnTo>
                      <a:pt x="10280" y="770"/>
                    </a:lnTo>
                    <a:lnTo>
                      <a:pt x="10292" y="768"/>
                    </a:lnTo>
                    <a:lnTo>
                      <a:pt x="10304" y="765"/>
                    </a:lnTo>
                    <a:lnTo>
                      <a:pt x="10313" y="765"/>
                    </a:lnTo>
                    <a:lnTo>
                      <a:pt x="10318" y="765"/>
                    </a:lnTo>
                    <a:lnTo>
                      <a:pt x="10322" y="768"/>
                    </a:lnTo>
                    <a:lnTo>
                      <a:pt x="10326" y="768"/>
                    </a:lnTo>
                    <a:lnTo>
                      <a:pt x="10330" y="770"/>
                    </a:lnTo>
                    <a:lnTo>
                      <a:pt x="10332" y="772"/>
                    </a:lnTo>
                    <a:lnTo>
                      <a:pt x="10333" y="773"/>
                    </a:lnTo>
                    <a:lnTo>
                      <a:pt x="10335" y="777"/>
                    </a:lnTo>
                    <a:lnTo>
                      <a:pt x="10335" y="780"/>
                    </a:lnTo>
                    <a:lnTo>
                      <a:pt x="10335" y="785"/>
                    </a:lnTo>
                    <a:lnTo>
                      <a:pt x="10333" y="788"/>
                    </a:lnTo>
                    <a:lnTo>
                      <a:pt x="10332" y="790"/>
                    </a:lnTo>
                    <a:lnTo>
                      <a:pt x="10330" y="792"/>
                    </a:lnTo>
                    <a:lnTo>
                      <a:pt x="10324" y="798"/>
                    </a:lnTo>
                    <a:lnTo>
                      <a:pt x="10317" y="801"/>
                    </a:lnTo>
                    <a:lnTo>
                      <a:pt x="10307" y="806"/>
                    </a:lnTo>
                    <a:lnTo>
                      <a:pt x="10298" y="810"/>
                    </a:lnTo>
                    <a:lnTo>
                      <a:pt x="10287" y="816"/>
                    </a:lnTo>
                    <a:lnTo>
                      <a:pt x="10276" y="821"/>
                    </a:lnTo>
                    <a:lnTo>
                      <a:pt x="10265" y="825"/>
                    </a:lnTo>
                    <a:lnTo>
                      <a:pt x="10254" y="829"/>
                    </a:lnTo>
                    <a:lnTo>
                      <a:pt x="10243" y="832"/>
                    </a:lnTo>
                    <a:lnTo>
                      <a:pt x="10231" y="834"/>
                    </a:lnTo>
                    <a:lnTo>
                      <a:pt x="10223" y="834"/>
                    </a:lnTo>
                    <a:lnTo>
                      <a:pt x="10213" y="834"/>
                    </a:lnTo>
                    <a:lnTo>
                      <a:pt x="10206" y="832"/>
                    </a:lnTo>
                    <a:lnTo>
                      <a:pt x="10200" y="829"/>
                    </a:lnTo>
                    <a:lnTo>
                      <a:pt x="10198" y="826"/>
                    </a:lnTo>
                    <a:lnTo>
                      <a:pt x="10197" y="823"/>
                    </a:lnTo>
                    <a:lnTo>
                      <a:pt x="10191" y="821"/>
                    </a:lnTo>
                    <a:lnTo>
                      <a:pt x="10187" y="819"/>
                    </a:lnTo>
                    <a:lnTo>
                      <a:pt x="10180" y="819"/>
                    </a:lnTo>
                    <a:lnTo>
                      <a:pt x="10172" y="821"/>
                    </a:lnTo>
                    <a:lnTo>
                      <a:pt x="10164" y="823"/>
                    </a:lnTo>
                    <a:lnTo>
                      <a:pt x="10156" y="826"/>
                    </a:lnTo>
                    <a:lnTo>
                      <a:pt x="10145" y="831"/>
                    </a:lnTo>
                    <a:lnTo>
                      <a:pt x="10136" y="834"/>
                    </a:lnTo>
                    <a:lnTo>
                      <a:pt x="10117" y="841"/>
                    </a:lnTo>
                    <a:lnTo>
                      <a:pt x="10108" y="846"/>
                    </a:lnTo>
                    <a:lnTo>
                      <a:pt x="10099" y="849"/>
                    </a:lnTo>
                    <a:lnTo>
                      <a:pt x="10091" y="852"/>
                    </a:lnTo>
                    <a:lnTo>
                      <a:pt x="10086" y="854"/>
                    </a:lnTo>
                    <a:lnTo>
                      <a:pt x="10080" y="856"/>
                    </a:lnTo>
                    <a:lnTo>
                      <a:pt x="10077" y="856"/>
                    </a:lnTo>
                    <a:lnTo>
                      <a:pt x="10050" y="859"/>
                    </a:lnTo>
                    <a:lnTo>
                      <a:pt x="10025" y="860"/>
                    </a:lnTo>
                    <a:lnTo>
                      <a:pt x="9999" y="862"/>
                    </a:lnTo>
                    <a:lnTo>
                      <a:pt x="9973" y="866"/>
                    </a:lnTo>
                    <a:lnTo>
                      <a:pt x="9948" y="869"/>
                    </a:lnTo>
                    <a:lnTo>
                      <a:pt x="9922" y="871"/>
                    </a:lnTo>
                    <a:lnTo>
                      <a:pt x="9896" y="873"/>
                    </a:lnTo>
                    <a:lnTo>
                      <a:pt x="9882" y="873"/>
                    </a:lnTo>
                    <a:lnTo>
                      <a:pt x="9892" y="871"/>
                    </a:lnTo>
                    <a:lnTo>
                      <a:pt x="9902" y="867"/>
                    </a:lnTo>
                    <a:lnTo>
                      <a:pt x="9910" y="864"/>
                    </a:lnTo>
                    <a:lnTo>
                      <a:pt x="9918" y="859"/>
                    </a:lnTo>
                    <a:lnTo>
                      <a:pt x="9925" y="852"/>
                    </a:lnTo>
                    <a:lnTo>
                      <a:pt x="9938" y="839"/>
                    </a:lnTo>
                    <a:lnTo>
                      <a:pt x="9938" y="836"/>
                    </a:lnTo>
                    <a:lnTo>
                      <a:pt x="9936" y="834"/>
                    </a:lnTo>
                    <a:lnTo>
                      <a:pt x="9935" y="831"/>
                    </a:lnTo>
                    <a:lnTo>
                      <a:pt x="9931" y="826"/>
                    </a:lnTo>
                    <a:lnTo>
                      <a:pt x="9925" y="825"/>
                    </a:lnTo>
                    <a:lnTo>
                      <a:pt x="9918" y="825"/>
                    </a:lnTo>
                    <a:lnTo>
                      <a:pt x="9910" y="823"/>
                    </a:lnTo>
                    <a:lnTo>
                      <a:pt x="9902" y="825"/>
                    </a:lnTo>
                    <a:lnTo>
                      <a:pt x="9894" y="825"/>
                    </a:lnTo>
                    <a:lnTo>
                      <a:pt x="9876" y="826"/>
                    </a:lnTo>
                    <a:lnTo>
                      <a:pt x="9866" y="826"/>
                    </a:lnTo>
                    <a:lnTo>
                      <a:pt x="9859" y="829"/>
                    </a:lnTo>
                    <a:lnTo>
                      <a:pt x="9851" y="829"/>
                    </a:lnTo>
                    <a:lnTo>
                      <a:pt x="9844" y="826"/>
                    </a:lnTo>
                    <a:lnTo>
                      <a:pt x="9839" y="825"/>
                    </a:lnTo>
                    <a:lnTo>
                      <a:pt x="9835" y="823"/>
                    </a:lnTo>
                    <a:lnTo>
                      <a:pt x="9835" y="818"/>
                    </a:lnTo>
                    <a:lnTo>
                      <a:pt x="9839" y="811"/>
                    </a:lnTo>
                    <a:lnTo>
                      <a:pt x="9843" y="810"/>
                    </a:lnTo>
                    <a:lnTo>
                      <a:pt x="9835" y="810"/>
                    </a:lnTo>
                    <a:lnTo>
                      <a:pt x="9831" y="810"/>
                    </a:lnTo>
                    <a:lnTo>
                      <a:pt x="9826" y="808"/>
                    </a:lnTo>
                    <a:lnTo>
                      <a:pt x="9823" y="808"/>
                    </a:lnTo>
                    <a:lnTo>
                      <a:pt x="9816" y="806"/>
                    </a:lnTo>
                    <a:lnTo>
                      <a:pt x="9813" y="803"/>
                    </a:lnTo>
                    <a:lnTo>
                      <a:pt x="9808" y="799"/>
                    </a:lnTo>
                    <a:lnTo>
                      <a:pt x="9803" y="795"/>
                    </a:lnTo>
                    <a:lnTo>
                      <a:pt x="9802" y="788"/>
                    </a:lnTo>
                    <a:lnTo>
                      <a:pt x="9802" y="801"/>
                    </a:lnTo>
                    <a:lnTo>
                      <a:pt x="9802" y="806"/>
                    </a:lnTo>
                    <a:lnTo>
                      <a:pt x="9803" y="811"/>
                    </a:lnTo>
                    <a:lnTo>
                      <a:pt x="9805" y="816"/>
                    </a:lnTo>
                    <a:lnTo>
                      <a:pt x="9810" y="819"/>
                    </a:lnTo>
                    <a:lnTo>
                      <a:pt x="9813" y="823"/>
                    </a:lnTo>
                    <a:lnTo>
                      <a:pt x="9818" y="823"/>
                    </a:lnTo>
                    <a:lnTo>
                      <a:pt x="9815" y="829"/>
                    </a:lnTo>
                    <a:lnTo>
                      <a:pt x="9810" y="834"/>
                    </a:lnTo>
                    <a:lnTo>
                      <a:pt x="9803" y="838"/>
                    </a:lnTo>
                    <a:lnTo>
                      <a:pt x="9798" y="844"/>
                    </a:lnTo>
                    <a:lnTo>
                      <a:pt x="9790" y="846"/>
                    </a:lnTo>
                    <a:lnTo>
                      <a:pt x="9783" y="847"/>
                    </a:lnTo>
                    <a:lnTo>
                      <a:pt x="9774" y="849"/>
                    </a:lnTo>
                    <a:lnTo>
                      <a:pt x="9767" y="851"/>
                    </a:lnTo>
                    <a:lnTo>
                      <a:pt x="9759" y="851"/>
                    </a:lnTo>
                    <a:lnTo>
                      <a:pt x="9750" y="851"/>
                    </a:lnTo>
                    <a:lnTo>
                      <a:pt x="9742" y="851"/>
                    </a:lnTo>
                    <a:lnTo>
                      <a:pt x="9736" y="849"/>
                    </a:lnTo>
                    <a:lnTo>
                      <a:pt x="9729" y="847"/>
                    </a:lnTo>
                    <a:lnTo>
                      <a:pt x="9724" y="846"/>
                    </a:lnTo>
                    <a:lnTo>
                      <a:pt x="9719" y="844"/>
                    </a:lnTo>
                    <a:lnTo>
                      <a:pt x="9715" y="839"/>
                    </a:lnTo>
                    <a:lnTo>
                      <a:pt x="9715" y="826"/>
                    </a:lnTo>
                    <a:lnTo>
                      <a:pt x="9715" y="821"/>
                    </a:lnTo>
                    <a:lnTo>
                      <a:pt x="9715" y="816"/>
                    </a:lnTo>
                    <a:lnTo>
                      <a:pt x="9715" y="811"/>
                    </a:lnTo>
                    <a:lnTo>
                      <a:pt x="9713" y="818"/>
                    </a:lnTo>
                    <a:lnTo>
                      <a:pt x="9709" y="821"/>
                    </a:lnTo>
                    <a:lnTo>
                      <a:pt x="9708" y="825"/>
                    </a:lnTo>
                    <a:lnTo>
                      <a:pt x="9702" y="829"/>
                    </a:lnTo>
                    <a:lnTo>
                      <a:pt x="9698" y="831"/>
                    </a:lnTo>
                    <a:lnTo>
                      <a:pt x="9693" y="834"/>
                    </a:lnTo>
                    <a:lnTo>
                      <a:pt x="9688" y="836"/>
                    </a:lnTo>
                    <a:lnTo>
                      <a:pt x="9676" y="838"/>
                    </a:lnTo>
                    <a:lnTo>
                      <a:pt x="9665" y="839"/>
                    </a:lnTo>
                    <a:lnTo>
                      <a:pt x="9660" y="839"/>
                    </a:lnTo>
                    <a:lnTo>
                      <a:pt x="9654" y="839"/>
                    </a:lnTo>
                    <a:lnTo>
                      <a:pt x="9650" y="839"/>
                    </a:lnTo>
                    <a:lnTo>
                      <a:pt x="9647" y="839"/>
                    </a:lnTo>
                    <a:lnTo>
                      <a:pt x="9643" y="839"/>
                    </a:lnTo>
                    <a:lnTo>
                      <a:pt x="9642" y="838"/>
                    </a:lnTo>
                    <a:lnTo>
                      <a:pt x="9640" y="836"/>
                    </a:lnTo>
                    <a:lnTo>
                      <a:pt x="9635" y="834"/>
                    </a:lnTo>
                    <a:lnTo>
                      <a:pt x="9632" y="829"/>
                    </a:lnTo>
                    <a:lnTo>
                      <a:pt x="9630" y="823"/>
                    </a:lnTo>
                    <a:lnTo>
                      <a:pt x="9627" y="816"/>
                    </a:lnTo>
                    <a:lnTo>
                      <a:pt x="9622" y="810"/>
                    </a:lnTo>
                    <a:lnTo>
                      <a:pt x="9619" y="808"/>
                    </a:lnTo>
                    <a:lnTo>
                      <a:pt x="9617" y="806"/>
                    </a:lnTo>
                    <a:lnTo>
                      <a:pt x="9615" y="806"/>
                    </a:lnTo>
                    <a:lnTo>
                      <a:pt x="9612" y="805"/>
                    </a:lnTo>
                    <a:lnTo>
                      <a:pt x="9608" y="806"/>
                    </a:lnTo>
                    <a:lnTo>
                      <a:pt x="9602" y="808"/>
                    </a:lnTo>
                    <a:lnTo>
                      <a:pt x="9597" y="811"/>
                    </a:lnTo>
                    <a:lnTo>
                      <a:pt x="9591" y="816"/>
                    </a:lnTo>
                    <a:lnTo>
                      <a:pt x="9584" y="819"/>
                    </a:lnTo>
                    <a:lnTo>
                      <a:pt x="9576" y="825"/>
                    </a:lnTo>
                    <a:lnTo>
                      <a:pt x="9569" y="829"/>
                    </a:lnTo>
                    <a:lnTo>
                      <a:pt x="9561" y="834"/>
                    </a:lnTo>
                    <a:lnTo>
                      <a:pt x="9556" y="838"/>
                    </a:lnTo>
                    <a:lnTo>
                      <a:pt x="9549" y="839"/>
                    </a:lnTo>
                    <a:lnTo>
                      <a:pt x="9541" y="841"/>
                    </a:lnTo>
                    <a:lnTo>
                      <a:pt x="9538" y="841"/>
                    </a:lnTo>
                    <a:lnTo>
                      <a:pt x="9535" y="841"/>
                    </a:lnTo>
                    <a:lnTo>
                      <a:pt x="9532" y="839"/>
                    </a:lnTo>
                    <a:lnTo>
                      <a:pt x="9530" y="839"/>
                    </a:lnTo>
                    <a:lnTo>
                      <a:pt x="9528" y="836"/>
                    </a:lnTo>
                    <a:lnTo>
                      <a:pt x="9527" y="834"/>
                    </a:lnTo>
                    <a:lnTo>
                      <a:pt x="9527" y="831"/>
                    </a:lnTo>
                    <a:lnTo>
                      <a:pt x="9527" y="826"/>
                    </a:lnTo>
                    <a:lnTo>
                      <a:pt x="9527" y="823"/>
                    </a:lnTo>
                    <a:lnTo>
                      <a:pt x="9521" y="823"/>
                    </a:lnTo>
                    <a:lnTo>
                      <a:pt x="9515" y="823"/>
                    </a:lnTo>
                    <a:lnTo>
                      <a:pt x="9512" y="823"/>
                    </a:lnTo>
                    <a:lnTo>
                      <a:pt x="9508" y="825"/>
                    </a:lnTo>
                    <a:lnTo>
                      <a:pt x="9507" y="826"/>
                    </a:lnTo>
                    <a:lnTo>
                      <a:pt x="9503" y="831"/>
                    </a:lnTo>
                    <a:lnTo>
                      <a:pt x="9497" y="834"/>
                    </a:lnTo>
                    <a:lnTo>
                      <a:pt x="9492" y="839"/>
                    </a:lnTo>
                    <a:lnTo>
                      <a:pt x="9499" y="839"/>
                    </a:lnTo>
                    <a:lnTo>
                      <a:pt x="9505" y="841"/>
                    </a:lnTo>
                    <a:lnTo>
                      <a:pt x="9512" y="846"/>
                    </a:lnTo>
                    <a:lnTo>
                      <a:pt x="9518" y="849"/>
                    </a:lnTo>
                    <a:lnTo>
                      <a:pt x="9523" y="851"/>
                    </a:lnTo>
                    <a:lnTo>
                      <a:pt x="9530" y="854"/>
                    </a:lnTo>
                    <a:lnTo>
                      <a:pt x="9536" y="856"/>
                    </a:lnTo>
                    <a:lnTo>
                      <a:pt x="9543" y="856"/>
                    </a:lnTo>
                    <a:lnTo>
                      <a:pt x="9530" y="860"/>
                    </a:lnTo>
                    <a:lnTo>
                      <a:pt x="9518" y="862"/>
                    </a:lnTo>
                    <a:lnTo>
                      <a:pt x="9505" y="864"/>
                    </a:lnTo>
                    <a:lnTo>
                      <a:pt x="9492" y="864"/>
                    </a:lnTo>
                    <a:lnTo>
                      <a:pt x="9479" y="864"/>
                    </a:lnTo>
                    <a:lnTo>
                      <a:pt x="9466" y="864"/>
                    </a:lnTo>
                    <a:lnTo>
                      <a:pt x="9454" y="862"/>
                    </a:lnTo>
                    <a:lnTo>
                      <a:pt x="9442" y="862"/>
                    </a:lnTo>
                    <a:lnTo>
                      <a:pt x="9418" y="859"/>
                    </a:lnTo>
                    <a:lnTo>
                      <a:pt x="9395" y="852"/>
                    </a:lnTo>
                    <a:lnTo>
                      <a:pt x="9374" y="846"/>
                    </a:lnTo>
                    <a:lnTo>
                      <a:pt x="9355" y="839"/>
                    </a:lnTo>
                    <a:lnTo>
                      <a:pt x="9357" y="838"/>
                    </a:lnTo>
                    <a:lnTo>
                      <a:pt x="9360" y="834"/>
                    </a:lnTo>
                    <a:lnTo>
                      <a:pt x="9364" y="831"/>
                    </a:lnTo>
                    <a:lnTo>
                      <a:pt x="9370" y="829"/>
                    </a:lnTo>
                    <a:lnTo>
                      <a:pt x="9375" y="825"/>
                    </a:lnTo>
                    <a:lnTo>
                      <a:pt x="9383" y="823"/>
                    </a:lnTo>
                    <a:lnTo>
                      <a:pt x="9388" y="823"/>
                    </a:lnTo>
                    <a:lnTo>
                      <a:pt x="9385" y="821"/>
                    </a:lnTo>
                    <a:lnTo>
                      <a:pt x="9381" y="819"/>
                    </a:lnTo>
                    <a:lnTo>
                      <a:pt x="9377" y="818"/>
                    </a:lnTo>
                    <a:lnTo>
                      <a:pt x="9374" y="818"/>
                    </a:lnTo>
                    <a:lnTo>
                      <a:pt x="9368" y="819"/>
                    </a:lnTo>
                    <a:lnTo>
                      <a:pt x="9364" y="821"/>
                    </a:lnTo>
                    <a:lnTo>
                      <a:pt x="9355" y="825"/>
                    </a:lnTo>
                    <a:lnTo>
                      <a:pt x="9346" y="831"/>
                    </a:lnTo>
                    <a:lnTo>
                      <a:pt x="9337" y="834"/>
                    </a:lnTo>
                    <a:lnTo>
                      <a:pt x="9331" y="836"/>
                    </a:lnTo>
                    <a:lnTo>
                      <a:pt x="9327" y="838"/>
                    </a:lnTo>
                    <a:lnTo>
                      <a:pt x="9324" y="839"/>
                    </a:lnTo>
                    <a:lnTo>
                      <a:pt x="9321" y="839"/>
                    </a:lnTo>
                    <a:lnTo>
                      <a:pt x="9307" y="839"/>
                    </a:lnTo>
                    <a:lnTo>
                      <a:pt x="9294" y="841"/>
                    </a:lnTo>
                    <a:lnTo>
                      <a:pt x="9283" y="844"/>
                    </a:lnTo>
                    <a:lnTo>
                      <a:pt x="9272" y="844"/>
                    </a:lnTo>
                    <a:lnTo>
                      <a:pt x="9268" y="844"/>
                    </a:lnTo>
                    <a:lnTo>
                      <a:pt x="9265" y="844"/>
                    </a:lnTo>
                    <a:lnTo>
                      <a:pt x="9260" y="841"/>
                    </a:lnTo>
                    <a:lnTo>
                      <a:pt x="9257" y="839"/>
                    </a:lnTo>
                    <a:lnTo>
                      <a:pt x="9253" y="838"/>
                    </a:lnTo>
                    <a:lnTo>
                      <a:pt x="9252" y="834"/>
                    </a:lnTo>
                    <a:lnTo>
                      <a:pt x="9252" y="829"/>
                    </a:lnTo>
                    <a:lnTo>
                      <a:pt x="9252" y="823"/>
                    </a:lnTo>
                    <a:lnTo>
                      <a:pt x="9245" y="823"/>
                    </a:lnTo>
                    <a:lnTo>
                      <a:pt x="9239" y="826"/>
                    </a:lnTo>
                    <a:lnTo>
                      <a:pt x="9232" y="829"/>
                    </a:lnTo>
                    <a:lnTo>
                      <a:pt x="9226" y="834"/>
                    </a:lnTo>
                    <a:lnTo>
                      <a:pt x="9219" y="838"/>
                    </a:lnTo>
                    <a:lnTo>
                      <a:pt x="9214" y="846"/>
                    </a:lnTo>
                    <a:lnTo>
                      <a:pt x="9200" y="856"/>
                    </a:lnTo>
                    <a:lnTo>
                      <a:pt x="9193" y="856"/>
                    </a:lnTo>
                    <a:lnTo>
                      <a:pt x="9184" y="854"/>
                    </a:lnTo>
                    <a:lnTo>
                      <a:pt x="9174" y="851"/>
                    </a:lnTo>
                    <a:lnTo>
                      <a:pt x="9165" y="849"/>
                    </a:lnTo>
                    <a:lnTo>
                      <a:pt x="9156" y="846"/>
                    </a:lnTo>
                    <a:lnTo>
                      <a:pt x="9146" y="841"/>
                    </a:lnTo>
                    <a:lnTo>
                      <a:pt x="9138" y="839"/>
                    </a:lnTo>
                    <a:lnTo>
                      <a:pt x="9133" y="839"/>
                    </a:lnTo>
                    <a:lnTo>
                      <a:pt x="9138" y="838"/>
                    </a:lnTo>
                    <a:lnTo>
                      <a:pt x="9140" y="836"/>
                    </a:lnTo>
                    <a:lnTo>
                      <a:pt x="9141" y="834"/>
                    </a:lnTo>
                    <a:lnTo>
                      <a:pt x="9143" y="831"/>
                    </a:lnTo>
                    <a:lnTo>
                      <a:pt x="9146" y="829"/>
                    </a:lnTo>
                    <a:lnTo>
                      <a:pt x="9150" y="821"/>
                    </a:lnTo>
                    <a:lnTo>
                      <a:pt x="9156" y="811"/>
                    </a:lnTo>
                    <a:lnTo>
                      <a:pt x="9159" y="808"/>
                    </a:lnTo>
                    <a:lnTo>
                      <a:pt x="9163" y="805"/>
                    </a:lnTo>
                    <a:lnTo>
                      <a:pt x="9166" y="799"/>
                    </a:lnTo>
                    <a:lnTo>
                      <a:pt x="9171" y="795"/>
                    </a:lnTo>
                    <a:lnTo>
                      <a:pt x="9176" y="792"/>
                    </a:lnTo>
                    <a:lnTo>
                      <a:pt x="9184" y="788"/>
                    </a:lnTo>
                    <a:lnTo>
                      <a:pt x="9176" y="790"/>
                    </a:lnTo>
                    <a:lnTo>
                      <a:pt x="9166" y="792"/>
                    </a:lnTo>
                    <a:lnTo>
                      <a:pt x="9158" y="795"/>
                    </a:lnTo>
                    <a:lnTo>
                      <a:pt x="9150" y="799"/>
                    </a:lnTo>
                    <a:lnTo>
                      <a:pt x="9143" y="805"/>
                    </a:lnTo>
                    <a:lnTo>
                      <a:pt x="9140" y="806"/>
                    </a:lnTo>
                    <a:lnTo>
                      <a:pt x="9138" y="810"/>
                    </a:lnTo>
                    <a:lnTo>
                      <a:pt x="9133" y="814"/>
                    </a:lnTo>
                    <a:lnTo>
                      <a:pt x="9132" y="816"/>
                    </a:lnTo>
                    <a:lnTo>
                      <a:pt x="9132" y="819"/>
                    </a:lnTo>
                    <a:lnTo>
                      <a:pt x="9132" y="823"/>
                    </a:lnTo>
                    <a:lnTo>
                      <a:pt x="9130" y="829"/>
                    </a:lnTo>
                    <a:lnTo>
                      <a:pt x="9128" y="832"/>
                    </a:lnTo>
                    <a:lnTo>
                      <a:pt x="9125" y="836"/>
                    </a:lnTo>
                    <a:lnTo>
                      <a:pt x="9120" y="838"/>
                    </a:lnTo>
                    <a:lnTo>
                      <a:pt x="9115" y="839"/>
                    </a:lnTo>
                    <a:lnTo>
                      <a:pt x="9110" y="839"/>
                    </a:lnTo>
                    <a:lnTo>
                      <a:pt x="9102" y="839"/>
                    </a:lnTo>
                    <a:lnTo>
                      <a:pt x="9108" y="838"/>
                    </a:lnTo>
                    <a:lnTo>
                      <a:pt x="9112" y="834"/>
                    </a:lnTo>
                    <a:lnTo>
                      <a:pt x="9113" y="831"/>
                    </a:lnTo>
                    <a:lnTo>
                      <a:pt x="9117" y="829"/>
                    </a:lnTo>
                    <a:lnTo>
                      <a:pt x="9120" y="825"/>
                    </a:lnTo>
                    <a:lnTo>
                      <a:pt x="9126" y="823"/>
                    </a:lnTo>
                    <a:lnTo>
                      <a:pt x="9125" y="823"/>
                    </a:lnTo>
                    <a:lnTo>
                      <a:pt x="9119" y="823"/>
                    </a:lnTo>
                    <a:lnTo>
                      <a:pt x="9115" y="825"/>
                    </a:lnTo>
                    <a:lnTo>
                      <a:pt x="9112" y="825"/>
                    </a:lnTo>
                    <a:lnTo>
                      <a:pt x="9104" y="829"/>
                    </a:lnTo>
                    <a:lnTo>
                      <a:pt x="9097" y="831"/>
                    </a:lnTo>
                    <a:lnTo>
                      <a:pt x="9089" y="834"/>
                    </a:lnTo>
                    <a:lnTo>
                      <a:pt x="9084" y="838"/>
                    </a:lnTo>
                    <a:lnTo>
                      <a:pt x="9079" y="838"/>
                    </a:lnTo>
                    <a:lnTo>
                      <a:pt x="9074" y="839"/>
                    </a:lnTo>
                    <a:lnTo>
                      <a:pt x="9069" y="839"/>
                    </a:lnTo>
                    <a:lnTo>
                      <a:pt x="9064" y="839"/>
                    </a:lnTo>
                    <a:lnTo>
                      <a:pt x="9056" y="839"/>
                    </a:lnTo>
                    <a:lnTo>
                      <a:pt x="9052" y="838"/>
                    </a:lnTo>
                    <a:lnTo>
                      <a:pt x="9049" y="834"/>
                    </a:lnTo>
                    <a:lnTo>
                      <a:pt x="9046" y="831"/>
                    </a:lnTo>
                    <a:lnTo>
                      <a:pt x="9041" y="829"/>
                    </a:lnTo>
                    <a:lnTo>
                      <a:pt x="9038" y="825"/>
                    </a:lnTo>
                    <a:lnTo>
                      <a:pt x="9034" y="823"/>
                    </a:lnTo>
                    <a:lnTo>
                      <a:pt x="9028" y="823"/>
                    </a:lnTo>
                    <a:lnTo>
                      <a:pt x="9034" y="818"/>
                    </a:lnTo>
                    <a:lnTo>
                      <a:pt x="9041" y="811"/>
                    </a:lnTo>
                    <a:lnTo>
                      <a:pt x="9047" y="810"/>
                    </a:lnTo>
                    <a:lnTo>
                      <a:pt x="9054" y="808"/>
                    </a:lnTo>
                    <a:lnTo>
                      <a:pt x="9059" y="806"/>
                    </a:lnTo>
                    <a:lnTo>
                      <a:pt x="9067" y="806"/>
                    </a:lnTo>
                    <a:lnTo>
                      <a:pt x="9080" y="805"/>
                    </a:lnTo>
                    <a:lnTo>
                      <a:pt x="9080" y="799"/>
                    </a:lnTo>
                    <a:lnTo>
                      <a:pt x="9080" y="795"/>
                    </a:lnTo>
                    <a:lnTo>
                      <a:pt x="9080" y="792"/>
                    </a:lnTo>
                    <a:lnTo>
                      <a:pt x="9082" y="788"/>
                    </a:lnTo>
                    <a:lnTo>
                      <a:pt x="9084" y="786"/>
                    </a:lnTo>
                    <a:lnTo>
                      <a:pt x="9087" y="783"/>
                    </a:lnTo>
                    <a:lnTo>
                      <a:pt x="9092" y="777"/>
                    </a:lnTo>
                    <a:lnTo>
                      <a:pt x="9097" y="772"/>
                    </a:lnTo>
                    <a:lnTo>
                      <a:pt x="9123" y="772"/>
                    </a:lnTo>
                    <a:lnTo>
                      <a:pt x="9135" y="772"/>
                    </a:lnTo>
                    <a:lnTo>
                      <a:pt x="9148" y="770"/>
                    </a:lnTo>
                    <a:lnTo>
                      <a:pt x="9161" y="768"/>
                    </a:lnTo>
                    <a:lnTo>
                      <a:pt x="9174" y="764"/>
                    </a:lnTo>
                    <a:lnTo>
                      <a:pt x="9187" y="760"/>
                    </a:lnTo>
                    <a:lnTo>
                      <a:pt x="9200" y="755"/>
                    </a:lnTo>
                    <a:lnTo>
                      <a:pt x="9219" y="755"/>
                    </a:lnTo>
                    <a:lnTo>
                      <a:pt x="9235" y="755"/>
                    </a:lnTo>
                    <a:lnTo>
                      <a:pt x="9252" y="755"/>
                    </a:lnTo>
                    <a:lnTo>
                      <a:pt x="9268" y="755"/>
                    </a:lnTo>
                    <a:lnTo>
                      <a:pt x="9285" y="755"/>
                    </a:lnTo>
                    <a:lnTo>
                      <a:pt x="9301" y="755"/>
                    </a:lnTo>
                    <a:lnTo>
                      <a:pt x="9318" y="755"/>
                    </a:lnTo>
                    <a:lnTo>
                      <a:pt x="9339" y="755"/>
                    </a:lnTo>
                    <a:lnTo>
                      <a:pt x="9344" y="755"/>
                    </a:lnTo>
                    <a:lnTo>
                      <a:pt x="9349" y="752"/>
                    </a:lnTo>
                    <a:lnTo>
                      <a:pt x="9357" y="749"/>
                    </a:lnTo>
                    <a:lnTo>
                      <a:pt x="9362" y="745"/>
                    </a:lnTo>
                    <a:lnTo>
                      <a:pt x="9370" y="742"/>
                    </a:lnTo>
                    <a:lnTo>
                      <a:pt x="9375" y="740"/>
                    </a:lnTo>
                    <a:lnTo>
                      <a:pt x="9383" y="739"/>
                    </a:lnTo>
                    <a:lnTo>
                      <a:pt x="9388" y="737"/>
                    </a:lnTo>
                    <a:lnTo>
                      <a:pt x="9395" y="739"/>
                    </a:lnTo>
                    <a:lnTo>
                      <a:pt x="9401" y="740"/>
                    </a:lnTo>
                    <a:lnTo>
                      <a:pt x="9407" y="742"/>
                    </a:lnTo>
                    <a:lnTo>
                      <a:pt x="9413" y="744"/>
                    </a:lnTo>
                    <a:lnTo>
                      <a:pt x="9418" y="745"/>
                    </a:lnTo>
                    <a:lnTo>
                      <a:pt x="9420" y="745"/>
                    </a:lnTo>
                    <a:lnTo>
                      <a:pt x="9420" y="744"/>
                    </a:lnTo>
                    <a:lnTo>
                      <a:pt x="9421" y="744"/>
                    </a:lnTo>
                    <a:lnTo>
                      <a:pt x="9423" y="742"/>
                    </a:lnTo>
                    <a:lnTo>
                      <a:pt x="9423" y="740"/>
                    </a:lnTo>
                    <a:lnTo>
                      <a:pt x="9423" y="737"/>
                    </a:lnTo>
                    <a:lnTo>
                      <a:pt x="9421" y="737"/>
                    </a:lnTo>
                    <a:lnTo>
                      <a:pt x="9418" y="737"/>
                    </a:lnTo>
                    <a:lnTo>
                      <a:pt x="9414" y="737"/>
                    </a:lnTo>
                    <a:lnTo>
                      <a:pt x="9413" y="737"/>
                    </a:lnTo>
                    <a:lnTo>
                      <a:pt x="9410" y="737"/>
                    </a:lnTo>
                    <a:lnTo>
                      <a:pt x="9414" y="734"/>
                    </a:lnTo>
                    <a:lnTo>
                      <a:pt x="9418" y="732"/>
                    </a:lnTo>
                    <a:lnTo>
                      <a:pt x="9420" y="732"/>
                    </a:lnTo>
                    <a:lnTo>
                      <a:pt x="9421" y="731"/>
                    </a:lnTo>
                    <a:lnTo>
                      <a:pt x="9421" y="729"/>
                    </a:lnTo>
                    <a:lnTo>
                      <a:pt x="9423" y="729"/>
                    </a:lnTo>
                    <a:lnTo>
                      <a:pt x="9423" y="727"/>
                    </a:lnTo>
                    <a:lnTo>
                      <a:pt x="9421" y="725"/>
                    </a:lnTo>
                    <a:lnTo>
                      <a:pt x="9420" y="725"/>
                    </a:lnTo>
                    <a:lnTo>
                      <a:pt x="9418" y="724"/>
                    </a:lnTo>
                    <a:lnTo>
                      <a:pt x="9414" y="724"/>
                    </a:lnTo>
                    <a:lnTo>
                      <a:pt x="9413" y="722"/>
                    </a:lnTo>
                    <a:lnTo>
                      <a:pt x="9408" y="722"/>
                    </a:lnTo>
                    <a:lnTo>
                      <a:pt x="9410" y="719"/>
                    </a:lnTo>
                    <a:lnTo>
                      <a:pt x="9413" y="719"/>
                    </a:lnTo>
                    <a:lnTo>
                      <a:pt x="9416" y="719"/>
                    </a:lnTo>
                    <a:lnTo>
                      <a:pt x="9420" y="719"/>
                    </a:lnTo>
                    <a:lnTo>
                      <a:pt x="9423" y="719"/>
                    </a:lnTo>
                    <a:lnTo>
                      <a:pt x="9425" y="719"/>
                    </a:lnTo>
                    <a:lnTo>
                      <a:pt x="9429" y="719"/>
                    </a:lnTo>
                    <a:lnTo>
                      <a:pt x="9433" y="719"/>
                    </a:lnTo>
                    <a:lnTo>
                      <a:pt x="9434" y="719"/>
                    </a:lnTo>
                    <a:lnTo>
                      <a:pt x="9438" y="719"/>
                    </a:lnTo>
                    <a:lnTo>
                      <a:pt x="9440" y="719"/>
                    </a:lnTo>
                    <a:lnTo>
                      <a:pt x="9436" y="718"/>
                    </a:lnTo>
                    <a:lnTo>
                      <a:pt x="9433" y="716"/>
                    </a:lnTo>
                    <a:lnTo>
                      <a:pt x="9429" y="714"/>
                    </a:lnTo>
                    <a:lnTo>
                      <a:pt x="9425" y="712"/>
                    </a:lnTo>
                    <a:lnTo>
                      <a:pt x="9420" y="712"/>
                    </a:lnTo>
                    <a:lnTo>
                      <a:pt x="9416" y="712"/>
                    </a:lnTo>
                    <a:lnTo>
                      <a:pt x="9407" y="714"/>
                    </a:lnTo>
                    <a:lnTo>
                      <a:pt x="9395" y="716"/>
                    </a:lnTo>
                    <a:lnTo>
                      <a:pt x="9387" y="718"/>
                    </a:lnTo>
                    <a:lnTo>
                      <a:pt x="9379" y="719"/>
                    </a:lnTo>
                    <a:lnTo>
                      <a:pt x="9372" y="719"/>
                    </a:lnTo>
                    <a:lnTo>
                      <a:pt x="9375" y="718"/>
                    </a:lnTo>
                    <a:lnTo>
                      <a:pt x="9377" y="714"/>
                    </a:lnTo>
                    <a:lnTo>
                      <a:pt x="9377" y="711"/>
                    </a:lnTo>
                    <a:lnTo>
                      <a:pt x="9379" y="707"/>
                    </a:lnTo>
                    <a:lnTo>
                      <a:pt x="9379" y="704"/>
                    </a:lnTo>
                    <a:lnTo>
                      <a:pt x="9377" y="701"/>
                    </a:lnTo>
                    <a:lnTo>
                      <a:pt x="9377" y="698"/>
                    </a:lnTo>
                    <a:lnTo>
                      <a:pt x="9375" y="694"/>
                    </a:lnTo>
                    <a:lnTo>
                      <a:pt x="9372" y="688"/>
                    </a:lnTo>
                    <a:lnTo>
                      <a:pt x="9367" y="681"/>
                    </a:lnTo>
                    <a:lnTo>
                      <a:pt x="9360" y="676"/>
                    </a:lnTo>
                    <a:lnTo>
                      <a:pt x="9355" y="668"/>
                    </a:lnTo>
                    <a:lnTo>
                      <a:pt x="9364" y="663"/>
                    </a:lnTo>
                    <a:lnTo>
                      <a:pt x="9374" y="657"/>
                    </a:lnTo>
                    <a:lnTo>
                      <a:pt x="9385" y="653"/>
                    </a:lnTo>
                    <a:lnTo>
                      <a:pt x="9395" y="650"/>
                    </a:lnTo>
                    <a:lnTo>
                      <a:pt x="9407" y="646"/>
                    </a:lnTo>
                    <a:lnTo>
                      <a:pt x="9418" y="644"/>
                    </a:lnTo>
                    <a:lnTo>
                      <a:pt x="9429" y="642"/>
                    </a:lnTo>
                    <a:lnTo>
                      <a:pt x="9440" y="640"/>
                    </a:lnTo>
                    <a:lnTo>
                      <a:pt x="9451" y="640"/>
                    </a:lnTo>
                    <a:lnTo>
                      <a:pt x="9462" y="640"/>
                    </a:lnTo>
                    <a:lnTo>
                      <a:pt x="9474" y="640"/>
                    </a:lnTo>
                    <a:lnTo>
                      <a:pt x="9484" y="642"/>
                    </a:lnTo>
                    <a:lnTo>
                      <a:pt x="9495" y="644"/>
                    </a:lnTo>
                    <a:lnTo>
                      <a:pt x="9507" y="646"/>
                    </a:lnTo>
                    <a:lnTo>
                      <a:pt x="9527" y="651"/>
                    </a:lnTo>
                    <a:lnTo>
                      <a:pt x="9532" y="651"/>
                    </a:lnTo>
                    <a:lnTo>
                      <a:pt x="9540" y="651"/>
                    </a:lnTo>
                    <a:lnTo>
                      <a:pt x="9556" y="655"/>
                    </a:lnTo>
                    <a:lnTo>
                      <a:pt x="9564" y="657"/>
                    </a:lnTo>
                    <a:lnTo>
                      <a:pt x="9571" y="658"/>
                    </a:lnTo>
                    <a:lnTo>
                      <a:pt x="9579" y="661"/>
                    </a:lnTo>
                    <a:lnTo>
                      <a:pt x="9584" y="665"/>
                    </a:lnTo>
                    <a:lnTo>
                      <a:pt x="9589" y="668"/>
                    </a:lnTo>
                    <a:lnTo>
                      <a:pt x="9593" y="671"/>
                    </a:lnTo>
                    <a:lnTo>
                      <a:pt x="9595" y="676"/>
                    </a:lnTo>
                    <a:lnTo>
                      <a:pt x="9597" y="679"/>
                    </a:lnTo>
                    <a:lnTo>
                      <a:pt x="9597" y="681"/>
                    </a:lnTo>
                    <a:lnTo>
                      <a:pt x="9595" y="683"/>
                    </a:lnTo>
                    <a:lnTo>
                      <a:pt x="9595" y="686"/>
                    </a:lnTo>
                    <a:lnTo>
                      <a:pt x="9593" y="688"/>
                    </a:lnTo>
                    <a:lnTo>
                      <a:pt x="9591" y="691"/>
                    </a:lnTo>
                    <a:lnTo>
                      <a:pt x="9589" y="694"/>
                    </a:lnTo>
                    <a:lnTo>
                      <a:pt x="9586" y="698"/>
                    </a:lnTo>
                    <a:lnTo>
                      <a:pt x="9582" y="699"/>
                    </a:lnTo>
                    <a:lnTo>
                      <a:pt x="9579" y="703"/>
                    </a:lnTo>
                    <a:lnTo>
                      <a:pt x="9582" y="703"/>
                    </a:lnTo>
                    <a:lnTo>
                      <a:pt x="9588" y="704"/>
                    </a:lnTo>
                    <a:lnTo>
                      <a:pt x="9593" y="707"/>
                    </a:lnTo>
                    <a:lnTo>
                      <a:pt x="9601" y="709"/>
                    </a:lnTo>
                    <a:lnTo>
                      <a:pt x="9610" y="711"/>
                    </a:lnTo>
                    <a:lnTo>
                      <a:pt x="9619" y="712"/>
                    </a:lnTo>
                    <a:lnTo>
                      <a:pt x="9637" y="718"/>
                    </a:lnTo>
                    <a:lnTo>
                      <a:pt x="9658" y="722"/>
                    </a:lnTo>
                    <a:lnTo>
                      <a:pt x="9665" y="724"/>
                    </a:lnTo>
                    <a:lnTo>
                      <a:pt x="9675" y="725"/>
                    </a:lnTo>
                    <a:lnTo>
                      <a:pt x="9682" y="725"/>
                    </a:lnTo>
                    <a:lnTo>
                      <a:pt x="9689" y="725"/>
                    </a:lnTo>
                    <a:lnTo>
                      <a:pt x="9693" y="724"/>
                    </a:lnTo>
                    <a:lnTo>
                      <a:pt x="9698" y="719"/>
                    </a:lnTo>
                    <a:lnTo>
                      <a:pt x="9711" y="714"/>
                    </a:lnTo>
                    <a:lnTo>
                      <a:pt x="9724" y="711"/>
                    </a:lnTo>
                    <a:lnTo>
                      <a:pt x="9737" y="709"/>
                    </a:lnTo>
                    <a:lnTo>
                      <a:pt x="9750" y="707"/>
                    </a:lnTo>
                    <a:lnTo>
                      <a:pt x="9763" y="709"/>
                    </a:lnTo>
                    <a:lnTo>
                      <a:pt x="9775" y="711"/>
                    </a:lnTo>
                    <a:lnTo>
                      <a:pt x="9789" y="714"/>
                    </a:lnTo>
                    <a:lnTo>
                      <a:pt x="9796" y="717"/>
                    </a:lnTo>
                    <a:lnTo>
                      <a:pt x="9793" y="714"/>
                    </a:lnTo>
                    <a:lnTo>
                      <a:pt x="9790" y="711"/>
                    </a:lnTo>
                    <a:lnTo>
                      <a:pt x="9789" y="709"/>
                    </a:lnTo>
                    <a:lnTo>
                      <a:pt x="9790" y="704"/>
                    </a:lnTo>
                    <a:lnTo>
                      <a:pt x="9793" y="701"/>
                    </a:lnTo>
                    <a:lnTo>
                      <a:pt x="9795" y="699"/>
                    </a:lnTo>
                    <a:lnTo>
                      <a:pt x="9798" y="696"/>
                    </a:lnTo>
                    <a:lnTo>
                      <a:pt x="9803" y="694"/>
                    </a:lnTo>
                    <a:lnTo>
                      <a:pt x="9808" y="692"/>
                    </a:lnTo>
                    <a:lnTo>
                      <a:pt x="9818" y="688"/>
                    </a:lnTo>
                    <a:lnTo>
                      <a:pt x="9823" y="686"/>
                    </a:lnTo>
                    <a:lnTo>
                      <a:pt x="9828" y="686"/>
                    </a:lnTo>
                    <a:lnTo>
                      <a:pt x="9831" y="686"/>
                    </a:lnTo>
                    <a:lnTo>
                      <a:pt x="9835" y="684"/>
                    </a:lnTo>
                    <a:lnTo>
                      <a:pt x="9843" y="684"/>
                    </a:lnTo>
                    <a:lnTo>
                      <a:pt x="9851" y="684"/>
                    </a:lnTo>
                    <a:lnTo>
                      <a:pt x="9861" y="684"/>
                    </a:lnTo>
                    <a:lnTo>
                      <a:pt x="9870" y="683"/>
                    </a:lnTo>
                    <a:lnTo>
                      <a:pt x="9879" y="681"/>
                    </a:lnTo>
                    <a:lnTo>
                      <a:pt x="9889" y="679"/>
                    </a:lnTo>
                    <a:lnTo>
                      <a:pt x="9897" y="673"/>
                    </a:lnTo>
                    <a:lnTo>
                      <a:pt x="9905" y="668"/>
                    </a:lnTo>
                    <a:lnTo>
                      <a:pt x="9918" y="663"/>
                    </a:lnTo>
                    <a:lnTo>
                      <a:pt x="9933" y="655"/>
                    </a:lnTo>
                    <a:lnTo>
                      <a:pt x="9950" y="650"/>
                    </a:lnTo>
                    <a:lnTo>
                      <a:pt x="9966" y="642"/>
                    </a:lnTo>
                    <a:lnTo>
                      <a:pt x="9984" y="637"/>
                    </a:lnTo>
                    <a:lnTo>
                      <a:pt x="10003" y="631"/>
                    </a:lnTo>
                    <a:lnTo>
                      <a:pt x="10042" y="617"/>
                    </a:lnTo>
                    <a:lnTo>
                      <a:pt x="10032" y="618"/>
                    </a:lnTo>
                    <a:lnTo>
                      <a:pt x="10022" y="618"/>
                    </a:lnTo>
                    <a:lnTo>
                      <a:pt x="10010" y="620"/>
                    </a:lnTo>
                    <a:lnTo>
                      <a:pt x="10001" y="624"/>
                    </a:lnTo>
                    <a:lnTo>
                      <a:pt x="9991" y="625"/>
                    </a:lnTo>
                    <a:lnTo>
                      <a:pt x="9979" y="629"/>
                    </a:lnTo>
                    <a:lnTo>
                      <a:pt x="9955" y="637"/>
                    </a:lnTo>
                    <a:lnTo>
                      <a:pt x="9933" y="644"/>
                    </a:lnTo>
                    <a:lnTo>
                      <a:pt x="9910" y="653"/>
                    </a:lnTo>
                    <a:lnTo>
                      <a:pt x="9890" y="663"/>
                    </a:lnTo>
                    <a:lnTo>
                      <a:pt x="9870" y="668"/>
                    </a:lnTo>
                    <a:lnTo>
                      <a:pt x="9851" y="676"/>
                    </a:lnTo>
                    <a:lnTo>
                      <a:pt x="9831" y="681"/>
                    </a:lnTo>
                    <a:lnTo>
                      <a:pt x="9811" y="686"/>
                    </a:lnTo>
                    <a:lnTo>
                      <a:pt x="9790" y="691"/>
                    </a:lnTo>
                    <a:lnTo>
                      <a:pt x="9780" y="692"/>
                    </a:lnTo>
                    <a:lnTo>
                      <a:pt x="9769" y="692"/>
                    </a:lnTo>
                    <a:lnTo>
                      <a:pt x="9757" y="692"/>
                    </a:lnTo>
                    <a:lnTo>
                      <a:pt x="9747" y="692"/>
                    </a:lnTo>
                    <a:lnTo>
                      <a:pt x="9736" y="692"/>
                    </a:lnTo>
                    <a:lnTo>
                      <a:pt x="9722" y="691"/>
                    </a:lnTo>
                    <a:lnTo>
                      <a:pt x="9709" y="688"/>
                    </a:lnTo>
                    <a:lnTo>
                      <a:pt x="9698" y="684"/>
                    </a:lnTo>
                    <a:lnTo>
                      <a:pt x="9704" y="684"/>
                    </a:lnTo>
                    <a:lnTo>
                      <a:pt x="9711" y="683"/>
                    </a:lnTo>
                    <a:lnTo>
                      <a:pt x="9717" y="681"/>
                    </a:lnTo>
                    <a:lnTo>
                      <a:pt x="9724" y="678"/>
                    </a:lnTo>
                    <a:lnTo>
                      <a:pt x="9729" y="673"/>
                    </a:lnTo>
                    <a:lnTo>
                      <a:pt x="9737" y="671"/>
                    </a:lnTo>
                    <a:lnTo>
                      <a:pt x="9742" y="670"/>
                    </a:lnTo>
                    <a:lnTo>
                      <a:pt x="9750" y="668"/>
                    </a:lnTo>
                    <a:lnTo>
                      <a:pt x="9737" y="670"/>
                    </a:lnTo>
                    <a:lnTo>
                      <a:pt x="9726" y="671"/>
                    </a:lnTo>
                    <a:lnTo>
                      <a:pt x="9717" y="673"/>
                    </a:lnTo>
                    <a:lnTo>
                      <a:pt x="9706" y="676"/>
                    </a:lnTo>
                    <a:lnTo>
                      <a:pt x="9696" y="676"/>
                    </a:lnTo>
                    <a:lnTo>
                      <a:pt x="9691" y="676"/>
                    </a:lnTo>
                    <a:lnTo>
                      <a:pt x="9686" y="676"/>
                    </a:lnTo>
                    <a:lnTo>
                      <a:pt x="9682" y="676"/>
                    </a:lnTo>
                    <a:lnTo>
                      <a:pt x="9676" y="673"/>
                    </a:lnTo>
                    <a:lnTo>
                      <a:pt x="9668" y="671"/>
                    </a:lnTo>
                    <a:lnTo>
                      <a:pt x="9663" y="668"/>
                    </a:lnTo>
                    <a:lnTo>
                      <a:pt x="9671" y="663"/>
                    </a:lnTo>
                    <a:lnTo>
                      <a:pt x="9676" y="658"/>
                    </a:lnTo>
                    <a:lnTo>
                      <a:pt x="9683" y="655"/>
                    </a:lnTo>
                    <a:lnTo>
                      <a:pt x="9689" y="653"/>
                    </a:lnTo>
                    <a:lnTo>
                      <a:pt x="9695" y="651"/>
                    </a:lnTo>
                    <a:lnTo>
                      <a:pt x="9691" y="651"/>
                    </a:lnTo>
                    <a:lnTo>
                      <a:pt x="9688" y="651"/>
                    </a:lnTo>
                    <a:lnTo>
                      <a:pt x="9682" y="651"/>
                    </a:lnTo>
                    <a:lnTo>
                      <a:pt x="9695" y="646"/>
                    </a:lnTo>
                    <a:lnTo>
                      <a:pt x="9709" y="642"/>
                    </a:lnTo>
                    <a:lnTo>
                      <a:pt x="9702" y="642"/>
                    </a:lnTo>
                    <a:lnTo>
                      <a:pt x="9693" y="640"/>
                    </a:lnTo>
                    <a:lnTo>
                      <a:pt x="9683" y="640"/>
                    </a:lnTo>
                    <a:lnTo>
                      <a:pt x="9673" y="637"/>
                    </a:lnTo>
                    <a:lnTo>
                      <a:pt x="9663" y="635"/>
                    </a:lnTo>
                    <a:lnTo>
                      <a:pt x="9683" y="629"/>
                    </a:lnTo>
                    <a:lnTo>
                      <a:pt x="9704" y="624"/>
                    </a:lnTo>
                    <a:lnTo>
                      <a:pt x="9728" y="622"/>
                    </a:lnTo>
                    <a:lnTo>
                      <a:pt x="9750" y="620"/>
                    </a:lnTo>
                    <a:lnTo>
                      <a:pt x="9772" y="618"/>
                    </a:lnTo>
                    <a:lnTo>
                      <a:pt x="9795" y="618"/>
                    </a:lnTo>
                    <a:lnTo>
                      <a:pt x="9815" y="617"/>
                    </a:lnTo>
                    <a:lnTo>
                      <a:pt x="9813" y="617"/>
                    </a:lnTo>
                    <a:lnTo>
                      <a:pt x="9803" y="617"/>
                    </a:lnTo>
                    <a:lnTo>
                      <a:pt x="9795" y="617"/>
                    </a:lnTo>
                    <a:lnTo>
                      <a:pt x="9787" y="617"/>
                    </a:lnTo>
                    <a:lnTo>
                      <a:pt x="9780" y="617"/>
                    </a:lnTo>
                    <a:lnTo>
                      <a:pt x="9767" y="617"/>
                    </a:lnTo>
                    <a:lnTo>
                      <a:pt x="9770" y="611"/>
                    </a:lnTo>
                    <a:lnTo>
                      <a:pt x="9775" y="607"/>
                    </a:lnTo>
                    <a:lnTo>
                      <a:pt x="9782" y="605"/>
                    </a:lnTo>
                    <a:lnTo>
                      <a:pt x="9789" y="604"/>
                    </a:lnTo>
                    <a:lnTo>
                      <a:pt x="9796" y="602"/>
                    </a:lnTo>
                    <a:lnTo>
                      <a:pt x="9803" y="602"/>
                    </a:lnTo>
                    <a:lnTo>
                      <a:pt x="9811" y="602"/>
                    </a:lnTo>
                    <a:lnTo>
                      <a:pt x="9820" y="602"/>
                    </a:lnTo>
                    <a:lnTo>
                      <a:pt x="9839" y="604"/>
                    </a:lnTo>
                    <a:lnTo>
                      <a:pt x="9848" y="605"/>
                    </a:lnTo>
                    <a:lnTo>
                      <a:pt x="9856" y="605"/>
                    </a:lnTo>
                    <a:lnTo>
                      <a:pt x="9864" y="605"/>
                    </a:lnTo>
                    <a:lnTo>
                      <a:pt x="9872" y="605"/>
                    </a:lnTo>
                    <a:lnTo>
                      <a:pt x="9879" y="604"/>
                    </a:lnTo>
                    <a:lnTo>
                      <a:pt x="9887" y="600"/>
                    </a:lnTo>
                    <a:lnTo>
                      <a:pt x="9861" y="600"/>
                    </a:lnTo>
                    <a:lnTo>
                      <a:pt x="9849" y="600"/>
                    </a:lnTo>
                    <a:lnTo>
                      <a:pt x="9836" y="600"/>
                    </a:lnTo>
                    <a:lnTo>
                      <a:pt x="9828" y="600"/>
                    </a:lnTo>
                    <a:lnTo>
                      <a:pt x="9816" y="600"/>
                    </a:lnTo>
                    <a:lnTo>
                      <a:pt x="9808" y="600"/>
                    </a:lnTo>
                    <a:lnTo>
                      <a:pt x="9802" y="600"/>
                    </a:lnTo>
                    <a:lnTo>
                      <a:pt x="9802" y="597"/>
                    </a:lnTo>
                    <a:lnTo>
                      <a:pt x="9802" y="594"/>
                    </a:lnTo>
                    <a:lnTo>
                      <a:pt x="9803" y="592"/>
                    </a:lnTo>
                    <a:lnTo>
                      <a:pt x="9808" y="591"/>
                    </a:lnTo>
                    <a:lnTo>
                      <a:pt x="9810" y="589"/>
                    </a:lnTo>
                    <a:lnTo>
                      <a:pt x="9813" y="587"/>
                    </a:lnTo>
                    <a:lnTo>
                      <a:pt x="9820" y="585"/>
                    </a:lnTo>
                    <a:lnTo>
                      <a:pt x="9828" y="583"/>
                    </a:lnTo>
                    <a:lnTo>
                      <a:pt x="9836" y="583"/>
                    </a:lnTo>
                    <a:lnTo>
                      <a:pt x="9841" y="583"/>
                    </a:lnTo>
                    <a:lnTo>
                      <a:pt x="9839" y="581"/>
                    </a:lnTo>
                    <a:lnTo>
                      <a:pt x="9836" y="581"/>
                    </a:lnTo>
                    <a:lnTo>
                      <a:pt x="9835" y="579"/>
                    </a:lnTo>
                    <a:lnTo>
                      <a:pt x="9833" y="579"/>
                    </a:lnTo>
                    <a:lnTo>
                      <a:pt x="9833" y="577"/>
                    </a:lnTo>
                    <a:lnTo>
                      <a:pt x="9833" y="576"/>
                    </a:lnTo>
                    <a:lnTo>
                      <a:pt x="9835" y="572"/>
                    </a:lnTo>
                    <a:lnTo>
                      <a:pt x="9839" y="568"/>
                    </a:lnTo>
                    <a:lnTo>
                      <a:pt x="9843" y="566"/>
                    </a:lnTo>
                    <a:lnTo>
                      <a:pt x="9846" y="563"/>
                    </a:lnTo>
                    <a:lnTo>
                      <a:pt x="9851" y="559"/>
                    </a:lnTo>
                    <a:lnTo>
                      <a:pt x="9856" y="557"/>
                    </a:lnTo>
                    <a:lnTo>
                      <a:pt x="9861" y="553"/>
                    </a:lnTo>
                    <a:lnTo>
                      <a:pt x="9864" y="551"/>
                    </a:lnTo>
                    <a:lnTo>
                      <a:pt x="9866" y="550"/>
                    </a:lnTo>
                    <a:lnTo>
                      <a:pt x="9870" y="550"/>
                    </a:lnTo>
                    <a:lnTo>
                      <a:pt x="9870" y="548"/>
                    </a:lnTo>
                    <a:lnTo>
                      <a:pt x="9863" y="550"/>
                    </a:lnTo>
                    <a:lnTo>
                      <a:pt x="9857" y="550"/>
                    </a:lnTo>
                    <a:lnTo>
                      <a:pt x="9849" y="551"/>
                    </a:lnTo>
                    <a:lnTo>
                      <a:pt x="9844" y="556"/>
                    </a:lnTo>
                    <a:lnTo>
                      <a:pt x="9836" y="557"/>
                    </a:lnTo>
                    <a:lnTo>
                      <a:pt x="9831" y="561"/>
                    </a:lnTo>
                    <a:lnTo>
                      <a:pt x="9818" y="568"/>
                    </a:lnTo>
                    <a:lnTo>
                      <a:pt x="9805" y="576"/>
                    </a:lnTo>
                    <a:lnTo>
                      <a:pt x="9793" y="585"/>
                    </a:lnTo>
                    <a:lnTo>
                      <a:pt x="9780" y="594"/>
                    </a:lnTo>
                    <a:lnTo>
                      <a:pt x="9767" y="600"/>
                    </a:lnTo>
                    <a:lnTo>
                      <a:pt x="9749" y="605"/>
                    </a:lnTo>
                    <a:lnTo>
                      <a:pt x="9732" y="611"/>
                    </a:lnTo>
                    <a:lnTo>
                      <a:pt x="9715" y="612"/>
                    </a:lnTo>
                    <a:lnTo>
                      <a:pt x="9701" y="615"/>
                    </a:lnTo>
                    <a:lnTo>
                      <a:pt x="9686" y="617"/>
                    </a:lnTo>
                    <a:lnTo>
                      <a:pt x="9673" y="617"/>
                    </a:lnTo>
                    <a:lnTo>
                      <a:pt x="9647" y="617"/>
                    </a:lnTo>
                    <a:lnTo>
                      <a:pt x="9654" y="611"/>
                    </a:lnTo>
                    <a:lnTo>
                      <a:pt x="9662" y="605"/>
                    </a:lnTo>
                    <a:lnTo>
                      <a:pt x="9671" y="600"/>
                    </a:lnTo>
                    <a:lnTo>
                      <a:pt x="9680" y="594"/>
                    </a:lnTo>
                    <a:lnTo>
                      <a:pt x="9691" y="589"/>
                    </a:lnTo>
                    <a:lnTo>
                      <a:pt x="9698" y="587"/>
                    </a:lnTo>
                    <a:lnTo>
                      <a:pt x="9699" y="587"/>
                    </a:lnTo>
                    <a:lnTo>
                      <a:pt x="9689" y="589"/>
                    </a:lnTo>
                    <a:lnTo>
                      <a:pt x="9663" y="596"/>
                    </a:lnTo>
                    <a:lnTo>
                      <a:pt x="9637" y="602"/>
                    </a:lnTo>
                    <a:lnTo>
                      <a:pt x="9612" y="605"/>
                    </a:lnTo>
                    <a:lnTo>
                      <a:pt x="9599" y="605"/>
                    </a:lnTo>
                    <a:lnTo>
                      <a:pt x="9586" y="607"/>
                    </a:lnTo>
                    <a:lnTo>
                      <a:pt x="9573" y="607"/>
                    </a:lnTo>
                    <a:lnTo>
                      <a:pt x="9560" y="607"/>
                    </a:lnTo>
                    <a:lnTo>
                      <a:pt x="9547" y="607"/>
                    </a:lnTo>
                    <a:lnTo>
                      <a:pt x="9535" y="605"/>
                    </a:lnTo>
                    <a:lnTo>
                      <a:pt x="9521" y="604"/>
                    </a:lnTo>
                    <a:lnTo>
                      <a:pt x="9510" y="600"/>
                    </a:lnTo>
                    <a:lnTo>
                      <a:pt x="9535" y="600"/>
                    </a:lnTo>
                    <a:lnTo>
                      <a:pt x="9545" y="600"/>
                    </a:lnTo>
                    <a:lnTo>
                      <a:pt x="9543" y="597"/>
                    </a:lnTo>
                    <a:lnTo>
                      <a:pt x="9541" y="597"/>
                    </a:lnTo>
                    <a:lnTo>
                      <a:pt x="9540" y="596"/>
                    </a:lnTo>
                    <a:lnTo>
                      <a:pt x="9538" y="592"/>
                    </a:lnTo>
                    <a:lnTo>
                      <a:pt x="9540" y="591"/>
                    </a:lnTo>
                    <a:lnTo>
                      <a:pt x="9541" y="587"/>
                    </a:lnTo>
                    <a:lnTo>
                      <a:pt x="9543" y="583"/>
                    </a:lnTo>
                    <a:lnTo>
                      <a:pt x="9547" y="581"/>
                    </a:lnTo>
                    <a:lnTo>
                      <a:pt x="9551" y="577"/>
                    </a:lnTo>
                    <a:lnTo>
                      <a:pt x="9560" y="572"/>
                    </a:lnTo>
                    <a:lnTo>
                      <a:pt x="9566" y="571"/>
                    </a:lnTo>
                    <a:lnTo>
                      <a:pt x="9569" y="568"/>
                    </a:lnTo>
                    <a:lnTo>
                      <a:pt x="9575" y="566"/>
                    </a:lnTo>
                    <a:lnTo>
                      <a:pt x="9579" y="566"/>
                    </a:lnTo>
                    <a:lnTo>
                      <a:pt x="9584" y="561"/>
                    </a:lnTo>
                    <a:lnTo>
                      <a:pt x="9593" y="556"/>
                    </a:lnTo>
                    <a:lnTo>
                      <a:pt x="9602" y="553"/>
                    </a:lnTo>
                    <a:lnTo>
                      <a:pt x="9612" y="551"/>
                    </a:lnTo>
                    <a:lnTo>
                      <a:pt x="9621" y="550"/>
                    </a:lnTo>
                    <a:lnTo>
                      <a:pt x="9630" y="550"/>
                    </a:lnTo>
                    <a:lnTo>
                      <a:pt x="9640" y="548"/>
                    </a:lnTo>
                    <a:lnTo>
                      <a:pt x="9635" y="548"/>
                    </a:lnTo>
                    <a:lnTo>
                      <a:pt x="9632" y="548"/>
                    </a:lnTo>
                    <a:lnTo>
                      <a:pt x="9630" y="548"/>
                    </a:lnTo>
                    <a:lnTo>
                      <a:pt x="9629" y="548"/>
                    </a:lnTo>
                    <a:lnTo>
                      <a:pt x="9629" y="546"/>
                    </a:lnTo>
                    <a:lnTo>
                      <a:pt x="9629" y="544"/>
                    </a:lnTo>
                    <a:lnTo>
                      <a:pt x="9630" y="543"/>
                    </a:lnTo>
                    <a:lnTo>
                      <a:pt x="9632" y="543"/>
                    </a:lnTo>
                    <a:lnTo>
                      <a:pt x="9635" y="541"/>
                    </a:lnTo>
                    <a:lnTo>
                      <a:pt x="9640" y="538"/>
                    </a:lnTo>
                    <a:lnTo>
                      <a:pt x="9645" y="537"/>
                    </a:lnTo>
                    <a:lnTo>
                      <a:pt x="9648" y="535"/>
                    </a:lnTo>
                    <a:lnTo>
                      <a:pt x="9654" y="533"/>
                    </a:lnTo>
                    <a:lnTo>
                      <a:pt x="9658" y="533"/>
                    </a:lnTo>
                    <a:lnTo>
                      <a:pt x="9660" y="531"/>
                    </a:lnTo>
                    <a:lnTo>
                      <a:pt x="9663" y="531"/>
                    </a:lnTo>
                    <a:lnTo>
                      <a:pt x="9676" y="526"/>
                    </a:lnTo>
                    <a:lnTo>
                      <a:pt x="9686" y="522"/>
                    </a:lnTo>
                    <a:lnTo>
                      <a:pt x="9696" y="518"/>
                    </a:lnTo>
                    <a:lnTo>
                      <a:pt x="9704" y="517"/>
                    </a:lnTo>
                    <a:lnTo>
                      <a:pt x="9711" y="515"/>
                    </a:lnTo>
                    <a:lnTo>
                      <a:pt x="9719" y="515"/>
                    </a:lnTo>
                    <a:lnTo>
                      <a:pt x="9734" y="515"/>
                    </a:lnTo>
                    <a:lnTo>
                      <a:pt x="9770" y="515"/>
                    </a:lnTo>
                    <a:lnTo>
                      <a:pt x="9789" y="513"/>
                    </a:lnTo>
                    <a:lnTo>
                      <a:pt x="9808" y="513"/>
                    </a:lnTo>
                    <a:lnTo>
                      <a:pt x="9824" y="511"/>
                    </a:lnTo>
                    <a:lnTo>
                      <a:pt x="9841" y="507"/>
                    </a:lnTo>
                    <a:lnTo>
                      <a:pt x="9857" y="503"/>
                    </a:lnTo>
                    <a:lnTo>
                      <a:pt x="9870" y="497"/>
                    </a:lnTo>
                    <a:lnTo>
                      <a:pt x="9890" y="497"/>
                    </a:lnTo>
                    <a:lnTo>
                      <a:pt x="9910" y="498"/>
                    </a:lnTo>
                    <a:lnTo>
                      <a:pt x="9933" y="498"/>
                    </a:lnTo>
                    <a:lnTo>
                      <a:pt x="9953" y="500"/>
                    </a:lnTo>
                    <a:lnTo>
                      <a:pt x="9973" y="502"/>
                    </a:lnTo>
                    <a:lnTo>
                      <a:pt x="9983" y="503"/>
                    </a:lnTo>
                    <a:lnTo>
                      <a:pt x="9994" y="503"/>
                    </a:lnTo>
                    <a:lnTo>
                      <a:pt x="10001" y="507"/>
                    </a:lnTo>
                    <a:lnTo>
                      <a:pt x="10010" y="510"/>
                    </a:lnTo>
                    <a:lnTo>
                      <a:pt x="10017" y="511"/>
                    </a:lnTo>
                    <a:lnTo>
                      <a:pt x="10025" y="515"/>
                    </a:lnTo>
                    <a:lnTo>
                      <a:pt x="10038" y="520"/>
                    </a:lnTo>
                    <a:lnTo>
                      <a:pt x="10053" y="528"/>
                    </a:lnTo>
                    <a:lnTo>
                      <a:pt x="10068" y="533"/>
                    </a:lnTo>
                    <a:lnTo>
                      <a:pt x="10083" y="538"/>
                    </a:lnTo>
                    <a:lnTo>
                      <a:pt x="10098" y="543"/>
                    </a:lnTo>
                    <a:lnTo>
                      <a:pt x="10103" y="544"/>
                    </a:lnTo>
                    <a:lnTo>
                      <a:pt x="10108" y="546"/>
                    </a:lnTo>
                    <a:lnTo>
                      <a:pt x="10114" y="548"/>
                    </a:lnTo>
                    <a:lnTo>
                      <a:pt x="10119" y="548"/>
                    </a:lnTo>
                    <a:lnTo>
                      <a:pt x="10124" y="548"/>
                    </a:lnTo>
                    <a:lnTo>
                      <a:pt x="10126" y="548"/>
                    </a:lnTo>
                    <a:lnTo>
                      <a:pt x="10124" y="546"/>
                    </a:lnTo>
                    <a:lnTo>
                      <a:pt x="10123" y="544"/>
                    </a:lnTo>
                    <a:lnTo>
                      <a:pt x="10121" y="541"/>
                    </a:lnTo>
                    <a:lnTo>
                      <a:pt x="10116" y="537"/>
                    </a:lnTo>
                    <a:lnTo>
                      <a:pt x="10110" y="531"/>
                    </a:lnTo>
                    <a:lnTo>
                      <a:pt x="10116" y="531"/>
                    </a:lnTo>
                    <a:lnTo>
                      <a:pt x="10121" y="531"/>
                    </a:lnTo>
                    <a:lnTo>
                      <a:pt x="10124" y="531"/>
                    </a:lnTo>
                    <a:lnTo>
                      <a:pt x="10126" y="531"/>
                    </a:lnTo>
                    <a:lnTo>
                      <a:pt x="10131" y="531"/>
                    </a:lnTo>
                    <a:lnTo>
                      <a:pt x="10134" y="531"/>
                    </a:lnTo>
                    <a:lnTo>
                      <a:pt x="10139" y="531"/>
                    </a:lnTo>
                    <a:lnTo>
                      <a:pt x="10145" y="531"/>
                    </a:lnTo>
                    <a:lnTo>
                      <a:pt x="10141" y="528"/>
                    </a:lnTo>
                    <a:lnTo>
                      <a:pt x="10137" y="526"/>
                    </a:lnTo>
                    <a:lnTo>
                      <a:pt x="10134" y="526"/>
                    </a:lnTo>
                    <a:lnTo>
                      <a:pt x="10129" y="524"/>
                    </a:lnTo>
                    <a:lnTo>
                      <a:pt x="10119" y="524"/>
                    </a:lnTo>
                    <a:lnTo>
                      <a:pt x="10108" y="522"/>
                    </a:lnTo>
                    <a:lnTo>
                      <a:pt x="10098" y="522"/>
                    </a:lnTo>
                    <a:lnTo>
                      <a:pt x="10084" y="522"/>
                    </a:lnTo>
                    <a:lnTo>
                      <a:pt x="10078" y="520"/>
                    </a:lnTo>
                    <a:lnTo>
                      <a:pt x="10071" y="520"/>
                    </a:lnTo>
                    <a:lnTo>
                      <a:pt x="10065" y="517"/>
                    </a:lnTo>
                    <a:lnTo>
                      <a:pt x="10058" y="515"/>
                    </a:lnTo>
                    <a:lnTo>
                      <a:pt x="10065" y="511"/>
                    </a:lnTo>
                    <a:lnTo>
                      <a:pt x="10073" y="510"/>
                    </a:lnTo>
                    <a:lnTo>
                      <a:pt x="10078" y="507"/>
                    </a:lnTo>
                    <a:lnTo>
                      <a:pt x="10088" y="507"/>
                    </a:lnTo>
                    <a:lnTo>
                      <a:pt x="10095" y="507"/>
                    </a:lnTo>
                    <a:lnTo>
                      <a:pt x="10103" y="507"/>
                    </a:lnTo>
                    <a:lnTo>
                      <a:pt x="10119" y="507"/>
                    </a:lnTo>
                    <a:lnTo>
                      <a:pt x="10134" y="510"/>
                    </a:lnTo>
                    <a:lnTo>
                      <a:pt x="10151" y="513"/>
                    </a:lnTo>
                    <a:lnTo>
                      <a:pt x="10165" y="515"/>
                    </a:lnTo>
                    <a:lnTo>
                      <a:pt x="10180" y="515"/>
                    </a:lnTo>
                    <a:lnTo>
                      <a:pt x="10191" y="515"/>
                    </a:lnTo>
                    <a:lnTo>
                      <a:pt x="10205" y="511"/>
                    </a:lnTo>
                    <a:lnTo>
                      <a:pt x="10217" y="510"/>
                    </a:lnTo>
                    <a:lnTo>
                      <a:pt x="10230" y="505"/>
                    </a:lnTo>
                    <a:lnTo>
                      <a:pt x="10243" y="502"/>
                    </a:lnTo>
                    <a:lnTo>
                      <a:pt x="10256" y="500"/>
                    </a:lnTo>
                    <a:lnTo>
                      <a:pt x="10269" y="498"/>
                    </a:lnTo>
                    <a:lnTo>
                      <a:pt x="10282" y="497"/>
                    </a:lnTo>
                    <a:lnTo>
                      <a:pt x="10276" y="495"/>
                    </a:lnTo>
                    <a:lnTo>
                      <a:pt x="10269" y="492"/>
                    </a:lnTo>
                    <a:lnTo>
                      <a:pt x="10263" y="490"/>
                    </a:lnTo>
                    <a:lnTo>
                      <a:pt x="10256" y="490"/>
                    </a:lnTo>
                    <a:lnTo>
                      <a:pt x="10251" y="489"/>
                    </a:lnTo>
                    <a:lnTo>
                      <a:pt x="10244" y="490"/>
                    </a:lnTo>
                    <a:lnTo>
                      <a:pt x="10231" y="490"/>
                    </a:lnTo>
                    <a:lnTo>
                      <a:pt x="10223" y="492"/>
                    </a:lnTo>
                    <a:lnTo>
                      <a:pt x="10211" y="495"/>
                    </a:lnTo>
                    <a:lnTo>
                      <a:pt x="10202" y="497"/>
                    </a:lnTo>
                    <a:lnTo>
                      <a:pt x="10197" y="497"/>
                    </a:lnTo>
                    <a:lnTo>
                      <a:pt x="10190" y="500"/>
                    </a:lnTo>
                    <a:lnTo>
                      <a:pt x="10184" y="502"/>
                    </a:lnTo>
                    <a:lnTo>
                      <a:pt x="10178" y="503"/>
                    </a:lnTo>
                    <a:lnTo>
                      <a:pt x="10172" y="503"/>
                    </a:lnTo>
                    <a:lnTo>
                      <a:pt x="10167" y="505"/>
                    </a:lnTo>
                    <a:lnTo>
                      <a:pt x="10164" y="505"/>
                    </a:lnTo>
                    <a:lnTo>
                      <a:pt x="10152" y="503"/>
                    </a:lnTo>
                    <a:lnTo>
                      <a:pt x="10144" y="502"/>
                    </a:lnTo>
                    <a:lnTo>
                      <a:pt x="10132" y="500"/>
                    </a:lnTo>
                    <a:lnTo>
                      <a:pt x="10123" y="498"/>
                    </a:lnTo>
                    <a:lnTo>
                      <a:pt x="10110" y="497"/>
                    </a:lnTo>
                    <a:lnTo>
                      <a:pt x="10032" y="497"/>
                    </a:lnTo>
                    <a:lnTo>
                      <a:pt x="9956" y="497"/>
                    </a:lnTo>
                    <a:lnTo>
                      <a:pt x="9958" y="492"/>
                    </a:lnTo>
                    <a:lnTo>
                      <a:pt x="9963" y="489"/>
                    </a:lnTo>
                    <a:lnTo>
                      <a:pt x="9966" y="485"/>
                    </a:lnTo>
                    <a:lnTo>
                      <a:pt x="9970" y="484"/>
                    </a:lnTo>
                    <a:lnTo>
                      <a:pt x="9973" y="480"/>
                    </a:lnTo>
                    <a:lnTo>
                      <a:pt x="9977" y="477"/>
                    </a:lnTo>
                    <a:lnTo>
                      <a:pt x="9984" y="476"/>
                    </a:lnTo>
                    <a:lnTo>
                      <a:pt x="9992" y="474"/>
                    </a:lnTo>
                    <a:lnTo>
                      <a:pt x="9999" y="474"/>
                    </a:lnTo>
                    <a:lnTo>
                      <a:pt x="10009" y="474"/>
                    </a:lnTo>
                    <a:lnTo>
                      <a:pt x="10016" y="476"/>
                    </a:lnTo>
                    <a:lnTo>
                      <a:pt x="10032" y="480"/>
                    </a:lnTo>
                    <a:lnTo>
                      <a:pt x="10040" y="482"/>
                    </a:lnTo>
                    <a:lnTo>
                      <a:pt x="10047" y="484"/>
                    </a:lnTo>
                    <a:lnTo>
                      <a:pt x="10055" y="484"/>
                    </a:lnTo>
                    <a:lnTo>
                      <a:pt x="10062" y="484"/>
                    </a:lnTo>
                    <a:lnTo>
                      <a:pt x="10070" y="484"/>
                    </a:lnTo>
                    <a:lnTo>
                      <a:pt x="10077" y="480"/>
                    </a:lnTo>
                    <a:lnTo>
                      <a:pt x="10070" y="480"/>
                    </a:lnTo>
                    <a:lnTo>
                      <a:pt x="10062" y="477"/>
                    </a:lnTo>
                    <a:lnTo>
                      <a:pt x="10057" y="474"/>
                    </a:lnTo>
                    <a:lnTo>
                      <a:pt x="10047" y="472"/>
                    </a:lnTo>
                    <a:lnTo>
                      <a:pt x="10040" y="469"/>
                    </a:lnTo>
                    <a:lnTo>
                      <a:pt x="10030" y="465"/>
                    </a:lnTo>
                    <a:lnTo>
                      <a:pt x="10019" y="464"/>
                    </a:lnTo>
                    <a:lnTo>
                      <a:pt x="10012" y="464"/>
                    </a:lnTo>
                    <a:lnTo>
                      <a:pt x="10017" y="459"/>
                    </a:lnTo>
                    <a:lnTo>
                      <a:pt x="10019" y="457"/>
                    </a:lnTo>
                    <a:lnTo>
                      <a:pt x="10022" y="452"/>
                    </a:lnTo>
                    <a:lnTo>
                      <a:pt x="10024" y="449"/>
                    </a:lnTo>
                    <a:lnTo>
                      <a:pt x="10024" y="441"/>
                    </a:lnTo>
                    <a:lnTo>
                      <a:pt x="10025" y="428"/>
                    </a:lnTo>
                    <a:lnTo>
                      <a:pt x="10019" y="428"/>
                    </a:lnTo>
                    <a:lnTo>
                      <a:pt x="10014" y="426"/>
                    </a:lnTo>
                    <a:lnTo>
                      <a:pt x="10010" y="423"/>
                    </a:lnTo>
                    <a:lnTo>
                      <a:pt x="10007" y="419"/>
                    </a:lnTo>
                    <a:lnTo>
                      <a:pt x="10004" y="413"/>
                    </a:lnTo>
                    <a:lnTo>
                      <a:pt x="10001" y="408"/>
                    </a:lnTo>
                    <a:lnTo>
                      <a:pt x="9996" y="403"/>
                    </a:lnTo>
                    <a:lnTo>
                      <a:pt x="9991" y="395"/>
                    </a:lnTo>
                    <a:lnTo>
                      <a:pt x="9964" y="395"/>
                    </a:lnTo>
                    <a:lnTo>
                      <a:pt x="9953" y="395"/>
                    </a:lnTo>
                    <a:lnTo>
                      <a:pt x="9940" y="395"/>
                    </a:lnTo>
                    <a:lnTo>
                      <a:pt x="9930" y="395"/>
                    </a:lnTo>
                    <a:lnTo>
                      <a:pt x="9920" y="395"/>
                    </a:lnTo>
                    <a:lnTo>
                      <a:pt x="9910" y="395"/>
                    </a:lnTo>
                    <a:lnTo>
                      <a:pt x="9905" y="395"/>
                    </a:lnTo>
                    <a:lnTo>
                      <a:pt x="9905" y="390"/>
                    </a:lnTo>
                    <a:lnTo>
                      <a:pt x="9905" y="385"/>
                    </a:lnTo>
                    <a:lnTo>
                      <a:pt x="9907" y="382"/>
                    </a:lnTo>
                    <a:lnTo>
                      <a:pt x="9909" y="378"/>
                    </a:lnTo>
                    <a:lnTo>
                      <a:pt x="9910" y="375"/>
                    </a:lnTo>
                    <a:lnTo>
                      <a:pt x="9915" y="373"/>
                    </a:lnTo>
                    <a:lnTo>
                      <a:pt x="9920" y="367"/>
                    </a:lnTo>
                    <a:lnTo>
                      <a:pt x="9930" y="365"/>
                    </a:lnTo>
                    <a:lnTo>
                      <a:pt x="9938" y="362"/>
                    </a:lnTo>
                    <a:lnTo>
                      <a:pt x="9948" y="362"/>
                    </a:lnTo>
                    <a:lnTo>
                      <a:pt x="9958" y="360"/>
                    </a:lnTo>
                    <a:lnTo>
                      <a:pt x="9968" y="362"/>
                    </a:lnTo>
                    <a:lnTo>
                      <a:pt x="9979" y="362"/>
                    </a:lnTo>
                    <a:lnTo>
                      <a:pt x="9988" y="363"/>
                    </a:lnTo>
                    <a:lnTo>
                      <a:pt x="9999" y="365"/>
                    </a:lnTo>
                    <a:lnTo>
                      <a:pt x="10007" y="369"/>
                    </a:lnTo>
                    <a:lnTo>
                      <a:pt x="10014" y="370"/>
                    </a:lnTo>
                    <a:lnTo>
                      <a:pt x="10019" y="375"/>
                    </a:lnTo>
                    <a:lnTo>
                      <a:pt x="10024" y="376"/>
                    </a:lnTo>
                    <a:lnTo>
                      <a:pt x="10024" y="375"/>
                    </a:lnTo>
                    <a:lnTo>
                      <a:pt x="10022" y="375"/>
                    </a:lnTo>
                    <a:lnTo>
                      <a:pt x="10019" y="373"/>
                    </a:lnTo>
                    <a:lnTo>
                      <a:pt x="10014" y="370"/>
                    </a:lnTo>
                    <a:lnTo>
                      <a:pt x="10009" y="367"/>
                    </a:lnTo>
                    <a:lnTo>
                      <a:pt x="10001" y="365"/>
                    </a:lnTo>
                    <a:lnTo>
                      <a:pt x="9992" y="363"/>
                    </a:lnTo>
                    <a:lnTo>
                      <a:pt x="9976" y="360"/>
                    </a:lnTo>
                    <a:lnTo>
                      <a:pt x="9966" y="360"/>
                    </a:lnTo>
                    <a:lnTo>
                      <a:pt x="9958" y="358"/>
                    </a:lnTo>
                    <a:lnTo>
                      <a:pt x="9951" y="355"/>
                    </a:lnTo>
                    <a:lnTo>
                      <a:pt x="9943" y="354"/>
                    </a:lnTo>
                    <a:lnTo>
                      <a:pt x="9942" y="352"/>
                    </a:lnTo>
                    <a:lnTo>
                      <a:pt x="9940" y="350"/>
                    </a:lnTo>
                    <a:lnTo>
                      <a:pt x="9938" y="350"/>
                    </a:lnTo>
                    <a:lnTo>
                      <a:pt x="9936" y="349"/>
                    </a:lnTo>
                    <a:lnTo>
                      <a:pt x="9936" y="347"/>
                    </a:lnTo>
                    <a:lnTo>
                      <a:pt x="9936" y="345"/>
                    </a:lnTo>
                    <a:lnTo>
                      <a:pt x="9938" y="343"/>
                    </a:lnTo>
                    <a:lnTo>
                      <a:pt x="9948" y="337"/>
                    </a:lnTo>
                    <a:lnTo>
                      <a:pt x="9958" y="332"/>
                    </a:lnTo>
                    <a:lnTo>
                      <a:pt x="9968" y="329"/>
                    </a:lnTo>
                    <a:lnTo>
                      <a:pt x="9977" y="327"/>
                    </a:lnTo>
                    <a:lnTo>
                      <a:pt x="9986" y="324"/>
                    </a:lnTo>
                    <a:lnTo>
                      <a:pt x="9997" y="322"/>
                    </a:lnTo>
                    <a:lnTo>
                      <a:pt x="10007" y="322"/>
                    </a:lnTo>
                    <a:lnTo>
                      <a:pt x="10016" y="322"/>
                    </a:lnTo>
                    <a:lnTo>
                      <a:pt x="10037" y="322"/>
                    </a:lnTo>
                    <a:lnTo>
                      <a:pt x="10055" y="324"/>
                    </a:lnTo>
                    <a:lnTo>
                      <a:pt x="10075" y="327"/>
                    </a:lnTo>
                    <a:lnTo>
                      <a:pt x="10093" y="327"/>
                    </a:lnTo>
                    <a:lnTo>
                      <a:pt x="10114" y="327"/>
                    </a:lnTo>
                    <a:lnTo>
                      <a:pt x="10134" y="324"/>
                    </a:lnTo>
                    <a:lnTo>
                      <a:pt x="10156" y="322"/>
                    </a:lnTo>
                    <a:lnTo>
                      <a:pt x="10178" y="322"/>
                    </a:lnTo>
                    <a:lnTo>
                      <a:pt x="10190" y="322"/>
                    </a:lnTo>
                    <a:lnTo>
                      <a:pt x="10202" y="322"/>
                    </a:lnTo>
                    <a:lnTo>
                      <a:pt x="10213" y="324"/>
                    </a:lnTo>
                    <a:lnTo>
                      <a:pt x="10225" y="327"/>
                    </a:lnTo>
                    <a:lnTo>
                      <a:pt x="10233" y="329"/>
                    </a:lnTo>
                    <a:lnTo>
                      <a:pt x="10244" y="332"/>
                    </a:lnTo>
                    <a:lnTo>
                      <a:pt x="10256" y="337"/>
                    </a:lnTo>
                    <a:lnTo>
                      <a:pt x="10265" y="343"/>
                    </a:lnTo>
                    <a:lnTo>
                      <a:pt x="10272" y="349"/>
                    </a:lnTo>
                    <a:lnTo>
                      <a:pt x="10280" y="354"/>
                    </a:lnTo>
                    <a:lnTo>
                      <a:pt x="10289" y="358"/>
                    </a:lnTo>
                    <a:lnTo>
                      <a:pt x="10300" y="360"/>
                    </a:lnTo>
                    <a:lnTo>
                      <a:pt x="10309" y="363"/>
                    </a:lnTo>
                    <a:lnTo>
                      <a:pt x="10318" y="367"/>
                    </a:lnTo>
                    <a:lnTo>
                      <a:pt x="10326" y="373"/>
                    </a:lnTo>
                    <a:lnTo>
                      <a:pt x="10333" y="378"/>
                    </a:lnTo>
                    <a:lnTo>
                      <a:pt x="10341" y="383"/>
                    </a:lnTo>
                    <a:lnTo>
                      <a:pt x="10348" y="388"/>
                    </a:lnTo>
                    <a:lnTo>
                      <a:pt x="10355" y="391"/>
                    </a:lnTo>
                    <a:lnTo>
                      <a:pt x="10359" y="393"/>
                    </a:lnTo>
                    <a:lnTo>
                      <a:pt x="10361" y="395"/>
                    </a:lnTo>
                    <a:lnTo>
                      <a:pt x="10363" y="396"/>
                    </a:lnTo>
                    <a:lnTo>
                      <a:pt x="10365" y="398"/>
                    </a:lnTo>
                    <a:lnTo>
                      <a:pt x="10365" y="400"/>
                    </a:lnTo>
                    <a:lnTo>
                      <a:pt x="10365" y="403"/>
                    </a:lnTo>
                    <a:lnTo>
                      <a:pt x="10363" y="404"/>
                    </a:lnTo>
                    <a:lnTo>
                      <a:pt x="10361" y="406"/>
                    </a:lnTo>
                    <a:lnTo>
                      <a:pt x="10358" y="410"/>
                    </a:lnTo>
                    <a:lnTo>
                      <a:pt x="10351" y="411"/>
                    </a:lnTo>
                    <a:lnTo>
                      <a:pt x="10376" y="411"/>
                    </a:lnTo>
                    <a:lnTo>
                      <a:pt x="10404" y="411"/>
                    </a:lnTo>
                    <a:lnTo>
                      <a:pt x="10427" y="411"/>
                    </a:lnTo>
                    <a:lnTo>
                      <a:pt x="10453" y="411"/>
                    </a:lnTo>
                    <a:lnTo>
                      <a:pt x="10479" y="411"/>
                    </a:lnTo>
                    <a:lnTo>
                      <a:pt x="10492" y="411"/>
                    </a:lnTo>
                    <a:lnTo>
                      <a:pt x="10505" y="410"/>
                    </a:lnTo>
                    <a:lnTo>
                      <a:pt x="10518" y="408"/>
                    </a:lnTo>
                    <a:lnTo>
                      <a:pt x="10531" y="404"/>
                    </a:lnTo>
                    <a:lnTo>
                      <a:pt x="10544" y="400"/>
                    </a:lnTo>
                    <a:lnTo>
                      <a:pt x="10557" y="395"/>
                    </a:lnTo>
                    <a:lnTo>
                      <a:pt x="10536" y="400"/>
                    </a:lnTo>
                    <a:lnTo>
                      <a:pt x="10516" y="404"/>
                    </a:lnTo>
                    <a:lnTo>
                      <a:pt x="10494" y="408"/>
                    </a:lnTo>
                    <a:lnTo>
                      <a:pt x="10472" y="408"/>
                    </a:lnTo>
                    <a:lnTo>
                      <a:pt x="10448" y="408"/>
                    </a:lnTo>
                    <a:lnTo>
                      <a:pt x="10425" y="404"/>
                    </a:lnTo>
                    <a:lnTo>
                      <a:pt x="10406" y="400"/>
                    </a:lnTo>
                    <a:lnTo>
                      <a:pt x="10385" y="395"/>
                    </a:lnTo>
                    <a:lnTo>
                      <a:pt x="10392" y="390"/>
                    </a:lnTo>
                    <a:lnTo>
                      <a:pt x="10398" y="382"/>
                    </a:lnTo>
                    <a:lnTo>
                      <a:pt x="10406" y="378"/>
                    </a:lnTo>
                    <a:lnTo>
                      <a:pt x="10411" y="375"/>
                    </a:lnTo>
                    <a:lnTo>
                      <a:pt x="10414" y="373"/>
                    </a:lnTo>
                    <a:lnTo>
                      <a:pt x="10416" y="370"/>
                    </a:lnTo>
                    <a:lnTo>
                      <a:pt x="10419" y="370"/>
                    </a:lnTo>
                    <a:lnTo>
                      <a:pt x="10402" y="365"/>
                    </a:lnTo>
                    <a:lnTo>
                      <a:pt x="10385" y="358"/>
                    </a:lnTo>
                    <a:lnTo>
                      <a:pt x="10370" y="352"/>
                    </a:lnTo>
                    <a:lnTo>
                      <a:pt x="10355" y="345"/>
                    </a:lnTo>
                    <a:lnTo>
                      <a:pt x="10343" y="339"/>
                    </a:lnTo>
                    <a:lnTo>
                      <a:pt x="10317" y="327"/>
                    </a:lnTo>
                    <a:lnTo>
                      <a:pt x="10333" y="321"/>
                    </a:lnTo>
                    <a:lnTo>
                      <a:pt x="10350" y="316"/>
                    </a:lnTo>
                    <a:lnTo>
                      <a:pt x="10366" y="312"/>
                    </a:lnTo>
                    <a:lnTo>
                      <a:pt x="10383" y="309"/>
                    </a:lnTo>
                    <a:lnTo>
                      <a:pt x="10402" y="308"/>
                    </a:lnTo>
                    <a:lnTo>
                      <a:pt x="10419" y="306"/>
                    </a:lnTo>
                    <a:lnTo>
                      <a:pt x="10437" y="304"/>
                    </a:lnTo>
                    <a:lnTo>
                      <a:pt x="10453" y="304"/>
                    </a:lnTo>
                    <a:lnTo>
                      <a:pt x="10488" y="306"/>
                    </a:lnTo>
                    <a:lnTo>
                      <a:pt x="10524" y="306"/>
                    </a:lnTo>
                    <a:lnTo>
                      <a:pt x="10559" y="308"/>
                    </a:lnTo>
                    <a:lnTo>
                      <a:pt x="10592" y="308"/>
                    </a:lnTo>
                    <a:lnTo>
                      <a:pt x="10606" y="306"/>
                    </a:lnTo>
                    <a:lnTo>
                      <a:pt x="10623" y="304"/>
                    </a:lnTo>
                    <a:lnTo>
                      <a:pt x="10641" y="302"/>
                    </a:lnTo>
                    <a:lnTo>
                      <a:pt x="10658" y="302"/>
                    </a:lnTo>
                    <a:lnTo>
                      <a:pt x="10694" y="301"/>
                    </a:lnTo>
                    <a:lnTo>
                      <a:pt x="10728" y="301"/>
                    </a:lnTo>
                    <a:lnTo>
                      <a:pt x="10763" y="301"/>
                    </a:lnTo>
                    <a:lnTo>
                      <a:pt x="10799" y="299"/>
                    </a:lnTo>
                    <a:lnTo>
                      <a:pt x="10815" y="299"/>
                    </a:lnTo>
                    <a:lnTo>
                      <a:pt x="10834" y="297"/>
                    </a:lnTo>
                    <a:lnTo>
                      <a:pt x="10850" y="295"/>
                    </a:lnTo>
                    <a:lnTo>
                      <a:pt x="10867" y="291"/>
                    </a:lnTo>
                    <a:lnTo>
                      <a:pt x="10847" y="291"/>
                    </a:lnTo>
                    <a:lnTo>
                      <a:pt x="10824" y="291"/>
                    </a:lnTo>
                    <a:lnTo>
                      <a:pt x="10802" y="291"/>
                    </a:lnTo>
                    <a:lnTo>
                      <a:pt x="10780" y="291"/>
                    </a:lnTo>
                    <a:lnTo>
                      <a:pt x="10758" y="291"/>
                    </a:lnTo>
                    <a:lnTo>
                      <a:pt x="10735" y="291"/>
                    </a:lnTo>
                    <a:lnTo>
                      <a:pt x="10713" y="291"/>
                    </a:lnTo>
                    <a:lnTo>
                      <a:pt x="10695" y="291"/>
                    </a:lnTo>
                    <a:lnTo>
                      <a:pt x="10713" y="286"/>
                    </a:lnTo>
                    <a:lnTo>
                      <a:pt x="10733" y="280"/>
                    </a:lnTo>
                    <a:lnTo>
                      <a:pt x="10754" y="276"/>
                    </a:lnTo>
                    <a:lnTo>
                      <a:pt x="10774" y="273"/>
                    </a:lnTo>
                    <a:lnTo>
                      <a:pt x="10794" y="269"/>
                    </a:lnTo>
                    <a:lnTo>
                      <a:pt x="10817" y="265"/>
                    </a:lnTo>
                    <a:lnTo>
                      <a:pt x="10837" y="263"/>
                    </a:lnTo>
                    <a:lnTo>
                      <a:pt x="10860" y="262"/>
                    </a:lnTo>
                    <a:lnTo>
                      <a:pt x="10903" y="260"/>
                    </a:lnTo>
                    <a:lnTo>
                      <a:pt x="10947" y="258"/>
                    </a:lnTo>
                    <a:lnTo>
                      <a:pt x="10992" y="258"/>
                    </a:lnTo>
                    <a:lnTo>
                      <a:pt x="11038" y="258"/>
                    </a:lnTo>
                    <a:lnTo>
                      <a:pt x="11025" y="255"/>
                    </a:lnTo>
                    <a:lnTo>
                      <a:pt x="11013" y="253"/>
                    </a:lnTo>
                    <a:lnTo>
                      <a:pt x="11000" y="251"/>
                    </a:lnTo>
                    <a:lnTo>
                      <a:pt x="10987" y="251"/>
                    </a:lnTo>
                    <a:lnTo>
                      <a:pt x="10974" y="251"/>
                    </a:lnTo>
                    <a:lnTo>
                      <a:pt x="10961" y="251"/>
                    </a:lnTo>
                    <a:lnTo>
                      <a:pt x="10934" y="251"/>
                    </a:lnTo>
                    <a:lnTo>
                      <a:pt x="10909" y="253"/>
                    </a:lnTo>
                    <a:lnTo>
                      <a:pt x="10883" y="256"/>
                    </a:lnTo>
                    <a:lnTo>
                      <a:pt x="10857" y="258"/>
                    </a:lnTo>
                    <a:lnTo>
                      <a:pt x="10832" y="258"/>
                    </a:lnTo>
                    <a:lnTo>
                      <a:pt x="10832" y="255"/>
                    </a:lnTo>
                    <a:lnTo>
                      <a:pt x="10834" y="251"/>
                    </a:lnTo>
                    <a:lnTo>
                      <a:pt x="10837" y="248"/>
                    </a:lnTo>
                    <a:lnTo>
                      <a:pt x="10840" y="245"/>
                    </a:lnTo>
                    <a:lnTo>
                      <a:pt x="10845" y="242"/>
                    </a:lnTo>
                    <a:lnTo>
                      <a:pt x="10848" y="240"/>
                    </a:lnTo>
                    <a:lnTo>
                      <a:pt x="10860" y="234"/>
                    </a:lnTo>
                    <a:lnTo>
                      <a:pt x="10870" y="230"/>
                    </a:lnTo>
                    <a:lnTo>
                      <a:pt x="10881" y="227"/>
                    </a:lnTo>
                    <a:lnTo>
                      <a:pt x="10887" y="225"/>
                    </a:lnTo>
                    <a:lnTo>
                      <a:pt x="10893" y="225"/>
                    </a:lnTo>
                    <a:lnTo>
                      <a:pt x="10896" y="225"/>
                    </a:lnTo>
                    <a:lnTo>
                      <a:pt x="10900" y="223"/>
                    </a:lnTo>
                    <a:lnTo>
                      <a:pt x="10926" y="223"/>
                    </a:lnTo>
                    <a:lnTo>
                      <a:pt x="10952" y="223"/>
                    </a:lnTo>
                    <a:lnTo>
                      <a:pt x="10959" y="223"/>
                    </a:lnTo>
                    <a:lnTo>
                      <a:pt x="10967" y="222"/>
                    </a:lnTo>
                    <a:lnTo>
                      <a:pt x="10970" y="219"/>
                    </a:lnTo>
                    <a:lnTo>
                      <a:pt x="10974" y="217"/>
                    </a:lnTo>
                    <a:lnTo>
                      <a:pt x="10975" y="217"/>
                    </a:lnTo>
                    <a:lnTo>
                      <a:pt x="10977" y="215"/>
                    </a:lnTo>
                    <a:lnTo>
                      <a:pt x="10979" y="214"/>
                    </a:lnTo>
                    <a:lnTo>
                      <a:pt x="10979" y="212"/>
                    </a:lnTo>
                    <a:lnTo>
                      <a:pt x="10977" y="210"/>
                    </a:lnTo>
                    <a:lnTo>
                      <a:pt x="10975" y="209"/>
                    </a:lnTo>
                    <a:lnTo>
                      <a:pt x="10972" y="209"/>
                    </a:lnTo>
                    <a:lnTo>
                      <a:pt x="10970" y="208"/>
                    </a:lnTo>
                    <a:lnTo>
                      <a:pt x="10970" y="208"/>
                    </a:lnTo>
                    <a:lnTo>
                      <a:pt x="10970" y="208"/>
                    </a:lnTo>
                    <a:lnTo>
                      <a:pt x="10970" y="208"/>
                    </a:lnTo>
                    <a:lnTo>
                      <a:pt x="10970" y="208"/>
                    </a:lnTo>
                    <a:lnTo>
                      <a:pt x="10967" y="209"/>
                    </a:lnTo>
                    <a:lnTo>
                      <a:pt x="10955" y="210"/>
                    </a:lnTo>
                    <a:lnTo>
                      <a:pt x="10946" y="212"/>
                    </a:lnTo>
                    <a:lnTo>
                      <a:pt x="10924" y="215"/>
                    </a:lnTo>
                    <a:lnTo>
                      <a:pt x="10900" y="222"/>
                    </a:lnTo>
                    <a:lnTo>
                      <a:pt x="10878" y="225"/>
                    </a:lnTo>
                    <a:lnTo>
                      <a:pt x="10867" y="227"/>
                    </a:lnTo>
                    <a:lnTo>
                      <a:pt x="10855" y="228"/>
                    </a:lnTo>
                    <a:lnTo>
                      <a:pt x="10845" y="228"/>
                    </a:lnTo>
                    <a:lnTo>
                      <a:pt x="10834" y="228"/>
                    </a:lnTo>
                    <a:lnTo>
                      <a:pt x="10824" y="227"/>
                    </a:lnTo>
                    <a:lnTo>
                      <a:pt x="10806" y="236"/>
                    </a:lnTo>
                    <a:lnTo>
                      <a:pt x="10778" y="247"/>
                    </a:lnTo>
                    <a:lnTo>
                      <a:pt x="10748" y="255"/>
                    </a:lnTo>
                    <a:lnTo>
                      <a:pt x="10717" y="262"/>
                    </a:lnTo>
                    <a:lnTo>
                      <a:pt x="10686" y="268"/>
                    </a:lnTo>
                    <a:lnTo>
                      <a:pt x="10654" y="271"/>
                    </a:lnTo>
                    <a:lnTo>
                      <a:pt x="10623" y="275"/>
                    </a:lnTo>
                    <a:lnTo>
                      <a:pt x="10592" y="275"/>
                    </a:lnTo>
                    <a:lnTo>
                      <a:pt x="10564" y="280"/>
                    </a:lnTo>
                    <a:lnTo>
                      <a:pt x="10536" y="284"/>
                    </a:lnTo>
                    <a:lnTo>
                      <a:pt x="10506" y="288"/>
                    </a:lnTo>
                    <a:lnTo>
                      <a:pt x="10477" y="289"/>
                    </a:lnTo>
                    <a:lnTo>
                      <a:pt x="10445" y="291"/>
                    </a:lnTo>
                    <a:lnTo>
                      <a:pt x="10414" y="291"/>
                    </a:lnTo>
                    <a:lnTo>
                      <a:pt x="10351" y="291"/>
                    </a:lnTo>
                    <a:lnTo>
                      <a:pt x="10361" y="286"/>
                    </a:lnTo>
                    <a:lnTo>
                      <a:pt x="10370" y="283"/>
                    </a:lnTo>
                    <a:lnTo>
                      <a:pt x="10381" y="278"/>
                    </a:lnTo>
                    <a:lnTo>
                      <a:pt x="10392" y="275"/>
                    </a:lnTo>
                    <a:lnTo>
                      <a:pt x="10404" y="273"/>
                    </a:lnTo>
                    <a:lnTo>
                      <a:pt x="10414" y="271"/>
                    </a:lnTo>
                    <a:lnTo>
                      <a:pt x="10437" y="269"/>
                    </a:lnTo>
                    <a:lnTo>
                      <a:pt x="10459" y="268"/>
                    </a:lnTo>
                    <a:lnTo>
                      <a:pt x="10481" y="265"/>
                    </a:lnTo>
                    <a:lnTo>
                      <a:pt x="10492" y="263"/>
                    </a:lnTo>
                    <a:lnTo>
                      <a:pt x="10503" y="263"/>
                    </a:lnTo>
                    <a:lnTo>
                      <a:pt x="10513" y="260"/>
                    </a:lnTo>
                    <a:lnTo>
                      <a:pt x="10524" y="258"/>
                    </a:lnTo>
                    <a:lnTo>
                      <a:pt x="10513" y="256"/>
                    </a:lnTo>
                    <a:lnTo>
                      <a:pt x="10503" y="255"/>
                    </a:lnTo>
                    <a:lnTo>
                      <a:pt x="10492" y="253"/>
                    </a:lnTo>
                    <a:lnTo>
                      <a:pt x="10481" y="253"/>
                    </a:lnTo>
                    <a:lnTo>
                      <a:pt x="10470" y="255"/>
                    </a:lnTo>
                    <a:lnTo>
                      <a:pt x="10459" y="256"/>
                    </a:lnTo>
                    <a:lnTo>
                      <a:pt x="10437" y="260"/>
                    </a:lnTo>
                    <a:lnTo>
                      <a:pt x="10414" y="265"/>
                    </a:lnTo>
                    <a:lnTo>
                      <a:pt x="10392" y="269"/>
                    </a:lnTo>
                    <a:lnTo>
                      <a:pt x="10381" y="271"/>
                    </a:lnTo>
                    <a:lnTo>
                      <a:pt x="10378" y="272"/>
                    </a:lnTo>
                    <a:lnTo>
                      <a:pt x="10378" y="272"/>
                    </a:lnTo>
                    <a:lnTo>
                      <a:pt x="10378" y="272"/>
                    </a:lnTo>
                    <a:lnTo>
                      <a:pt x="10379" y="271"/>
                    </a:lnTo>
                    <a:lnTo>
                      <a:pt x="10381" y="268"/>
                    </a:lnTo>
                    <a:lnTo>
                      <a:pt x="10385" y="263"/>
                    </a:lnTo>
                    <a:lnTo>
                      <a:pt x="10385" y="258"/>
                    </a:lnTo>
                    <a:lnTo>
                      <a:pt x="10372" y="258"/>
                    </a:lnTo>
                    <a:lnTo>
                      <a:pt x="10365" y="258"/>
                    </a:lnTo>
                    <a:lnTo>
                      <a:pt x="10359" y="260"/>
                    </a:lnTo>
                    <a:lnTo>
                      <a:pt x="10353" y="262"/>
                    </a:lnTo>
                    <a:lnTo>
                      <a:pt x="10346" y="265"/>
                    </a:lnTo>
                    <a:lnTo>
                      <a:pt x="10341" y="269"/>
                    </a:lnTo>
                    <a:lnTo>
                      <a:pt x="10333" y="275"/>
                    </a:lnTo>
                    <a:lnTo>
                      <a:pt x="10328" y="275"/>
                    </a:lnTo>
                    <a:lnTo>
                      <a:pt x="10320" y="276"/>
                    </a:lnTo>
                    <a:lnTo>
                      <a:pt x="10315" y="280"/>
                    </a:lnTo>
                    <a:lnTo>
                      <a:pt x="10307" y="284"/>
                    </a:lnTo>
                    <a:lnTo>
                      <a:pt x="10302" y="286"/>
                    </a:lnTo>
                    <a:lnTo>
                      <a:pt x="10294" y="289"/>
                    </a:lnTo>
                    <a:lnTo>
                      <a:pt x="10289" y="291"/>
                    </a:lnTo>
                    <a:lnTo>
                      <a:pt x="10282" y="291"/>
                    </a:lnTo>
                    <a:lnTo>
                      <a:pt x="10272" y="295"/>
                    </a:lnTo>
                    <a:lnTo>
                      <a:pt x="10261" y="297"/>
                    </a:lnTo>
                    <a:lnTo>
                      <a:pt x="10251" y="299"/>
                    </a:lnTo>
                    <a:lnTo>
                      <a:pt x="10239" y="299"/>
                    </a:lnTo>
                    <a:lnTo>
                      <a:pt x="10228" y="299"/>
                    </a:lnTo>
                    <a:lnTo>
                      <a:pt x="10217" y="299"/>
                    </a:lnTo>
                    <a:lnTo>
                      <a:pt x="10193" y="299"/>
                    </a:lnTo>
                    <a:lnTo>
                      <a:pt x="10169" y="297"/>
                    </a:lnTo>
                    <a:lnTo>
                      <a:pt x="10145" y="295"/>
                    </a:lnTo>
                    <a:lnTo>
                      <a:pt x="10119" y="293"/>
                    </a:lnTo>
                    <a:lnTo>
                      <a:pt x="10093" y="291"/>
                    </a:lnTo>
                    <a:lnTo>
                      <a:pt x="10098" y="291"/>
                    </a:lnTo>
                    <a:lnTo>
                      <a:pt x="10101" y="289"/>
                    </a:lnTo>
                    <a:lnTo>
                      <a:pt x="10104" y="288"/>
                    </a:lnTo>
                    <a:lnTo>
                      <a:pt x="10108" y="288"/>
                    </a:lnTo>
                    <a:lnTo>
                      <a:pt x="10110" y="286"/>
                    </a:lnTo>
                    <a:lnTo>
                      <a:pt x="10111" y="286"/>
                    </a:lnTo>
                    <a:lnTo>
                      <a:pt x="10111" y="284"/>
                    </a:lnTo>
                    <a:lnTo>
                      <a:pt x="10110" y="284"/>
                    </a:lnTo>
                    <a:lnTo>
                      <a:pt x="10108" y="286"/>
                    </a:lnTo>
                    <a:lnTo>
                      <a:pt x="10104" y="286"/>
                    </a:lnTo>
                    <a:lnTo>
                      <a:pt x="10099" y="286"/>
                    </a:lnTo>
                    <a:lnTo>
                      <a:pt x="10095" y="288"/>
                    </a:lnTo>
                    <a:lnTo>
                      <a:pt x="10090" y="289"/>
                    </a:lnTo>
                    <a:lnTo>
                      <a:pt x="10086" y="289"/>
                    </a:lnTo>
                    <a:lnTo>
                      <a:pt x="10083" y="291"/>
                    </a:lnTo>
                    <a:lnTo>
                      <a:pt x="10078" y="291"/>
                    </a:lnTo>
                    <a:lnTo>
                      <a:pt x="10077" y="291"/>
                    </a:lnTo>
                    <a:lnTo>
                      <a:pt x="10070" y="291"/>
                    </a:lnTo>
                    <a:lnTo>
                      <a:pt x="10060" y="291"/>
                    </a:lnTo>
                    <a:lnTo>
                      <a:pt x="10050" y="291"/>
                    </a:lnTo>
                    <a:lnTo>
                      <a:pt x="10042" y="291"/>
                    </a:lnTo>
                    <a:lnTo>
                      <a:pt x="10032" y="291"/>
                    </a:lnTo>
                    <a:lnTo>
                      <a:pt x="10024" y="291"/>
                    </a:lnTo>
                    <a:lnTo>
                      <a:pt x="10014" y="291"/>
                    </a:lnTo>
                    <a:lnTo>
                      <a:pt x="10009" y="291"/>
                    </a:lnTo>
                    <a:lnTo>
                      <a:pt x="10014" y="286"/>
                    </a:lnTo>
                    <a:lnTo>
                      <a:pt x="10019" y="280"/>
                    </a:lnTo>
                    <a:lnTo>
                      <a:pt x="10027" y="276"/>
                    </a:lnTo>
                    <a:lnTo>
                      <a:pt x="10032" y="273"/>
                    </a:lnTo>
                    <a:lnTo>
                      <a:pt x="10040" y="269"/>
                    </a:lnTo>
                    <a:lnTo>
                      <a:pt x="10045" y="265"/>
                    </a:lnTo>
                    <a:lnTo>
                      <a:pt x="10053" y="263"/>
                    </a:lnTo>
                    <a:lnTo>
                      <a:pt x="10058" y="262"/>
                    </a:lnTo>
                    <a:lnTo>
                      <a:pt x="10071" y="260"/>
                    </a:lnTo>
                    <a:lnTo>
                      <a:pt x="10084" y="258"/>
                    </a:lnTo>
                    <a:lnTo>
                      <a:pt x="10098" y="258"/>
                    </a:lnTo>
                    <a:lnTo>
                      <a:pt x="10110" y="258"/>
                    </a:lnTo>
                    <a:lnTo>
                      <a:pt x="10129" y="258"/>
                    </a:lnTo>
                    <a:lnTo>
                      <a:pt x="10147" y="255"/>
                    </a:lnTo>
                    <a:lnTo>
                      <a:pt x="10164" y="253"/>
                    </a:lnTo>
                    <a:lnTo>
                      <a:pt x="10178" y="248"/>
                    </a:lnTo>
                    <a:lnTo>
                      <a:pt x="10195" y="245"/>
                    </a:lnTo>
                    <a:lnTo>
                      <a:pt x="10211" y="243"/>
                    </a:lnTo>
                    <a:lnTo>
                      <a:pt x="10228" y="242"/>
                    </a:lnTo>
                    <a:lnTo>
                      <a:pt x="10248" y="240"/>
                    </a:lnTo>
                    <a:lnTo>
                      <a:pt x="10280" y="240"/>
                    </a:lnTo>
                    <a:lnTo>
                      <a:pt x="10312" y="238"/>
                    </a:lnTo>
                    <a:lnTo>
                      <a:pt x="10345" y="236"/>
                    </a:lnTo>
                    <a:lnTo>
                      <a:pt x="10376" y="232"/>
                    </a:lnTo>
                    <a:lnTo>
                      <a:pt x="10409" y="228"/>
                    </a:lnTo>
                    <a:lnTo>
                      <a:pt x="10440" y="227"/>
                    </a:lnTo>
                    <a:lnTo>
                      <a:pt x="10473" y="225"/>
                    </a:lnTo>
                    <a:lnTo>
                      <a:pt x="10505" y="223"/>
                    </a:lnTo>
                    <a:lnTo>
                      <a:pt x="10496" y="222"/>
                    </a:lnTo>
                    <a:lnTo>
                      <a:pt x="10485" y="219"/>
                    </a:lnTo>
                    <a:lnTo>
                      <a:pt x="10473" y="217"/>
                    </a:lnTo>
                    <a:lnTo>
                      <a:pt x="10463" y="215"/>
                    </a:lnTo>
                    <a:lnTo>
                      <a:pt x="10452" y="215"/>
                    </a:lnTo>
                    <a:lnTo>
                      <a:pt x="10440" y="215"/>
                    </a:lnTo>
                    <a:lnTo>
                      <a:pt x="10416" y="217"/>
                    </a:lnTo>
                    <a:lnTo>
                      <a:pt x="10392" y="219"/>
                    </a:lnTo>
                    <a:lnTo>
                      <a:pt x="10368" y="222"/>
                    </a:lnTo>
                    <a:lnTo>
                      <a:pt x="10343" y="223"/>
                    </a:lnTo>
                    <a:lnTo>
                      <a:pt x="10317" y="223"/>
                    </a:lnTo>
                    <a:lnTo>
                      <a:pt x="10304" y="227"/>
                    </a:lnTo>
                    <a:lnTo>
                      <a:pt x="10291" y="228"/>
                    </a:lnTo>
                    <a:lnTo>
                      <a:pt x="10278" y="230"/>
                    </a:lnTo>
                    <a:lnTo>
                      <a:pt x="10265" y="230"/>
                    </a:lnTo>
                    <a:lnTo>
                      <a:pt x="10239" y="232"/>
                    </a:lnTo>
                    <a:lnTo>
                      <a:pt x="10213" y="232"/>
                    </a:lnTo>
                    <a:lnTo>
                      <a:pt x="10187" y="232"/>
                    </a:lnTo>
                    <a:lnTo>
                      <a:pt x="10162" y="234"/>
                    </a:lnTo>
                    <a:lnTo>
                      <a:pt x="10149" y="234"/>
                    </a:lnTo>
                    <a:lnTo>
                      <a:pt x="10136" y="236"/>
                    </a:lnTo>
                    <a:lnTo>
                      <a:pt x="10123" y="238"/>
                    </a:lnTo>
                    <a:lnTo>
                      <a:pt x="10110" y="240"/>
                    </a:lnTo>
                    <a:lnTo>
                      <a:pt x="10071" y="255"/>
                    </a:lnTo>
                    <a:lnTo>
                      <a:pt x="10030" y="268"/>
                    </a:lnTo>
                    <a:lnTo>
                      <a:pt x="10010" y="273"/>
                    </a:lnTo>
                    <a:lnTo>
                      <a:pt x="9988" y="278"/>
                    </a:lnTo>
                    <a:lnTo>
                      <a:pt x="9968" y="284"/>
                    </a:lnTo>
                    <a:lnTo>
                      <a:pt x="9948" y="288"/>
                    </a:lnTo>
                    <a:lnTo>
                      <a:pt x="9925" y="289"/>
                    </a:lnTo>
                    <a:lnTo>
                      <a:pt x="9905" y="291"/>
                    </a:lnTo>
                    <a:lnTo>
                      <a:pt x="9885" y="291"/>
                    </a:lnTo>
                    <a:lnTo>
                      <a:pt x="9874" y="289"/>
                    </a:lnTo>
                    <a:lnTo>
                      <a:pt x="9864" y="289"/>
                    </a:lnTo>
                    <a:lnTo>
                      <a:pt x="9854" y="288"/>
                    </a:lnTo>
                    <a:lnTo>
                      <a:pt x="9844" y="284"/>
                    </a:lnTo>
                    <a:lnTo>
                      <a:pt x="9833" y="283"/>
                    </a:lnTo>
                    <a:lnTo>
                      <a:pt x="9824" y="278"/>
                    </a:lnTo>
                    <a:lnTo>
                      <a:pt x="9813" y="275"/>
                    </a:lnTo>
                    <a:lnTo>
                      <a:pt x="9803" y="269"/>
                    </a:lnTo>
                    <a:lnTo>
                      <a:pt x="9795" y="263"/>
                    </a:lnTo>
                    <a:lnTo>
                      <a:pt x="9785" y="258"/>
                    </a:lnTo>
                    <a:lnTo>
                      <a:pt x="9800" y="253"/>
                    </a:lnTo>
                    <a:lnTo>
                      <a:pt x="9816" y="247"/>
                    </a:lnTo>
                    <a:lnTo>
                      <a:pt x="9833" y="243"/>
                    </a:lnTo>
                    <a:lnTo>
                      <a:pt x="9848" y="242"/>
                    </a:lnTo>
                    <a:lnTo>
                      <a:pt x="9864" y="240"/>
                    </a:lnTo>
                    <a:lnTo>
                      <a:pt x="9818" y="240"/>
                    </a:lnTo>
                    <a:lnTo>
                      <a:pt x="9815" y="242"/>
                    </a:lnTo>
                    <a:lnTo>
                      <a:pt x="9811" y="242"/>
                    </a:lnTo>
                    <a:lnTo>
                      <a:pt x="9805" y="242"/>
                    </a:lnTo>
                    <a:lnTo>
                      <a:pt x="9800" y="243"/>
                    </a:lnTo>
                    <a:lnTo>
                      <a:pt x="9789" y="245"/>
                    </a:lnTo>
                    <a:lnTo>
                      <a:pt x="9775" y="245"/>
                    </a:lnTo>
                    <a:lnTo>
                      <a:pt x="9769" y="245"/>
                    </a:lnTo>
                    <a:lnTo>
                      <a:pt x="9763" y="243"/>
                    </a:lnTo>
                    <a:lnTo>
                      <a:pt x="9755" y="243"/>
                    </a:lnTo>
                    <a:lnTo>
                      <a:pt x="9750" y="242"/>
                    </a:lnTo>
                    <a:lnTo>
                      <a:pt x="9744" y="238"/>
                    </a:lnTo>
                    <a:lnTo>
                      <a:pt x="9741" y="234"/>
                    </a:lnTo>
                    <a:lnTo>
                      <a:pt x="9736" y="230"/>
                    </a:lnTo>
                    <a:lnTo>
                      <a:pt x="9734" y="223"/>
                    </a:lnTo>
                    <a:lnTo>
                      <a:pt x="9752" y="217"/>
                    </a:lnTo>
                    <a:lnTo>
                      <a:pt x="9770" y="214"/>
                    </a:lnTo>
                    <a:lnTo>
                      <a:pt x="9790" y="210"/>
                    </a:lnTo>
                    <a:lnTo>
                      <a:pt x="9810" y="209"/>
                    </a:lnTo>
                    <a:lnTo>
                      <a:pt x="9829" y="207"/>
                    </a:lnTo>
                    <a:lnTo>
                      <a:pt x="9828" y="207"/>
                    </a:lnTo>
                    <a:lnTo>
                      <a:pt x="9816" y="207"/>
                    </a:lnTo>
                    <a:lnTo>
                      <a:pt x="9808" y="207"/>
                    </a:lnTo>
                    <a:lnTo>
                      <a:pt x="9802" y="207"/>
                    </a:lnTo>
                    <a:lnTo>
                      <a:pt x="9816" y="201"/>
                    </a:lnTo>
                    <a:lnTo>
                      <a:pt x="9833" y="195"/>
                    </a:lnTo>
                    <a:lnTo>
                      <a:pt x="9845" y="192"/>
                    </a:lnTo>
                    <a:lnTo>
                      <a:pt x="9839" y="192"/>
                    </a:lnTo>
                    <a:lnTo>
                      <a:pt x="9820" y="194"/>
                    </a:lnTo>
                    <a:lnTo>
                      <a:pt x="9802" y="195"/>
                    </a:lnTo>
                    <a:lnTo>
                      <a:pt x="9782" y="197"/>
                    </a:lnTo>
                    <a:lnTo>
                      <a:pt x="9772" y="197"/>
                    </a:lnTo>
                    <a:lnTo>
                      <a:pt x="9763" y="197"/>
                    </a:lnTo>
                    <a:lnTo>
                      <a:pt x="9755" y="195"/>
                    </a:lnTo>
                    <a:lnTo>
                      <a:pt x="9747" y="195"/>
                    </a:lnTo>
                    <a:lnTo>
                      <a:pt x="9739" y="192"/>
                    </a:lnTo>
                    <a:lnTo>
                      <a:pt x="9734" y="189"/>
                    </a:lnTo>
                    <a:lnTo>
                      <a:pt x="9752" y="184"/>
                    </a:lnTo>
                    <a:lnTo>
                      <a:pt x="9770" y="179"/>
                    </a:lnTo>
                    <a:lnTo>
                      <a:pt x="9790" y="177"/>
                    </a:lnTo>
                    <a:lnTo>
                      <a:pt x="9810" y="175"/>
                    </a:lnTo>
                    <a:lnTo>
                      <a:pt x="9829" y="173"/>
                    </a:lnTo>
                    <a:lnTo>
                      <a:pt x="9848" y="173"/>
                    </a:lnTo>
                    <a:lnTo>
                      <a:pt x="9887" y="171"/>
                    </a:lnTo>
                    <a:lnTo>
                      <a:pt x="9869" y="171"/>
                    </a:lnTo>
                    <a:lnTo>
                      <a:pt x="9851" y="169"/>
                    </a:lnTo>
                    <a:lnTo>
                      <a:pt x="9835" y="168"/>
                    </a:lnTo>
                    <a:lnTo>
                      <a:pt x="9818" y="166"/>
                    </a:lnTo>
                    <a:lnTo>
                      <a:pt x="9802" y="164"/>
                    </a:lnTo>
                    <a:lnTo>
                      <a:pt x="9795" y="164"/>
                    </a:lnTo>
                    <a:lnTo>
                      <a:pt x="9785" y="164"/>
                    </a:lnTo>
                    <a:lnTo>
                      <a:pt x="9775" y="166"/>
                    </a:lnTo>
                    <a:lnTo>
                      <a:pt x="9769" y="168"/>
                    </a:lnTo>
                    <a:lnTo>
                      <a:pt x="9759" y="169"/>
                    </a:lnTo>
                    <a:lnTo>
                      <a:pt x="9750" y="171"/>
                    </a:lnTo>
                    <a:lnTo>
                      <a:pt x="9673" y="171"/>
                    </a:lnTo>
                    <a:lnTo>
                      <a:pt x="9683" y="169"/>
                    </a:lnTo>
                    <a:lnTo>
                      <a:pt x="9695" y="168"/>
                    </a:lnTo>
                    <a:lnTo>
                      <a:pt x="9719" y="162"/>
                    </a:lnTo>
                    <a:lnTo>
                      <a:pt x="9741" y="155"/>
                    </a:lnTo>
                    <a:lnTo>
                      <a:pt x="9763" y="149"/>
                    </a:lnTo>
                    <a:lnTo>
                      <a:pt x="9787" y="143"/>
                    </a:lnTo>
                    <a:lnTo>
                      <a:pt x="9798" y="141"/>
                    </a:lnTo>
                    <a:lnTo>
                      <a:pt x="9811" y="140"/>
                    </a:lnTo>
                    <a:lnTo>
                      <a:pt x="9823" y="138"/>
                    </a:lnTo>
                    <a:lnTo>
                      <a:pt x="9835" y="138"/>
                    </a:lnTo>
                    <a:lnTo>
                      <a:pt x="9848" y="138"/>
                    </a:lnTo>
                    <a:lnTo>
                      <a:pt x="9859" y="138"/>
                    </a:lnTo>
                    <a:lnTo>
                      <a:pt x="9869" y="138"/>
                    </a:lnTo>
                    <a:lnTo>
                      <a:pt x="9877" y="138"/>
                    </a:lnTo>
                    <a:lnTo>
                      <a:pt x="9889" y="138"/>
                    </a:lnTo>
                    <a:lnTo>
                      <a:pt x="9897" y="138"/>
                    </a:lnTo>
                    <a:lnTo>
                      <a:pt x="9909" y="138"/>
                    </a:lnTo>
                    <a:lnTo>
                      <a:pt x="9922" y="138"/>
                    </a:lnTo>
                    <a:lnTo>
                      <a:pt x="9925" y="138"/>
                    </a:lnTo>
                    <a:lnTo>
                      <a:pt x="9930" y="138"/>
                    </a:lnTo>
                    <a:lnTo>
                      <a:pt x="9938" y="138"/>
                    </a:lnTo>
                    <a:lnTo>
                      <a:pt x="9950" y="138"/>
                    </a:lnTo>
                    <a:lnTo>
                      <a:pt x="9953" y="138"/>
                    </a:lnTo>
                    <a:lnTo>
                      <a:pt x="9956" y="138"/>
                    </a:lnTo>
                    <a:lnTo>
                      <a:pt x="9958" y="136"/>
                    </a:lnTo>
                    <a:lnTo>
                      <a:pt x="9963" y="135"/>
                    </a:lnTo>
                    <a:lnTo>
                      <a:pt x="9964" y="135"/>
                    </a:lnTo>
                    <a:lnTo>
                      <a:pt x="9968" y="133"/>
                    </a:lnTo>
                    <a:lnTo>
                      <a:pt x="9976" y="128"/>
                    </a:lnTo>
                    <a:lnTo>
                      <a:pt x="9983" y="125"/>
                    </a:lnTo>
                    <a:lnTo>
                      <a:pt x="9992" y="123"/>
                    </a:lnTo>
                    <a:lnTo>
                      <a:pt x="10001" y="121"/>
                    </a:lnTo>
                    <a:lnTo>
                      <a:pt x="10009" y="120"/>
                    </a:lnTo>
                    <a:lnTo>
                      <a:pt x="10032" y="120"/>
                    </a:lnTo>
                    <a:lnTo>
                      <a:pt x="10045" y="120"/>
                    </a:lnTo>
                    <a:lnTo>
                      <a:pt x="10057" y="120"/>
                    </a:lnTo>
                    <a:lnTo>
                      <a:pt x="10068" y="120"/>
                    </a:lnTo>
                    <a:lnTo>
                      <a:pt x="10077" y="120"/>
                    </a:lnTo>
                    <a:lnTo>
                      <a:pt x="10086" y="120"/>
                    </a:lnTo>
                    <a:lnTo>
                      <a:pt x="10093" y="120"/>
                    </a:lnTo>
                    <a:lnTo>
                      <a:pt x="10101" y="120"/>
                    </a:lnTo>
                    <a:lnTo>
                      <a:pt x="10108" y="120"/>
                    </a:lnTo>
                    <a:lnTo>
                      <a:pt x="10117" y="120"/>
                    </a:lnTo>
                    <a:lnTo>
                      <a:pt x="10126" y="120"/>
                    </a:lnTo>
                    <a:lnTo>
                      <a:pt x="10137" y="120"/>
                    </a:lnTo>
                    <a:lnTo>
                      <a:pt x="10145" y="120"/>
                    </a:lnTo>
                    <a:lnTo>
                      <a:pt x="10154" y="120"/>
                    </a:lnTo>
                    <a:lnTo>
                      <a:pt x="10162" y="120"/>
                    </a:lnTo>
                    <a:lnTo>
                      <a:pt x="10167" y="121"/>
                    </a:lnTo>
                    <a:lnTo>
                      <a:pt x="10172" y="123"/>
                    </a:lnTo>
                    <a:lnTo>
                      <a:pt x="10177" y="125"/>
                    </a:lnTo>
                    <a:lnTo>
                      <a:pt x="10178" y="128"/>
                    </a:lnTo>
                    <a:lnTo>
                      <a:pt x="10182" y="133"/>
                    </a:lnTo>
                    <a:lnTo>
                      <a:pt x="10185" y="135"/>
                    </a:lnTo>
                    <a:lnTo>
                      <a:pt x="10191" y="138"/>
                    </a:lnTo>
                    <a:lnTo>
                      <a:pt x="10197" y="138"/>
                    </a:lnTo>
                    <a:lnTo>
                      <a:pt x="10193" y="136"/>
                    </a:lnTo>
                    <a:lnTo>
                      <a:pt x="10191" y="135"/>
                    </a:lnTo>
                    <a:lnTo>
                      <a:pt x="10190" y="135"/>
                    </a:lnTo>
                    <a:lnTo>
                      <a:pt x="10187" y="133"/>
                    </a:lnTo>
                    <a:lnTo>
                      <a:pt x="10187" y="131"/>
                    </a:lnTo>
                    <a:lnTo>
                      <a:pt x="10185" y="131"/>
                    </a:lnTo>
                    <a:lnTo>
                      <a:pt x="10187" y="127"/>
                    </a:lnTo>
                    <a:lnTo>
                      <a:pt x="10190" y="127"/>
                    </a:lnTo>
                    <a:lnTo>
                      <a:pt x="10193" y="125"/>
                    </a:lnTo>
                    <a:lnTo>
                      <a:pt x="10197" y="123"/>
                    </a:lnTo>
                    <a:lnTo>
                      <a:pt x="10202" y="123"/>
                    </a:lnTo>
                    <a:lnTo>
                      <a:pt x="10208" y="121"/>
                    </a:lnTo>
                    <a:lnTo>
                      <a:pt x="10215" y="121"/>
                    </a:lnTo>
                    <a:lnTo>
                      <a:pt x="10228" y="121"/>
                    </a:lnTo>
                    <a:lnTo>
                      <a:pt x="10233" y="121"/>
                    </a:lnTo>
                    <a:lnTo>
                      <a:pt x="10239" y="120"/>
                    </a:lnTo>
                    <a:lnTo>
                      <a:pt x="10243" y="120"/>
                    </a:lnTo>
                    <a:lnTo>
                      <a:pt x="10248" y="120"/>
                    </a:lnTo>
                    <a:lnTo>
                      <a:pt x="10259" y="121"/>
                    </a:lnTo>
                    <a:lnTo>
                      <a:pt x="10271" y="123"/>
                    </a:lnTo>
                    <a:lnTo>
                      <a:pt x="10280" y="125"/>
                    </a:lnTo>
                    <a:lnTo>
                      <a:pt x="10291" y="128"/>
                    </a:lnTo>
                    <a:lnTo>
                      <a:pt x="10300" y="133"/>
                    </a:lnTo>
                    <a:lnTo>
                      <a:pt x="10312" y="135"/>
                    </a:lnTo>
                    <a:lnTo>
                      <a:pt x="10320" y="138"/>
                    </a:lnTo>
                    <a:lnTo>
                      <a:pt x="10333" y="138"/>
                    </a:lnTo>
                    <a:lnTo>
                      <a:pt x="10330" y="136"/>
                    </a:lnTo>
                    <a:lnTo>
                      <a:pt x="10328" y="136"/>
                    </a:lnTo>
                    <a:lnTo>
                      <a:pt x="10326" y="135"/>
                    </a:lnTo>
                    <a:lnTo>
                      <a:pt x="10326" y="133"/>
                    </a:lnTo>
                    <a:lnTo>
                      <a:pt x="10328" y="133"/>
                    </a:lnTo>
                    <a:lnTo>
                      <a:pt x="10332" y="135"/>
                    </a:lnTo>
                    <a:lnTo>
                      <a:pt x="10335" y="135"/>
                    </a:lnTo>
                    <a:lnTo>
                      <a:pt x="10343" y="136"/>
                    </a:lnTo>
                    <a:lnTo>
                      <a:pt x="10348" y="138"/>
                    </a:lnTo>
                    <a:lnTo>
                      <a:pt x="10355" y="140"/>
                    </a:lnTo>
                    <a:lnTo>
                      <a:pt x="10365" y="140"/>
                    </a:lnTo>
                    <a:lnTo>
                      <a:pt x="10372" y="141"/>
                    </a:lnTo>
                    <a:lnTo>
                      <a:pt x="10379" y="141"/>
                    </a:lnTo>
                    <a:lnTo>
                      <a:pt x="10387" y="143"/>
                    </a:lnTo>
                    <a:lnTo>
                      <a:pt x="10392" y="141"/>
                    </a:lnTo>
                    <a:lnTo>
                      <a:pt x="10398" y="140"/>
                    </a:lnTo>
                    <a:lnTo>
                      <a:pt x="10404" y="138"/>
                    </a:lnTo>
                    <a:lnTo>
                      <a:pt x="10392" y="133"/>
                    </a:lnTo>
                    <a:lnTo>
                      <a:pt x="10383" y="127"/>
                    </a:lnTo>
                    <a:lnTo>
                      <a:pt x="10374" y="123"/>
                    </a:lnTo>
                    <a:lnTo>
                      <a:pt x="10365" y="121"/>
                    </a:lnTo>
                    <a:lnTo>
                      <a:pt x="10353" y="120"/>
                    </a:lnTo>
                    <a:lnTo>
                      <a:pt x="10345" y="118"/>
                    </a:lnTo>
                    <a:lnTo>
                      <a:pt x="10335" y="116"/>
                    </a:lnTo>
                    <a:lnTo>
                      <a:pt x="10326" y="116"/>
                    </a:lnTo>
                    <a:lnTo>
                      <a:pt x="10305" y="118"/>
                    </a:lnTo>
                    <a:lnTo>
                      <a:pt x="10287" y="118"/>
                    </a:lnTo>
                    <a:lnTo>
                      <a:pt x="10267" y="120"/>
                    </a:lnTo>
                    <a:lnTo>
                      <a:pt x="10248" y="120"/>
                    </a:lnTo>
                    <a:lnTo>
                      <a:pt x="10254" y="115"/>
                    </a:lnTo>
                    <a:lnTo>
                      <a:pt x="10261" y="110"/>
                    </a:lnTo>
                    <a:lnTo>
                      <a:pt x="10271" y="107"/>
                    </a:lnTo>
                    <a:lnTo>
                      <a:pt x="10280" y="103"/>
                    </a:lnTo>
                    <a:lnTo>
                      <a:pt x="10289" y="101"/>
                    </a:lnTo>
                    <a:lnTo>
                      <a:pt x="10298" y="101"/>
                    </a:lnTo>
                    <a:lnTo>
                      <a:pt x="10307" y="100"/>
                    </a:lnTo>
                    <a:lnTo>
                      <a:pt x="10318" y="100"/>
                    </a:lnTo>
                    <a:lnTo>
                      <a:pt x="10341" y="100"/>
                    </a:lnTo>
                    <a:lnTo>
                      <a:pt x="10361" y="101"/>
                    </a:lnTo>
                    <a:lnTo>
                      <a:pt x="10383" y="103"/>
                    </a:lnTo>
                    <a:lnTo>
                      <a:pt x="10404" y="103"/>
                    </a:lnTo>
                    <a:lnTo>
                      <a:pt x="10396" y="97"/>
                    </a:lnTo>
                    <a:lnTo>
                      <a:pt x="10392" y="94"/>
                    </a:lnTo>
                    <a:lnTo>
                      <a:pt x="10389" y="90"/>
                    </a:lnTo>
                    <a:lnTo>
                      <a:pt x="10385" y="88"/>
                    </a:lnTo>
                    <a:lnTo>
                      <a:pt x="10381" y="87"/>
                    </a:lnTo>
                    <a:lnTo>
                      <a:pt x="10378" y="87"/>
                    </a:lnTo>
                    <a:lnTo>
                      <a:pt x="10374" y="87"/>
                    </a:lnTo>
                    <a:lnTo>
                      <a:pt x="10368" y="87"/>
                    </a:lnTo>
                    <a:lnTo>
                      <a:pt x="10374" y="81"/>
                    </a:lnTo>
                    <a:lnTo>
                      <a:pt x="10383" y="77"/>
                    </a:lnTo>
                    <a:lnTo>
                      <a:pt x="10394" y="74"/>
                    </a:lnTo>
                    <a:lnTo>
                      <a:pt x="10404" y="72"/>
                    </a:lnTo>
                    <a:lnTo>
                      <a:pt x="10416" y="70"/>
                    </a:lnTo>
                    <a:lnTo>
                      <a:pt x="10427" y="70"/>
                    </a:lnTo>
                    <a:lnTo>
                      <a:pt x="10453" y="70"/>
                    </a:lnTo>
                    <a:lnTo>
                      <a:pt x="10457" y="70"/>
                    </a:lnTo>
                    <a:lnTo>
                      <a:pt x="10459" y="70"/>
                    </a:lnTo>
                    <a:lnTo>
                      <a:pt x="10463" y="70"/>
                    </a:lnTo>
                    <a:lnTo>
                      <a:pt x="10468" y="70"/>
                    </a:lnTo>
                    <a:lnTo>
                      <a:pt x="10472" y="70"/>
                    </a:lnTo>
                    <a:lnTo>
                      <a:pt x="10477" y="72"/>
                    </a:lnTo>
                    <a:lnTo>
                      <a:pt x="10481" y="72"/>
                    </a:lnTo>
                    <a:lnTo>
                      <a:pt x="10485" y="74"/>
                    </a:lnTo>
                    <a:lnTo>
                      <a:pt x="10488" y="74"/>
                    </a:lnTo>
                    <a:lnTo>
                      <a:pt x="10490" y="75"/>
                    </a:lnTo>
                    <a:lnTo>
                      <a:pt x="10490" y="77"/>
                    </a:lnTo>
                    <a:lnTo>
                      <a:pt x="10488" y="79"/>
                    </a:lnTo>
                    <a:lnTo>
                      <a:pt x="10486" y="79"/>
                    </a:lnTo>
                    <a:lnTo>
                      <a:pt x="10485" y="81"/>
                    </a:lnTo>
                    <a:lnTo>
                      <a:pt x="10483" y="82"/>
                    </a:lnTo>
                    <a:lnTo>
                      <a:pt x="10479" y="82"/>
                    </a:lnTo>
                    <a:lnTo>
                      <a:pt x="10475" y="85"/>
                    </a:lnTo>
                    <a:lnTo>
                      <a:pt x="10472" y="87"/>
                    </a:lnTo>
                    <a:lnTo>
                      <a:pt x="10477" y="87"/>
                    </a:lnTo>
                    <a:lnTo>
                      <a:pt x="10485" y="87"/>
                    </a:lnTo>
                    <a:lnTo>
                      <a:pt x="10494" y="85"/>
                    </a:lnTo>
                    <a:lnTo>
                      <a:pt x="10501" y="85"/>
                    </a:lnTo>
                    <a:lnTo>
                      <a:pt x="10519" y="82"/>
                    </a:lnTo>
                    <a:lnTo>
                      <a:pt x="10540" y="82"/>
                    </a:lnTo>
                    <a:lnTo>
                      <a:pt x="10549" y="82"/>
                    </a:lnTo>
                    <a:lnTo>
                      <a:pt x="10559" y="82"/>
                    </a:lnTo>
                    <a:lnTo>
                      <a:pt x="10567" y="85"/>
                    </a:lnTo>
                    <a:lnTo>
                      <a:pt x="10577" y="87"/>
                    </a:lnTo>
                    <a:lnTo>
                      <a:pt x="10587" y="90"/>
                    </a:lnTo>
                    <a:lnTo>
                      <a:pt x="10593" y="94"/>
                    </a:lnTo>
                    <a:lnTo>
                      <a:pt x="10601" y="97"/>
                    </a:lnTo>
                    <a:lnTo>
                      <a:pt x="10608" y="103"/>
                    </a:lnTo>
                    <a:lnTo>
                      <a:pt x="10608" y="105"/>
                    </a:lnTo>
                    <a:lnTo>
                      <a:pt x="10606" y="107"/>
                    </a:lnTo>
                    <a:lnTo>
                      <a:pt x="10605" y="108"/>
                    </a:lnTo>
                    <a:lnTo>
                      <a:pt x="10601" y="110"/>
                    </a:lnTo>
                    <a:lnTo>
                      <a:pt x="10597" y="116"/>
                    </a:lnTo>
                    <a:lnTo>
                      <a:pt x="10592" y="120"/>
                    </a:lnTo>
                    <a:lnTo>
                      <a:pt x="10643" y="120"/>
                    </a:lnTo>
                    <a:lnTo>
                      <a:pt x="10669" y="120"/>
                    </a:lnTo>
                    <a:lnTo>
                      <a:pt x="10659" y="118"/>
                    </a:lnTo>
                    <a:lnTo>
                      <a:pt x="10651" y="116"/>
                    </a:lnTo>
                    <a:lnTo>
                      <a:pt x="10641" y="115"/>
                    </a:lnTo>
                    <a:lnTo>
                      <a:pt x="10633" y="108"/>
                    </a:lnTo>
                    <a:lnTo>
                      <a:pt x="10626" y="103"/>
                    </a:lnTo>
                    <a:lnTo>
                      <a:pt x="10633" y="101"/>
                    </a:lnTo>
                    <a:lnTo>
                      <a:pt x="10641" y="100"/>
                    </a:lnTo>
                    <a:lnTo>
                      <a:pt x="10651" y="100"/>
                    </a:lnTo>
                    <a:lnTo>
                      <a:pt x="10659" y="100"/>
                    </a:lnTo>
                    <a:lnTo>
                      <a:pt x="10669" y="100"/>
                    </a:lnTo>
                    <a:lnTo>
                      <a:pt x="10680" y="101"/>
                    </a:lnTo>
                    <a:lnTo>
                      <a:pt x="10702" y="105"/>
                    </a:lnTo>
                    <a:lnTo>
                      <a:pt x="10725" y="110"/>
                    </a:lnTo>
                    <a:lnTo>
                      <a:pt x="10735" y="112"/>
                    </a:lnTo>
                    <a:lnTo>
                      <a:pt x="10747" y="116"/>
                    </a:lnTo>
                    <a:lnTo>
                      <a:pt x="10756" y="118"/>
                    </a:lnTo>
                    <a:lnTo>
                      <a:pt x="10765" y="120"/>
                    </a:lnTo>
                    <a:lnTo>
                      <a:pt x="10773" y="120"/>
                    </a:lnTo>
                    <a:lnTo>
                      <a:pt x="10780" y="120"/>
                    </a:lnTo>
                    <a:lnTo>
                      <a:pt x="10787" y="120"/>
                    </a:lnTo>
                    <a:lnTo>
                      <a:pt x="10796" y="121"/>
                    </a:lnTo>
                    <a:lnTo>
                      <a:pt x="10806" y="121"/>
                    </a:lnTo>
                    <a:lnTo>
                      <a:pt x="10817" y="123"/>
                    </a:lnTo>
                    <a:lnTo>
                      <a:pt x="10827" y="125"/>
                    </a:lnTo>
                    <a:lnTo>
                      <a:pt x="10840" y="127"/>
                    </a:lnTo>
                    <a:lnTo>
                      <a:pt x="10854" y="133"/>
                    </a:lnTo>
                    <a:lnTo>
                      <a:pt x="10867" y="138"/>
                    </a:lnTo>
                    <a:lnTo>
                      <a:pt x="10872" y="138"/>
                    </a:lnTo>
                    <a:lnTo>
                      <a:pt x="10880" y="140"/>
                    </a:lnTo>
                    <a:lnTo>
                      <a:pt x="10887" y="143"/>
                    </a:lnTo>
                    <a:lnTo>
                      <a:pt x="10894" y="146"/>
                    </a:lnTo>
                    <a:lnTo>
                      <a:pt x="10901" y="149"/>
                    </a:lnTo>
                    <a:lnTo>
                      <a:pt x="10911" y="153"/>
                    </a:lnTo>
                    <a:lnTo>
                      <a:pt x="10922" y="155"/>
                    </a:lnTo>
                    <a:lnTo>
                      <a:pt x="10934" y="155"/>
                    </a:lnTo>
                    <a:lnTo>
                      <a:pt x="10918" y="146"/>
                    </a:lnTo>
                    <a:lnTo>
                      <a:pt x="10903" y="138"/>
                    </a:lnTo>
                    <a:lnTo>
                      <a:pt x="10887" y="133"/>
                    </a:lnTo>
                    <a:lnTo>
                      <a:pt x="10870" y="127"/>
                    </a:lnTo>
                    <a:lnTo>
                      <a:pt x="10854" y="123"/>
                    </a:lnTo>
                    <a:lnTo>
                      <a:pt x="10839" y="120"/>
                    </a:lnTo>
                    <a:lnTo>
                      <a:pt x="10822" y="116"/>
                    </a:lnTo>
                    <a:lnTo>
                      <a:pt x="10806" y="115"/>
                    </a:lnTo>
                    <a:lnTo>
                      <a:pt x="10774" y="110"/>
                    </a:lnTo>
                    <a:lnTo>
                      <a:pt x="10758" y="107"/>
                    </a:lnTo>
                    <a:lnTo>
                      <a:pt x="10741" y="105"/>
                    </a:lnTo>
                    <a:lnTo>
                      <a:pt x="10725" y="101"/>
                    </a:lnTo>
                    <a:lnTo>
                      <a:pt x="10710" y="97"/>
                    </a:lnTo>
                    <a:lnTo>
                      <a:pt x="10694" y="92"/>
                    </a:lnTo>
                    <a:lnTo>
                      <a:pt x="10677" y="87"/>
                    </a:lnTo>
                    <a:lnTo>
                      <a:pt x="10684" y="81"/>
                    </a:lnTo>
                    <a:lnTo>
                      <a:pt x="10692" y="75"/>
                    </a:lnTo>
                    <a:lnTo>
                      <a:pt x="10699" y="72"/>
                    </a:lnTo>
                    <a:lnTo>
                      <a:pt x="10707" y="70"/>
                    </a:lnTo>
                    <a:lnTo>
                      <a:pt x="10713" y="67"/>
                    </a:lnTo>
                    <a:lnTo>
                      <a:pt x="10720" y="66"/>
                    </a:lnTo>
                    <a:lnTo>
                      <a:pt x="10730" y="66"/>
                    </a:lnTo>
                    <a:lnTo>
                      <a:pt x="10738" y="66"/>
                    </a:lnTo>
                    <a:lnTo>
                      <a:pt x="10750" y="66"/>
                    </a:lnTo>
                    <a:lnTo>
                      <a:pt x="10753" y="64"/>
                    </a:lnTo>
                    <a:lnTo>
                      <a:pt x="10760" y="61"/>
                    </a:lnTo>
                    <a:lnTo>
                      <a:pt x="10769" y="57"/>
                    </a:lnTo>
                    <a:lnTo>
                      <a:pt x="10778" y="55"/>
                    </a:lnTo>
                    <a:lnTo>
                      <a:pt x="10787" y="55"/>
                    </a:lnTo>
                    <a:lnTo>
                      <a:pt x="10796" y="55"/>
                    </a:lnTo>
                    <a:lnTo>
                      <a:pt x="10806" y="55"/>
                    </a:lnTo>
                    <a:lnTo>
                      <a:pt x="10817" y="57"/>
                    </a:lnTo>
                    <a:lnTo>
                      <a:pt x="10837" y="61"/>
                    </a:lnTo>
                    <a:lnTo>
                      <a:pt x="10860" y="64"/>
                    </a:lnTo>
                    <a:lnTo>
                      <a:pt x="10870" y="66"/>
                    </a:lnTo>
                    <a:lnTo>
                      <a:pt x="10880" y="67"/>
                    </a:lnTo>
                    <a:lnTo>
                      <a:pt x="10891" y="70"/>
                    </a:lnTo>
                    <a:lnTo>
                      <a:pt x="10900" y="70"/>
                    </a:lnTo>
                    <a:lnTo>
                      <a:pt x="10894" y="64"/>
                    </a:lnTo>
                    <a:lnTo>
                      <a:pt x="10887" y="59"/>
                    </a:lnTo>
                    <a:lnTo>
                      <a:pt x="10881" y="57"/>
                    </a:lnTo>
                    <a:lnTo>
                      <a:pt x="10875" y="55"/>
                    </a:lnTo>
                    <a:lnTo>
                      <a:pt x="10868" y="54"/>
                    </a:lnTo>
                    <a:lnTo>
                      <a:pt x="10861" y="54"/>
                    </a:lnTo>
                    <a:lnTo>
                      <a:pt x="10850" y="51"/>
                    </a:lnTo>
                    <a:lnTo>
                      <a:pt x="10855" y="46"/>
                    </a:lnTo>
                    <a:lnTo>
                      <a:pt x="10863" y="42"/>
                    </a:lnTo>
                    <a:lnTo>
                      <a:pt x="10870" y="41"/>
                    </a:lnTo>
                    <a:lnTo>
                      <a:pt x="10878" y="39"/>
                    </a:lnTo>
                    <a:lnTo>
                      <a:pt x="10885" y="36"/>
                    </a:lnTo>
                    <a:lnTo>
                      <a:pt x="10894" y="36"/>
                    </a:lnTo>
                    <a:lnTo>
                      <a:pt x="10901" y="39"/>
                    </a:lnTo>
                    <a:lnTo>
                      <a:pt x="10911" y="41"/>
                    </a:lnTo>
                    <a:lnTo>
                      <a:pt x="10929" y="44"/>
                    </a:lnTo>
                    <a:lnTo>
                      <a:pt x="10947" y="47"/>
                    </a:lnTo>
                    <a:lnTo>
                      <a:pt x="10957" y="49"/>
                    </a:lnTo>
                    <a:lnTo>
                      <a:pt x="10968" y="51"/>
                    </a:lnTo>
                    <a:lnTo>
                      <a:pt x="10977" y="51"/>
                    </a:lnTo>
                    <a:lnTo>
                      <a:pt x="10987" y="51"/>
                    </a:lnTo>
                    <a:lnTo>
                      <a:pt x="10994" y="51"/>
                    </a:lnTo>
                    <a:lnTo>
                      <a:pt x="11002" y="51"/>
                    </a:lnTo>
                    <a:lnTo>
                      <a:pt x="11010" y="51"/>
                    </a:lnTo>
                    <a:lnTo>
                      <a:pt x="11015" y="51"/>
                    </a:lnTo>
                    <a:lnTo>
                      <a:pt x="11010" y="49"/>
                    </a:lnTo>
                    <a:lnTo>
                      <a:pt x="11007" y="49"/>
                    </a:lnTo>
                    <a:lnTo>
                      <a:pt x="11003" y="47"/>
                    </a:lnTo>
                    <a:lnTo>
                      <a:pt x="11002" y="47"/>
                    </a:lnTo>
                    <a:lnTo>
                      <a:pt x="11002" y="46"/>
                    </a:lnTo>
                    <a:lnTo>
                      <a:pt x="11002" y="44"/>
                    </a:lnTo>
                    <a:lnTo>
                      <a:pt x="11003" y="44"/>
                    </a:lnTo>
                    <a:lnTo>
                      <a:pt x="11005" y="42"/>
                    </a:lnTo>
                    <a:lnTo>
                      <a:pt x="11007" y="41"/>
                    </a:lnTo>
                    <a:lnTo>
                      <a:pt x="11008" y="41"/>
                    </a:lnTo>
                    <a:lnTo>
                      <a:pt x="11013" y="39"/>
                    </a:lnTo>
                    <a:lnTo>
                      <a:pt x="11016" y="36"/>
                    </a:lnTo>
                    <a:lnTo>
                      <a:pt x="11021" y="34"/>
                    </a:lnTo>
                    <a:lnTo>
                      <a:pt x="10995" y="34"/>
                    </a:lnTo>
                    <a:lnTo>
                      <a:pt x="10983" y="34"/>
                    </a:lnTo>
                    <a:lnTo>
                      <a:pt x="10998" y="33"/>
                    </a:lnTo>
                    <a:lnTo>
                      <a:pt x="11015" y="31"/>
                    </a:lnTo>
                    <a:lnTo>
                      <a:pt x="11031" y="29"/>
                    </a:lnTo>
                    <a:lnTo>
                      <a:pt x="11049" y="28"/>
                    </a:lnTo>
                    <a:lnTo>
                      <a:pt x="11059" y="28"/>
                    </a:lnTo>
                    <a:lnTo>
                      <a:pt x="11068" y="28"/>
                    </a:lnTo>
                    <a:lnTo>
                      <a:pt x="11077" y="29"/>
                    </a:lnTo>
                    <a:lnTo>
                      <a:pt x="11089" y="31"/>
                    </a:lnTo>
                    <a:lnTo>
                      <a:pt x="11097" y="33"/>
                    </a:lnTo>
                    <a:lnTo>
                      <a:pt x="11107" y="34"/>
                    </a:lnTo>
                    <a:lnTo>
                      <a:pt x="11110" y="34"/>
                    </a:lnTo>
                    <a:lnTo>
                      <a:pt x="11114" y="34"/>
                    </a:lnTo>
                    <a:lnTo>
                      <a:pt x="11120" y="34"/>
                    </a:lnTo>
                    <a:lnTo>
                      <a:pt x="11125" y="33"/>
                    </a:lnTo>
                    <a:lnTo>
                      <a:pt x="11136" y="29"/>
                    </a:lnTo>
                    <a:lnTo>
                      <a:pt x="11149" y="28"/>
                    </a:lnTo>
                    <a:lnTo>
                      <a:pt x="11162" y="24"/>
                    </a:lnTo>
                    <a:lnTo>
                      <a:pt x="11175" y="20"/>
                    </a:lnTo>
                    <a:lnTo>
                      <a:pt x="11178" y="20"/>
                    </a:lnTo>
                    <a:lnTo>
                      <a:pt x="11184" y="18"/>
                    </a:lnTo>
                    <a:lnTo>
                      <a:pt x="11189" y="18"/>
                    </a:lnTo>
                    <a:lnTo>
                      <a:pt x="11193" y="18"/>
                    </a:lnTo>
                    <a:lnTo>
                      <a:pt x="11191" y="24"/>
                    </a:lnTo>
                    <a:lnTo>
                      <a:pt x="11189" y="28"/>
                    </a:lnTo>
                    <a:lnTo>
                      <a:pt x="11186" y="31"/>
                    </a:lnTo>
                    <a:lnTo>
                      <a:pt x="11183" y="33"/>
                    </a:lnTo>
                    <a:lnTo>
                      <a:pt x="11176" y="34"/>
                    </a:lnTo>
                    <a:lnTo>
                      <a:pt x="11171" y="34"/>
                    </a:lnTo>
                    <a:lnTo>
                      <a:pt x="11158" y="34"/>
                    </a:lnTo>
                    <a:lnTo>
                      <a:pt x="11164" y="39"/>
                    </a:lnTo>
                    <a:lnTo>
                      <a:pt x="11171" y="41"/>
                    </a:lnTo>
                    <a:lnTo>
                      <a:pt x="11176" y="41"/>
                    </a:lnTo>
                    <a:lnTo>
                      <a:pt x="11184" y="41"/>
                    </a:lnTo>
                    <a:lnTo>
                      <a:pt x="11189" y="41"/>
                    </a:lnTo>
                    <a:lnTo>
                      <a:pt x="11197" y="39"/>
                    </a:lnTo>
                    <a:lnTo>
                      <a:pt x="11210" y="34"/>
                    </a:lnTo>
                    <a:lnTo>
                      <a:pt x="11222" y="33"/>
                    </a:lnTo>
                    <a:lnTo>
                      <a:pt x="11229" y="31"/>
                    </a:lnTo>
                    <a:lnTo>
                      <a:pt x="11236" y="31"/>
                    </a:lnTo>
                    <a:lnTo>
                      <a:pt x="11242" y="31"/>
                    </a:lnTo>
                    <a:lnTo>
                      <a:pt x="11249" y="31"/>
                    </a:lnTo>
                    <a:lnTo>
                      <a:pt x="11254" y="33"/>
                    </a:lnTo>
                    <a:lnTo>
                      <a:pt x="11262" y="34"/>
                    </a:lnTo>
                    <a:lnTo>
                      <a:pt x="11273" y="41"/>
                    </a:lnTo>
                    <a:lnTo>
                      <a:pt x="11283" y="46"/>
                    </a:lnTo>
                    <a:lnTo>
                      <a:pt x="11293" y="49"/>
                    </a:lnTo>
                    <a:lnTo>
                      <a:pt x="11303" y="54"/>
                    </a:lnTo>
                    <a:lnTo>
                      <a:pt x="11309" y="55"/>
                    </a:lnTo>
                    <a:lnTo>
                      <a:pt x="11317" y="59"/>
                    </a:lnTo>
                    <a:lnTo>
                      <a:pt x="11323" y="64"/>
                    </a:lnTo>
                    <a:lnTo>
                      <a:pt x="11329" y="70"/>
                    </a:lnTo>
                    <a:lnTo>
                      <a:pt x="11326" y="70"/>
                    </a:lnTo>
                    <a:lnTo>
                      <a:pt x="11324" y="70"/>
                    </a:lnTo>
                    <a:lnTo>
                      <a:pt x="11319" y="70"/>
                    </a:lnTo>
                    <a:lnTo>
                      <a:pt x="11313" y="70"/>
                    </a:lnTo>
                    <a:lnTo>
                      <a:pt x="11308" y="70"/>
                    </a:lnTo>
                    <a:lnTo>
                      <a:pt x="11296" y="70"/>
                    </a:lnTo>
                    <a:lnTo>
                      <a:pt x="11303" y="72"/>
                    </a:lnTo>
                    <a:lnTo>
                      <a:pt x="11308" y="75"/>
                    </a:lnTo>
                    <a:lnTo>
                      <a:pt x="11315" y="75"/>
                    </a:lnTo>
                    <a:lnTo>
                      <a:pt x="11321" y="77"/>
                    </a:lnTo>
                    <a:lnTo>
                      <a:pt x="11328" y="77"/>
                    </a:lnTo>
                    <a:lnTo>
                      <a:pt x="11334" y="77"/>
                    </a:lnTo>
                    <a:lnTo>
                      <a:pt x="11347" y="75"/>
                    </a:lnTo>
                    <a:lnTo>
                      <a:pt x="11359" y="74"/>
                    </a:lnTo>
                    <a:lnTo>
                      <a:pt x="11372" y="72"/>
                    </a:lnTo>
                    <a:lnTo>
                      <a:pt x="11385" y="70"/>
                    </a:lnTo>
                    <a:lnTo>
                      <a:pt x="11398" y="70"/>
                    </a:lnTo>
                    <a:lnTo>
                      <a:pt x="11390" y="64"/>
                    </a:lnTo>
                    <a:lnTo>
                      <a:pt x="11383" y="59"/>
                    </a:lnTo>
                    <a:lnTo>
                      <a:pt x="11374" y="57"/>
                    </a:lnTo>
                    <a:lnTo>
                      <a:pt x="11365" y="55"/>
                    </a:lnTo>
                    <a:lnTo>
                      <a:pt x="11354" y="54"/>
                    </a:lnTo>
                    <a:lnTo>
                      <a:pt x="11344" y="54"/>
                    </a:lnTo>
                    <a:lnTo>
                      <a:pt x="11337" y="51"/>
                    </a:lnTo>
                    <a:lnTo>
                      <a:pt x="11336" y="51"/>
                    </a:lnTo>
                    <a:lnTo>
                      <a:pt x="11339" y="49"/>
                    </a:lnTo>
                    <a:lnTo>
                      <a:pt x="11343" y="47"/>
                    </a:lnTo>
                    <a:lnTo>
                      <a:pt x="11347" y="44"/>
                    </a:lnTo>
                    <a:lnTo>
                      <a:pt x="11350" y="41"/>
                    </a:lnTo>
                    <a:lnTo>
                      <a:pt x="11354" y="39"/>
                    </a:lnTo>
                    <a:lnTo>
                      <a:pt x="11357" y="36"/>
                    </a:lnTo>
                    <a:lnTo>
                      <a:pt x="11365" y="34"/>
                    </a:lnTo>
                    <a:lnTo>
                      <a:pt x="11339" y="34"/>
                    </a:lnTo>
                    <a:lnTo>
                      <a:pt x="11326" y="34"/>
                    </a:lnTo>
                    <a:lnTo>
                      <a:pt x="11313" y="33"/>
                    </a:lnTo>
                    <a:lnTo>
                      <a:pt x="11300" y="31"/>
                    </a:lnTo>
                    <a:lnTo>
                      <a:pt x="11288" y="28"/>
                    </a:lnTo>
                    <a:lnTo>
                      <a:pt x="11275" y="24"/>
                    </a:lnTo>
                    <a:lnTo>
                      <a:pt x="11262" y="18"/>
                    </a:lnTo>
                    <a:lnTo>
                      <a:pt x="11267" y="14"/>
                    </a:lnTo>
                    <a:lnTo>
                      <a:pt x="11275" y="13"/>
                    </a:lnTo>
                    <a:lnTo>
                      <a:pt x="11280" y="11"/>
                    </a:lnTo>
                    <a:lnTo>
                      <a:pt x="11288" y="11"/>
                    </a:lnTo>
                    <a:lnTo>
                      <a:pt x="11293" y="11"/>
                    </a:lnTo>
                    <a:lnTo>
                      <a:pt x="11300" y="11"/>
                    </a:lnTo>
                    <a:lnTo>
                      <a:pt x="11313" y="11"/>
                    </a:lnTo>
                    <a:lnTo>
                      <a:pt x="11326" y="13"/>
                    </a:lnTo>
                    <a:lnTo>
                      <a:pt x="11339" y="16"/>
                    </a:lnTo>
                    <a:lnTo>
                      <a:pt x="11352" y="18"/>
                    </a:lnTo>
                    <a:lnTo>
                      <a:pt x="11365" y="18"/>
                    </a:lnTo>
                    <a:lnTo>
                      <a:pt x="11383" y="18"/>
                    </a:lnTo>
                    <a:lnTo>
                      <a:pt x="11400" y="18"/>
                    </a:lnTo>
                    <a:lnTo>
                      <a:pt x="11417" y="18"/>
                    </a:lnTo>
                    <a:lnTo>
                      <a:pt x="11433" y="18"/>
                    </a:lnTo>
                    <a:lnTo>
                      <a:pt x="11450" y="18"/>
                    </a:lnTo>
                    <a:lnTo>
                      <a:pt x="11466" y="18"/>
                    </a:lnTo>
                    <a:lnTo>
                      <a:pt x="11484" y="18"/>
                    </a:lnTo>
                    <a:lnTo>
                      <a:pt x="11502" y="18"/>
                    </a:lnTo>
                    <a:lnTo>
                      <a:pt x="11527" y="18"/>
                    </a:lnTo>
                    <a:lnTo>
                      <a:pt x="11540" y="18"/>
                    </a:lnTo>
                    <a:lnTo>
                      <a:pt x="11553" y="20"/>
                    </a:lnTo>
                    <a:lnTo>
                      <a:pt x="11566" y="21"/>
                    </a:lnTo>
                    <a:lnTo>
                      <a:pt x="11579" y="26"/>
                    </a:lnTo>
                    <a:lnTo>
                      <a:pt x="11592" y="29"/>
                    </a:lnTo>
                    <a:lnTo>
                      <a:pt x="11604" y="34"/>
                    </a:lnTo>
                    <a:lnTo>
                      <a:pt x="11617" y="41"/>
                    </a:lnTo>
                    <a:lnTo>
                      <a:pt x="11631" y="46"/>
                    </a:lnTo>
                    <a:lnTo>
                      <a:pt x="11644" y="47"/>
                    </a:lnTo>
                    <a:lnTo>
                      <a:pt x="11657" y="49"/>
                    </a:lnTo>
                    <a:lnTo>
                      <a:pt x="11670" y="51"/>
                    </a:lnTo>
                    <a:lnTo>
                      <a:pt x="11683" y="51"/>
                    </a:lnTo>
                    <a:lnTo>
                      <a:pt x="11695" y="51"/>
                    </a:lnTo>
                    <a:lnTo>
                      <a:pt x="11683" y="49"/>
                    </a:lnTo>
                    <a:lnTo>
                      <a:pt x="11670" y="47"/>
                    </a:lnTo>
                    <a:lnTo>
                      <a:pt x="11658" y="44"/>
                    </a:lnTo>
                    <a:lnTo>
                      <a:pt x="11647" y="41"/>
                    </a:lnTo>
                    <a:lnTo>
                      <a:pt x="11638" y="39"/>
                    </a:lnTo>
                    <a:lnTo>
                      <a:pt x="11629" y="36"/>
                    </a:lnTo>
                    <a:lnTo>
                      <a:pt x="11622" y="34"/>
                    </a:lnTo>
                    <a:lnTo>
                      <a:pt x="11647" y="29"/>
                    </a:lnTo>
                    <a:lnTo>
                      <a:pt x="11673" y="24"/>
                    </a:lnTo>
                    <a:lnTo>
                      <a:pt x="11699" y="18"/>
                    </a:lnTo>
                    <a:lnTo>
                      <a:pt x="11724" y="14"/>
                    </a:lnTo>
                    <a:lnTo>
                      <a:pt x="11738" y="13"/>
                    </a:lnTo>
                    <a:lnTo>
                      <a:pt x="11751" y="11"/>
                    </a:lnTo>
                    <a:lnTo>
                      <a:pt x="11764" y="11"/>
                    </a:lnTo>
                    <a:lnTo>
                      <a:pt x="11777" y="11"/>
                    </a:lnTo>
                    <a:lnTo>
                      <a:pt x="11790" y="13"/>
                    </a:lnTo>
                    <a:lnTo>
                      <a:pt x="11802" y="13"/>
                    </a:lnTo>
                    <a:lnTo>
                      <a:pt x="11815" y="14"/>
                    </a:lnTo>
                    <a:lnTo>
                      <a:pt x="11828" y="18"/>
                    </a:lnTo>
                    <a:lnTo>
                      <a:pt x="11826" y="18"/>
                    </a:lnTo>
                    <a:lnTo>
                      <a:pt x="11825" y="18"/>
                    </a:lnTo>
                    <a:lnTo>
                      <a:pt x="11821" y="18"/>
                    </a:lnTo>
                    <a:lnTo>
                      <a:pt x="11817" y="18"/>
                    </a:lnTo>
                    <a:lnTo>
                      <a:pt x="11812" y="18"/>
                    </a:lnTo>
                    <a:lnTo>
                      <a:pt x="11823" y="24"/>
                    </a:lnTo>
                    <a:lnTo>
                      <a:pt x="11833" y="28"/>
                    </a:lnTo>
                    <a:lnTo>
                      <a:pt x="11843" y="31"/>
                    </a:lnTo>
                    <a:lnTo>
                      <a:pt x="11852" y="33"/>
                    </a:lnTo>
                    <a:lnTo>
                      <a:pt x="11859" y="34"/>
                    </a:lnTo>
                    <a:lnTo>
                      <a:pt x="11867" y="34"/>
                    </a:lnTo>
                    <a:lnTo>
                      <a:pt x="11879" y="34"/>
                    </a:lnTo>
                    <a:lnTo>
                      <a:pt x="11874" y="29"/>
                    </a:lnTo>
                    <a:lnTo>
                      <a:pt x="11869" y="26"/>
                    </a:lnTo>
                    <a:lnTo>
                      <a:pt x="11866" y="21"/>
                    </a:lnTo>
                    <a:lnTo>
                      <a:pt x="11863" y="20"/>
                    </a:lnTo>
                    <a:lnTo>
                      <a:pt x="11859" y="18"/>
                    </a:lnTo>
                    <a:lnTo>
                      <a:pt x="11858" y="18"/>
                    </a:lnTo>
                    <a:lnTo>
                      <a:pt x="11871" y="14"/>
                    </a:lnTo>
                    <a:lnTo>
                      <a:pt x="11886" y="13"/>
                    </a:lnTo>
                    <a:lnTo>
                      <a:pt x="11899" y="9"/>
                    </a:lnTo>
                    <a:lnTo>
                      <a:pt x="11915" y="5"/>
                    </a:lnTo>
                    <a:lnTo>
                      <a:pt x="11930" y="3"/>
                    </a:lnTo>
                    <a:lnTo>
                      <a:pt x="11946" y="1"/>
                    </a:lnTo>
                    <a:lnTo>
                      <a:pt x="11966" y="0"/>
                    </a:lnTo>
                    <a:lnTo>
                      <a:pt x="11973" y="7"/>
                    </a:lnTo>
                    <a:lnTo>
                      <a:pt x="11978" y="11"/>
                    </a:lnTo>
                    <a:lnTo>
                      <a:pt x="11985" y="14"/>
                    </a:lnTo>
                    <a:lnTo>
                      <a:pt x="11991" y="16"/>
                    </a:lnTo>
                    <a:lnTo>
                      <a:pt x="11998" y="16"/>
                    </a:lnTo>
                    <a:lnTo>
                      <a:pt x="12004" y="18"/>
                    </a:lnTo>
                    <a:lnTo>
                      <a:pt x="12016" y="18"/>
                    </a:lnTo>
                    <a:lnTo>
                      <a:pt x="12022" y="18"/>
                    </a:lnTo>
                    <a:lnTo>
                      <a:pt x="12027" y="18"/>
                    </a:lnTo>
                    <a:lnTo>
                      <a:pt x="12033" y="18"/>
                    </a:lnTo>
                    <a:lnTo>
                      <a:pt x="12035" y="18"/>
                    </a:lnTo>
                    <a:lnTo>
                      <a:pt x="12037" y="18"/>
                    </a:lnTo>
                    <a:lnTo>
                      <a:pt x="12040" y="18"/>
                    </a:lnTo>
                    <a:lnTo>
                      <a:pt x="12042" y="18"/>
                    </a:lnTo>
                    <a:lnTo>
                      <a:pt x="12044" y="18"/>
                    </a:lnTo>
                    <a:lnTo>
                      <a:pt x="12046" y="18"/>
                    </a:lnTo>
                    <a:lnTo>
                      <a:pt x="12190" y="18"/>
                    </a:lnTo>
                    <a:lnTo>
                      <a:pt x="12207" y="18"/>
                    </a:lnTo>
                    <a:lnTo>
                      <a:pt x="12225" y="18"/>
                    </a:lnTo>
                    <a:lnTo>
                      <a:pt x="12241" y="18"/>
                    </a:lnTo>
                    <a:lnTo>
                      <a:pt x="12258" y="20"/>
                    </a:lnTo>
                    <a:lnTo>
                      <a:pt x="12273" y="21"/>
                    </a:lnTo>
                    <a:lnTo>
                      <a:pt x="12289" y="26"/>
                    </a:lnTo>
                    <a:lnTo>
                      <a:pt x="12308" y="29"/>
                    </a:lnTo>
                    <a:lnTo>
                      <a:pt x="12327" y="34"/>
                    </a:lnTo>
                    <a:lnTo>
                      <a:pt x="12318" y="39"/>
                    </a:lnTo>
                    <a:lnTo>
                      <a:pt x="12356" y="36"/>
                    </a:lnTo>
                    <a:lnTo>
                      <a:pt x="12394" y="34"/>
                    </a:lnTo>
                    <a:lnTo>
                      <a:pt x="12399" y="39"/>
                    </a:lnTo>
                    <a:lnTo>
                      <a:pt x="12402" y="41"/>
                    </a:lnTo>
                    <a:lnTo>
                      <a:pt x="12404" y="42"/>
                    </a:lnTo>
                    <a:lnTo>
                      <a:pt x="12408" y="42"/>
                    </a:lnTo>
                    <a:lnTo>
                      <a:pt x="12411" y="42"/>
                    </a:lnTo>
                    <a:lnTo>
                      <a:pt x="12415" y="42"/>
                    </a:lnTo>
                    <a:lnTo>
                      <a:pt x="12421" y="42"/>
                    </a:lnTo>
                    <a:lnTo>
                      <a:pt x="12426" y="41"/>
                    </a:lnTo>
                    <a:lnTo>
                      <a:pt x="12434" y="39"/>
                    </a:lnTo>
                    <a:lnTo>
                      <a:pt x="12439" y="36"/>
                    </a:lnTo>
                    <a:lnTo>
                      <a:pt x="12447" y="34"/>
                    </a:lnTo>
                    <a:lnTo>
                      <a:pt x="12472" y="34"/>
                    </a:lnTo>
                    <a:lnTo>
                      <a:pt x="12498" y="34"/>
                    </a:lnTo>
                    <a:lnTo>
                      <a:pt x="12511" y="34"/>
                    </a:lnTo>
                    <a:lnTo>
                      <a:pt x="12524" y="33"/>
                    </a:lnTo>
                    <a:lnTo>
                      <a:pt x="12536" y="31"/>
                    </a:lnTo>
                    <a:lnTo>
                      <a:pt x="12548" y="31"/>
                    </a:lnTo>
                    <a:lnTo>
                      <a:pt x="12554" y="31"/>
                    </a:lnTo>
                    <a:lnTo>
                      <a:pt x="12559" y="33"/>
                    </a:lnTo>
                    <a:lnTo>
                      <a:pt x="12562" y="33"/>
                    </a:lnTo>
                    <a:lnTo>
                      <a:pt x="12569" y="34"/>
                    </a:lnTo>
                    <a:lnTo>
                      <a:pt x="12572" y="39"/>
                    </a:lnTo>
                    <a:lnTo>
                      <a:pt x="12577" y="42"/>
                    </a:lnTo>
                    <a:lnTo>
                      <a:pt x="12582" y="46"/>
                    </a:lnTo>
                    <a:lnTo>
                      <a:pt x="12585" y="51"/>
                    </a:lnTo>
                    <a:lnTo>
                      <a:pt x="12583" y="51"/>
                    </a:lnTo>
                    <a:lnTo>
                      <a:pt x="12582" y="51"/>
                    </a:lnTo>
                    <a:lnTo>
                      <a:pt x="12579" y="51"/>
                    </a:lnTo>
                    <a:lnTo>
                      <a:pt x="12575" y="51"/>
                    </a:lnTo>
                    <a:lnTo>
                      <a:pt x="12572" y="51"/>
                    </a:lnTo>
                    <a:lnTo>
                      <a:pt x="12570" y="51"/>
                    </a:lnTo>
                    <a:lnTo>
                      <a:pt x="12567" y="51"/>
                    </a:lnTo>
                    <a:lnTo>
                      <a:pt x="12572" y="54"/>
                    </a:lnTo>
                    <a:lnTo>
                      <a:pt x="12577" y="55"/>
                    </a:lnTo>
                    <a:lnTo>
                      <a:pt x="12582" y="57"/>
                    </a:lnTo>
                    <a:lnTo>
                      <a:pt x="12583" y="61"/>
                    </a:lnTo>
                    <a:lnTo>
                      <a:pt x="12587" y="64"/>
                    </a:lnTo>
                    <a:lnTo>
                      <a:pt x="12590" y="66"/>
                    </a:lnTo>
                    <a:lnTo>
                      <a:pt x="12595" y="70"/>
                    </a:lnTo>
                    <a:lnTo>
                      <a:pt x="12600" y="70"/>
                    </a:lnTo>
                    <a:lnTo>
                      <a:pt x="12598" y="72"/>
                    </a:lnTo>
                    <a:lnTo>
                      <a:pt x="12594" y="75"/>
                    </a:lnTo>
                    <a:lnTo>
                      <a:pt x="12590" y="77"/>
                    </a:lnTo>
                    <a:lnTo>
                      <a:pt x="12585" y="81"/>
                    </a:lnTo>
                    <a:lnTo>
                      <a:pt x="12579" y="85"/>
                    </a:lnTo>
                    <a:lnTo>
                      <a:pt x="12574" y="87"/>
                    </a:lnTo>
                    <a:lnTo>
                      <a:pt x="12583" y="85"/>
                    </a:lnTo>
                    <a:lnTo>
                      <a:pt x="12592" y="81"/>
                    </a:lnTo>
                    <a:lnTo>
                      <a:pt x="12602" y="77"/>
                    </a:lnTo>
                    <a:lnTo>
                      <a:pt x="12610" y="75"/>
                    </a:lnTo>
                    <a:lnTo>
                      <a:pt x="12620" y="72"/>
                    </a:lnTo>
                    <a:lnTo>
                      <a:pt x="12629" y="70"/>
                    </a:lnTo>
                    <a:lnTo>
                      <a:pt x="12636" y="70"/>
                    </a:lnTo>
                    <a:lnTo>
                      <a:pt x="12640" y="70"/>
                    </a:lnTo>
                    <a:lnTo>
                      <a:pt x="12644" y="70"/>
                    </a:lnTo>
                    <a:lnTo>
                      <a:pt x="12649" y="70"/>
                    </a:lnTo>
                    <a:lnTo>
                      <a:pt x="12655" y="70"/>
                    </a:lnTo>
                    <a:lnTo>
                      <a:pt x="12668" y="70"/>
                    </a:lnTo>
                    <a:lnTo>
                      <a:pt x="12669" y="70"/>
                    </a:lnTo>
                    <a:lnTo>
                      <a:pt x="12674" y="70"/>
                    </a:lnTo>
                    <a:lnTo>
                      <a:pt x="12679" y="70"/>
                    </a:lnTo>
                    <a:lnTo>
                      <a:pt x="12681" y="70"/>
                    </a:lnTo>
                    <a:lnTo>
                      <a:pt x="12682" y="70"/>
                    </a:lnTo>
                    <a:lnTo>
                      <a:pt x="12684" y="70"/>
                    </a:lnTo>
                    <a:lnTo>
                      <a:pt x="12686" y="70"/>
                    </a:lnTo>
                    <a:lnTo>
                      <a:pt x="12689" y="70"/>
                    </a:lnTo>
                    <a:lnTo>
                      <a:pt x="12690" y="70"/>
                    </a:lnTo>
                    <a:lnTo>
                      <a:pt x="12697" y="70"/>
                    </a:lnTo>
                    <a:lnTo>
                      <a:pt x="12705" y="70"/>
                    </a:lnTo>
                    <a:lnTo>
                      <a:pt x="12720" y="72"/>
                    </a:lnTo>
                    <a:lnTo>
                      <a:pt x="12727" y="74"/>
                    </a:lnTo>
                    <a:lnTo>
                      <a:pt x="12732" y="74"/>
                    </a:lnTo>
                    <a:lnTo>
                      <a:pt x="12740" y="75"/>
                    </a:lnTo>
                    <a:lnTo>
                      <a:pt x="12745" y="77"/>
                    </a:lnTo>
                    <a:lnTo>
                      <a:pt x="12750" y="79"/>
                    </a:lnTo>
                    <a:lnTo>
                      <a:pt x="12753" y="81"/>
                    </a:lnTo>
                    <a:lnTo>
                      <a:pt x="12755" y="82"/>
                    </a:lnTo>
                    <a:lnTo>
                      <a:pt x="12756" y="87"/>
                    </a:lnTo>
                    <a:close/>
                    <a:moveTo>
                      <a:pt x="9948" y="177"/>
                    </a:moveTo>
                    <a:lnTo>
                      <a:pt x="9926" y="180"/>
                    </a:lnTo>
                    <a:lnTo>
                      <a:pt x="9938" y="179"/>
                    </a:lnTo>
                    <a:lnTo>
                      <a:pt x="9956" y="179"/>
                    </a:lnTo>
                    <a:lnTo>
                      <a:pt x="9973" y="179"/>
                    </a:lnTo>
                    <a:lnTo>
                      <a:pt x="9992" y="179"/>
                    </a:lnTo>
                    <a:lnTo>
                      <a:pt x="10009" y="181"/>
                    </a:lnTo>
                    <a:lnTo>
                      <a:pt x="10025" y="182"/>
                    </a:lnTo>
                    <a:lnTo>
                      <a:pt x="10044" y="184"/>
                    </a:lnTo>
                    <a:lnTo>
                      <a:pt x="10077" y="189"/>
                    </a:lnTo>
                    <a:lnTo>
                      <a:pt x="10050" y="184"/>
                    </a:lnTo>
                    <a:lnTo>
                      <a:pt x="10025" y="181"/>
                    </a:lnTo>
                    <a:lnTo>
                      <a:pt x="9999" y="177"/>
                    </a:lnTo>
                    <a:lnTo>
                      <a:pt x="9973" y="177"/>
                    </a:lnTo>
                    <a:lnTo>
                      <a:pt x="9948" y="177"/>
                    </a:lnTo>
                    <a:close/>
                    <a:moveTo>
                      <a:pt x="10300" y="207"/>
                    </a:moveTo>
                    <a:lnTo>
                      <a:pt x="10292" y="202"/>
                    </a:lnTo>
                    <a:lnTo>
                      <a:pt x="10285" y="201"/>
                    </a:lnTo>
                    <a:lnTo>
                      <a:pt x="10278" y="201"/>
                    </a:lnTo>
                    <a:lnTo>
                      <a:pt x="10271" y="199"/>
                    </a:lnTo>
                    <a:lnTo>
                      <a:pt x="10263" y="199"/>
                    </a:lnTo>
                    <a:lnTo>
                      <a:pt x="10254" y="201"/>
                    </a:lnTo>
                    <a:lnTo>
                      <a:pt x="10246" y="201"/>
                    </a:lnTo>
                    <a:lnTo>
                      <a:pt x="10238" y="202"/>
                    </a:lnTo>
                    <a:lnTo>
                      <a:pt x="10218" y="207"/>
                    </a:lnTo>
                    <a:lnTo>
                      <a:pt x="10200" y="212"/>
                    </a:lnTo>
                    <a:lnTo>
                      <a:pt x="10182" y="217"/>
                    </a:lnTo>
                    <a:lnTo>
                      <a:pt x="10162" y="223"/>
                    </a:lnTo>
                    <a:lnTo>
                      <a:pt x="10137" y="223"/>
                    </a:lnTo>
                    <a:lnTo>
                      <a:pt x="10114" y="225"/>
                    </a:lnTo>
                    <a:lnTo>
                      <a:pt x="10090" y="225"/>
                    </a:lnTo>
                    <a:lnTo>
                      <a:pt x="10068" y="227"/>
                    </a:lnTo>
                    <a:lnTo>
                      <a:pt x="10045" y="228"/>
                    </a:lnTo>
                    <a:lnTo>
                      <a:pt x="10022" y="230"/>
                    </a:lnTo>
                    <a:lnTo>
                      <a:pt x="9997" y="236"/>
                    </a:lnTo>
                    <a:lnTo>
                      <a:pt x="9983" y="238"/>
                    </a:lnTo>
                    <a:lnTo>
                      <a:pt x="10010" y="240"/>
                    </a:lnTo>
                    <a:lnTo>
                      <a:pt x="10042" y="240"/>
                    </a:lnTo>
                    <a:lnTo>
                      <a:pt x="10075" y="240"/>
                    </a:lnTo>
                    <a:lnTo>
                      <a:pt x="10108" y="238"/>
                    </a:lnTo>
                    <a:lnTo>
                      <a:pt x="10144" y="234"/>
                    </a:lnTo>
                    <a:lnTo>
                      <a:pt x="10177" y="230"/>
                    </a:lnTo>
                    <a:lnTo>
                      <a:pt x="10210" y="225"/>
                    </a:lnTo>
                    <a:lnTo>
                      <a:pt x="10226" y="222"/>
                    </a:lnTo>
                    <a:lnTo>
                      <a:pt x="10241" y="219"/>
                    </a:lnTo>
                    <a:lnTo>
                      <a:pt x="10258" y="215"/>
                    </a:lnTo>
                    <a:lnTo>
                      <a:pt x="10272" y="214"/>
                    </a:lnTo>
                    <a:lnTo>
                      <a:pt x="10285" y="210"/>
                    </a:lnTo>
                    <a:lnTo>
                      <a:pt x="10300" y="207"/>
                    </a:lnTo>
                    <a:close/>
                    <a:moveTo>
                      <a:pt x="9996" y="725"/>
                    </a:moveTo>
                    <a:lnTo>
                      <a:pt x="9991" y="725"/>
                    </a:lnTo>
                    <a:lnTo>
                      <a:pt x="9977" y="724"/>
                    </a:lnTo>
                    <a:lnTo>
                      <a:pt x="9964" y="724"/>
                    </a:lnTo>
                    <a:lnTo>
                      <a:pt x="9951" y="722"/>
                    </a:lnTo>
                    <a:lnTo>
                      <a:pt x="9938" y="719"/>
                    </a:lnTo>
                    <a:lnTo>
                      <a:pt x="9943" y="724"/>
                    </a:lnTo>
                    <a:lnTo>
                      <a:pt x="9951" y="725"/>
                    </a:lnTo>
                    <a:lnTo>
                      <a:pt x="9956" y="727"/>
                    </a:lnTo>
                    <a:lnTo>
                      <a:pt x="9963" y="727"/>
                    </a:lnTo>
                    <a:lnTo>
                      <a:pt x="9968" y="727"/>
                    </a:lnTo>
                    <a:lnTo>
                      <a:pt x="9971" y="727"/>
                    </a:lnTo>
                    <a:lnTo>
                      <a:pt x="9983" y="727"/>
                    </a:lnTo>
                    <a:lnTo>
                      <a:pt x="9996" y="725"/>
                    </a:lnTo>
                    <a:close/>
                    <a:moveTo>
                      <a:pt x="10780" y="515"/>
                    </a:moveTo>
                    <a:lnTo>
                      <a:pt x="10801" y="510"/>
                    </a:lnTo>
                    <a:lnTo>
                      <a:pt x="10819" y="505"/>
                    </a:lnTo>
                    <a:lnTo>
                      <a:pt x="10815" y="505"/>
                    </a:lnTo>
                    <a:lnTo>
                      <a:pt x="10806" y="505"/>
                    </a:lnTo>
                    <a:lnTo>
                      <a:pt x="10796" y="507"/>
                    </a:lnTo>
                    <a:lnTo>
                      <a:pt x="10791" y="507"/>
                    </a:lnTo>
                    <a:lnTo>
                      <a:pt x="10787" y="510"/>
                    </a:lnTo>
                    <a:lnTo>
                      <a:pt x="10784" y="511"/>
                    </a:lnTo>
                    <a:lnTo>
                      <a:pt x="10780" y="515"/>
                    </a:lnTo>
                    <a:close/>
                    <a:moveTo>
                      <a:pt x="10646" y="602"/>
                    </a:moveTo>
                    <a:lnTo>
                      <a:pt x="10647" y="604"/>
                    </a:lnTo>
                    <a:lnTo>
                      <a:pt x="10651" y="605"/>
                    </a:lnTo>
                    <a:lnTo>
                      <a:pt x="10656" y="609"/>
                    </a:lnTo>
                    <a:lnTo>
                      <a:pt x="10662" y="611"/>
                    </a:lnTo>
                    <a:lnTo>
                      <a:pt x="10667" y="611"/>
                    </a:lnTo>
                    <a:lnTo>
                      <a:pt x="10674" y="612"/>
                    </a:lnTo>
                    <a:lnTo>
                      <a:pt x="10687" y="612"/>
                    </a:lnTo>
                    <a:lnTo>
                      <a:pt x="10702" y="612"/>
                    </a:lnTo>
                    <a:lnTo>
                      <a:pt x="10717" y="611"/>
                    </a:lnTo>
                    <a:lnTo>
                      <a:pt x="10732" y="605"/>
                    </a:lnTo>
                    <a:lnTo>
                      <a:pt x="10723" y="605"/>
                    </a:lnTo>
                    <a:lnTo>
                      <a:pt x="10708" y="604"/>
                    </a:lnTo>
                    <a:lnTo>
                      <a:pt x="10695" y="604"/>
                    </a:lnTo>
                    <a:lnTo>
                      <a:pt x="10682" y="604"/>
                    </a:lnTo>
                    <a:lnTo>
                      <a:pt x="10669" y="602"/>
                    </a:lnTo>
                    <a:lnTo>
                      <a:pt x="10658" y="602"/>
                    </a:lnTo>
                    <a:lnTo>
                      <a:pt x="10651" y="602"/>
                    </a:lnTo>
                    <a:lnTo>
                      <a:pt x="10646" y="602"/>
                    </a:lnTo>
                    <a:close/>
                    <a:moveTo>
                      <a:pt x="11090" y="189"/>
                    </a:moveTo>
                    <a:lnTo>
                      <a:pt x="11069" y="189"/>
                    </a:lnTo>
                    <a:lnTo>
                      <a:pt x="11053" y="192"/>
                    </a:lnTo>
                    <a:lnTo>
                      <a:pt x="11038" y="195"/>
                    </a:lnTo>
                    <a:lnTo>
                      <a:pt x="11021" y="197"/>
                    </a:lnTo>
                    <a:lnTo>
                      <a:pt x="11008" y="201"/>
                    </a:lnTo>
                    <a:lnTo>
                      <a:pt x="10995" y="204"/>
                    </a:lnTo>
                    <a:lnTo>
                      <a:pt x="10982" y="207"/>
                    </a:lnTo>
                    <a:lnTo>
                      <a:pt x="10985" y="207"/>
                    </a:lnTo>
                    <a:lnTo>
                      <a:pt x="10987" y="207"/>
                    </a:lnTo>
                    <a:lnTo>
                      <a:pt x="10988" y="207"/>
                    </a:lnTo>
                    <a:lnTo>
                      <a:pt x="11005" y="207"/>
                    </a:lnTo>
                    <a:lnTo>
                      <a:pt x="11020" y="204"/>
                    </a:lnTo>
                    <a:lnTo>
                      <a:pt x="11036" y="202"/>
                    </a:lnTo>
                    <a:lnTo>
                      <a:pt x="11053" y="199"/>
                    </a:lnTo>
                    <a:lnTo>
                      <a:pt x="11069" y="195"/>
                    </a:lnTo>
                    <a:lnTo>
                      <a:pt x="11090" y="189"/>
                    </a:lnTo>
                    <a:close/>
                    <a:moveTo>
                      <a:pt x="11469" y="343"/>
                    </a:moveTo>
                    <a:lnTo>
                      <a:pt x="11457" y="343"/>
                    </a:lnTo>
                    <a:lnTo>
                      <a:pt x="11443" y="343"/>
                    </a:lnTo>
                    <a:lnTo>
                      <a:pt x="11426" y="343"/>
                    </a:lnTo>
                    <a:lnTo>
                      <a:pt x="11417" y="343"/>
                    </a:lnTo>
                    <a:lnTo>
                      <a:pt x="11410" y="343"/>
                    </a:lnTo>
                    <a:lnTo>
                      <a:pt x="11405" y="343"/>
                    </a:lnTo>
                    <a:lnTo>
                      <a:pt x="11402" y="343"/>
                    </a:lnTo>
                    <a:lnTo>
                      <a:pt x="11398" y="343"/>
                    </a:lnTo>
                    <a:lnTo>
                      <a:pt x="11397" y="343"/>
                    </a:lnTo>
                    <a:lnTo>
                      <a:pt x="11390" y="345"/>
                    </a:lnTo>
                    <a:lnTo>
                      <a:pt x="11383" y="347"/>
                    </a:lnTo>
                    <a:lnTo>
                      <a:pt x="11378" y="350"/>
                    </a:lnTo>
                    <a:lnTo>
                      <a:pt x="11370" y="354"/>
                    </a:lnTo>
                    <a:lnTo>
                      <a:pt x="11365" y="360"/>
                    </a:lnTo>
                    <a:lnTo>
                      <a:pt x="11389" y="360"/>
                    </a:lnTo>
                    <a:lnTo>
                      <a:pt x="11402" y="360"/>
                    </a:lnTo>
                    <a:lnTo>
                      <a:pt x="11417" y="358"/>
                    </a:lnTo>
                    <a:lnTo>
                      <a:pt x="11430" y="355"/>
                    </a:lnTo>
                    <a:lnTo>
                      <a:pt x="11443" y="352"/>
                    </a:lnTo>
                    <a:lnTo>
                      <a:pt x="11456" y="349"/>
                    </a:lnTo>
                    <a:lnTo>
                      <a:pt x="11469" y="343"/>
                    </a:lnTo>
                    <a:close/>
                    <a:moveTo>
                      <a:pt x="11884" y="204"/>
                    </a:moveTo>
                    <a:lnTo>
                      <a:pt x="11836" y="212"/>
                    </a:lnTo>
                    <a:lnTo>
                      <a:pt x="11787" y="217"/>
                    </a:lnTo>
                    <a:lnTo>
                      <a:pt x="11744" y="223"/>
                    </a:lnTo>
                    <a:lnTo>
                      <a:pt x="11745" y="223"/>
                    </a:lnTo>
                    <a:lnTo>
                      <a:pt x="11749" y="223"/>
                    </a:lnTo>
                    <a:lnTo>
                      <a:pt x="11752" y="223"/>
                    </a:lnTo>
                    <a:lnTo>
                      <a:pt x="11759" y="223"/>
                    </a:lnTo>
                    <a:lnTo>
                      <a:pt x="11764" y="223"/>
                    </a:lnTo>
                    <a:lnTo>
                      <a:pt x="11777" y="223"/>
                    </a:lnTo>
                    <a:lnTo>
                      <a:pt x="11782" y="223"/>
                    </a:lnTo>
                    <a:lnTo>
                      <a:pt x="11823" y="222"/>
                    </a:lnTo>
                    <a:lnTo>
                      <a:pt x="11866" y="217"/>
                    </a:lnTo>
                    <a:lnTo>
                      <a:pt x="11907" y="214"/>
                    </a:lnTo>
                    <a:lnTo>
                      <a:pt x="11952" y="209"/>
                    </a:lnTo>
                    <a:lnTo>
                      <a:pt x="11996" y="202"/>
                    </a:lnTo>
                    <a:lnTo>
                      <a:pt x="12086" y="189"/>
                    </a:lnTo>
                    <a:lnTo>
                      <a:pt x="12035" y="194"/>
                    </a:lnTo>
                    <a:lnTo>
                      <a:pt x="11983" y="195"/>
                    </a:lnTo>
                    <a:lnTo>
                      <a:pt x="11933" y="201"/>
                    </a:lnTo>
                    <a:lnTo>
                      <a:pt x="11884" y="204"/>
                    </a:lnTo>
                    <a:close/>
                    <a:moveTo>
                      <a:pt x="12147" y="49"/>
                    </a:moveTo>
                    <a:lnTo>
                      <a:pt x="12160" y="49"/>
                    </a:lnTo>
                    <a:lnTo>
                      <a:pt x="12149" y="47"/>
                    </a:lnTo>
                    <a:lnTo>
                      <a:pt x="12133" y="47"/>
                    </a:lnTo>
                    <a:lnTo>
                      <a:pt x="12116" y="47"/>
                    </a:lnTo>
                    <a:lnTo>
                      <a:pt x="12100" y="47"/>
                    </a:lnTo>
                    <a:lnTo>
                      <a:pt x="12085" y="49"/>
                    </a:lnTo>
                    <a:lnTo>
                      <a:pt x="12068" y="51"/>
                    </a:lnTo>
                    <a:lnTo>
                      <a:pt x="12106" y="51"/>
                    </a:lnTo>
                    <a:lnTo>
                      <a:pt x="12147" y="49"/>
                    </a:lnTo>
                    <a:close/>
                    <a:moveTo>
                      <a:pt x="9634" y="688"/>
                    </a:moveTo>
                    <a:lnTo>
                      <a:pt x="9643" y="691"/>
                    </a:lnTo>
                    <a:lnTo>
                      <a:pt x="9650" y="692"/>
                    </a:lnTo>
                    <a:lnTo>
                      <a:pt x="9658" y="692"/>
                    </a:lnTo>
                    <a:lnTo>
                      <a:pt x="9660" y="692"/>
                    </a:lnTo>
                    <a:lnTo>
                      <a:pt x="9663" y="692"/>
                    </a:lnTo>
                    <a:lnTo>
                      <a:pt x="9667" y="692"/>
                    </a:lnTo>
                    <a:lnTo>
                      <a:pt x="9668" y="691"/>
                    </a:lnTo>
                    <a:lnTo>
                      <a:pt x="9673" y="688"/>
                    </a:lnTo>
                    <a:lnTo>
                      <a:pt x="9676" y="684"/>
                    </a:lnTo>
                    <a:lnTo>
                      <a:pt x="9675" y="684"/>
                    </a:lnTo>
                    <a:lnTo>
                      <a:pt x="9673" y="684"/>
                    </a:lnTo>
                    <a:lnTo>
                      <a:pt x="9668" y="684"/>
                    </a:lnTo>
                    <a:lnTo>
                      <a:pt x="9665" y="684"/>
                    </a:lnTo>
                    <a:lnTo>
                      <a:pt x="9662" y="684"/>
                    </a:lnTo>
                    <a:lnTo>
                      <a:pt x="9656" y="684"/>
                    </a:lnTo>
                    <a:lnTo>
                      <a:pt x="9645" y="684"/>
                    </a:lnTo>
                    <a:lnTo>
                      <a:pt x="9643" y="684"/>
                    </a:lnTo>
                    <a:lnTo>
                      <a:pt x="9642" y="684"/>
                    </a:lnTo>
                    <a:lnTo>
                      <a:pt x="9637" y="684"/>
                    </a:lnTo>
                    <a:lnTo>
                      <a:pt x="9634" y="684"/>
                    </a:lnTo>
                    <a:lnTo>
                      <a:pt x="9630" y="684"/>
                    </a:lnTo>
                    <a:lnTo>
                      <a:pt x="9625" y="684"/>
                    </a:lnTo>
                    <a:lnTo>
                      <a:pt x="9614" y="684"/>
                    </a:lnTo>
                    <a:lnTo>
                      <a:pt x="9625" y="686"/>
                    </a:lnTo>
                    <a:lnTo>
                      <a:pt x="9634" y="688"/>
                    </a:lnTo>
                    <a:close/>
                    <a:moveTo>
                      <a:pt x="10070" y="899"/>
                    </a:moveTo>
                    <a:lnTo>
                      <a:pt x="10077" y="897"/>
                    </a:lnTo>
                    <a:lnTo>
                      <a:pt x="10083" y="893"/>
                    </a:lnTo>
                    <a:lnTo>
                      <a:pt x="10088" y="893"/>
                    </a:lnTo>
                    <a:lnTo>
                      <a:pt x="10095" y="892"/>
                    </a:lnTo>
                    <a:lnTo>
                      <a:pt x="10108" y="892"/>
                    </a:lnTo>
                    <a:lnTo>
                      <a:pt x="10101" y="890"/>
                    </a:lnTo>
                    <a:lnTo>
                      <a:pt x="10093" y="885"/>
                    </a:lnTo>
                    <a:lnTo>
                      <a:pt x="10086" y="885"/>
                    </a:lnTo>
                    <a:lnTo>
                      <a:pt x="10077" y="884"/>
                    </a:lnTo>
                    <a:lnTo>
                      <a:pt x="10070" y="884"/>
                    </a:lnTo>
                    <a:lnTo>
                      <a:pt x="10060" y="885"/>
                    </a:lnTo>
                    <a:lnTo>
                      <a:pt x="10050" y="887"/>
                    </a:lnTo>
                    <a:lnTo>
                      <a:pt x="10044" y="890"/>
                    </a:lnTo>
                    <a:lnTo>
                      <a:pt x="10034" y="893"/>
                    </a:lnTo>
                    <a:lnTo>
                      <a:pt x="10027" y="895"/>
                    </a:lnTo>
                    <a:lnTo>
                      <a:pt x="10017" y="900"/>
                    </a:lnTo>
                    <a:lnTo>
                      <a:pt x="10012" y="905"/>
                    </a:lnTo>
                    <a:lnTo>
                      <a:pt x="10004" y="910"/>
                    </a:lnTo>
                    <a:lnTo>
                      <a:pt x="9999" y="915"/>
                    </a:lnTo>
                    <a:lnTo>
                      <a:pt x="9996" y="921"/>
                    </a:lnTo>
                    <a:lnTo>
                      <a:pt x="9992" y="926"/>
                    </a:lnTo>
                    <a:lnTo>
                      <a:pt x="9997" y="926"/>
                    </a:lnTo>
                    <a:lnTo>
                      <a:pt x="10001" y="926"/>
                    </a:lnTo>
                    <a:lnTo>
                      <a:pt x="10004" y="926"/>
                    </a:lnTo>
                    <a:lnTo>
                      <a:pt x="10009" y="926"/>
                    </a:lnTo>
                    <a:lnTo>
                      <a:pt x="10010" y="926"/>
                    </a:lnTo>
                    <a:lnTo>
                      <a:pt x="10014" y="926"/>
                    </a:lnTo>
                    <a:lnTo>
                      <a:pt x="10019" y="926"/>
                    </a:lnTo>
                    <a:lnTo>
                      <a:pt x="10025" y="926"/>
                    </a:lnTo>
                    <a:lnTo>
                      <a:pt x="10027" y="925"/>
                    </a:lnTo>
                    <a:lnTo>
                      <a:pt x="10030" y="923"/>
                    </a:lnTo>
                    <a:lnTo>
                      <a:pt x="10034" y="921"/>
                    </a:lnTo>
                    <a:lnTo>
                      <a:pt x="10037" y="920"/>
                    </a:lnTo>
                    <a:lnTo>
                      <a:pt x="10040" y="920"/>
                    </a:lnTo>
                    <a:lnTo>
                      <a:pt x="10044" y="920"/>
                    </a:lnTo>
                    <a:lnTo>
                      <a:pt x="10049" y="921"/>
                    </a:lnTo>
                    <a:lnTo>
                      <a:pt x="10055" y="923"/>
                    </a:lnTo>
                    <a:lnTo>
                      <a:pt x="10062" y="925"/>
                    </a:lnTo>
                    <a:lnTo>
                      <a:pt x="10068" y="926"/>
                    </a:lnTo>
                    <a:lnTo>
                      <a:pt x="10075" y="926"/>
                    </a:lnTo>
                    <a:lnTo>
                      <a:pt x="10070" y="921"/>
                    </a:lnTo>
                    <a:lnTo>
                      <a:pt x="10063" y="917"/>
                    </a:lnTo>
                    <a:lnTo>
                      <a:pt x="10062" y="913"/>
                    </a:lnTo>
                    <a:lnTo>
                      <a:pt x="10060" y="912"/>
                    </a:lnTo>
                    <a:lnTo>
                      <a:pt x="10058" y="910"/>
                    </a:lnTo>
                    <a:lnTo>
                      <a:pt x="10063" y="905"/>
                    </a:lnTo>
                    <a:lnTo>
                      <a:pt x="10070" y="899"/>
                    </a:lnTo>
                    <a:close/>
                    <a:moveTo>
                      <a:pt x="10485" y="642"/>
                    </a:moveTo>
                    <a:lnTo>
                      <a:pt x="10483" y="640"/>
                    </a:lnTo>
                    <a:lnTo>
                      <a:pt x="10481" y="640"/>
                    </a:lnTo>
                    <a:lnTo>
                      <a:pt x="10479" y="640"/>
                    </a:lnTo>
                    <a:lnTo>
                      <a:pt x="10473" y="642"/>
                    </a:lnTo>
                    <a:lnTo>
                      <a:pt x="10468" y="644"/>
                    </a:lnTo>
                    <a:lnTo>
                      <a:pt x="10463" y="646"/>
                    </a:lnTo>
                    <a:lnTo>
                      <a:pt x="10455" y="648"/>
                    </a:lnTo>
                    <a:lnTo>
                      <a:pt x="10463" y="648"/>
                    </a:lnTo>
                    <a:lnTo>
                      <a:pt x="10468" y="648"/>
                    </a:lnTo>
                    <a:lnTo>
                      <a:pt x="10473" y="648"/>
                    </a:lnTo>
                    <a:lnTo>
                      <a:pt x="10479" y="648"/>
                    </a:lnTo>
                    <a:lnTo>
                      <a:pt x="10483" y="648"/>
                    </a:lnTo>
                    <a:lnTo>
                      <a:pt x="10485" y="648"/>
                    </a:lnTo>
                    <a:lnTo>
                      <a:pt x="10486" y="648"/>
                    </a:lnTo>
                    <a:lnTo>
                      <a:pt x="10485" y="646"/>
                    </a:lnTo>
                    <a:lnTo>
                      <a:pt x="10485" y="644"/>
                    </a:lnTo>
                    <a:lnTo>
                      <a:pt x="10485" y="642"/>
                    </a:lnTo>
                    <a:close/>
                    <a:moveTo>
                      <a:pt x="8376" y="1784"/>
                    </a:moveTo>
                    <a:lnTo>
                      <a:pt x="8377" y="1784"/>
                    </a:lnTo>
                    <a:lnTo>
                      <a:pt x="8379" y="1781"/>
                    </a:lnTo>
                    <a:lnTo>
                      <a:pt x="8381" y="1781"/>
                    </a:lnTo>
                    <a:lnTo>
                      <a:pt x="8388" y="1781"/>
                    </a:lnTo>
                    <a:lnTo>
                      <a:pt x="8396" y="1779"/>
                    </a:lnTo>
                    <a:lnTo>
                      <a:pt x="8397" y="1779"/>
                    </a:lnTo>
                    <a:lnTo>
                      <a:pt x="8401" y="1778"/>
                    </a:lnTo>
                    <a:lnTo>
                      <a:pt x="8401" y="1776"/>
                    </a:lnTo>
                    <a:lnTo>
                      <a:pt x="8402" y="1774"/>
                    </a:lnTo>
                    <a:lnTo>
                      <a:pt x="8401" y="1772"/>
                    </a:lnTo>
                    <a:lnTo>
                      <a:pt x="8399" y="1771"/>
                    </a:lnTo>
                    <a:lnTo>
                      <a:pt x="8396" y="1766"/>
                    </a:lnTo>
                    <a:lnTo>
                      <a:pt x="8394" y="1764"/>
                    </a:lnTo>
                    <a:lnTo>
                      <a:pt x="8392" y="1764"/>
                    </a:lnTo>
                    <a:lnTo>
                      <a:pt x="8389" y="1763"/>
                    </a:lnTo>
                    <a:lnTo>
                      <a:pt x="8388" y="1763"/>
                    </a:lnTo>
                    <a:lnTo>
                      <a:pt x="8383" y="1763"/>
                    </a:lnTo>
                    <a:lnTo>
                      <a:pt x="8379" y="1761"/>
                    </a:lnTo>
                    <a:lnTo>
                      <a:pt x="8371" y="1761"/>
                    </a:lnTo>
                    <a:lnTo>
                      <a:pt x="8366" y="1759"/>
                    </a:lnTo>
                    <a:lnTo>
                      <a:pt x="8351" y="1759"/>
                    </a:lnTo>
                    <a:lnTo>
                      <a:pt x="8343" y="1759"/>
                    </a:lnTo>
                    <a:lnTo>
                      <a:pt x="8338" y="1761"/>
                    </a:lnTo>
                    <a:lnTo>
                      <a:pt x="8333" y="1761"/>
                    </a:lnTo>
                    <a:lnTo>
                      <a:pt x="8327" y="1764"/>
                    </a:lnTo>
                    <a:lnTo>
                      <a:pt x="8325" y="1766"/>
                    </a:lnTo>
                    <a:lnTo>
                      <a:pt x="8322" y="1771"/>
                    </a:lnTo>
                    <a:lnTo>
                      <a:pt x="8322" y="1774"/>
                    </a:lnTo>
                    <a:lnTo>
                      <a:pt x="8322" y="1776"/>
                    </a:lnTo>
                    <a:lnTo>
                      <a:pt x="8323" y="1779"/>
                    </a:lnTo>
                    <a:lnTo>
                      <a:pt x="8325" y="1784"/>
                    </a:lnTo>
                    <a:lnTo>
                      <a:pt x="8376" y="1784"/>
                    </a:lnTo>
                    <a:close/>
                    <a:moveTo>
                      <a:pt x="8817" y="1832"/>
                    </a:moveTo>
                    <a:lnTo>
                      <a:pt x="8820" y="1832"/>
                    </a:lnTo>
                    <a:lnTo>
                      <a:pt x="8824" y="1832"/>
                    </a:lnTo>
                    <a:lnTo>
                      <a:pt x="8827" y="1827"/>
                    </a:lnTo>
                    <a:lnTo>
                      <a:pt x="8831" y="1824"/>
                    </a:lnTo>
                    <a:lnTo>
                      <a:pt x="8838" y="1818"/>
                    </a:lnTo>
                    <a:lnTo>
                      <a:pt x="8837" y="1818"/>
                    </a:lnTo>
                    <a:lnTo>
                      <a:pt x="8835" y="1818"/>
                    </a:lnTo>
                    <a:lnTo>
                      <a:pt x="8831" y="1818"/>
                    </a:lnTo>
                    <a:lnTo>
                      <a:pt x="8827" y="1818"/>
                    </a:lnTo>
                    <a:lnTo>
                      <a:pt x="8822" y="1818"/>
                    </a:lnTo>
                    <a:lnTo>
                      <a:pt x="8814" y="1818"/>
                    </a:lnTo>
                    <a:lnTo>
                      <a:pt x="8804" y="1818"/>
                    </a:lnTo>
                    <a:lnTo>
                      <a:pt x="8809" y="1824"/>
                    </a:lnTo>
                    <a:lnTo>
                      <a:pt x="8812" y="1827"/>
                    </a:lnTo>
                    <a:lnTo>
                      <a:pt x="8817" y="1832"/>
                    </a:lnTo>
                    <a:close/>
                    <a:moveTo>
                      <a:pt x="8845" y="1817"/>
                    </a:moveTo>
                    <a:lnTo>
                      <a:pt x="8850" y="1818"/>
                    </a:lnTo>
                    <a:lnTo>
                      <a:pt x="8857" y="1818"/>
                    </a:lnTo>
                    <a:lnTo>
                      <a:pt x="8850" y="1811"/>
                    </a:lnTo>
                    <a:lnTo>
                      <a:pt x="8845" y="1807"/>
                    </a:lnTo>
                    <a:lnTo>
                      <a:pt x="8842" y="1804"/>
                    </a:lnTo>
                    <a:lnTo>
                      <a:pt x="8840" y="1802"/>
                    </a:lnTo>
                    <a:lnTo>
                      <a:pt x="8838" y="1800"/>
                    </a:lnTo>
                    <a:lnTo>
                      <a:pt x="8838" y="1805"/>
                    </a:lnTo>
                    <a:lnTo>
                      <a:pt x="8838" y="1809"/>
                    </a:lnTo>
                    <a:lnTo>
                      <a:pt x="8838" y="1812"/>
                    </a:lnTo>
                    <a:lnTo>
                      <a:pt x="8840" y="1815"/>
                    </a:lnTo>
                    <a:lnTo>
                      <a:pt x="8842" y="1817"/>
                    </a:lnTo>
                    <a:lnTo>
                      <a:pt x="8845" y="1817"/>
                    </a:lnTo>
                    <a:close/>
                    <a:moveTo>
                      <a:pt x="9141" y="1820"/>
                    </a:moveTo>
                    <a:lnTo>
                      <a:pt x="9138" y="1822"/>
                    </a:lnTo>
                    <a:lnTo>
                      <a:pt x="9132" y="1824"/>
                    </a:lnTo>
                    <a:lnTo>
                      <a:pt x="9128" y="1825"/>
                    </a:lnTo>
                    <a:lnTo>
                      <a:pt x="9125" y="1825"/>
                    </a:lnTo>
                    <a:lnTo>
                      <a:pt x="9120" y="1825"/>
                    </a:lnTo>
                    <a:lnTo>
                      <a:pt x="9115" y="1824"/>
                    </a:lnTo>
                    <a:lnTo>
                      <a:pt x="9112" y="1822"/>
                    </a:lnTo>
                    <a:lnTo>
                      <a:pt x="9105" y="1820"/>
                    </a:lnTo>
                    <a:lnTo>
                      <a:pt x="9102" y="1818"/>
                    </a:lnTo>
                    <a:lnTo>
                      <a:pt x="9097" y="1818"/>
                    </a:lnTo>
                    <a:lnTo>
                      <a:pt x="9092" y="1818"/>
                    </a:lnTo>
                    <a:lnTo>
                      <a:pt x="9086" y="1820"/>
                    </a:lnTo>
                    <a:lnTo>
                      <a:pt x="9084" y="1824"/>
                    </a:lnTo>
                    <a:lnTo>
                      <a:pt x="9082" y="1825"/>
                    </a:lnTo>
                    <a:lnTo>
                      <a:pt x="9080" y="1830"/>
                    </a:lnTo>
                    <a:lnTo>
                      <a:pt x="9080" y="1833"/>
                    </a:lnTo>
                    <a:lnTo>
                      <a:pt x="9080" y="1835"/>
                    </a:lnTo>
                    <a:lnTo>
                      <a:pt x="9072" y="1835"/>
                    </a:lnTo>
                    <a:lnTo>
                      <a:pt x="9067" y="1833"/>
                    </a:lnTo>
                    <a:lnTo>
                      <a:pt x="9059" y="1832"/>
                    </a:lnTo>
                    <a:lnTo>
                      <a:pt x="9054" y="1830"/>
                    </a:lnTo>
                    <a:lnTo>
                      <a:pt x="9047" y="1827"/>
                    </a:lnTo>
                    <a:lnTo>
                      <a:pt x="9043" y="1827"/>
                    </a:lnTo>
                    <a:lnTo>
                      <a:pt x="9041" y="1827"/>
                    </a:lnTo>
                    <a:lnTo>
                      <a:pt x="9038" y="1830"/>
                    </a:lnTo>
                    <a:lnTo>
                      <a:pt x="9034" y="1830"/>
                    </a:lnTo>
                    <a:lnTo>
                      <a:pt x="9031" y="1833"/>
                    </a:lnTo>
                    <a:lnTo>
                      <a:pt x="9028" y="1835"/>
                    </a:lnTo>
                    <a:lnTo>
                      <a:pt x="9034" y="1838"/>
                    </a:lnTo>
                    <a:lnTo>
                      <a:pt x="9039" y="1840"/>
                    </a:lnTo>
                    <a:lnTo>
                      <a:pt x="9046" y="1842"/>
                    </a:lnTo>
                    <a:lnTo>
                      <a:pt x="9051" y="1845"/>
                    </a:lnTo>
                    <a:lnTo>
                      <a:pt x="9059" y="1846"/>
                    </a:lnTo>
                    <a:lnTo>
                      <a:pt x="9069" y="1846"/>
                    </a:lnTo>
                    <a:lnTo>
                      <a:pt x="9072" y="1848"/>
                    </a:lnTo>
                    <a:lnTo>
                      <a:pt x="9077" y="1850"/>
                    </a:lnTo>
                    <a:lnTo>
                      <a:pt x="9080" y="1850"/>
                    </a:lnTo>
                    <a:lnTo>
                      <a:pt x="9084" y="1853"/>
                    </a:lnTo>
                    <a:lnTo>
                      <a:pt x="9087" y="1855"/>
                    </a:lnTo>
                    <a:lnTo>
                      <a:pt x="9089" y="1861"/>
                    </a:lnTo>
                    <a:lnTo>
                      <a:pt x="9093" y="1865"/>
                    </a:lnTo>
                    <a:lnTo>
                      <a:pt x="9097" y="1871"/>
                    </a:lnTo>
                    <a:lnTo>
                      <a:pt x="9100" y="1865"/>
                    </a:lnTo>
                    <a:lnTo>
                      <a:pt x="9105" y="1861"/>
                    </a:lnTo>
                    <a:lnTo>
                      <a:pt x="9112" y="1855"/>
                    </a:lnTo>
                    <a:lnTo>
                      <a:pt x="9119" y="1853"/>
                    </a:lnTo>
                    <a:lnTo>
                      <a:pt x="9128" y="1850"/>
                    </a:lnTo>
                    <a:lnTo>
                      <a:pt x="9135" y="1848"/>
                    </a:lnTo>
                    <a:lnTo>
                      <a:pt x="9154" y="1845"/>
                    </a:lnTo>
                    <a:lnTo>
                      <a:pt x="9163" y="1842"/>
                    </a:lnTo>
                    <a:lnTo>
                      <a:pt x="9171" y="1840"/>
                    </a:lnTo>
                    <a:lnTo>
                      <a:pt x="9178" y="1838"/>
                    </a:lnTo>
                    <a:lnTo>
                      <a:pt x="9186" y="1837"/>
                    </a:lnTo>
                    <a:lnTo>
                      <a:pt x="9191" y="1833"/>
                    </a:lnTo>
                    <a:lnTo>
                      <a:pt x="9196" y="1830"/>
                    </a:lnTo>
                    <a:lnTo>
                      <a:pt x="9199" y="1824"/>
                    </a:lnTo>
                    <a:lnTo>
                      <a:pt x="9199" y="1820"/>
                    </a:lnTo>
                    <a:lnTo>
                      <a:pt x="9200" y="1818"/>
                    </a:lnTo>
                    <a:lnTo>
                      <a:pt x="9148" y="1818"/>
                    </a:lnTo>
                    <a:lnTo>
                      <a:pt x="9141" y="1820"/>
                    </a:lnTo>
                    <a:close/>
                    <a:moveTo>
                      <a:pt x="9077" y="2049"/>
                    </a:moveTo>
                    <a:lnTo>
                      <a:pt x="9071" y="2046"/>
                    </a:lnTo>
                    <a:lnTo>
                      <a:pt x="9066" y="2044"/>
                    </a:lnTo>
                    <a:lnTo>
                      <a:pt x="9062" y="2044"/>
                    </a:lnTo>
                    <a:lnTo>
                      <a:pt x="9056" y="2044"/>
                    </a:lnTo>
                    <a:lnTo>
                      <a:pt x="9052" y="2046"/>
                    </a:lnTo>
                    <a:lnTo>
                      <a:pt x="9049" y="2049"/>
                    </a:lnTo>
                    <a:lnTo>
                      <a:pt x="9049" y="2054"/>
                    </a:lnTo>
                    <a:lnTo>
                      <a:pt x="9047" y="2060"/>
                    </a:lnTo>
                    <a:lnTo>
                      <a:pt x="9047" y="2066"/>
                    </a:lnTo>
                    <a:lnTo>
                      <a:pt x="9047" y="2080"/>
                    </a:lnTo>
                    <a:lnTo>
                      <a:pt x="9051" y="2073"/>
                    </a:lnTo>
                    <a:lnTo>
                      <a:pt x="9054" y="2069"/>
                    </a:lnTo>
                    <a:lnTo>
                      <a:pt x="9058" y="2066"/>
                    </a:lnTo>
                    <a:lnTo>
                      <a:pt x="9062" y="2064"/>
                    </a:lnTo>
                    <a:lnTo>
                      <a:pt x="9064" y="2062"/>
                    </a:lnTo>
                    <a:lnTo>
                      <a:pt x="9067" y="2062"/>
                    </a:lnTo>
                    <a:lnTo>
                      <a:pt x="9071" y="2062"/>
                    </a:lnTo>
                    <a:lnTo>
                      <a:pt x="9077" y="2062"/>
                    </a:lnTo>
                    <a:lnTo>
                      <a:pt x="9079" y="2060"/>
                    </a:lnTo>
                    <a:lnTo>
                      <a:pt x="9080" y="2060"/>
                    </a:lnTo>
                    <a:lnTo>
                      <a:pt x="9082" y="2059"/>
                    </a:lnTo>
                    <a:lnTo>
                      <a:pt x="9082" y="2057"/>
                    </a:lnTo>
                    <a:lnTo>
                      <a:pt x="9082" y="2054"/>
                    </a:lnTo>
                    <a:lnTo>
                      <a:pt x="9080" y="2052"/>
                    </a:lnTo>
                    <a:lnTo>
                      <a:pt x="9077" y="2049"/>
                    </a:lnTo>
                    <a:close/>
                    <a:moveTo>
                      <a:pt x="9219" y="1899"/>
                    </a:moveTo>
                    <a:lnTo>
                      <a:pt x="9209" y="1906"/>
                    </a:lnTo>
                    <a:lnTo>
                      <a:pt x="9199" y="1911"/>
                    </a:lnTo>
                    <a:lnTo>
                      <a:pt x="9189" y="1916"/>
                    </a:lnTo>
                    <a:lnTo>
                      <a:pt x="9176" y="1922"/>
                    </a:lnTo>
                    <a:lnTo>
                      <a:pt x="9163" y="1927"/>
                    </a:lnTo>
                    <a:lnTo>
                      <a:pt x="9150" y="1931"/>
                    </a:lnTo>
                    <a:lnTo>
                      <a:pt x="9140" y="1935"/>
                    </a:lnTo>
                    <a:lnTo>
                      <a:pt x="9126" y="1939"/>
                    </a:lnTo>
                    <a:lnTo>
                      <a:pt x="9117" y="1942"/>
                    </a:lnTo>
                    <a:lnTo>
                      <a:pt x="9105" y="1945"/>
                    </a:lnTo>
                    <a:lnTo>
                      <a:pt x="9097" y="1949"/>
                    </a:lnTo>
                    <a:lnTo>
                      <a:pt x="9092" y="1955"/>
                    </a:lnTo>
                    <a:lnTo>
                      <a:pt x="9097" y="1957"/>
                    </a:lnTo>
                    <a:lnTo>
                      <a:pt x="9104" y="1959"/>
                    </a:lnTo>
                    <a:lnTo>
                      <a:pt x="9110" y="1960"/>
                    </a:lnTo>
                    <a:lnTo>
                      <a:pt x="9117" y="1960"/>
                    </a:lnTo>
                    <a:lnTo>
                      <a:pt x="9123" y="1960"/>
                    </a:lnTo>
                    <a:lnTo>
                      <a:pt x="9130" y="1960"/>
                    </a:lnTo>
                    <a:lnTo>
                      <a:pt x="9135" y="1960"/>
                    </a:lnTo>
                    <a:lnTo>
                      <a:pt x="9141" y="1959"/>
                    </a:lnTo>
                    <a:lnTo>
                      <a:pt x="9154" y="1955"/>
                    </a:lnTo>
                    <a:lnTo>
                      <a:pt x="9166" y="1949"/>
                    </a:lnTo>
                    <a:lnTo>
                      <a:pt x="9179" y="1944"/>
                    </a:lnTo>
                    <a:lnTo>
                      <a:pt x="9193" y="1939"/>
                    </a:lnTo>
                    <a:lnTo>
                      <a:pt x="9196" y="1935"/>
                    </a:lnTo>
                    <a:lnTo>
                      <a:pt x="9202" y="1932"/>
                    </a:lnTo>
                    <a:lnTo>
                      <a:pt x="9206" y="1931"/>
                    </a:lnTo>
                    <a:lnTo>
                      <a:pt x="9211" y="1929"/>
                    </a:lnTo>
                    <a:lnTo>
                      <a:pt x="9224" y="1924"/>
                    </a:lnTo>
                    <a:lnTo>
                      <a:pt x="9235" y="1920"/>
                    </a:lnTo>
                    <a:lnTo>
                      <a:pt x="9248" y="1914"/>
                    </a:lnTo>
                    <a:lnTo>
                      <a:pt x="9255" y="1912"/>
                    </a:lnTo>
                    <a:lnTo>
                      <a:pt x="9261" y="1909"/>
                    </a:lnTo>
                    <a:lnTo>
                      <a:pt x="9267" y="1906"/>
                    </a:lnTo>
                    <a:lnTo>
                      <a:pt x="9270" y="1899"/>
                    </a:lnTo>
                    <a:lnTo>
                      <a:pt x="9276" y="1896"/>
                    </a:lnTo>
                    <a:lnTo>
                      <a:pt x="9280" y="1891"/>
                    </a:lnTo>
                    <a:lnTo>
                      <a:pt x="9272" y="1891"/>
                    </a:lnTo>
                    <a:lnTo>
                      <a:pt x="9268" y="1891"/>
                    </a:lnTo>
                    <a:lnTo>
                      <a:pt x="9267" y="1891"/>
                    </a:lnTo>
                    <a:lnTo>
                      <a:pt x="9263" y="1891"/>
                    </a:lnTo>
                    <a:lnTo>
                      <a:pt x="9261" y="1891"/>
                    </a:lnTo>
                    <a:lnTo>
                      <a:pt x="9250" y="1891"/>
                    </a:lnTo>
                    <a:lnTo>
                      <a:pt x="9239" y="1892"/>
                    </a:lnTo>
                    <a:lnTo>
                      <a:pt x="9227" y="1896"/>
                    </a:lnTo>
                    <a:lnTo>
                      <a:pt x="9219" y="1899"/>
                    </a:lnTo>
                    <a:close/>
                    <a:moveTo>
                      <a:pt x="9119" y="2011"/>
                    </a:moveTo>
                    <a:lnTo>
                      <a:pt x="9108" y="2014"/>
                    </a:lnTo>
                    <a:lnTo>
                      <a:pt x="9104" y="2016"/>
                    </a:lnTo>
                    <a:lnTo>
                      <a:pt x="9099" y="2018"/>
                    </a:lnTo>
                    <a:lnTo>
                      <a:pt x="9095" y="2021"/>
                    </a:lnTo>
                    <a:lnTo>
                      <a:pt x="9092" y="2025"/>
                    </a:lnTo>
                    <a:lnTo>
                      <a:pt x="9097" y="2025"/>
                    </a:lnTo>
                    <a:lnTo>
                      <a:pt x="9100" y="2025"/>
                    </a:lnTo>
                    <a:lnTo>
                      <a:pt x="9104" y="2025"/>
                    </a:lnTo>
                    <a:lnTo>
                      <a:pt x="9105" y="2025"/>
                    </a:lnTo>
                    <a:lnTo>
                      <a:pt x="9108" y="2025"/>
                    </a:lnTo>
                    <a:lnTo>
                      <a:pt x="9115" y="2023"/>
                    </a:lnTo>
                    <a:lnTo>
                      <a:pt x="9123" y="2021"/>
                    </a:lnTo>
                    <a:lnTo>
                      <a:pt x="9128" y="2018"/>
                    </a:lnTo>
                    <a:lnTo>
                      <a:pt x="9135" y="2014"/>
                    </a:lnTo>
                    <a:lnTo>
                      <a:pt x="9143" y="2008"/>
                    </a:lnTo>
                    <a:lnTo>
                      <a:pt x="9148" y="2001"/>
                    </a:lnTo>
                    <a:lnTo>
                      <a:pt x="9163" y="1990"/>
                    </a:lnTo>
                    <a:lnTo>
                      <a:pt x="9156" y="1990"/>
                    </a:lnTo>
                    <a:lnTo>
                      <a:pt x="9153" y="1990"/>
                    </a:lnTo>
                    <a:lnTo>
                      <a:pt x="9148" y="1990"/>
                    </a:lnTo>
                    <a:lnTo>
                      <a:pt x="9145" y="1990"/>
                    </a:lnTo>
                    <a:lnTo>
                      <a:pt x="9141" y="1990"/>
                    </a:lnTo>
                    <a:lnTo>
                      <a:pt x="9138" y="1990"/>
                    </a:lnTo>
                    <a:lnTo>
                      <a:pt x="9132" y="1990"/>
                    </a:lnTo>
                    <a:lnTo>
                      <a:pt x="9130" y="1990"/>
                    </a:lnTo>
                    <a:lnTo>
                      <a:pt x="9132" y="1992"/>
                    </a:lnTo>
                    <a:lnTo>
                      <a:pt x="9133" y="1993"/>
                    </a:lnTo>
                    <a:lnTo>
                      <a:pt x="9135" y="1996"/>
                    </a:lnTo>
                    <a:lnTo>
                      <a:pt x="9138" y="1998"/>
                    </a:lnTo>
                    <a:lnTo>
                      <a:pt x="9140" y="1999"/>
                    </a:lnTo>
                    <a:lnTo>
                      <a:pt x="9138" y="2001"/>
                    </a:lnTo>
                    <a:lnTo>
                      <a:pt x="9135" y="2003"/>
                    </a:lnTo>
                    <a:lnTo>
                      <a:pt x="9132" y="2005"/>
                    </a:lnTo>
                    <a:lnTo>
                      <a:pt x="9128" y="2006"/>
                    </a:lnTo>
                    <a:lnTo>
                      <a:pt x="9125" y="2008"/>
                    </a:lnTo>
                    <a:lnTo>
                      <a:pt x="9119" y="2011"/>
                    </a:lnTo>
                    <a:close/>
                    <a:moveTo>
                      <a:pt x="9375" y="2054"/>
                    </a:moveTo>
                    <a:lnTo>
                      <a:pt x="9372" y="2057"/>
                    </a:lnTo>
                    <a:lnTo>
                      <a:pt x="9370" y="2059"/>
                    </a:lnTo>
                    <a:lnTo>
                      <a:pt x="9368" y="2060"/>
                    </a:lnTo>
                    <a:lnTo>
                      <a:pt x="9364" y="2060"/>
                    </a:lnTo>
                    <a:lnTo>
                      <a:pt x="9360" y="2060"/>
                    </a:lnTo>
                    <a:lnTo>
                      <a:pt x="9355" y="2060"/>
                    </a:lnTo>
                    <a:lnTo>
                      <a:pt x="9349" y="2062"/>
                    </a:lnTo>
                    <a:lnTo>
                      <a:pt x="9344" y="2064"/>
                    </a:lnTo>
                    <a:lnTo>
                      <a:pt x="9337" y="2066"/>
                    </a:lnTo>
                    <a:lnTo>
                      <a:pt x="9322" y="2072"/>
                    </a:lnTo>
                    <a:lnTo>
                      <a:pt x="9306" y="2077"/>
                    </a:lnTo>
                    <a:lnTo>
                      <a:pt x="9288" y="2084"/>
                    </a:lnTo>
                    <a:lnTo>
                      <a:pt x="9272" y="2093"/>
                    </a:lnTo>
                    <a:lnTo>
                      <a:pt x="9255" y="2103"/>
                    </a:lnTo>
                    <a:lnTo>
                      <a:pt x="9239" y="2112"/>
                    </a:lnTo>
                    <a:lnTo>
                      <a:pt x="9222" y="2123"/>
                    </a:lnTo>
                    <a:lnTo>
                      <a:pt x="9215" y="2128"/>
                    </a:lnTo>
                    <a:lnTo>
                      <a:pt x="9209" y="2136"/>
                    </a:lnTo>
                    <a:lnTo>
                      <a:pt x="9202" y="2141"/>
                    </a:lnTo>
                    <a:lnTo>
                      <a:pt x="9196" y="2146"/>
                    </a:lnTo>
                    <a:lnTo>
                      <a:pt x="9193" y="2153"/>
                    </a:lnTo>
                    <a:lnTo>
                      <a:pt x="9187" y="2160"/>
                    </a:lnTo>
                    <a:lnTo>
                      <a:pt x="9184" y="2166"/>
                    </a:lnTo>
                    <a:lnTo>
                      <a:pt x="9181" y="2173"/>
                    </a:lnTo>
                    <a:lnTo>
                      <a:pt x="9179" y="2179"/>
                    </a:lnTo>
                    <a:lnTo>
                      <a:pt x="9178" y="2186"/>
                    </a:lnTo>
                    <a:lnTo>
                      <a:pt x="9178" y="2191"/>
                    </a:lnTo>
                    <a:lnTo>
                      <a:pt x="9179" y="2199"/>
                    </a:lnTo>
                    <a:lnTo>
                      <a:pt x="9178" y="2200"/>
                    </a:lnTo>
                    <a:lnTo>
                      <a:pt x="9178" y="2204"/>
                    </a:lnTo>
                    <a:lnTo>
                      <a:pt x="9179" y="2206"/>
                    </a:lnTo>
                    <a:lnTo>
                      <a:pt x="9181" y="2210"/>
                    </a:lnTo>
                    <a:lnTo>
                      <a:pt x="9184" y="2212"/>
                    </a:lnTo>
                    <a:lnTo>
                      <a:pt x="9187" y="2214"/>
                    </a:lnTo>
                    <a:lnTo>
                      <a:pt x="9193" y="2214"/>
                    </a:lnTo>
                    <a:lnTo>
                      <a:pt x="9196" y="2215"/>
                    </a:lnTo>
                    <a:lnTo>
                      <a:pt x="9202" y="2217"/>
                    </a:lnTo>
                    <a:lnTo>
                      <a:pt x="9207" y="2217"/>
                    </a:lnTo>
                    <a:lnTo>
                      <a:pt x="9215" y="2219"/>
                    </a:lnTo>
                    <a:lnTo>
                      <a:pt x="9222" y="2219"/>
                    </a:lnTo>
                    <a:lnTo>
                      <a:pt x="9237" y="2219"/>
                    </a:lnTo>
                    <a:lnTo>
                      <a:pt x="9252" y="2220"/>
                    </a:lnTo>
                    <a:lnTo>
                      <a:pt x="9268" y="2219"/>
                    </a:lnTo>
                    <a:lnTo>
                      <a:pt x="9285" y="2219"/>
                    </a:lnTo>
                    <a:lnTo>
                      <a:pt x="9300" y="2219"/>
                    </a:lnTo>
                    <a:lnTo>
                      <a:pt x="9314" y="2217"/>
                    </a:lnTo>
                    <a:lnTo>
                      <a:pt x="9322" y="2217"/>
                    </a:lnTo>
                    <a:lnTo>
                      <a:pt x="9327" y="2217"/>
                    </a:lnTo>
                    <a:lnTo>
                      <a:pt x="9333" y="2217"/>
                    </a:lnTo>
                    <a:lnTo>
                      <a:pt x="9339" y="2217"/>
                    </a:lnTo>
                    <a:lnTo>
                      <a:pt x="9342" y="2215"/>
                    </a:lnTo>
                    <a:lnTo>
                      <a:pt x="9346" y="2215"/>
                    </a:lnTo>
                    <a:lnTo>
                      <a:pt x="9349" y="2215"/>
                    </a:lnTo>
                    <a:lnTo>
                      <a:pt x="9352" y="2215"/>
                    </a:lnTo>
                    <a:lnTo>
                      <a:pt x="9364" y="2210"/>
                    </a:lnTo>
                    <a:lnTo>
                      <a:pt x="9379" y="2204"/>
                    </a:lnTo>
                    <a:lnTo>
                      <a:pt x="9394" y="2200"/>
                    </a:lnTo>
                    <a:lnTo>
                      <a:pt x="9408" y="2197"/>
                    </a:lnTo>
                    <a:lnTo>
                      <a:pt x="9423" y="2191"/>
                    </a:lnTo>
                    <a:lnTo>
                      <a:pt x="9429" y="2187"/>
                    </a:lnTo>
                    <a:lnTo>
                      <a:pt x="9436" y="2184"/>
                    </a:lnTo>
                    <a:lnTo>
                      <a:pt x="9442" y="2180"/>
                    </a:lnTo>
                    <a:lnTo>
                      <a:pt x="9446" y="2174"/>
                    </a:lnTo>
                    <a:lnTo>
                      <a:pt x="9451" y="2169"/>
                    </a:lnTo>
                    <a:lnTo>
                      <a:pt x="9454" y="2164"/>
                    </a:lnTo>
                    <a:lnTo>
                      <a:pt x="9461" y="2156"/>
                    </a:lnTo>
                    <a:lnTo>
                      <a:pt x="9464" y="2149"/>
                    </a:lnTo>
                    <a:lnTo>
                      <a:pt x="9467" y="2140"/>
                    </a:lnTo>
                    <a:lnTo>
                      <a:pt x="9471" y="2130"/>
                    </a:lnTo>
                    <a:lnTo>
                      <a:pt x="9475" y="2123"/>
                    </a:lnTo>
                    <a:lnTo>
                      <a:pt x="9475" y="2120"/>
                    </a:lnTo>
                    <a:lnTo>
                      <a:pt x="9479" y="2118"/>
                    </a:lnTo>
                    <a:lnTo>
                      <a:pt x="9481" y="2115"/>
                    </a:lnTo>
                    <a:lnTo>
                      <a:pt x="9482" y="2113"/>
                    </a:lnTo>
                    <a:lnTo>
                      <a:pt x="9484" y="2112"/>
                    </a:lnTo>
                    <a:lnTo>
                      <a:pt x="9488" y="2112"/>
                    </a:lnTo>
                    <a:lnTo>
                      <a:pt x="9494" y="2106"/>
                    </a:lnTo>
                    <a:lnTo>
                      <a:pt x="9501" y="2100"/>
                    </a:lnTo>
                    <a:lnTo>
                      <a:pt x="9507" y="2097"/>
                    </a:lnTo>
                    <a:lnTo>
                      <a:pt x="9512" y="2093"/>
                    </a:lnTo>
                    <a:lnTo>
                      <a:pt x="9515" y="2090"/>
                    </a:lnTo>
                    <a:lnTo>
                      <a:pt x="9520" y="2087"/>
                    </a:lnTo>
                    <a:lnTo>
                      <a:pt x="9521" y="2082"/>
                    </a:lnTo>
                    <a:lnTo>
                      <a:pt x="9523" y="2077"/>
                    </a:lnTo>
                    <a:lnTo>
                      <a:pt x="9521" y="2072"/>
                    </a:lnTo>
                    <a:lnTo>
                      <a:pt x="9521" y="2067"/>
                    </a:lnTo>
                    <a:lnTo>
                      <a:pt x="9520" y="2064"/>
                    </a:lnTo>
                    <a:lnTo>
                      <a:pt x="9515" y="2060"/>
                    </a:lnTo>
                    <a:lnTo>
                      <a:pt x="9514" y="2057"/>
                    </a:lnTo>
                    <a:lnTo>
                      <a:pt x="9510" y="2054"/>
                    </a:lnTo>
                    <a:lnTo>
                      <a:pt x="9505" y="2051"/>
                    </a:lnTo>
                    <a:lnTo>
                      <a:pt x="9501" y="2049"/>
                    </a:lnTo>
                    <a:lnTo>
                      <a:pt x="9490" y="2046"/>
                    </a:lnTo>
                    <a:lnTo>
                      <a:pt x="9479" y="2044"/>
                    </a:lnTo>
                    <a:lnTo>
                      <a:pt x="9466" y="2042"/>
                    </a:lnTo>
                    <a:lnTo>
                      <a:pt x="9451" y="2042"/>
                    </a:lnTo>
                    <a:lnTo>
                      <a:pt x="9438" y="2042"/>
                    </a:lnTo>
                    <a:lnTo>
                      <a:pt x="9425" y="2044"/>
                    </a:lnTo>
                    <a:lnTo>
                      <a:pt x="9410" y="2046"/>
                    </a:lnTo>
                    <a:lnTo>
                      <a:pt x="9400" y="2047"/>
                    </a:lnTo>
                    <a:lnTo>
                      <a:pt x="9388" y="2049"/>
                    </a:lnTo>
                    <a:lnTo>
                      <a:pt x="9385" y="2051"/>
                    </a:lnTo>
                    <a:lnTo>
                      <a:pt x="9379" y="2052"/>
                    </a:lnTo>
                    <a:lnTo>
                      <a:pt x="9375" y="2054"/>
                    </a:lnTo>
                    <a:close/>
                    <a:moveTo>
                      <a:pt x="9334" y="1818"/>
                    </a:moveTo>
                    <a:lnTo>
                      <a:pt x="9326" y="1820"/>
                    </a:lnTo>
                    <a:lnTo>
                      <a:pt x="9316" y="1824"/>
                    </a:lnTo>
                    <a:lnTo>
                      <a:pt x="9309" y="1825"/>
                    </a:lnTo>
                    <a:lnTo>
                      <a:pt x="9301" y="1830"/>
                    </a:lnTo>
                    <a:lnTo>
                      <a:pt x="9286" y="1837"/>
                    </a:lnTo>
                    <a:lnTo>
                      <a:pt x="9273" y="1846"/>
                    </a:lnTo>
                    <a:lnTo>
                      <a:pt x="9260" y="1855"/>
                    </a:lnTo>
                    <a:lnTo>
                      <a:pt x="9247" y="1865"/>
                    </a:lnTo>
                    <a:lnTo>
                      <a:pt x="9238" y="1870"/>
                    </a:lnTo>
                    <a:lnTo>
                      <a:pt x="9237" y="1870"/>
                    </a:lnTo>
                    <a:lnTo>
                      <a:pt x="9235" y="1871"/>
                    </a:lnTo>
                    <a:lnTo>
                      <a:pt x="9238" y="1870"/>
                    </a:lnTo>
                    <a:lnTo>
                      <a:pt x="9239" y="1870"/>
                    </a:lnTo>
                    <a:lnTo>
                      <a:pt x="9240" y="1870"/>
                    </a:lnTo>
                    <a:lnTo>
                      <a:pt x="9245" y="1870"/>
                    </a:lnTo>
                    <a:lnTo>
                      <a:pt x="9253" y="1870"/>
                    </a:lnTo>
                    <a:lnTo>
                      <a:pt x="9263" y="1868"/>
                    </a:lnTo>
                    <a:lnTo>
                      <a:pt x="9272" y="1866"/>
                    </a:lnTo>
                    <a:lnTo>
                      <a:pt x="9283" y="1863"/>
                    </a:lnTo>
                    <a:lnTo>
                      <a:pt x="9306" y="1857"/>
                    </a:lnTo>
                    <a:lnTo>
                      <a:pt x="9316" y="1853"/>
                    </a:lnTo>
                    <a:lnTo>
                      <a:pt x="9327" y="1850"/>
                    </a:lnTo>
                    <a:lnTo>
                      <a:pt x="9337" y="1846"/>
                    </a:lnTo>
                    <a:lnTo>
                      <a:pt x="9344" y="1840"/>
                    </a:lnTo>
                    <a:lnTo>
                      <a:pt x="9346" y="1838"/>
                    </a:lnTo>
                    <a:lnTo>
                      <a:pt x="9349" y="1835"/>
                    </a:lnTo>
                    <a:lnTo>
                      <a:pt x="9352" y="1833"/>
                    </a:lnTo>
                    <a:lnTo>
                      <a:pt x="9354" y="1830"/>
                    </a:lnTo>
                    <a:lnTo>
                      <a:pt x="9354" y="1827"/>
                    </a:lnTo>
                    <a:lnTo>
                      <a:pt x="9354" y="1824"/>
                    </a:lnTo>
                    <a:lnTo>
                      <a:pt x="9354" y="1820"/>
                    </a:lnTo>
                    <a:lnTo>
                      <a:pt x="9354" y="1818"/>
                    </a:lnTo>
                    <a:lnTo>
                      <a:pt x="9342" y="1818"/>
                    </a:lnTo>
                    <a:lnTo>
                      <a:pt x="9334" y="1818"/>
                    </a:lnTo>
                    <a:close/>
                    <a:moveTo>
                      <a:pt x="9451" y="1873"/>
                    </a:moveTo>
                    <a:lnTo>
                      <a:pt x="9451" y="1876"/>
                    </a:lnTo>
                    <a:lnTo>
                      <a:pt x="9451" y="1878"/>
                    </a:lnTo>
                    <a:lnTo>
                      <a:pt x="9449" y="1879"/>
                    </a:lnTo>
                    <a:lnTo>
                      <a:pt x="9448" y="1879"/>
                    </a:lnTo>
                    <a:lnTo>
                      <a:pt x="9444" y="1878"/>
                    </a:lnTo>
                    <a:lnTo>
                      <a:pt x="9440" y="1876"/>
                    </a:lnTo>
                    <a:lnTo>
                      <a:pt x="9438" y="1873"/>
                    </a:lnTo>
                    <a:lnTo>
                      <a:pt x="9436" y="1871"/>
                    </a:lnTo>
                    <a:lnTo>
                      <a:pt x="9429" y="1871"/>
                    </a:lnTo>
                    <a:lnTo>
                      <a:pt x="9423" y="1873"/>
                    </a:lnTo>
                    <a:lnTo>
                      <a:pt x="9418" y="1876"/>
                    </a:lnTo>
                    <a:lnTo>
                      <a:pt x="9410" y="1879"/>
                    </a:lnTo>
                    <a:lnTo>
                      <a:pt x="9405" y="1883"/>
                    </a:lnTo>
                    <a:lnTo>
                      <a:pt x="9401" y="1888"/>
                    </a:lnTo>
                    <a:lnTo>
                      <a:pt x="9395" y="1894"/>
                    </a:lnTo>
                    <a:lnTo>
                      <a:pt x="9392" y="1899"/>
                    </a:lnTo>
                    <a:lnTo>
                      <a:pt x="9388" y="1903"/>
                    </a:lnTo>
                    <a:lnTo>
                      <a:pt x="9385" y="1909"/>
                    </a:lnTo>
                    <a:lnTo>
                      <a:pt x="9383" y="1914"/>
                    </a:lnTo>
                    <a:lnTo>
                      <a:pt x="9381" y="1918"/>
                    </a:lnTo>
                    <a:lnTo>
                      <a:pt x="9381" y="1922"/>
                    </a:lnTo>
                    <a:lnTo>
                      <a:pt x="9381" y="1924"/>
                    </a:lnTo>
                    <a:lnTo>
                      <a:pt x="9383" y="1925"/>
                    </a:lnTo>
                    <a:lnTo>
                      <a:pt x="9387" y="1927"/>
                    </a:lnTo>
                    <a:lnTo>
                      <a:pt x="9390" y="1925"/>
                    </a:lnTo>
                    <a:lnTo>
                      <a:pt x="9394" y="1925"/>
                    </a:lnTo>
                    <a:lnTo>
                      <a:pt x="9400" y="1924"/>
                    </a:lnTo>
                    <a:lnTo>
                      <a:pt x="9405" y="1924"/>
                    </a:lnTo>
                    <a:lnTo>
                      <a:pt x="9418" y="1918"/>
                    </a:lnTo>
                    <a:lnTo>
                      <a:pt x="9431" y="1912"/>
                    </a:lnTo>
                    <a:lnTo>
                      <a:pt x="9438" y="1909"/>
                    </a:lnTo>
                    <a:lnTo>
                      <a:pt x="9442" y="1906"/>
                    </a:lnTo>
                    <a:lnTo>
                      <a:pt x="9448" y="1899"/>
                    </a:lnTo>
                    <a:lnTo>
                      <a:pt x="9451" y="1896"/>
                    </a:lnTo>
                    <a:lnTo>
                      <a:pt x="9453" y="1891"/>
                    </a:lnTo>
                    <a:lnTo>
                      <a:pt x="9454" y="1885"/>
                    </a:lnTo>
                    <a:lnTo>
                      <a:pt x="9454" y="1878"/>
                    </a:lnTo>
                    <a:lnTo>
                      <a:pt x="9453" y="1873"/>
                    </a:lnTo>
                    <a:lnTo>
                      <a:pt x="9453" y="1871"/>
                    </a:lnTo>
                    <a:lnTo>
                      <a:pt x="9451" y="1873"/>
                    </a:lnTo>
                    <a:close/>
                    <a:moveTo>
                      <a:pt x="9588" y="1992"/>
                    </a:moveTo>
                    <a:lnTo>
                      <a:pt x="9582" y="1990"/>
                    </a:lnTo>
                    <a:lnTo>
                      <a:pt x="9576" y="1990"/>
                    </a:lnTo>
                    <a:lnTo>
                      <a:pt x="9564" y="1990"/>
                    </a:lnTo>
                    <a:lnTo>
                      <a:pt x="9558" y="1990"/>
                    </a:lnTo>
                    <a:lnTo>
                      <a:pt x="9553" y="1992"/>
                    </a:lnTo>
                    <a:lnTo>
                      <a:pt x="9547" y="1993"/>
                    </a:lnTo>
                    <a:lnTo>
                      <a:pt x="9543" y="1998"/>
                    </a:lnTo>
                    <a:lnTo>
                      <a:pt x="9541" y="2001"/>
                    </a:lnTo>
                    <a:lnTo>
                      <a:pt x="9541" y="2006"/>
                    </a:lnTo>
                    <a:lnTo>
                      <a:pt x="9538" y="2011"/>
                    </a:lnTo>
                    <a:lnTo>
                      <a:pt x="9536" y="2014"/>
                    </a:lnTo>
                    <a:lnTo>
                      <a:pt x="9535" y="2016"/>
                    </a:lnTo>
                    <a:lnTo>
                      <a:pt x="9532" y="2018"/>
                    </a:lnTo>
                    <a:lnTo>
                      <a:pt x="9532" y="2019"/>
                    </a:lnTo>
                    <a:lnTo>
                      <a:pt x="9535" y="2021"/>
                    </a:lnTo>
                    <a:lnTo>
                      <a:pt x="9535" y="2023"/>
                    </a:lnTo>
                    <a:lnTo>
                      <a:pt x="9536" y="2025"/>
                    </a:lnTo>
                    <a:lnTo>
                      <a:pt x="9540" y="2029"/>
                    </a:lnTo>
                    <a:lnTo>
                      <a:pt x="9545" y="2033"/>
                    </a:lnTo>
                    <a:lnTo>
                      <a:pt x="9553" y="2038"/>
                    </a:lnTo>
                    <a:lnTo>
                      <a:pt x="9558" y="2044"/>
                    </a:lnTo>
                    <a:lnTo>
                      <a:pt x="9560" y="2046"/>
                    </a:lnTo>
                    <a:lnTo>
                      <a:pt x="9561" y="2046"/>
                    </a:lnTo>
                    <a:lnTo>
                      <a:pt x="9564" y="2046"/>
                    </a:lnTo>
                    <a:lnTo>
                      <a:pt x="9566" y="2046"/>
                    </a:lnTo>
                    <a:lnTo>
                      <a:pt x="9569" y="2046"/>
                    </a:lnTo>
                    <a:lnTo>
                      <a:pt x="9575" y="2042"/>
                    </a:lnTo>
                    <a:lnTo>
                      <a:pt x="9579" y="2038"/>
                    </a:lnTo>
                    <a:lnTo>
                      <a:pt x="9582" y="2034"/>
                    </a:lnTo>
                    <a:lnTo>
                      <a:pt x="9586" y="2029"/>
                    </a:lnTo>
                    <a:lnTo>
                      <a:pt x="9588" y="2023"/>
                    </a:lnTo>
                    <a:lnTo>
                      <a:pt x="9589" y="2018"/>
                    </a:lnTo>
                    <a:lnTo>
                      <a:pt x="9591" y="2011"/>
                    </a:lnTo>
                    <a:lnTo>
                      <a:pt x="9591" y="2005"/>
                    </a:lnTo>
                    <a:lnTo>
                      <a:pt x="9591" y="1999"/>
                    </a:lnTo>
                    <a:lnTo>
                      <a:pt x="9589" y="1996"/>
                    </a:lnTo>
                    <a:lnTo>
                      <a:pt x="9588" y="1992"/>
                    </a:lnTo>
                    <a:close/>
                    <a:moveTo>
                      <a:pt x="9591" y="2080"/>
                    </a:moveTo>
                    <a:lnTo>
                      <a:pt x="9588" y="2082"/>
                    </a:lnTo>
                    <a:lnTo>
                      <a:pt x="9584" y="2084"/>
                    </a:lnTo>
                    <a:lnTo>
                      <a:pt x="9582" y="2087"/>
                    </a:lnTo>
                    <a:lnTo>
                      <a:pt x="9579" y="2087"/>
                    </a:lnTo>
                    <a:lnTo>
                      <a:pt x="9573" y="2088"/>
                    </a:lnTo>
                    <a:lnTo>
                      <a:pt x="9568" y="2088"/>
                    </a:lnTo>
                    <a:lnTo>
                      <a:pt x="9564" y="2088"/>
                    </a:lnTo>
                    <a:lnTo>
                      <a:pt x="9560" y="2088"/>
                    </a:lnTo>
                    <a:lnTo>
                      <a:pt x="9558" y="2090"/>
                    </a:lnTo>
                    <a:lnTo>
                      <a:pt x="9558" y="2092"/>
                    </a:lnTo>
                    <a:lnTo>
                      <a:pt x="9556" y="2093"/>
                    </a:lnTo>
                    <a:lnTo>
                      <a:pt x="9556" y="2095"/>
                    </a:lnTo>
                    <a:lnTo>
                      <a:pt x="9551" y="2099"/>
                    </a:lnTo>
                    <a:lnTo>
                      <a:pt x="9547" y="2100"/>
                    </a:lnTo>
                    <a:lnTo>
                      <a:pt x="9543" y="2105"/>
                    </a:lnTo>
                    <a:lnTo>
                      <a:pt x="9540" y="2106"/>
                    </a:lnTo>
                    <a:lnTo>
                      <a:pt x="9538" y="2110"/>
                    </a:lnTo>
                    <a:lnTo>
                      <a:pt x="9538" y="2112"/>
                    </a:lnTo>
                    <a:lnTo>
                      <a:pt x="9538" y="2113"/>
                    </a:lnTo>
                    <a:lnTo>
                      <a:pt x="9540" y="2118"/>
                    </a:lnTo>
                    <a:lnTo>
                      <a:pt x="9541" y="2120"/>
                    </a:lnTo>
                    <a:lnTo>
                      <a:pt x="9545" y="2121"/>
                    </a:lnTo>
                    <a:lnTo>
                      <a:pt x="9547" y="2123"/>
                    </a:lnTo>
                    <a:lnTo>
                      <a:pt x="9553" y="2125"/>
                    </a:lnTo>
                    <a:lnTo>
                      <a:pt x="9556" y="2125"/>
                    </a:lnTo>
                    <a:lnTo>
                      <a:pt x="9561" y="2126"/>
                    </a:lnTo>
                    <a:lnTo>
                      <a:pt x="9568" y="2126"/>
                    </a:lnTo>
                    <a:lnTo>
                      <a:pt x="9575" y="2126"/>
                    </a:lnTo>
                    <a:lnTo>
                      <a:pt x="9581" y="2130"/>
                    </a:lnTo>
                    <a:lnTo>
                      <a:pt x="9588" y="2133"/>
                    </a:lnTo>
                    <a:lnTo>
                      <a:pt x="9597" y="2134"/>
                    </a:lnTo>
                    <a:lnTo>
                      <a:pt x="9604" y="2136"/>
                    </a:lnTo>
                    <a:lnTo>
                      <a:pt x="9614" y="2136"/>
                    </a:lnTo>
                    <a:lnTo>
                      <a:pt x="9622" y="2136"/>
                    </a:lnTo>
                    <a:lnTo>
                      <a:pt x="9632" y="2136"/>
                    </a:lnTo>
                    <a:lnTo>
                      <a:pt x="9640" y="2134"/>
                    </a:lnTo>
                    <a:lnTo>
                      <a:pt x="9648" y="2133"/>
                    </a:lnTo>
                    <a:lnTo>
                      <a:pt x="9658" y="2130"/>
                    </a:lnTo>
                    <a:lnTo>
                      <a:pt x="9665" y="2126"/>
                    </a:lnTo>
                    <a:lnTo>
                      <a:pt x="9673" y="2123"/>
                    </a:lnTo>
                    <a:lnTo>
                      <a:pt x="9680" y="2118"/>
                    </a:lnTo>
                    <a:lnTo>
                      <a:pt x="9686" y="2110"/>
                    </a:lnTo>
                    <a:lnTo>
                      <a:pt x="9689" y="2105"/>
                    </a:lnTo>
                    <a:lnTo>
                      <a:pt x="9695" y="2095"/>
                    </a:lnTo>
                    <a:lnTo>
                      <a:pt x="9693" y="2095"/>
                    </a:lnTo>
                    <a:lnTo>
                      <a:pt x="9691" y="2095"/>
                    </a:lnTo>
                    <a:lnTo>
                      <a:pt x="9689" y="2095"/>
                    </a:lnTo>
                    <a:lnTo>
                      <a:pt x="9686" y="2095"/>
                    </a:lnTo>
                    <a:lnTo>
                      <a:pt x="9682" y="2095"/>
                    </a:lnTo>
                    <a:lnTo>
                      <a:pt x="9680" y="2095"/>
                    </a:lnTo>
                    <a:lnTo>
                      <a:pt x="9678" y="2095"/>
                    </a:lnTo>
                    <a:lnTo>
                      <a:pt x="9676" y="2095"/>
                    </a:lnTo>
                    <a:lnTo>
                      <a:pt x="9673" y="2095"/>
                    </a:lnTo>
                    <a:lnTo>
                      <a:pt x="9668" y="2095"/>
                    </a:lnTo>
                    <a:lnTo>
                      <a:pt x="9663" y="2095"/>
                    </a:lnTo>
                    <a:lnTo>
                      <a:pt x="9656" y="2095"/>
                    </a:lnTo>
                    <a:lnTo>
                      <a:pt x="9643" y="2095"/>
                    </a:lnTo>
                    <a:lnTo>
                      <a:pt x="9630" y="2093"/>
                    </a:lnTo>
                    <a:lnTo>
                      <a:pt x="9622" y="2093"/>
                    </a:lnTo>
                    <a:lnTo>
                      <a:pt x="9617" y="2092"/>
                    </a:lnTo>
                    <a:lnTo>
                      <a:pt x="9614" y="2090"/>
                    </a:lnTo>
                    <a:lnTo>
                      <a:pt x="9610" y="2088"/>
                    </a:lnTo>
                    <a:lnTo>
                      <a:pt x="9606" y="2087"/>
                    </a:lnTo>
                    <a:lnTo>
                      <a:pt x="9606" y="2084"/>
                    </a:lnTo>
                    <a:lnTo>
                      <a:pt x="9606" y="2082"/>
                    </a:lnTo>
                    <a:lnTo>
                      <a:pt x="9606" y="2080"/>
                    </a:lnTo>
                    <a:lnTo>
                      <a:pt x="9602" y="2080"/>
                    </a:lnTo>
                    <a:lnTo>
                      <a:pt x="9599" y="2080"/>
                    </a:lnTo>
                    <a:lnTo>
                      <a:pt x="9597" y="2080"/>
                    </a:lnTo>
                    <a:lnTo>
                      <a:pt x="9593" y="2080"/>
                    </a:lnTo>
                    <a:lnTo>
                      <a:pt x="9591" y="2080"/>
                    </a:lnTo>
                    <a:close/>
                    <a:moveTo>
                      <a:pt x="9614" y="2008"/>
                    </a:moveTo>
                    <a:lnTo>
                      <a:pt x="9619" y="2008"/>
                    </a:lnTo>
                    <a:lnTo>
                      <a:pt x="9625" y="2008"/>
                    </a:lnTo>
                    <a:lnTo>
                      <a:pt x="9629" y="2008"/>
                    </a:lnTo>
                    <a:lnTo>
                      <a:pt x="9630" y="2008"/>
                    </a:lnTo>
                    <a:lnTo>
                      <a:pt x="9632" y="2008"/>
                    </a:lnTo>
                    <a:lnTo>
                      <a:pt x="9625" y="2001"/>
                    </a:lnTo>
                    <a:lnTo>
                      <a:pt x="9621" y="1998"/>
                    </a:lnTo>
                    <a:lnTo>
                      <a:pt x="9617" y="1993"/>
                    </a:lnTo>
                    <a:lnTo>
                      <a:pt x="9615" y="1992"/>
                    </a:lnTo>
                    <a:lnTo>
                      <a:pt x="9614" y="1990"/>
                    </a:lnTo>
                    <a:lnTo>
                      <a:pt x="9612" y="1992"/>
                    </a:lnTo>
                    <a:lnTo>
                      <a:pt x="9612" y="1996"/>
                    </a:lnTo>
                    <a:lnTo>
                      <a:pt x="9610" y="1999"/>
                    </a:lnTo>
                    <a:lnTo>
                      <a:pt x="9608" y="2001"/>
                    </a:lnTo>
                    <a:lnTo>
                      <a:pt x="9604" y="2005"/>
                    </a:lnTo>
                    <a:lnTo>
                      <a:pt x="9601" y="2006"/>
                    </a:lnTo>
                    <a:lnTo>
                      <a:pt x="9595" y="2008"/>
                    </a:lnTo>
                    <a:lnTo>
                      <a:pt x="9608" y="2008"/>
                    </a:lnTo>
                    <a:lnTo>
                      <a:pt x="9614" y="2008"/>
                    </a:lnTo>
                    <a:close/>
                    <a:moveTo>
                      <a:pt x="9648" y="2062"/>
                    </a:moveTo>
                    <a:lnTo>
                      <a:pt x="9654" y="2054"/>
                    </a:lnTo>
                    <a:lnTo>
                      <a:pt x="9658" y="2051"/>
                    </a:lnTo>
                    <a:lnTo>
                      <a:pt x="9662" y="2046"/>
                    </a:lnTo>
                    <a:lnTo>
                      <a:pt x="9662" y="2044"/>
                    </a:lnTo>
                    <a:lnTo>
                      <a:pt x="9662" y="2039"/>
                    </a:lnTo>
                    <a:lnTo>
                      <a:pt x="9658" y="2034"/>
                    </a:lnTo>
                    <a:lnTo>
                      <a:pt x="9654" y="2031"/>
                    </a:lnTo>
                    <a:lnTo>
                      <a:pt x="9648" y="2025"/>
                    </a:lnTo>
                    <a:lnTo>
                      <a:pt x="9643" y="2025"/>
                    </a:lnTo>
                    <a:lnTo>
                      <a:pt x="9640" y="2027"/>
                    </a:lnTo>
                    <a:lnTo>
                      <a:pt x="9635" y="2031"/>
                    </a:lnTo>
                    <a:lnTo>
                      <a:pt x="9635" y="2036"/>
                    </a:lnTo>
                    <a:lnTo>
                      <a:pt x="9635" y="2042"/>
                    </a:lnTo>
                    <a:lnTo>
                      <a:pt x="9640" y="2047"/>
                    </a:lnTo>
                    <a:lnTo>
                      <a:pt x="9643" y="2054"/>
                    </a:lnTo>
                    <a:lnTo>
                      <a:pt x="9648" y="2062"/>
                    </a:lnTo>
                    <a:close/>
                    <a:moveTo>
                      <a:pt x="9953" y="1288"/>
                    </a:moveTo>
                    <a:lnTo>
                      <a:pt x="9950" y="1283"/>
                    </a:lnTo>
                    <a:lnTo>
                      <a:pt x="9943" y="1277"/>
                    </a:lnTo>
                    <a:lnTo>
                      <a:pt x="9940" y="1274"/>
                    </a:lnTo>
                    <a:lnTo>
                      <a:pt x="9933" y="1270"/>
                    </a:lnTo>
                    <a:lnTo>
                      <a:pt x="9927" y="1268"/>
                    </a:lnTo>
                    <a:lnTo>
                      <a:pt x="9922" y="1266"/>
                    </a:lnTo>
                    <a:lnTo>
                      <a:pt x="9915" y="1259"/>
                    </a:lnTo>
                    <a:lnTo>
                      <a:pt x="9905" y="1251"/>
                    </a:lnTo>
                    <a:lnTo>
                      <a:pt x="9896" y="1244"/>
                    </a:lnTo>
                    <a:lnTo>
                      <a:pt x="9887" y="1241"/>
                    </a:lnTo>
                    <a:lnTo>
                      <a:pt x="9876" y="1236"/>
                    </a:lnTo>
                    <a:lnTo>
                      <a:pt x="9864" y="1233"/>
                    </a:lnTo>
                    <a:lnTo>
                      <a:pt x="9851" y="1231"/>
                    </a:lnTo>
                    <a:lnTo>
                      <a:pt x="9841" y="1231"/>
                    </a:lnTo>
                    <a:lnTo>
                      <a:pt x="9828" y="1229"/>
                    </a:lnTo>
                    <a:lnTo>
                      <a:pt x="9815" y="1229"/>
                    </a:lnTo>
                    <a:lnTo>
                      <a:pt x="9790" y="1231"/>
                    </a:lnTo>
                    <a:lnTo>
                      <a:pt x="9780" y="1231"/>
                    </a:lnTo>
                    <a:lnTo>
                      <a:pt x="9769" y="1233"/>
                    </a:lnTo>
                    <a:lnTo>
                      <a:pt x="9757" y="1233"/>
                    </a:lnTo>
                    <a:lnTo>
                      <a:pt x="9747" y="1233"/>
                    </a:lnTo>
                    <a:lnTo>
                      <a:pt x="9736" y="1233"/>
                    </a:lnTo>
                    <a:lnTo>
                      <a:pt x="9724" y="1233"/>
                    </a:lnTo>
                    <a:lnTo>
                      <a:pt x="9713" y="1233"/>
                    </a:lnTo>
                    <a:lnTo>
                      <a:pt x="9704" y="1233"/>
                    </a:lnTo>
                    <a:lnTo>
                      <a:pt x="9693" y="1233"/>
                    </a:lnTo>
                    <a:lnTo>
                      <a:pt x="9683" y="1233"/>
                    </a:lnTo>
                    <a:lnTo>
                      <a:pt x="9673" y="1233"/>
                    </a:lnTo>
                    <a:lnTo>
                      <a:pt x="9660" y="1233"/>
                    </a:lnTo>
                    <a:lnTo>
                      <a:pt x="9652" y="1233"/>
                    </a:lnTo>
                    <a:lnTo>
                      <a:pt x="9645" y="1229"/>
                    </a:lnTo>
                    <a:lnTo>
                      <a:pt x="9635" y="1228"/>
                    </a:lnTo>
                    <a:lnTo>
                      <a:pt x="9627" y="1224"/>
                    </a:lnTo>
                    <a:lnTo>
                      <a:pt x="9615" y="1220"/>
                    </a:lnTo>
                    <a:lnTo>
                      <a:pt x="9606" y="1218"/>
                    </a:lnTo>
                    <a:lnTo>
                      <a:pt x="9599" y="1216"/>
                    </a:lnTo>
                    <a:lnTo>
                      <a:pt x="9591" y="1214"/>
                    </a:lnTo>
                    <a:lnTo>
                      <a:pt x="9584" y="1216"/>
                    </a:lnTo>
                    <a:lnTo>
                      <a:pt x="9575" y="1218"/>
                    </a:lnTo>
                    <a:lnTo>
                      <a:pt x="9568" y="1222"/>
                    </a:lnTo>
                    <a:lnTo>
                      <a:pt x="9558" y="1226"/>
                    </a:lnTo>
                    <a:lnTo>
                      <a:pt x="9551" y="1231"/>
                    </a:lnTo>
                    <a:lnTo>
                      <a:pt x="9547" y="1234"/>
                    </a:lnTo>
                    <a:lnTo>
                      <a:pt x="9545" y="1236"/>
                    </a:lnTo>
                    <a:lnTo>
                      <a:pt x="9541" y="1241"/>
                    </a:lnTo>
                    <a:lnTo>
                      <a:pt x="9540" y="1244"/>
                    </a:lnTo>
                    <a:lnTo>
                      <a:pt x="9540" y="1246"/>
                    </a:lnTo>
                    <a:lnTo>
                      <a:pt x="9540" y="1249"/>
                    </a:lnTo>
                    <a:lnTo>
                      <a:pt x="9532" y="1255"/>
                    </a:lnTo>
                    <a:lnTo>
                      <a:pt x="9527" y="1261"/>
                    </a:lnTo>
                    <a:lnTo>
                      <a:pt x="9520" y="1262"/>
                    </a:lnTo>
                    <a:lnTo>
                      <a:pt x="9514" y="1264"/>
                    </a:lnTo>
                    <a:lnTo>
                      <a:pt x="9510" y="1266"/>
                    </a:lnTo>
                    <a:lnTo>
                      <a:pt x="9507" y="1266"/>
                    </a:lnTo>
                    <a:lnTo>
                      <a:pt x="9505" y="1266"/>
                    </a:lnTo>
                    <a:lnTo>
                      <a:pt x="9505" y="1274"/>
                    </a:lnTo>
                    <a:lnTo>
                      <a:pt x="9505" y="1277"/>
                    </a:lnTo>
                    <a:lnTo>
                      <a:pt x="9507" y="1281"/>
                    </a:lnTo>
                    <a:lnTo>
                      <a:pt x="9508" y="1285"/>
                    </a:lnTo>
                    <a:lnTo>
                      <a:pt x="9512" y="1287"/>
                    </a:lnTo>
                    <a:lnTo>
                      <a:pt x="9515" y="1288"/>
                    </a:lnTo>
                    <a:lnTo>
                      <a:pt x="9521" y="1290"/>
                    </a:lnTo>
                    <a:lnTo>
                      <a:pt x="9528" y="1292"/>
                    </a:lnTo>
                    <a:lnTo>
                      <a:pt x="9535" y="1294"/>
                    </a:lnTo>
                    <a:lnTo>
                      <a:pt x="9536" y="1294"/>
                    </a:lnTo>
                    <a:lnTo>
                      <a:pt x="9538" y="1295"/>
                    </a:lnTo>
                    <a:lnTo>
                      <a:pt x="9538" y="1298"/>
                    </a:lnTo>
                    <a:lnTo>
                      <a:pt x="9540" y="1302"/>
                    </a:lnTo>
                    <a:lnTo>
                      <a:pt x="9541" y="1302"/>
                    </a:lnTo>
                    <a:lnTo>
                      <a:pt x="9543" y="1303"/>
                    </a:lnTo>
                    <a:lnTo>
                      <a:pt x="9545" y="1305"/>
                    </a:lnTo>
                    <a:lnTo>
                      <a:pt x="9545" y="1307"/>
                    </a:lnTo>
                    <a:lnTo>
                      <a:pt x="9547" y="1310"/>
                    </a:lnTo>
                    <a:lnTo>
                      <a:pt x="9547" y="1313"/>
                    </a:lnTo>
                    <a:lnTo>
                      <a:pt x="9545" y="1322"/>
                    </a:lnTo>
                    <a:lnTo>
                      <a:pt x="9543" y="1329"/>
                    </a:lnTo>
                    <a:lnTo>
                      <a:pt x="9541" y="1338"/>
                    </a:lnTo>
                    <a:lnTo>
                      <a:pt x="9540" y="1346"/>
                    </a:lnTo>
                    <a:lnTo>
                      <a:pt x="9540" y="1353"/>
                    </a:lnTo>
                    <a:lnTo>
                      <a:pt x="9545" y="1356"/>
                    </a:lnTo>
                    <a:lnTo>
                      <a:pt x="9551" y="1359"/>
                    </a:lnTo>
                    <a:lnTo>
                      <a:pt x="9555" y="1361"/>
                    </a:lnTo>
                    <a:lnTo>
                      <a:pt x="9560" y="1362"/>
                    </a:lnTo>
                    <a:lnTo>
                      <a:pt x="9568" y="1366"/>
                    </a:lnTo>
                    <a:lnTo>
                      <a:pt x="9575" y="1368"/>
                    </a:lnTo>
                    <a:lnTo>
                      <a:pt x="9584" y="1369"/>
                    </a:lnTo>
                    <a:lnTo>
                      <a:pt x="9589" y="1369"/>
                    </a:lnTo>
                    <a:lnTo>
                      <a:pt x="9595" y="1369"/>
                    </a:lnTo>
                    <a:lnTo>
                      <a:pt x="9601" y="1369"/>
                    </a:lnTo>
                    <a:lnTo>
                      <a:pt x="9608" y="1369"/>
                    </a:lnTo>
                    <a:lnTo>
                      <a:pt x="9617" y="1369"/>
                    </a:lnTo>
                    <a:lnTo>
                      <a:pt x="9627" y="1369"/>
                    </a:lnTo>
                    <a:lnTo>
                      <a:pt x="9640" y="1364"/>
                    </a:lnTo>
                    <a:lnTo>
                      <a:pt x="9654" y="1361"/>
                    </a:lnTo>
                    <a:lnTo>
                      <a:pt x="9671" y="1356"/>
                    </a:lnTo>
                    <a:lnTo>
                      <a:pt x="9686" y="1355"/>
                    </a:lnTo>
                    <a:lnTo>
                      <a:pt x="9702" y="1353"/>
                    </a:lnTo>
                    <a:lnTo>
                      <a:pt x="9719" y="1353"/>
                    </a:lnTo>
                    <a:lnTo>
                      <a:pt x="9734" y="1353"/>
                    </a:lnTo>
                    <a:lnTo>
                      <a:pt x="9747" y="1353"/>
                    </a:lnTo>
                    <a:lnTo>
                      <a:pt x="9762" y="1353"/>
                    </a:lnTo>
                    <a:lnTo>
                      <a:pt x="9774" y="1355"/>
                    </a:lnTo>
                    <a:lnTo>
                      <a:pt x="9789" y="1356"/>
                    </a:lnTo>
                    <a:lnTo>
                      <a:pt x="9803" y="1359"/>
                    </a:lnTo>
                    <a:lnTo>
                      <a:pt x="9835" y="1362"/>
                    </a:lnTo>
                    <a:lnTo>
                      <a:pt x="9866" y="1366"/>
                    </a:lnTo>
                    <a:lnTo>
                      <a:pt x="9881" y="1368"/>
                    </a:lnTo>
                    <a:lnTo>
                      <a:pt x="9896" y="1368"/>
                    </a:lnTo>
                    <a:lnTo>
                      <a:pt x="9910" y="1368"/>
                    </a:lnTo>
                    <a:lnTo>
                      <a:pt x="9925" y="1368"/>
                    </a:lnTo>
                    <a:lnTo>
                      <a:pt x="9938" y="1366"/>
                    </a:lnTo>
                    <a:lnTo>
                      <a:pt x="9951" y="1362"/>
                    </a:lnTo>
                    <a:lnTo>
                      <a:pt x="9963" y="1359"/>
                    </a:lnTo>
                    <a:lnTo>
                      <a:pt x="9973" y="1353"/>
                    </a:lnTo>
                    <a:lnTo>
                      <a:pt x="9966" y="1348"/>
                    </a:lnTo>
                    <a:lnTo>
                      <a:pt x="9963" y="1344"/>
                    </a:lnTo>
                    <a:lnTo>
                      <a:pt x="9961" y="1340"/>
                    </a:lnTo>
                    <a:lnTo>
                      <a:pt x="9961" y="1338"/>
                    </a:lnTo>
                    <a:lnTo>
                      <a:pt x="9961" y="1336"/>
                    </a:lnTo>
                    <a:lnTo>
                      <a:pt x="9963" y="1336"/>
                    </a:lnTo>
                    <a:lnTo>
                      <a:pt x="9966" y="1336"/>
                    </a:lnTo>
                    <a:lnTo>
                      <a:pt x="9973" y="1336"/>
                    </a:lnTo>
                    <a:lnTo>
                      <a:pt x="9971" y="1331"/>
                    </a:lnTo>
                    <a:lnTo>
                      <a:pt x="9970" y="1325"/>
                    </a:lnTo>
                    <a:lnTo>
                      <a:pt x="9968" y="1322"/>
                    </a:lnTo>
                    <a:lnTo>
                      <a:pt x="9964" y="1318"/>
                    </a:lnTo>
                    <a:lnTo>
                      <a:pt x="9961" y="1316"/>
                    </a:lnTo>
                    <a:lnTo>
                      <a:pt x="9958" y="1313"/>
                    </a:lnTo>
                    <a:lnTo>
                      <a:pt x="9956" y="1307"/>
                    </a:lnTo>
                    <a:lnTo>
                      <a:pt x="9955" y="1302"/>
                    </a:lnTo>
                    <a:lnTo>
                      <a:pt x="9955" y="1295"/>
                    </a:lnTo>
                    <a:lnTo>
                      <a:pt x="9953" y="1288"/>
                    </a:lnTo>
                    <a:close/>
                    <a:moveTo>
                      <a:pt x="10175" y="1550"/>
                    </a:moveTo>
                    <a:lnTo>
                      <a:pt x="10180" y="1552"/>
                    </a:lnTo>
                    <a:lnTo>
                      <a:pt x="10184" y="1552"/>
                    </a:lnTo>
                    <a:lnTo>
                      <a:pt x="10185" y="1552"/>
                    </a:lnTo>
                    <a:lnTo>
                      <a:pt x="10190" y="1550"/>
                    </a:lnTo>
                    <a:lnTo>
                      <a:pt x="10191" y="1549"/>
                    </a:lnTo>
                    <a:lnTo>
                      <a:pt x="10193" y="1547"/>
                    </a:lnTo>
                    <a:lnTo>
                      <a:pt x="10195" y="1545"/>
                    </a:lnTo>
                    <a:lnTo>
                      <a:pt x="10197" y="1542"/>
                    </a:lnTo>
                    <a:lnTo>
                      <a:pt x="10197" y="1537"/>
                    </a:lnTo>
                    <a:lnTo>
                      <a:pt x="10197" y="1534"/>
                    </a:lnTo>
                    <a:lnTo>
                      <a:pt x="10198" y="1530"/>
                    </a:lnTo>
                    <a:lnTo>
                      <a:pt x="10191" y="1530"/>
                    </a:lnTo>
                    <a:lnTo>
                      <a:pt x="10187" y="1530"/>
                    </a:lnTo>
                    <a:lnTo>
                      <a:pt x="10184" y="1530"/>
                    </a:lnTo>
                    <a:lnTo>
                      <a:pt x="10182" y="1530"/>
                    </a:lnTo>
                    <a:lnTo>
                      <a:pt x="10180" y="1530"/>
                    </a:lnTo>
                    <a:lnTo>
                      <a:pt x="10172" y="1534"/>
                    </a:lnTo>
                    <a:lnTo>
                      <a:pt x="10169" y="1537"/>
                    </a:lnTo>
                    <a:lnTo>
                      <a:pt x="10165" y="1539"/>
                    </a:lnTo>
                    <a:lnTo>
                      <a:pt x="10164" y="1542"/>
                    </a:lnTo>
                    <a:lnTo>
                      <a:pt x="10162" y="1543"/>
                    </a:lnTo>
                    <a:lnTo>
                      <a:pt x="10167" y="1547"/>
                    </a:lnTo>
                    <a:lnTo>
                      <a:pt x="10175" y="1550"/>
                    </a:lnTo>
                    <a:close/>
                    <a:moveTo>
                      <a:pt x="10326" y="1611"/>
                    </a:moveTo>
                    <a:lnTo>
                      <a:pt x="10324" y="1613"/>
                    </a:lnTo>
                    <a:lnTo>
                      <a:pt x="10320" y="1615"/>
                    </a:lnTo>
                    <a:lnTo>
                      <a:pt x="10317" y="1619"/>
                    </a:lnTo>
                    <a:lnTo>
                      <a:pt x="10315" y="1623"/>
                    </a:lnTo>
                    <a:lnTo>
                      <a:pt x="10315" y="1628"/>
                    </a:lnTo>
                    <a:lnTo>
                      <a:pt x="10317" y="1626"/>
                    </a:lnTo>
                    <a:lnTo>
                      <a:pt x="10320" y="1623"/>
                    </a:lnTo>
                    <a:lnTo>
                      <a:pt x="10324" y="1621"/>
                    </a:lnTo>
                    <a:lnTo>
                      <a:pt x="10326" y="1617"/>
                    </a:lnTo>
                    <a:lnTo>
                      <a:pt x="10330" y="1613"/>
                    </a:lnTo>
                    <a:lnTo>
                      <a:pt x="10332" y="1611"/>
                    </a:lnTo>
                    <a:lnTo>
                      <a:pt x="10330" y="1611"/>
                    </a:lnTo>
                    <a:lnTo>
                      <a:pt x="10326" y="1611"/>
                    </a:lnTo>
                    <a:close/>
                    <a:moveTo>
                      <a:pt x="9909" y="2315"/>
                    </a:moveTo>
                    <a:lnTo>
                      <a:pt x="9905" y="2317"/>
                    </a:lnTo>
                    <a:lnTo>
                      <a:pt x="9903" y="2319"/>
                    </a:lnTo>
                    <a:lnTo>
                      <a:pt x="9902" y="2321"/>
                    </a:lnTo>
                    <a:lnTo>
                      <a:pt x="9902" y="2322"/>
                    </a:lnTo>
                    <a:lnTo>
                      <a:pt x="9907" y="2322"/>
                    </a:lnTo>
                    <a:lnTo>
                      <a:pt x="9910" y="2321"/>
                    </a:lnTo>
                    <a:lnTo>
                      <a:pt x="9915" y="2321"/>
                    </a:lnTo>
                    <a:lnTo>
                      <a:pt x="9917" y="2319"/>
                    </a:lnTo>
                    <a:lnTo>
                      <a:pt x="9918" y="2317"/>
                    </a:lnTo>
                    <a:lnTo>
                      <a:pt x="9918" y="2315"/>
                    </a:lnTo>
                    <a:lnTo>
                      <a:pt x="9920" y="2309"/>
                    </a:lnTo>
                    <a:lnTo>
                      <a:pt x="9920" y="2306"/>
                    </a:lnTo>
                    <a:lnTo>
                      <a:pt x="9912" y="2309"/>
                    </a:lnTo>
                    <a:lnTo>
                      <a:pt x="9909" y="2315"/>
                    </a:lnTo>
                    <a:close/>
                    <a:moveTo>
                      <a:pt x="10007" y="3089"/>
                    </a:moveTo>
                    <a:lnTo>
                      <a:pt x="10001" y="3091"/>
                    </a:lnTo>
                    <a:lnTo>
                      <a:pt x="9997" y="3092"/>
                    </a:lnTo>
                    <a:lnTo>
                      <a:pt x="9994" y="3096"/>
                    </a:lnTo>
                    <a:lnTo>
                      <a:pt x="9992" y="3099"/>
                    </a:lnTo>
                    <a:lnTo>
                      <a:pt x="9992" y="3107"/>
                    </a:lnTo>
                    <a:lnTo>
                      <a:pt x="9994" y="3106"/>
                    </a:lnTo>
                    <a:lnTo>
                      <a:pt x="9997" y="3106"/>
                    </a:lnTo>
                    <a:lnTo>
                      <a:pt x="10001" y="3104"/>
                    </a:lnTo>
                    <a:lnTo>
                      <a:pt x="10007" y="3101"/>
                    </a:lnTo>
                    <a:lnTo>
                      <a:pt x="10014" y="3098"/>
                    </a:lnTo>
                    <a:lnTo>
                      <a:pt x="10019" y="3094"/>
                    </a:lnTo>
                    <a:lnTo>
                      <a:pt x="10027" y="3089"/>
                    </a:lnTo>
                    <a:lnTo>
                      <a:pt x="10014" y="3089"/>
                    </a:lnTo>
                    <a:lnTo>
                      <a:pt x="10007" y="3089"/>
                    </a:lnTo>
                    <a:close/>
                    <a:moveTo>
                      <a:pt x="10034" y="3340"/>
                    </a:moveTo>
                    <a:lnTo>
                      <a:pt x="10030" y="3338"/>
                    </a:lnTo>
                    <a:lnTo>
                      <a:pt x="10027" y="3336"/>
                    </a:lnTo>
                    <a:lnTo>
                      <a:pt x="10017" y="3334"/>
                    </a:lnTo>
                    <a:lnTo>
                      <a:pt x="10014" y="3333"/>
                    </a:lnTo>
                    <a:lnTo>
                      <a:pt x="10012" y="3333"/>
                    </a:lnTo>
                    <a:lnTo>
                      <a:pt x="10010" y="3333"/>
                    </a:lnTo>
                    <a:lnTo>
                      <a:pt x="10010" y="3336"/>
                    </a:lnTo>
                    <a:lnTo>
                      <a:pt x="10012" y="3341"/>
                    </a:lnTo>
                    <a:lnTo>
                      <a:pt x="10014" y="3343"/>
                    </a:lnTo>
                    <a:lnTo>
                      <a:pt x="10017" y="3345"/>
                    </a:lnTo>
                    <a:lnTo>
                      <a:pt x="10019" y="3347"/>
                    </a:lnTo>
                    <a:lnTo>
                      <a:pt x="10024" y="3347"/>
                    </a:lnTo>
                    <a:lnTo>
                      <a:pt x="10025" y="3349"/>
                    </a:lnTo>
                    <a:lnTo>
                      <a:pt x="10029" y="3347"/>
                    </a:lnTo>
                    <a:lnTo>
                      <a:pt x="10032" y="3347"/>
                    </a:lnTo>
                    <a:lnTo>
                      <a:pt x="10037" y="3347"/>
                    </a:lnTo>
                    <a:lnTo>
                      <a:pt x="10038" y="3347"/>
                    </a:lnTo>
                    <a:lnTo>
                      <a:pt x="10040" y="3347"/>
                    </a:lnTo>
                    <a:lnTo>
                      <a:pt x="10042" y="3347"/>
                    </a:lnTo>
                    <a:lnTo>
                      <a:pt x="10042" y="3345"/>
                    </a:lnTo>
                    <a:lnTo>
                      <a:pt x="10042" y="3343"/>
                    </a:lnTo>
                    <a:lnTo>
                      <a:pt x="10038" y="3341"/>
                    </a:lnTo>
                    <a:lnTo>
                      <a:pt x="10034" y="3340"/>
                    </a:lnTo>
                    <a:close/>
                    <a:moveTo>
                      <a:pt x="10095" y="3101"/>
                    </a:moveTo>
                    <a:lnTo>
                      <a:pt x="10098" y="3104"/>
                    </a:lnTo>
                    <a:lnTo>
                      <a:pt x="10101" y="3106"/>
                    </a:lnTo>
                    <a:lnTo>
                      <a:pt x="10104" y="3106"/>
                    </a:lnTo>
                    <a:lnTo>
                      <a:pt x="10108" y="3107"/>
                    </a:lnTo>
                    <a:lnTo>
                      <a:pt x="10108" y="3106"/>
                    </a:lnTo>
                    <a:lnTo>
                      <a:pt x="10108" y="3104"/>
                    </a:lnTo>
                    <a:lnTo>
                      <a:pt x="10108" y="3101"/>
                    </a:lnTo>
                    <a:lnTo>
                      <a:pt x="10108" y="3098"/>
                    </a:lnTo>
                    <a:lnTo>
                      <a:pt x="10108" y="3094"/>
                    </a:lnTo>
                    <a:lnTo>
                      <a:pt x="10108" y="3089"/>
                    </a:lnTo>
                    <a:lnTo>
                      <a:pt x="10108" y="3079"/>
                    </a:lnTo>
                    <a:lnTo>
                      <a:pt x="10101" y="3079"/>
                    </a:lnTo>
                    <a:lnTo>
                      <a:pt x="10098" y="3079"/>
                    </a:lnTo>
                    <a:lnTo>
                      <a:pt x="10093" y="3081"/>
                    </a:lnTo>
                    <a:lnTo>
                      <a:pt x="10090" y="3083"/>
                    </a:lnTo>
                    <a:lnTo>
                      <a:pt x="10088" y="3085"/>
                    </a:lnTo>
                    <a:lnTo>
                      <a:pt x="10088" y="3086"/>
                    </a:lnTo>
                    <a:lnTo>
                      <a:pt x="10088" y="3091"/>
                    </a:lnTo>
                    <a:lnTo>
                      <a:pt x="10088" y="3092"/>
                    </a:lnTo>
                    <a:lnTo>
                      <a:pt x="10088" y="3094"/>
                    </a:lnTo>
                    <a:lnTo>
                      <a:pt x="10090" y="3098"/>
                    </a:lnTo>
                    <a:lnTo>
                      <a:pt x="10091" y="3099"/>
                    </a:lnTo>
                    <a:lnTo>
                      <a:pt x="10095" y="3101"/>
                    </a:lnTo>
                    <a:close/>
                    <a:moveTo>
                      <a:pt x="10187" y="2971"/>
                    </a:moveTo>
                    <a:lnTo>
                      <a:pt x="10182" y="2971"/>
                    </a:lnTo>
                    <a:lnTo>
                      <a:pt x="10180" y="2972"/>
                    </a:lnTo>
                    <a:lnTo>
                      <a:pt x="10177" y="2974"/>
                    </a:lnTo>
                    <a:lnTo>
                      <a:pt x="10170" y="2978"/>
                    </a:lnTo>
                    <a:lnTo>
                      <a:pt x="10167" y="2982"/>
                    </a:lnTo>
                    <a:lnTo>
                      <a:pt x="10162" y="2989"/>
                    </a:lnTo>
                    <a:lnTo>
                      <a:pt x="10167" y="2989"/>
                    </a:lnTo>
                    <a:lnTo>
                      <a:pt x="10170" y="2987"/>
                    </a:lnTo>
                    <a:lnTo>
                      <a:pt x="10177" y="2987"/>
                    </a:lnTo>
                    <a:lnTo>
                      <a:pt x="10180" y="2985"/>
                    </a:lnTo>
                    <a:lnTo>
                      <a:pt x="10182" y="2984"/>
                    </a:lnTo>
                    <a:lnTo>
                      <a:pt x="10187" y="2979"/>
                    </a:lnTo>
                    <a:lnTo>
                      <a:pt x="10191" y="2976"/>
                    </a:lnTo>
                    <a:lnTo>
                      <a:pt x="10198" y="2971"/>
                    </a:lnTo>
                    <a:lnTo>
                      <a:pt x="10191" y="2971"/>
                    </a:lnTo>
                    <a:lnTo>
                      <a:pt x="10187" y="2971"/>
                    </a:lnTo>
                    <a:close/>
                    <a:moveTo>
                      <a:pt x="10180" y="3007"/>
                    </a:moveTo>
                    <a:lnTo>
                      <a:pt x="10191" y="3005"/>
                    </a:lnTo>
                    <a:lnTo>
                      <a:pt x="10200" y="3004"/>
                    </a:lnTo>
                    <a:lnTo>
                      <a:pt x="10210" y="3000"/>
                    </a:lnTo>
                    <a:lnTo>
                      <a:pt x="10217" y="2999"/>
                    </a:lnTo>
                    <a:lnTo>
                      <a:pt x="10225" y="2994"/>
                    </a:lnTo>
                    <a:lnTo>
                      <a:pt x="10230" y="2991"/>
                    </a:lnTo>
                    <a:lnTo>
                      <a:pt x="10236" y="2989"/>
                    </a:lnTo>
                    <a:lnTo>
                      <a:pt x="10243" y="2989"/>
                    </a:lnTo>
                    <a:lnTo>
                      <a:pt x="10239" y="2985"/>
                    </a:lnTo>
                    <a:lnTo>
                      <a:pt x="10236" y="2984"/>
                    </a:lnTo>
                    <a:lnTo>
                      <a:pt x="10231" y="2982"/>
                    </a:lnTo>
                    <a:lnTo>
                      <a:pt x="10228" y="2979"/>
                    </a:lnTo>
                    <a:lnTo>
                      <a:pt x="10225" y="2979"/>
                    </a:lnTo>
                    <a:lnTo>
                      <a:pt x="10218" y="2982"/>
                    </a:lnTo>
                    <a:lnTo>
                      <a:pt x="10215" y="2982"/>
                    </a:lnTo>
                    <a:lnTo>
                      <a:pt x="10211" y="2984"/>
                    </a:lnTo>
                    <a:lnTo>
                      <a:pt x="10202" y="2987"/>
                    </a:lnTo>
                    <a:lnTo>
                      <a:pt x="10193" y="2992"/>
                    </a:lnTo>
                    <a:lnTo>
                      <a:pt x="10185" y="3000"/>
                    </a:lnTo>
                    <a:lnTo>
                      <a:pt x="10180" y="3007"/>
                    </a:lnTo>
                    <a:close/>
                    <a:moveTo>
                      <a:pt x="10345" y="2362"/>
                    </a:moveTo>
                    <a:lnTo>
                      <a:pt x="10341" y="2357"/>
                    </a:lnTo>
                    <a:lnTo>
                      <a:pt x="10337" y="2354"/>
                    </a:lnTo>
                    <a:lnTo>
                      <a:pt x="10335" y="2352"/>
                    </a:lnTo>
                    <a:lnTo>
                      <a:pt x="10333" y="2350"/>
                    </a:lnTo>
                    <a:lnTo>
                      <a:pt x="10326" y="2350"/>
                    </a:lnTo>
                    <a:lnTo>
                      <a:pt x="10322" y="2350"/>
                    </a:lnTo>
                    <a:lnTo>
                      <a:pt x="10318" y="2350"/>
                    </a:lnTo>
                    <a:lnTo>
                      <a:pt x="10317" y="2350"/>
                    </a:lnTo>
                    <a:lnTo>
                      <a:pt x="10315" y="2350"/>
                    </a:lnTo>
                    <a:lnTo>
                      <a:pt x="10315" y="2355"/>
                    </a:lnTo>
                    <a:lnTo>
                      <a:pt x="10317" y="2360"/>
                    </a:lnTo>
                    <a:lnTo>
                      <a:pt x="10320" y="2363"/>
                    </a:lnTo>
                    <a:lnTo>
                      <a:pt x="10326" y="2365"/>
                    </a:lnTo>
                    <a:lnTo>
                      <a:pt x="10332" y="2367"/>
                    </a:lnTo>
                    <a:lnTo>
                      <a:pt x="10337" y="2367"/>
                    </a:lnTo>
                    <a:lnTo>
                      <a:pt x="10351" y="2368"/>
                    </a:lnTo>
                    <a:lnTo>
                      <a:pt x="10345" y="2362"/>
                    </a:lnTo>
                    <a:close/>
                    <a:moveTo>
                      <a:pt x="10341" y="2684"/>
                    </a:moveTo>
                    <a:lnTo>
                      <a:pt x="10337" y="2686"/>
                    </a:lnTo>
                    <a:lnTo>
                      <a:pt x="10335" y="2688"/>
                    </a:lnTo>
                    <a:lnTo>
                      <a:pt x="10333" y="2691"/>
                    </a:lnTo>
                    <a:lnTo>
                      <a:pt x="10333" y="2694"/>
                    </a:lnTo>
                    <a:lnTo>
                      <a:pt x="10333" y="2696"/>
                    </a:lnTo>
                    <a:lnTo>
                      <a:pt x="10335" y="2697"/>
                    </a:lnTo>
                    <a:lnTo>
                      <a:pt x="10338" y="2699"/>
                    </a:lnTo>
                    <a:lnTo>
                      <a:pt x="10341" y="2701"/>
                    </a:lnTo>
                    <a:lnTo>
                      <a:pt x="10343" y="2701"/>
                    </a:lnTo>
                    <a:lnTo>
                      <a:pt x="10345" y="2701"/>
                    </a:lnTo>
                    <a:lnTo>
                      <a:pt x="10346" y="2701"/>
                    </a:lnTo>
                    <a:lnTo>
                      <a:pt x="10348" y="2699"/>
                    </a:lnTo>
                    <a:lnTo>
                      <a:pt x="10350" y="2696"/>
                    </a:lnTo>
                    <a:lnTo>
                      <a:pt x="10350" y="2691"/>
                    </a:lnTo>
                    <a:lnTo>
                      <a:pt x="10351" y="2686"/>
                    </a:lnTo>
                    <a:lnTo>
                      <a:pt x="10351" y="2683"/>
                    </a:lnTo>
                    <a:lnTo>
                      <a:pt x="10345" y="2683"/>
                    </a:lnTo>
                    <a:lnTo>
                      <a:pt x="10341" y="2684"/>
                    </a:lnTo>
                    <a:close/>
                    <a:moveTo>
                      <a:pt x="10358" y="2801"/>
                    </a:moveTo>
                    <a:lnTo>
                      <a:pt x="10351" y="2803"/>
                    </a:lnTo>
                    <a:lnTo>
                      <a:pt x="10348" y="2806"/>
                    </a:lnTo>
                    <a:lnTo>
                      <a:pt x="10345" y="2808"/>
                    </a:lnTo>
                    <a:lnTo>
                      <a:pt x="10343" y="2811"/>
                    </a:lnTo>
                    <a:lnTo>
                      <a:pt x="10341" y="2816"/>
                    </a:lnTo>
                    <a:lnTo>
                      <a:pt x="10338" y="2819"/>
                    </a:lnTo>
                    <a:lnTo>
                      <a:pt x="10338" y="2824"/>
                    </a:lnTo>
                    <a:lnTo>
                      <a:pt x="10338" y="2828"/>
                    </a:lnTo>
                    <a:lnTo>
                      <a:pt x="10338" y="2834"/>
                    </a:lnTo>
                    <a:lnTo>
                      <a:pt x="10341" y="2837"/>
                    </a:lnTo>
                    <a:lnTo>
                      <a:pt x="10343" y="2841"/>
                    </a:lnTo>
                    <a:lnTo>
                      <a:pt x="10345" y="2847"/>
                    </a:lnTo>
                    <a:lnTo>
                      <a:pt x="10348" y="2851"/>
                    </a:lnTo>
                    <a:lnTo>
                      <a:pt x="10351" y="2854"/>
                    </a:lnTo>
                    <a:lnTo>
                      <a:pt x="10353" y="2852"/>
                    </a:lnTo>
                    <a:lnTo>
                      <a:pt x="10358" y="2852"/>
                    </a:lnTo>
                    <a:lnTo>
                      <a:pt x="10359" y="2851"/>
                    </a:lnTo>
                    <a:lnTo>
                      <a:pt x="10361" y="2847"/>
                    </a:lnTo>
                    <a:lnTo>
                      <a:pt x="10363" y="2844"/>
                    </a:lnTo>
                    <a:lnTo>
                      <a:pt x="10365" y="2841"/>
                    </a:lnTo>
                    <a:lnTo>
                      <a:pt x="10366" y="2834"/>
                    </a:lnTo>
                    <a:lnTo>
                      <a:pt x="10368" y="2824"/>
                    </a:lnTo>
                    <a:lnTo>
                      <a:pt x="10368" y="2816"/>
                    </a:lnTo>
                    <a:lnTo>
                      <a:pt x="10370" y="2808"/>
                    </a:lnTo>
                    <a:lnTo>
                      <a:pt x="10370" y="2801"/>
                    </a:lnTo>
                    <a:lnTo>
                      <a:pt x="10363" y="2801"/>
                    </a:lnTo>
                    <a:lnTo>
                      <a:pt x="10358" y="2801"/>
                    </a:lnTo>
                    <a:close/>
                    <a:moveTo>
                      <a:pt x="10370" y="2686"/>
                    </a:moveTo>
                    <a:lnTo>
                      <a:pt x="10370" y="2684"/>
                    </a:lnTo>
                    <a:lnTo>
                      <a:pt x="10370" y="2683"/>
                    </a:lnTo>
                    <a:lnTo>
                      <a:pt x="10363" y="2683"/>
                    </a:lnTo>
                    <a:lnTo>
                      <a:pt x="10359" y="2683"/>
                    </a:lnTo>
                    <a:lnTo>
                      <a:pt x="10355" y="2683"/>
                    </a:lnTo>
                    <a:lnTo>
                      <a:pt x="10355" y="2684"/>
                    </a:lnTo>
                    <a:lnTo>
                      <a:pt x="10355" y="2686"/>
                    </a:lnTo>
                    <a:lnTo>
                      <a:pt x="10359" y="2689"/>
                    </a:lnTo>
                    <a:lnTo>
                      <a:pt x="10363" y="2694"/>
                    </a:lnTo>
                    <a:lnTo>
                      <a:pt x="10370" y="2701"/>
                    </a:lnTo>
                    <a:lnTo>
                      <a:pt x="10370" y="2694"/>
                    </a:lnTo>
                    <a:lnTo>
                      <a:pt x="10370" y="2689"/>
                    </a:lnTo>
                    <a:lnTo>
                      <a:pt x="10370" y="2686"/>
                    </a:lnTo>
                    <a:close/>
                    <a:moveTo>
                      <a:pt x="10433" y="2008"/>
                    </a:moveTo>
                    <a:lnTo>
                      <a:pt x="10429" y="2001"/>
                    </a:lnTo>
                    <a:lnTo>
                      <a:pt x="10427" y="1998"/>
                    </a:lnTo>
                    <a:lnTo>
                      <a:pt x="10425" y="1993"/>
                    </a:lnTo>
                    <a:lnTo>
                      <a:pt x="10424" y="1992"/>
                    </a:lnTo>
                    <a:lnTo>
                      <a:pt x="10424" y="1996"/>
                    </a:lnTo>
                    <a:lnTo>
                      <a:pt x="10424" y="1999"/>
                    </a:lnTo>
                    <a:lnTo>
                      <a:pt x="10425" y="2003"/>
                    </a:lnTo>
                    <a:lnTo>
                      <a:pt x="10427" y="2005"/>
                    </a:lnTo>
                    <a:lnTo>
                      <a:pt x="10429" y="2006"/>
                    </a:lnTo>
                    <a:lnTo>
                      <a:pt x="10431" y="2006"/>
                    </a:lnTo>
                    <a:lnTo>
                      <a:pt x="10431" y="2008"/>
                    </a:lnTo>
                    <a:lnTo>
                      <a:pt x="10433" y="2008"/>
                    </a:lnTo>
                    <a:close/>
                    <a:moveTo>
                      <a:pt x="10802" y="2161"/>
                    </a:moveTo>
                    <a:lnTo>
                      <a:pt x="10801" y="2161"/>
                    </a:lnTo>
                    <a:lnTo>
                      <a:pt x="10799" y="2161"/>
                    </a:lnTo>
                    <a:lnTo>
                      <a:pt x="10796" y="2161"/>
                    </a:lnTo>
                    <a:lnTo>
                      <a:pt x="10794" y="2161"/>
                    </a:lnTo>
                    <a:lnTo>
                      <a:pt x="10793" y="2161"/>
                    </a:lnTo>
                    <a:lnTo>
                      <a:pt x="10789" y="2164"/>
                    </a:lnTo>
                    <a:lnTo>
                      <a:pt x="10787" y="2166"/>
                    </a:lnTo>
                    <a:lnTo>
                      <a:pt x="10786" y="2167"/>
                    </a:lnTo>
                    <a:lnTo>
                      <a:pt x="10784" y="2173"/>
                    </a:lnTo>
                    <a:lnTo>
                      <a:pt x="10784" y="2179"/>
                    </a:lnTo>
                    <a:lnTo>
                      <a:pt x="10787" y="2179"/>
                    </a:lnTo>
                    <a:lnTo>
                      <a:pt x="10791" y="2176"/>
                    </a:lnTo>
                    <a:lnTo>
                      <a:pt x="10794" y="2176"/>
                    </a:lnTo>
                    <a:lnTo>
                      <a:pt x="10796" y="2174"/>
                    </a:lnTo>
                    <a:lnTo>
                      <a:pt x="10799" y="2173"/>
                    </a:lnTo>
                    <a:lnTo>
                      <a:pt x="10802" y="2171"/>
                    </a:lnTo>
                    <a:lnTo>
                      <a:pt x="10806" y="2166"/>
                    </a:lnTo>
                    <a:lnTo>
                      <a:pt x="10811" y="2161"/>
                    </a:lnTo>
                    <a:lnTo>
                      <a:pt x="10806" y="2161"/>
                    </a:lnTo>
                    <a:lnTo>
                      <a:pt x="10802" y="2161"/>
                    </a:lnTo>
                    <a:close/>
                    <a:moveTo>
                      <a:pt x="10804" y="2204"/>
                    </a:moveTo>
                    <a:lnTo>
                      <a:pt x="10802" y="2207"/>
                    </a:lnTo>
                    <a:lnTo>
                      <a:pt x="10802" y="2215"/>
                    </a:lnTo>
                    <a:lnTo>
                      <a:pt x="10804" y="2215"/>
                    </a:lnTo>
                    <a:lnTo>
                      <a:pt x="10806" y="2215"/>
                    </a:lnTo>
                    <a:lnTo>
                      <a:pt x="10809" y="2215"/>
                    </a:lnTo>
                    <a:lnTo>
                      <a:pt x="10814" y="2215"/>
                    </a:lnTo>
                    <a:lnTo>
                      <a:pt x="10817" y="2215"/>
                    </a:lnTo>
                    <a:lnTo>
                      <a:pt x="10827" y="2215"/>
                    </a:lnTo>
                    <a:lnTo>
                      <a:pt x="10822" y="2207"/>
                    </a:lnTo>
                    <a:lnTo>
                      <a:pt x="10817" y="2204"/>
                    </a:lnTo>
                    <a:lnTo>
                      <a:pt x="10814" y="2200"/>
                    </a:lnTo>
                    <a:lnTo>
                      <a:pt x="10809" y="2200"/>
                    </a:lnTo>
                    <a:lnTo>
                      <a:pt x="10806" y="2200"/>
                    </a:lnTo>
                    <a:lnTo>
                      <a:pt x="10804" y="2204"/>
                    </a:lnTo>
                    <a:close/>
                    <a:moveTo>
                      <a:pt x="10814" y="2457"/>
                    </a:moveTo>
                    <a:lnTo>
                      <a:pt x="10811" y="2457"/>
                    </a:lnTo>
                    <a:lnTo>
                      <a:pt x="10809" y="2457"/>
                    </a:lnTo>
                    <a:lnTo>
                      <a:pt x="10807" y="2457"/>
                    </a:lnTo>
                    <a:lnTo>
                      <a:pt x="10806" y="2457"/>
                    </a:lnTo>
                    <a:lnTo>
                      <a:pt x="10804" y="2457"/>
                    </a:lnTo>
                    <a:lnTo>
                      <a:pt x="10802" y="2457"/>
                    </a:lnTo>
                    <a:lnTo>
                      <a:pt x="10802" y="2459"/>
                    </a:lnTo>
                    <a:lnTo>
                      <a:pt x="10802" y="2462"/>
                    </a:lnTo>
                    <a:lnTo>
                      <a:pt x="10806" y="2470"/>
                    </a:lnTo>
                    <a:lnTo>
                      <a:pt x="10807" y="2472"/>
                    </a:lnTo>
                    <a:lnTo>
                      <a:pt x="10809" y="2474"/>
                    </a:lnTo>
                    <a:lnTo>
                      <a:pt x="10811" y="2475"/>
                    </a:lnTo>
                    <a:lnTo>
                      <a:pt x="10814" y="2477"/>
                    </a:lnTo>
                    <a:lnTo>
                      <a:pt x="10815" y="2477"/>
                    </a:lnTo>
                    <a:lnTo>
                      <a:pt x="10817" y="2475"/>
                    </a:lnTo>
                    <a:lnTo>
                      <a:pt x="10817" y="2474"/>
                    </a:lnTo>
                    <a:lnTo>
                      <a:pt x="10817" y="2472"/>
                    </a:lnTo>
                    <a:lnTo>
                      <a:pt x="10817" y="2469"/>
                    </a:lnTo>
                    <a:lnTo>
                      <a:pt x="10817" y="2462"/>
                    </a:lnTo>
                    <a:lnTo>
                      <a:pt x="10815" y="2457"/>
                    </a:lnTo>
                    <a:lnTo>
                      <a:pt x="10814" y="2457"/>
                    </a:lnTo>
                    <a:close/>
                    <a:moveTo>
                      <a:pt x="10908" y="2235"/>
                    </a:moveTo>
                    <a:lnTo>
                      <a:pt x="10898" y="2237"/>
                    </a:lnTo>
                    <a:lnTo>
                      <a:pt x="10887" y="2240"/>
                    </a:lnTo>
                    <a:lnTo>
                      <a:pt x="10876" y="2245"/>
                    </a:lnTo>
                    <a:lnTo>
                      <a:pt x="10865" y="2250"/>
                    </a:lnTo>
                    <a:lnTo>
                      <a:pt x="10876" y="2248"/>
                    </a:lnTo>
                    <a:lnTo>
                      <a:pt x="10887" y="2247"/>
                    </a:lnTo>
                    <a:lnTo>
                      <a:pt x="10898" y="2245"/>
                    </a:lnTo>
                    <a:lnTo>
                      <a:pt x="10908" y="2241"/>
                    </a:lnTo>
                    <a:lnTo>
                      <a:pt x="10914" y="2237"/>
                    </a:lnTo>
                    <a:lnTo>
                      <a:pt x="10922" y="2235"/>
                    </a:lnTo>
                    <a:lnTo>
                      <a:pt x="10929" y="2233"/>
                    </a:lnTo>
                    <a:lnTo>
                      <a:pt x="10922" y="2233"/>
                    </a:lnTo>
                    <a:lnTo>
                      <a:pt x="10914" y="2233"/>
                    </a:lnTo>
                    <a:lnTo>
                      <a:pt x="10908" y="2235"/>
                    </a:lnTo>
                    <a:close/>
                    <a:moveTo>
                      <a:pt x="9200" y="2666"/>
                    </a:moveTo>
                    <a:lnTo>
                      <a:pt x="9181" y="2666"/>
                    </a:lnTo>
                    <a:lnTo>
                      <a:pt x="9200" y="2683"/>
                    </a:lnTo>
                    <a:lnTo>
                      <a:pt x="9200" y="2666"/>
                    </a:lnTo>
                    <a:close/>
                    <a:moveTo>
                      <a:pt x="9303" y="2647"/>
                    </a:moveTo>
                    <a:lnTo>
                      <a:pt x="9298" y="2650"/>
                    </a:lnTo>
                    <a:lnTo>
                      <a:pt x="9294" y="2651"/>
                    </a:lnTo>
                    <a:lnTo>
                      <a:pt x="9291" y="2655"/>
                    </a:lnTo>
                    <a:lnTo>
                      <a:pt x="9286" y="2658"/>
                    </a:lnTo>
                    <a:lnTo>
                      <a:pt x="9285" y="2660"/>
                    </a:lnTo>
                    <a:lnTo>
                      <a:pt x="9283" y="2664"/>
                    </a:lnTo>
                    <a:lnTo>
                      <a:pt x="9281" y="2671"/>
                    </a:lnTo>
                    <a:lnTo>
                      <a:pt x="9280" y="2676"/>
                    </a:lnTo>
                    <a:lnTo>
                      <a:pt x="9280" y="2679"/>
                    </a:lnTo>
                    <a:lnTo>
                      <a:pt x="9280" y="2681"/>
                    </a:lnTo>
                    <a:lnTo>
                      <a:pt x="9280" y="2683"/>
                    </a:lnTo>
                    <a:lnTo>
                      <a:pt x="9285" y="2681"/>
                    </a:lnTo>
                    <a:lnTo>
                      <a:pt x="9288" y="2679"/>
                    </a:lnTo>
                    <a:lnTo>
                      <a:pt x="9294" y="2675"/>
                    </a:lnTo>
                    <a:lnTo>
                      <a:pt x="9298" y="2671"/>
                    </a:lnTo>
                    <a:lnTo>
                      <a:pt x="9300" y="2666"/>
                    </a:lnTo>
                    <a:lnTo>
                      <a:pt x="9306" y="2658"/>
                    </a:lnTo>
                    <a:lnTo>
                      <a:pt x="9309" y="2653"/>
                    </a:lnTo>
                    <a:lnTo>
                      <a:pt x="9316" y="2647"/>
                    </a:lnTo>
                    <a:lnTo>
                      <a:pt x="9309" y="2647"/>
                    </a:lnTo>
                    <a:lnTo>
                      <a:pt x="9303" y="2647"/>
                    </a:lnTo>
                    <a:close/>
                    <a:moveTo>
                      <a:pt x="9434" y="2928"/>
                    </a:moveTo>
                    <a:lnTo>
                      <a:pt x="9431" y="2928"/>
                    </a:lnTo>
                    <a:lnTo>
                      <a:pt x="9428" y="2931"/>
                    </a:lnTo>
                    <a:lnTo>
                      <a:pt x="9425" y="2933"/>
                    </a:lnTo>
                    <a:lnTo>
                      <a:pt x="9436" y="2933"/>
                    </a:lnTo>
                    <a:lnTo>
                      <a:pt x="9442" y="2935"/>
                    </a:lnTo>
                    <a:lnTo>
                      <a:pt x="9448" y="2935"/>
                    </a:lnTo>
                    <a:lnTo>
                      <a:pt x="9451" y="2939"/>
                    </a:lnTo>
                    <a:lnTo>
                      <a:pt x="9454" y="2941"/>
                    </a:lnTo>
                    <a:lnTo>
                      <a:pt x="9456" y="2946"/>
                    </a:lnTo>
                    <a:lnTo>
                      <a:pt x="9456" y="2952"/>
                    </a:lnTo>
                    <a:lnTo>
                      <a:pt x="9454" y="2950"/>
                    </a:lnTo>
                    <a:lnTo>
                      <a:pt x="9453" y="2948"/>
                    </a:lnTo>
                    <a:lnTo>
                      <a:pt x="9451" y="2948"/>
                    </a:lnTo>
                    <a:lnTo>
                      <a:pt x="9451" y="2950"/>
                    </a:lnTo>
                    <a:lnTo>
                      <a:pt x="9451" y="2952"/>
                    </a:lnTo>
                    <a:lnTo>
                      <a:pt x="9451" y="2956"/>
                    </a:lnTo>
                    <a:lnTo>
                      <a:pt x="9453" y="2959"/>
                    </a:lnTo>
                    <a:lnTo>
                      <a:pt x="9454" y="2963"/>
                    </a:lnTo>
                    <a:lnTo>
                      <a:pt x="9459" y="2967"/>
                    </a:lnTo>
                    <a:lnTo>
                      <a:pt x="9461" y="2972"/>
                    </a:lnTo>
                    <a:lnTo>
                      <a:pt x="9464" y="2976"/>
                    </a:lnTo>
                    <a:lnTo>
                      <a:pt x="9469" y="2979"/>
                    </a:lnTo>
                    <a:lnTo>
                      <a:pt x="9474" y="2984"/>
                    </a:lnTo>
                    <a:lnTo>
                      <a:pt x="9479" y="2985"/>
                    </a:lnTo>
                    <a:lnTo>
                      <a:pt x="9484" y="2987"/>
                    </a:lnTo>
                    <a:lnTo>
                      <a:pt x="9490" y="2989"/>
                    </a:lnTo>
                    <a:lnTo>
                      <a:pt x="9495" y="2982"/>
                    </a:lnTo>
                    <a:lnTo>
                      <a:pt x="9501" y="2974"/>
                    </a:lnTo>
                    <a:lnTo>
                      <a:pt x="9505" y="2969"/>
                    </a:lnTo>
                    <a:lnTo>
                      <a:pt x="9507" y="2964"/>
                    </a:lnTo>
                    <a:lnTo>
                      <a:pt x="9508" y="2961"/>
                    </a:lnTo>
                    <a:lnTo>
                      <a:pt x="9508" y="2958"/>
                    </a:lnTo>
                    <a:lnTo>
                      <a:pt x="9508" y="2954"/>
                    </a:lnTo>
                    <a:lnTo>
                      <a:pt x="9508" y="2950"/>
                    </a:lnTo>
                    <a:lnTo>
                      <a:pt x="9507" y="2948"/>
                    </a:lnTo>
                    <a:lnTo>
                      <a:pt x="9503" y="2944"/>
                    </a:lnTo>
                    <a:lnTo>
                      <a:pt x="9499" y="2941"/>
                    </a:lnTo>
                    <a:lnTo>
                      <a:pt x="9495" y="2938"/>
                    </a:lnTo>
                    <a:lnTo>
                      <a:pt x="9490" y="2933"/>
                    </a:lnTo>
                    <a:lnTo>
                      <a:pt x="9482" y="2933"/>
                    </a:lnTo>
                    <a:lnTo>
                      <a:pt x="9475" y="2931"/>
                    </a:lnTo>
                    <a:lnTo>
                      <a:pt x="9466" y="2930"/>
                    </a:lnTo>
                    <a:lnTo>
                      <a:pt x="9456" y="2928"/>
                    </a:lnTo>
                    <a:lnTo>
                      <a:pt x="9448" y="2926"/>
                    </a:lnTo>
                    <a:lnTo>
                      <a:pt x="9444" y="2926"/>
                    </a:lnTo>
                    <a:lnTo>
                      <a:pt x="9440" y="2926"/>
                    </a:lnTo>
                    <a:lnTo>
                      <a:pt x="9434" y="2928"/>
                    </a:lnTo>
                    <a:close/>
                    <a:moveTo>
                      <a:pt x="9527" y="3366"/>
                    </a:moveTo>
                    <a:lnTo>
                      <a:pt x="9532" y="3366"/>
                    </a:lnTo>
                    <a:lnTo>
                      <a:pt x="9540" y="3364"/>
                    </a:lnTo>
                    <a:lnTo>
                      <a:pt x="9549" y="3364"/>
                    </a:lnTo>
                    <a:lnTo>
                      <a:pt x="9558" y="3362"/>
                    </a:lnTo>
                    <a:lnTo>
                      <a:pt x="9568" y="3358"/>
                    </a:lnTo>
                    <a:lnTo>
                      <a:pt x="9579" y="3356"/>
                    </a:lnTo>
                    <a:lnTo>
                      <a:pt x="9588" y="3353"/>
                    </a:lnTo>
                    <a:lnTo>
                      <a:pt x="9597" y="3349"/>
                    </a:lnTo>
                    <a:lnTo>
                      <a:pt x="9604" y="3345"/>
                    </a:lnTo>
                    <a:lnTo>
                      <a:pt x="9610" y="3341"/>
                    </a:lnTo>
                    <a:lnTo>
                      <a:pt x="9614" y="3338"/>
                    </a:lnTo>
                    <a:lnTo>
                      <a:pt x="9615" y="3336"/>
                    </a:lnTo>
                    <a:lnTo>
                      <a:pt x="9617" y="3334"/>
                    </a:lnTo>
                    <a:lnTo>
                      <a:pt x="9619" y="3331"/>
                    </a:lnTo>
                    <a:lnTo>
                      <a:pt x="9619" y="3328"/>
                    </a:lnTo>
                    <a:lnTo>
                      <a:pt x="9619" y="3325"/>
                    </a:lnTo>
                    <a:lnTo>
                      <a:pt x="9619" y="3321"/>
                    </a:lnTo>
                    <a:lnTo>
                      <a:pt x="9617" y="3320"/>
                    </a:lnTo>
                    <a:lnTo>
                      <a:pt x="9615" y="3316"/>
                    </a:lnTo>
                    <a:lnTo>
                      <a:pt x="9612" y="3312"/>
                    </a:lnTo>
                    <a:lnTo>
                      <a:pt x="9606" y="3310"/>
                    </a:lnTo>
                    <a:lnTo>
                      <a:pt x="9599" y="3308"/>
                    </a:lnTo>
                    <a:lnTo>
                      <a:pt x="9591" y="3310"/>
                    </a:lnTo>
                    <a:lnTo>
                      <a:pt x="9582" y="3310"/>
                    </a:lnTo>
                    <a:lnTo>
                      <a:pt x="9575" y="3313"/>
                    </a:lnTo>
                    <a:lnTo>
                      <a:pt x="9568" y="3318"/>
                    </a:lnTo>
                    <a:lnTo>
                      <a:pt x="9560" y="3321"/>
                    </a:lnTo>
                    <a:lnTo>
                      <a:pt x="9555" y="3327"/>
                    </a:lnTo>
                    <a:lnTo>
                      <a:pt x="9547" y="3331"/>
                    </a:lnTo>
                    <a:lnTo>
                      <a:pt x="9541" y="3336"/>
                    </a:lnTo>
                    <a:lnTo>
                      <a:pt x="9536" y="3341"/>
                    </a:lnTo>
                    <a:lnTo>
                      <a:pt x="9530" y="3347"/>
                    </a:lnTo>
                    <a:lnTo>
                      <a:pt x="9527" y="3353"/>
                    </a:lnTo>
                    <a:lnTo>
                      <a:pt x="9525" y="3358"/>
                    </a:lnTo>
                    <a:lnTo>
                      <a:pt x="9523" y="3362"/>
                    </a:lnTo>
                    <a:lnTo>
                      <a:pt x="9523" y="3367"/>
                    </a:lnTo>
                    <a:lnTo>
                      <a:pt x="9525" y="3366"/>
                    </a:lnTo>
                    <a:lnTo>
                      <a:pt x="9527" y="3366"/>
                    </a:lnTo>
                    <a:close/>
                    <a:moveTo>
                      <a:pt x="10077" y="3122"/>
                    </a:moveTo>
                    <a:lnTo>
                      <a:pt x="10068" y="3122"/>
                    </a:lnTo>
                    <a:lnTo>
                      <a:pt x="10060" y="3122"/>
                    </a:lnTo>
                    <a:lnTo>
                      <a:pt x="10053" y="3122"/>
                    </a:lnTo>
                    <a:lnTo>
                      <a:pt x="10045" y="3124"/>
                    </a:lnTo>
                    <a:lnTo>
                      <a:pt x="10040" y="3127"/>
                    </a:lnTo>
                    <a:lnTo>
                      <a:pt x="10034" y="3131"/>
                    </a:lnTo>
                    <a:lnTo>
                      <a:pt x="10030" y="3137"/>
                    </a:lnTo>
                    <a:lnTo>
                      <a:pt x="10027" y="3142"/>
                    </a:lnTo>
                    <a:lnTo>
                      <a:pt x="10029" y="3144"/>
                    </a:lnTo>
                    <a:lnTo>
                      <a:pt x="10030" y="3145"/>
                    </a:lnTo>
                    <a:lnTo>
                      <a:pt x="10034" y="3145"/>
                    </a:lnTo>
                    <a:lnTo>
                      <a:pt x="10038" y="3147"/>
                    </a:lnTo>
                    <a:lnTo>
                      <a:pt x="10045" y="3152"/>
                    </a:lnTo>
                    <a:lnTo>
                      <a:pt x="10053" y="3155"/>
                    </a:lnTo>
                    <a:lnTo>
                      <a:pt x="10062" y="3157"/>
                    </a:lnTo>
                    <a:lnTo>
                      <a:pt x="10070" y="3159"/>
                    </a:lnTo>
                    <a:lnTo>
                      <a:pt x="10077" y="3160"/>
                    </a:lnTo>
                    <a:lnTo>
                      <a:pt x="10083" y="3162"/>
                    </a:lnTo>
                    <a:lnTo>
                      <a:pt x="10086" y="3166"/>
                    </a:lnTo>
                    <a:lnTo>
                      <a:pt x="10091" y="3166"/>
                    </a:lnTo>
                    <a:lnTo>
                      <a:pt x="10095" y="3168"/>
                    </a:lnTo>
                    <a:lnTo>
                      <a:pt x="10099" y="3168"/>
                    </a:lnTo>
                    <a:lnTo>
                      <a:pt x="10103" y="3168"/>
                    </a:lnTo>
                    <a:lnTo>
                      <a:pt x="10104" y="3166"/>
                    </a:lnTo>
                    <a:lnTo>
                      <a:pt x="10106" y="3165"/>
                    </a:lnTo>
                    <a:lnTo>
                      <a:pt x="10111" y="3160"/>
                    </a:lnTo>
                    <a:lnTo>
                      <a:pt x="10116" y="3155"/>
                    </a:lnTo>
                    <a:lnTo>
                      <a:pt x="10121" y="3150"/>
                    </a:lnTo>
                    <a:lnTo>
                      <a:pt x="10126" y="3142"/>
                    </a:lnTo>
                    <a:lnTo>
                      <a:pt x="10123" y="3139"/>
                    </a:lnTo>
                    <a:lnTo>
                      <a:pt x="10117" y="3135"/>
                    </a:lnTo>
                    <a:lnTo>
                      <a:pt x="10111" y="3132"/>
                    </a:lnTo>
                    <a:lnTo>
                      <a:pt x="10106" y="3129"/>
                    </a:lnTo>
                    <a:lnTo>
                      <a:pt x="10099" y="3127"/>
                    </a:lnTo>
                    <a:lnTo>
                      <a:pt x="10091" y="3126"/>
                    </a:lnTo>
                    <a:lnTo>
                      <a:pt x="10084" y="3124"/>
                    </a:lnTo>
                    <a:lnTo>
                      <a:pt x="10077" y="3122"/>
                    </a:lnTo>
                    <a:close/>
                    <a:moveTo>
                      <a:pt x="6035" y="2008"/>
                    </a:moveTo>
                    <a:lnTo>
                      <a:pt x="6028" y="2008"/>
                    </a:lnTo>
                    <a:lnTo>
                      <a:pt x="6020" y="2011"/>
                    </a:lnTo>
                    <a:lnTo>
                      <a:pt x="6013" y="2013"/>
                    </a:lnTo>
                    <a:lnTo>
                      <a:pt x="6007" y="2016"/>
                    </a:lnTo>
                    <a:lnTo>
                      <a:pt x="6005" y="2018"/>
                    </a:lnTo>
                    <a:lnTo>
                      <a:pt x="6004" y="2019"/>
                    </a:lnTo>
                    <a:lnTo>
                      <a:pt x="6004" y="2021"/>
                    </a:lnTo>
                    <a:lnTo>
                      <a:pt x="6004" y="2025"/>
                    </a:lnTo>
                    <a:lnTo>
                      <a:pt x="6009" y="2031"/>
                    </a:lnTo>
                    <a:lnTo>
                      <a:pt x="6015" y="2034"/>
                    </a:lnTo>
                    <a:lnTo>
                      <a:pt x="6020" y="2038"/>
                    </a:lnTo>
                    <a:lnTo>
                      <a:pt x="6025" y="2038"/>
                    </a:lnTo>
                    <a:lnTo>
                      <a:pt x="6032" y="2038"/>
                    </a:lnTo>
                    <a:lnTo>
                      <a:pt x="6037" y="2034"/>
                    </a:lnTo>
                    <a:lnTo>
                      <a:pt x="6042" y="2031"/>
                    </a:lnTo>
                    <a:lnTo>
                      <a:pt x="6050" y="2025"/>
                    </a:lnTo>
                    <a:lnTo>
                      <a:pt x="6050" y="2019"/>
                    </a:lnTo>
                    <a:lnTo>
                      <a:pt x="6050" y="2016"/>
                    </a:lnTo>
                    <a:lnTo>
                      <a:pt x="6050" y="2013"/>
                    </a:lnTo>
                    <a:lnTo>
                      <a:pt x="6050" y="2011"/>
                    </a:lnTo>
                    <a:lnTo>
                      <a:pt x="6050" y="2008"/>
                    </a:lnTo>
                    <a:lnTo>
                      <a:pt x="6042" y="2008"/>
                    </a:lnTo>
                    <a:lnTo>
                      <a:pt x="6035" y="2008"/>
                    </a:lnTo>
                    <a:close/>
                    <a:moveTo>
                      <a:pt x="6417" y="1966"/>
                    </a:moveTo>
                    <a:lnTo>
                      <a:pt x="6414" y="1964"/>
                    </a:lnTo>
                    <a:lnTo>
                      <a:pt x="6407" y="1962"/>
                    </a:lnTo>
                    <a:lnTo>
                      <a:pt x="6402" y="1962"/>
                    </a:lnTo>
                    <a:lnTo>
                      <a:pt x="6397" y="1964"/>
                    </a:lnTo>
                    <a:lnTo>
                      <a:pt x="6391" y="1964"/>
                    </a:lnTo>
                    <a:lnTo>
                      <a:pt x="6386" y="1966"/>
                    </a:lnTo>
                    <a:lnTo>
                      <a:pt x="6373" y="1970"/>
                    </a:lnTo>
                    <a:lnTo>
                      <a:pt x="6361" y="1975"/>
                    </a:lnTo>
                    <a:lnTo>
                      <a:pt x="6356" y="1978"/>
                    </a:lnTo>
                    <a:lnTo>
                      <a:pt x="6353" y="1983"/>
                    </a:lnTo>
                    <a:lnTo>
                      <a:pt x="6346" y="1986"/>
                    </a:lnTo>
                    <a:lnTo>
                      <a:pt x="6345" y="1990"/>
                    </a:lnTo>
                    <a:lnTo>
                      <a:pt x="6351" y="1992"/>
                    </a:lnTo>
                    <a:lnTo>
                      <a:pt x="6356" y="1996"/>
                    </a:lnTo>
                    <a:lnTo>
                      <a:pt x="6361" y="1998"/>
                    </a:lnTo>
                    <a:lnTo>
                      <a:pt x="6369" y="1999"/>
                    </a:lnTo>
                    <a:lnTo>
                      <a:pt x="6374" y="2001"/>
                    </a:lnTo>
                    <a:lnTo>
                      <a:pt x="6380" y="2001"/>
                    </a:lnTo>
                    <a:lnTo>
                      <a:pt x="6386" y="2001"/>
                    </a:lnTo>
                    <a:lnTo>
                      <a:pt x="6391" y="2001"/>
                    </a:lnTo>
                    <a:lnTo>
                      <a:pt x="6397" y="1999"/>
                    </a:lnTo>
                    <a:lnTo>
                      <a:pt x="6400" y="1998"/>
                    </a:lnTo>
                    <a:lnTo>
                      <a:pt x="6406" y="1996"/>
                    </a:lnTo>
                    <a:lnTo>
                      <a:pt x="6410" y="1992"/>
                    </a:lnTo>
                    <a:lnTo>
                      <a:pt x="6415" y="1988"/>
                    </a:lnTo>
                    <a:lnTo>
                      <a:pt x="6419" y="1983"/>
                    </a:lnTo>
                    <a:lnTo>
                      <a:pt x="6422" y="1977"/>
                    </a:lnTo>
                    <a:lnTo>
                      <a:pt x="6427" y="1972"/>
                    </a:lnTo>
                    <a:lnTo>
                      <a:pt x="6422" y="1968"/>
                    </a:lnTo>
                    <a:lnTo>
                      <a:pt x="6417" y="1966"/>
                    </a:lnTo>
                    <a:close/>
                    <a:moveTo>
                      <a:pt x="6490" y="1926"/>
                    </a:moveTo>
                    <a:lnTo>
                      <a:pt x="6481" y="1927"/>
                    </a:lnTo>
                    <a:lnTo>
                      <a:pt x="6487" y="1927"/>
                    </a:lnTo>
                    <a:lnTo>
                      <a:pt x="6490" y="1926"/>
                    </a:lnTo>
                    <a:lnTo>
                      <a:pt x="6490" y="1926"/>
                    </a:lnTo>
                    <a:lnTo>
                      <a:pt x="6490" y="1926"/>
                    </a:lnTo>
                    <a:close/>
                    <a:moveTo>
                      <a:pt x="6490" y="1926"/>
                    </a:moveTo>
                    <a:lnTo>
                      <a:pt x="6490" y="1926"/>
                    </a:lnTo>
                    <a:lnTo>
                      <a:pt x="6493" y="1925"/>
                    </a:lnTo>
                    <a:lnTo>
                      <a:pt x="6491" y="1925"/>
                    </a:lnTo>
                    <a:lnTo>
                      <a:pt x="6490" y="1926"/>
                    </a:lnTo>
                    <a:lnTo>
                      <a:pt x="6490" y="1926"/>
                    </a:lnTo>
                    <a:close/>
                    <a:moveTo>
                      <a:pt x="6502" y="1922"/>
                    </a:moveTo>
                    <a:lnTo>
                      <a:pt x="6498" y="1924"/>
                    </a:lnTo>
                    <a:lnTo>
                      <a:pt x="6494" y="1925"/>
                    </a:lnTo>
                    <a:lnTo>
                      <a:pt x="6501" y="1925"/>
                    </a:lnTo>
                    <a:lnTo>
                      <a:pt x="6506" y="1924"/>
                    </a:lnTo>
                    <a:lnTo>
                      <a:pt x="6509" y="1922"/>
                    </a:lnTo>
                    <a:lnTo>
                      <a:pt x="6513" y="1918"/>
                    </a:lnTo>
                    <a:lnTo>
                      <a:pt x="6514" y="1914"/>
                    </a:lnTo>
                    <a:lnTo>
                      <a:pt x="6517" y="1909"/>
                    </a:lnTo>
                    <a:lnTo>
                      <a:pt x="6509" y="1914"/>
                    </a:lnTo>
                    <a:lnTo>
                      <a:pt x="6506" y="1918"/>
                    </a:lnTo>
                    <a:lnTo>
                      <a:pt x="6502" y="1922"/>
                    </a:lnTo>
                    <a:close/>
                    <a:moveTo>
                      <a:pt x="6581" y="1953"/>
                    </a:moveTo>
                    <a:lnTo>
                      <a:pt x="6578" y="1957"/>
                    </a:lnTo>
                    <a:lnTo>
                      <a:pt x="6574" y="1960"/>
                    </a:lnTo>
                    <a:lnTo>
                      <a:pt x="6572" y="1964"/>
                    </a:lnTo>
                    <a:lnTo>
                      <a:pt x="6570" y="1968"/>
                    </a:lnTo>
                    <a:lnTo>
                      <a:pt x="6570" y="1970"/>
                    </a:lnTo>
                    <a:lnTo>
                      <a:pt x="6570" y="1973"/>
                    </a:lnTo>
                    <a:lnTo>
                      <a:pt x="6570" y="1975"/>
                    </a:lnTo>
                    <a:lnTo>
                      <a:pt x="6572" y="1977"/>
                    </a:lnTo>
                    <a:lnTo>
                      <a:pt x="6575" y="1978"/>
                    </a:lnTo>
                    <a:lnTo>
                      <a:pt x="6581" y="1978"/>
                    </a:lnTo>
                    <a:lnTo>
                      <a:pt x="6587" y="1978"/>
                    </a:lnTo>
                    <a:lnTo>
                      <a:pt x="6595" y="1978"/>
                    </a:lnTo>
                    <a:lnTo>
                      <a:pt x="6600" y="1977"/>
                    </a:lnTo>
                    <a:lnTo>
                      <a:pt x="6605" y="1975"/>
                    </a:lnTo>
                    <a:lnTo>
                      <a:pt x="6613" y="1973"/>
                    </a:lnTo>
                    <a:lnTo>
                      <a:pt x="6616" y="1970"/>
                    </a:lnTo>
                    <a:lnTo>
                      <a:pt x="6621" y="1966"/>
                    </a:lnTo>
                    <a:lnTo>
                      <a:pt x="6624" y="1962"/>
                    </a:lnTo>
                    <a:lnTo>
                      <a:pt x="6626" y="1959"/>
                    </a:lnTo>
                    <a:lnTo>
                      <a:pt x="6626" y="1955"/>
                    </a:lnTo>
                    <a:lnTo>
                      <a:pt x="6626" y="1953"/>
                    </a:lnTo>
                    <a:lnTo>
                      <a:pt x="6624" y="1952"/>
                    </a:lnTo>
                    <a:lnTo>
                      <a:pt x="6624" y="1947"/>
                    </a:lnTo>
                    <a:lnTo>
                      <a:pt x="6620" y="1945"/>
                    </a:lnTo>
                    <a:lnTo>
                      <a:pt x="6618" y="1942"/>
                    </a:lnTo>
                    <a:lnTo>
                      <a:pt x="6614" y="1940"/>
                    </a:lnTo>
                    <a:lnTo>
                      <a:pt x="6611" y="1939"/>
                    </a:lnTo>
                    <a:lnTo>
                      <a:pt x="6608" y="1939"/>
                    </a:lnTo>
                    <a:lnTo>
                      <a:pt x="6603" y="1939"/>
                    </a:lnTo>
                    <a:lnTo>
                      <a:pt x="6600" y="1939"/>
                    </a:lnTo>
                    <a:lnTo>
                      <a:pt x="6596" y="1940"/>
                    </a:lnTo>
                    <a:lnTo>
                      <a:pt x="6593" y="1944"/>
                    </a:lnTo>
                    <a:lnTo>
                      <a:pt x="6587" y="1945"/>
                    </a:lnTo>
                    <a:lnTo>
                      <a:pt x="6581" y="1953"/>
                    </a:lnTo>
                    <a:close/>
                    <a:moveTo>
                      <a:pt x="6596" y="1871"/>
                    </a:moveTo>
                    <a:lnTo>
                      <a:pt x="6600" y="1871"/>
                    </a:lnTo>
                    <a:lnTo>
                      <a:pt x="6601" y="1871"/>
                    </a:lnTo>
                    <a:lnTo>
                      <a:pt x="6603" y="1871"/>
                    </a:lnTo>
                    <a:lnTo>
                      <a:pt x="6608" y="1871"/>
                    </a:lnTo>
                    <a:lnTo>
                      <a:pt x="6611" y="1871"/>
                    </a:lnTo>
                    <a:lnTo>
                      <a:pt x="6616" y="1871"/>
                    </a:lnTo>
                    <a:lnTo>
                      <a:pt x="6613" y="1865"/>
                    </a:lnTo>
                    <a:lnTo>
                      <a:pt x="6611" y="1861"/>
                    </a:lnTo>
                    <a:lnTo>
                      <a:pt x="6608" y="1857"/>
                    </a:lnTo>
                    <a:lnTo>
                      <a:pt x="6605" y="1853"/>
                    </a:lnTo>
                    <a:lnTo>
                      <a:pt x="6603" y="1851"/>
                    </a:lnTo>
                    <a:lnTo>
                      <a:pt x="6600" y="1851"/>
                    </a:lnTo>
                    <a:lnTo>
                      <a:pt x="6598" y="1851"/>
                    </a:lnTo>
                    <a:lnTo>
                      <a:pt x="6596" y="1851"/>
                    </a:lnTo>
                    <a:lnTo>
                      <a:pt x="6595" y="1851"/>
                    </a:lnTo>
                    <a:lnTo>
                      <a:pt x="6593" y="1853"/>
                    </a:lnTo>
                    <a:lnTo>
                      <a:pt x="6590" y="1855"/>
                    </a:lnTo>
                    <a:lnTo>
                      <a:pt x="6590" y="1858"/>
                    </a:lnTo>
                    <a:lnTo>
                      <a:pt x="6588" y="1865"/>
                    </a:lnTo>
                    <a:lnTo>
                      <a:pt x="6588" y="1871"/>
                    </a:lnTo>
                    <a:lnTo>
                      <a:pt x="6593" y="1871"/>
                    </a:lnTo>
                    <a:lnTo>
                      <a:pt x="6596" y="1871"/>
                    </a:lnTo>
                    <a:close/>
                    <a:moveTo>
                      <a:pt x="6662" y="1927"/>
                    </a:moveTo>
                    <a:lnTo>
                      <a:pt x="6659" y="1927"/>
                    </a:lnTo>
                    <a:lnTo>
                      <a:pt x="6651" y="1927"/>
                    </a:lnTo>
                    <a:lnTo>
                      <a:pt x="6649" y="1927"/>
                    </a:lnTo>
                    <a:lnTo>
                      <a:pt x="6646" y="1927"/>
                    </a:lnTo>
                    <a:lnTo>
                      <a:pt x="6642" y="1931"/>
                    </a:lnTo>
                    <a:lnTo>
                      <a:pt x="6639" y="1935"/>
                    </a:lnTo>
                    <a:lnTo>
                      <a:pt x="6639" y="1940"/>
                    </a:lnTo>
                    <a:lnTo>
                      <a:pt x="6639" y="1944"/>
                    </a:lnTo>
                    <a:lnTo>
                      <a:pt x="6642" y="1947"/>
                    </a:lnTo>
                    <a:lnTo>
                      <a:pt x="6646" y="1952"/>
                    </a:lnTo>
                    <a:lnTo>
                      <a:pt x="6649" y="1952"/>
                    </a:lnTo>
                    <a:lnTo>
                      <a:pt x="6651" y="1953"/>
                    </a:lnTo>
                    <a:lnTo>
                      <a:pt x="6659" y="1947"/>
                    </a:lnTo>
                    <a:lnTo>
                      <a:pt x="6664" y="1942"/>
                    </a:lnTo>
                    <a:lnTo>
                      <a:pt x="6666" y="1940"/>
                    </a:lnTo>
                    <a:lnTo>
                      <a:pt x="6670" y="1939"/>
                    </a:lnTo>
                    <a:lnTo>
                      <a:pt x="6672" y="1937"/>
                    </a:lnTo>
                    <a:lnTo>
                      <a:pt x="6672" y="1935"/>
                    </a:lnTo>
                    <a:lnTo>
                      <a:pt x="6672" y="1932"/>
                    </a:lnTo>
                    <a:lnTo>
                      <a:pt x="6672" y="1931"/>
                    </a:lnTo>
                    <a:lnTo>
                      <a:pt x="6672" y="1929"/>
                    </a:lnTo>
                    <a:lnTo>
                      <a:pt x="6670" y="1929"/>
                    </a:lnTo>
                    <a:lnTo>
                      <a:pt x="6666" y="1927"/>
                    </a:lnTo>
                    <a:lnTo>
                      <a:pt x="6662" y="1927"/>
                    </a:lnTo>
                    <a:close/>
                    <a:moveTo>
                      <a:pt x="6897" y="2013"/>
                    </a:moveTo>
                    <a:lnTo>
                      <a:pt x="6901" y="2014"/>
                    </a:lnTo>
                    <a:lnTo>
                      <a:pt x="6904" y="2014"/>
                    </a:lnTo>
                    <a:lnTo>
                      <a:pt x="6909" y="2016"/>
                    </a:lnTo>
                    <a:lnTo>
                      <a:pt x="6917" y="2016"/>
                    </a:lnTo>
                    <a:lnTo>
                      <a:pt x="6924" y="2016"/>
                    </a:lnTo>
                    <a:lnTo>
                      <a:pt x="6932" y="2016"/>
                    </a:lnTo>
                    <a:lnTo>
                      <a:pt x="6949" y="2016"/>
                    </a:lnTo>
                    <a:lnTo>
                      <a:pt x="6965" y="2016"/>
                    </a:lnTo>
                    <a:lnTo>
                      <a:pt x="6975" y="2018"/>
                    </a:lnTo>
                    <a:lnTo>
                      <a:pt x="6982" y="2019"/>
                    </a:lnTo>
                    <a:lnTo>
                      <a:pt x="6990" y="2021"/>
                    </a:lnTo>
                    <a:lnTo>
                      <a:pt x="6996" y="2025"/>
                    </a:lnTo>
                    <a:lnTo>
                      <a:pt x="7008" y="2023"/>
                    </a:lnTo>
                    <a:lnTo>
                      <a:pt x="7021" y="2021"/>
                    </a:lnTo>
                    <a:lnTo>
                      <a:pt x="7034" y="2018"/>
                    </a:lnTo>
                    <a:lnTo>
                      <a:pt x="7046" y="2014"/>
                    </a:lnTo>
                    <a:lnTo>
                      <a:pt x="7059" y="2008"/>
                    </a:lnTo>
                    <a:lnTo>
                      <a:pt x="7072" y="2003"/>
                    </a:lnTo>
                    <a:lnTo>
                      <a:pt x="7098" y="1990"/>
                    </a:lnTo>
                    <a:lnTo>
                      <a:pt x="7105" y="1986"/>
                    </a:lnTo>
                    <a:lnTo>
                      <a:pt x="7111" y="1985"/>
                    </a:lnTo>
                    <a:lnTo>
                      <a:pt x="7118" y="1983"/>
                    </a:lnTo>
                    <a:lnTo>
                      <a:pt x="7126" y="1983"/>
                    </a:lnTo>
                    <a:lnTo>
                      <a:pt x="7141" y="1981"/>
                    </a:lnTo>
                    <a:lnTo>
                      <a:pt x="7156" y="1978"/>
                    </a:lnTo>
                    <a:lnTo>
                      <a:pt x="7171" y="1977"/>
                    </a:lnTo>
                    <a:lnTo>
                      <a:pt x="7176" y="1975"/>
                    </a:lnTo>
                    <a:lnTo>
                      <a:pt x="7183" y="1973"/>
                    </a:lnTo>
                    <a:lnTo>
                      <a:pt x="7189" y="1970"/>
                    </a:lnTo>
                    <a:lnTo>
                      <a:pt x="7192" y="1966"/>
                    </a:lnTo>
                    <a:lnTo>
                      <a:pt x="7197" y="1960"/>
                    </a:lnTo>
                    <a:lnTo>
                      <a:pt x="7202" y="1955"/>
                    </a:lnTo>
                    <a:lnTo>
                      <a:pt x="7197" y="1953"/>
                    </a:lnTo>
                    <a:lnTo>
                      <a:pt x="7194" y="1952"/>
                    </a:lnTo>
                    <a:lnTo>
                      <a:pt x="7191" y="1952"/>
                    </a:lnTo>
                    <a:lnTo>
                      <a:pt x="7189" y="1952"/>
                    </a:lnTo>
                    <a:lnTo>
                      <a:pt x="7184" y="1952"/>
                    </a:lnTo>
                    <a:lnTo>
                      <a:pt x="7181" y="1953"/>
                    </a:lnTo>
                    <a:lnTo>
                      <a:pt x="7176" y="1955"/>
                    </a:lnTo>
                    <a:lnTo>
                      <a:pt x="7168" y="1959"/>
                    </a:lnTo>
                    <a:lnTo>
                      <a:pt x="7164" y="1959"/>
                    </a:lnTo>
                    <a:lnTo>
                      <a:pt x="7163" y="1960"/>
                    </a:lnTo>
                    <a:lnTo>
                      <a:pt x="7159" y="1960"/>
                    </a:lnTo>
                    <a:lnTo>
                      <a:pt x="7156" y="1960"/>
                    </a:lnTo>
                    <a:lnTo>
                      <a:pt x="7153" y="1959"/>
                    </a:lnTo>
                    <a:lnTo>
                      <a:pt x="7150" y="1955"/>
                    </a:lnTo>
                    <a:lnTo>
                      <a:pt x="7150" y="1942"/>
                    </a:lnTo>
                    <a:lnTo>
                      <a:pt x="7150" y="1937"/>
                    </a:lnTo>
                    <a:lnTo>
                      <a:pt x="7151" y="1931"/>
                    </a:lnTo>
                    <a:lnTo>
                      <a:pt x="7153" y="1927"/>
                    </a:lnTo>
                    <a:lnTo>
                      <a:pt x="7157" y="1924"/>
                    </a:lnTo>
                    <a:lnTo>
                      <a:pt x="7161" y="1922"/>
                    </a:lnTo>
                    <a:lnTo>
                      <a:pt x="7166" y="1922"/>
                    </a:lnTo>
                    <a:lnTo>
                      <a:pt x="7163" y="1918"/>
                    </a:lnTo>
                    <a:lnTo>
                      <a:pt x="7161" y="1916"/>
                    </a:lnTo>
                    <a:lnTo>
                      <a:pt x="7157" y="1914"/>
                    </a:lnTo>
                    <a:lnTo>
                      <a:pt x="7153" y="1914"/>
                    </a:lnTo>
                    <a:lnTo>
                      <a:pt x="7151" y="1912"/>
                    </a:lnTo>
                    <a:lnTo>
                      <a:pt x="7148" y="1912"/>
                    </a:lnTo>
                    <a:lnTo>
                      <a:pt x="7143" y="1914"/>
                    </a:lnTo>
                    <a:lnTo>
                      <a:pt x="7138" y="1916"/>
                    </a:lnTo>
                    <a:lnTo>
                      <a:pt x="7135" y="1918"/>
                    </a:lnTo>
                    <a:lnTo>
                      <a:pt x="7133" y="1920"/>
                    </a:lnTo>
                    <a:lnTo>
                      <a:pt x="7133" y="1918"/>
                    </a:lnTo>
                    <a:lnTo>
                      <a:pt x="7133" y="1914"/>
                    </a:lnTo>
                    <a:lnTo>
                      <a:pt x="7135" y="1912"/>
                    </a:lnTo>
                    <a:lnTo>
                      <a:pt x="7136" y="1911"/>
                    </a:lnTo>
                    <a:lnTo>
                      <a:pt x="7141" y="1906"/>
                    </a:lnTo>
                    <a:lnTo>
                      <a:pt x="7144" y="1901"/>
                    </a:lnTo>
                    <a:lnTo>
                      <a:pt x="7146" y="1899"/>
                    </a:lnTo>
                    <a:lnTo>
                      <a:pt x="7148" y="1896"/>
                    </a:lnTo>
                    <a:lnTo>
                      <a:pt x="7148" y="1892"/>
                    </a:lnTo>
                    <a:lnTo>
                      <a:pt x="7146" y="1888"/>
                    </a:lnTo>
                    <a:lnTo>
                      <a:pt x="7144" y="1885"/>
                    </a:lnTo>
                    <a:lnTo>
                      <a:pt x="7143" y="1881"/>
                    </a:lnTo>
                    <a:lnTo>
                      <a:pt x="7138" y="1876"/>
                    </a:lnTo>
                    <a:lnTo>
                      <a:pt x="7133" y="1870"/>
                    </a:lnTo>
                    <a:lnTo>
                      <a:pt x="7131" y="1870"/>
                    </a:lnTo>
                    <a:lnTo>
                      <a:pt x="7130" y="1868"/>
                    </a:lnTo>
                    <a:lnTo>
                      <a:pt x="7126" y="1868"/>
                    </a:lnTo>
                    <a:lnTo>
                      <a:pt x="7122" y="1866"/>
                    </a:lnTo>
                    <a:lnTo>
                      <a:pt x="7117" y="1865"/>
                    </a:lnTo>
                    <a:lnTo>
                      <a:pt x="7111" y="1863"/>
                    </a:lnTo>
                    <a:lnTo>
                      <a:pt x="7103" y="1857"/>
                    </a:lnTo>
                    <a:lnTo>
                      <a:pt x="7098" y="1851"/>
                    </a:lnTo>
                    <a:lnTo>
                      <a:pt x="7095" y="1851"/>
                    </a:lnTo>
                    <a:lnTo>
                      <a:pt x="7092" y="1850"/>
                    </a:lnTo>
                    <a:lnTo>
                      <a:pt x="7090" y="1848"/>
                    </a:lnTo>
                    <a:lnTo>
                      <a:pt x="7090" y="1846"/>
                    </a:lnTo>
                    <a:lnTo>
                      <a:pt x="7089" y="1842"/>
                    </a:lnTo>
                    <a:lnTo>
                      <a:pt x="7087" y="1837"/>
                    </a:lnTo>
                    <a:lnTo>
                      <a:pt x="7085" y="1833"/>
                    </a:lnTo>
                    <a:lnTo>
                      <a:pt x="7083" y="1832"/>
                    </a:lnTo>
                    <a:lnTo>
                      <a:pt x="7082" y="1830"/>
                    </a:lnTo>
                    <a:lnTo>
                      <a:pt x="7077" y="1830"/>
                    </a:lnTo>
                    <a:lnTo>
                      <a:pt x="7074" y="1830"/>
                    </a:lnTo>
                    <a:lnTo>
                      <a:pt x="7070" y="1832"/>
                    </a:lnTo>
                    <a:lnTo>
                      <a:pt x="7065" y="1835"/>
                    </a:lnTo>
                    <a:lnTo>
                      <a:pt x="7069" y="1830"/>
                    </a:lnTo>
                    <a:lnTo>
                      <a:pt x="7070" y="1825"/>
                    </a:lnTo>
                    <a:lnTo>
                      <a:pt x="7072" y="1822"/>
                    </a:lnTo>
                    <a:lnTo>
                      <a:pt x="7072" y="1818"/>
                    </a:lnTo>
                    <a:lnTo>
                      <a:pt x="7070" y="1817"/>
                    </a:lnTo>
                    <a:lnTo>
                      <a:pt x="7069" y="1815"/>
                    </a:lnTo>
                    <a:lnTo>
                      <a:pt x="7067" y="1812"/>
                    </a:lnTo>
                    <a:lnTo>
                      <a:pt x="7063" y="1811"/>
                    </a:lnTo>
                    <a:lnTo>
                      <a:pt x="7057" y="1809"/>
                    </a:lnTo>
                    <a:lnTo>
                      <a:pt x="7052" y="1809"/>
                    </a:lnTo>
                    <a:lnTo>
                      <a:pt x="7046" y="1809"/>
                    </a:lnTo>
                    <a:lnTo>
                      <a:pt x="7041" y="1809"/>
                    </a:lnTo>
                    <a:lnTo>
                      <a:pt x="7028" y="1811"/>
                    </a:lnTo>
                    <a:lnTo>
                      <a:pt x="7013" y="1812"/>
                    </a:lnTo>
                    <a:lnTo>
                      <a:pt x="6998" y="1817"/>
                    </a:lnTo>
                    <a:lnTo>
                      <a:pt x="6985" y="1822"/>
                    </a:lnTo>
                    <a:lnTo>
                      <a:pt x="6978" y="1824"/>
                    </a:lnTo>
                    <a:lnTo>
                      <a:pt x="6973" y="1827"/>
                    </a:lnTo>
                    <a:lnTo>
                      <a:pt x="6967" y="1832"/>
                    </a:lnTo>
                    <a:lnTo>
                      <a:pt x="6963" y="1835"/>
                    </a:lnTo>
                    <a:lnTo>
                      <a:pt x="6960" y="1838"/>
                    </a:lnTo>
                    <a:lnTo>
                      <a:pt x="6955" y="1842"/>
                    </a:lnTo>
                    <a:lnTo>
                      <a:pt x="6954" y="1846"/>
                    </a:lnTo>
                    <a:lnTo>
                      <a:pt x="6954" y="1850"/>
                    </a:lnTo>
                    <a:lnTo>
                      <a:pt x="6954" y="1855"/>
                    </a:lnTo>
                    <a:lnTo>
                      <a:pt x="6954" y="1858"/>
                    </a:lnTo>
                    <a:lnTo>
                      <a:pt x="6958" y="1865"/>
                    </a:lnTo>
                    <a:lnTo>
                      <a:pt x="6962" y="1870"/>
                    </a:lnTo>
                    <a:lnTo>
                      <a:pt x="6958" y="1866"/>
                    </a:lnTo>
                    <a:lnTo>
                      <a:pt x="6952" y="1865"/>
                    </a:lnTo>
                    <a:lnTo>
                      <a:pt x="6947" y="1863"/>
                    </a:lnTo>
                    <a:lnTo>
                      <a:pt x="6941" y="1863"/>
                    </a:lnTo>
                    <a:lnTo>
                      <a:pt x="6936" y="1863"/>
                    </a:lnTo>
                    <a:lnTo>
                      <a:pt x="6929" y="1863"/>
                    </a:lnTo>
                    <a:lnTo>
                      <a:pt x="6922" y="1863"/>
                    </a:lnTo>
                    <a:lnTo>
                      <a:pt x="6917" y="1865"/>
                    </a:lnTo>
                    <a:lnTo>
                      <a:pt x="6912" y="1866"/>
                    </a:lnTo>
                    <a:lnTo>
                      <a:pt x="6906" y="1868"/>
                    </a:lnTo>
                    <a:lnTo>
                      <a:pt x="6904" y="1871"/>
                    </a:lnTo>
                    <a:lnTo>
                      <a:pt x="6902" y="1873"/>
                    </a:lnTo>
                    <a:lnTo>
                      <a:pt x="6901" y="1878"/>
                    </a:lnTo>
                    <a:lnTo>
                      <a:pt x="6902" y="1879"/>
                    </a:lnTo>
                    <a:lnTo>
                      <a:pt x="6902" y="1881"/>
                    </a:lnTo>
                    <a:lnTo>
                      <a:pt x="6904" y="1883"/>
                    </a:lnTo>
                    <a:lnTo>
                      <a:pt x="6908" y="1885"/>
                    </a:lnTo>
                    <a:lnTo>
                      <a:pt x="6909" y="1886"/>
                    </a:lnTo>
                    <a:lnTo>
                      <a:pt x="6901" y="1888"/>
                    </a:lnTo>
                    <a:lnTo>
                      <a:pt x="6889" y="1892"/>
                    </a:lnTo>
                    <a:lnTo>
                      <a:pt x="6878" y="1894"/>
                    </a:lnTo>
                    <a:lnTo>
                      <a:pt x="6868" y="1896"/>
                    </a:lnTo>
                    <a:lnTo>
                      <a:pt x="6843" y="1899"/>
                    </a:lnTo>
                    <a:lnTo>
                      <a:pt x="6819" y="1903"/>
                    </a:lnTo>
                    <a:lnTo>
                      <a:pt x="6795" y="1907"/>
                    </a:lnTo>
                    <a:lnTo>
                      <a:pt x="6784" y="1909"/>
                    </a:lnTo>
                    <a:lnTo>
                      <a:pt x="6773" y="1911"/>
                    </a:lnTo>
                    <a:lnTo>
                      <a:pt x="6764" y="1912"/>
                    </a:lnTo>
                    <a:lnTo>
                      <a:pt x="6755" y="1914"/>
                    </a:lnTo>
                    <a:lnTo>
                      <a:pt x="6748" y="1918"/>
                    </a:lnTo>
                    <a:lnTo>
                      <a:pt x="6740" y="1922"/>
                    </a:lnTo>
                    <a:lnTo>
                      <a:pt x="6735" y="1927"/>
                    </a:lnTo>
                    <a:lnTo>
                      <a:pt x="6731" y="1932"/>
                    </a:lnTo>
                    <a:lnTo>
                      <a:pt x="6727" y="1940"/>
                    </a:lnTo>
                    <a:lnTo>
                      <a:pt x="6727" y="1944"/>
                    </a:lnTo>
                    <a:lnTo>
                      <a:pt x="6727" y="1949"/>
                    </a:lnTo>
                    <a:lnTo>
                      <a:pt x="6731" y="1953"/>
                    </a:lnTo>
                    <a:lnTo>
                      <a:pt x="6735" y="1955"/>
                    </a:lnTo>
                    <a:lnTo>
                      <a:pt x="6740" y="1955"/>
                    </a:lnTo>
                    <a:lnTo>
                      <a:pt x="6746" y="1955"/>
                    </a:lnTo>
                    <a:lnTo>
                      <a:pt x="6753" y="1953"/>
                    </a:lnTo>
                    <a:lnTo>
                      <a:pt x="6758" y="1952"/>
                    </a:lnTo>
                    <a:lnTo>
                      <a:pt x="6766" y="1949"/>
                    </a:lnTo>
                    <a:lnTo>
                      <a:pt x="6771" y="1947"/>
                    </a:lnTo>
                    <a:lnTo>
                      <a:pt x="6775" y="1947"/>
                    </a:lnTo>
                    <a:lnTo>
                      <a:pt x="6779" y="1947"/>
                    </a:lnTo>
                    <a:lnTo>
                      <a:pt x="6781" y="1949"/>
                    </a:lnTo>
                    <a:lnTo>
                      <a:pt x="6784" y="1952"/>
                    </a:lnTo>
                    <a:lnTo>
                      <a:pt x="6788" y="1953"/>
                    </a:lnTo>
                    <a:lnTo>
                      <a:pt x="6792" y="1955"/>
                    </a:lnTo>
                    <a:lnTo>
                      <a:pt x="6784" y="1955"/>
                    </a:lnTo>
                    <a:lnTo>
                      <a:pt x="6781" y="1955"/>
                    </a:lnTo>
                    <a:lnTo>
                      <a:pt x="6779" y="1955"/>
                    </a:lnTo>
                    <a:lnTo>
                      <a:pt x="6775" y="1955"/>
                    </a:lnTo>
                    <a:lnTo>
                      <a:pt x="6773" y="1955"/>
                    </a:lnTo>
                    <a:lnTo>
                      <a:pt x="6786" y="1960"/>
                    </a:lnTo>
                    <a:lnTo>
                      <a:pt x="6797" y="1964"/>
                    </a:lnTo>
                    <a:lnTo>
                      <a:pt x="6807" y="1968"/>
                    </a:lnTo>
                    <a:lnTo>
                      <a:pt x="6814" y="1968"/>
                    </a:lnTo>
                    <a:lnTo>
                      <a:pt x="6822" y="1968"/>
                    </a:lnTo>
                    <a:lnTo>
                      <a:pt x="6829" y="1964"/>
                    </a:lnTo>
                    <a:lnTo>
                      <a:pt x="6836" y="1960"/>
                    </a:lnTo>
                    <a:lnTo>
                      <a:pt x="6842" y="1955"/>
                    </a:lnTo>
                    <a:lnTo>
                      <a:pt x="6840" y="1959"/>
                    </a:lnTo>
                    <a:lnTo>
                      <a:pt x="6836" y="1962"/>
                    </a:lnTo>
                    <a:lnTo>
                      <a:pt x="6834" y="1964"/>
                    </a:lnTo>
                    <a:lnTo>
                      <a:pt x="6834" y="1966"/>
                    </a:lnTo>
                    <a:lnTo>
                      <a:pt x="6832" y="1970"/>
                    </a:lnTo>
                    <a:lnTo>
                      <a:pt x="6832" y="1972"/>
                    </a:lnTo>
                    <a:lnTo>
                      <a:pt x="6834" y="1975"/>
                    </a:lnTo>
                    <a:lnTo>
                      <a:pt x="6836" y="1978"/>
                    </a:lnTo>
                    <a:lnTo>
                      <a:pt x="6838" y="1983"/>
                    </a:lnTo>
                    <a:lnTo>
                      <a:pt x="6843" y="1985"/>
                    </a:lnTo>
                    <a:lnTo>
                      <a:pt x="6848" y="1988"/>
                    </a:lnTo>
                    <a:lnTo>
                      <a:pt x="6855" y="1990"/>
                    </a:lnTo>
                    <a:lnTo>
                      <a:pt x="6860" y="1992"/>
                    </a:lnTo>
                    <a:lnTo>
                      <a:pt x="6873" y="1998"/>
                    </a:lnTo>
                    <a:lnTo>
                      <a:pt x="6878" y="1999"/>
                    </a:lnTo>
                    <a:lnTo>
                      <a:pt x="6884" y="2001"/>
                    </a:lnTo>
                    <a:lnTo>
                      <a:pt x="6889" y="2005"/>
                    </a:lnTo>
                    <a:lnTo>
                      <a:pt x="6893" y="2006"/>
                    </a:lnTo>
                    <a:lnTo>
                      <a:pt x="6893" y="2011"/>
                    </a:lnTo>
                    <a:lnTo>
                      <a:pt x="6897" y="2013"/>
                    </a:lnTo>
                    <a:close/>
                    <a:moveTo>
                      <a:pt x="6858" y="1684"/>
                    </a:moveTo>
                    <a:lnTo>
                      <a:pt x="6855" y="1684"/>
                    </a:lnTo>
                    <a:lnTo>
                      <a:pt x="6851" y="1684"/>
                    </a:lnTo>
                    <a:lnTo>
                      <a:pt x="6847" y="1685"/>
                    </a:lnTo>
                    <a:lnTo>
                      <a:pt x="6842" y="1687"/>
                    </a:lnTo>
                    <a:lnTo>
                      <a:pt x="6836" y="1690"/>
                    </a:lnTo>
                    <a:lnTo>
                      <a:pt x="6829" y="1695"/>
                    </a:lnTo>
                    <a:lnTo>
                      <a:pt x="6823" y="1702"/>
                    </a:lnTo>
                    <a:lnTo>
                      <a:pt x="6829" y="1708"/>
                    </a:lnTo>
                    <a:lnTo>
                      <a:pt x="6836" y="1711"/>
                    </a:lnTo>
                    <a:lnTo>
                      <a:pt x="6842" y="1715"/>
                    </a:lnTo>
                    <a:lnTo>
                      <a:pt x="6847" y="1717"/>
                    </a:lnTo>
                    <a:lnTo>
                      <a:pt x="6851" y="1718"/>
                    </a:lnTo>
                    <a:lnTo>
                      <a:pt x="6855" y="1718"/>
                    </a:lnTo>
                    <a:lnTo>
                      <a:pt x="6858" y="1720"/>
                    </a:lnTo>
                    <a:lnTo>
                      <a:pt x="6858" y="1713"/>
                    </a:lnTo>
                    <a:lnTo>
                      <a:pt x="6862" y="1710"/>
                    </a:lnTo>
                    <a:lnTo>
                      <a:pt x="6863" y="1705"/>
                    </a:lnTo>
                    <a:lnTo>
                      <a:pt x="6868" y="1704"/>
                    </a:lnTo>
                    <a:lnTo>
                      <a:pt x="6871" y="1702"/>
                    </a:lnTo>
                    <a:lnTo>
                      <a:pt x="6873" y="1702"/>
                    </a:lnTo>
                    <a:lnTo>
                      <a:pt x="6875" y="1702"/>
                    </a:lnTo>
                    <a:lnTo>
                      <a:pt x="6876" y="1702"/>
                    </a:lnTo>
                    <a:lnTo>
                      <a:pt x="6869" y="1695"/>
                    </a:lnTo>
                    <a:lnTo>
                      <a:pt x="6865" y="1690"/>
                    </a:lnTo>
                    <a:lnTo>
                      <a:pt x="6862" y="1687"/>
                    </a:lnTo>
                    <a:lnTo>
                      <a:pt x="6860" y="1685"/>
                    </a:lnTo>
                    <a:lnTo>
                      <a:pt x="6860" y="1684"/>
                    </a:lnTo>
                    <a:lnTo>
                      <a:pt x="6858" y="1684"/>
                    </a:lnTo>
                    <a:close/>
                    <a:moveTo>
                      <a:pt x="7194" y="1855"/>
                    </a:moveTo>
                    <a:lnTo>
                      <a:pt x="7187" y="1855"/>
                    </a:lnTo>
                    <a:lnTo>
                      <a:pt x="7177" y="1855"/>
                    </a:lnTo>
                    <a:lnTo>
                      <a:pt x="7171" y="1855"/>
                    </a:lnTo>
                    <a:lnTo>
                      <a:pt x="7161" y="1855"/>
                    </a:lnTo>
                    <a:lnTo>
                      <a:pt x="7151" y="1855"/>
                    </a:lnTo>
                    <a:lnTo>
                      <a:pt x="7144" y="1855"/>
                    </a:lnTo>
                    <a:lnTo>
                      <a:pt x="7138" y="1855"/>
                    </a:lnTo>
                    <a:lnTo>
                      <a:pt x="7141" y="1861"/>
                    </a:lnTo>
                    <a:lnTo>
                      <a:pt x="7144" y="1866"/>
                    </a:lnTo>
                    <a:lnTo>
                      <a:pt x="7148" y="1870"/>
                    </a:lnTo>
                    <a:lnTo>
                      <a:pt x="7151" y="1873"/>
                    </a:lnTo>
                    <a:lnTo>
                      <a:pt x="7156" y="1878"/>
                    </a:lnTo>
                    <a:lnTo>
                      <a:pt x="7161" y="1879"/>
                    </a:lnTo>
                    <a:lnTo>
                      <a:pt x="7164" y="1881"/>
                    </a:lnTo>
                    <a:lnTo>
                      <a:pt x="7171" y="1881"/>
                    </a:lnTo>
                    <a:lnTo>
                      <a:pt x="7174" y="1881"/>
                    </a:lnTo>
                    <a:lnTo>
                      <a:pt x="7177" y="1879"/>
                    </a:lnTo>
                    <a:lnTo>
                      <a:pt x="7183" y="1878"/>
                    </a:lnTo>
                    <a:lnTo>
                      <a:pt x="7187" y="1873"/>
                    </a:lnTo>
                    <a:lnTo>
                      <a:pt x="7191" y="1870"/>
                    </a:lnTo>
                    <a:lnTo>
                      <a:pt x="7194" y="1866"/>
                    </a:lnTo>
                    <a:lnTo>
                      <a:pt x="7197" y="1861"/>
                    </a:lnTo>
                    <a:lnTo>
                      <a:pt x="7202" y="1855"/>
                    </a:lnTo>
                    <a:lnTo>
                      <a:pt x="7194" y="1855"/>
                    </a:lnTo>
                    <a:close/>
                    <a:moveTo>
                      <a:pt x="7244" y="1866"/>
                    </a:moveTo>
                    <a:lnTo>
                      <a:pt x="7242" y="1873"/>
                    </a:lnTo>
                    <a:lnTo>
                      <a:pt x="7238" y="1879"/>
                    </a:lnTo>
                    <a:lnTo>
                      <a:pt x="7238" y="1883"/>
                    </a:lnTo>
                    <a:lnTo>
                      <a:pt x="7237" y="1886"/>
                    </a:lnTo>
                    <a:lnTo>
                      <a:pt x="7237" y="1888"/>
                    </a:lnTo>
                    <a:lnTo>
                      <a:pt x="7237" y="1891"/>
                    </a:lnTo>
                    <a:lnTo>
                      <a:pt x="7244" y="1888"/>
                    </a:lnTo>
                    <a:lnTo>
                      <a:pt x="7253" y="1888"/>
                    </a:lnTo>
                    <a:lnTo>
                      <a:pt x="7263" y="1888"/>
                    </a:lnTo>
                    <a:lnTo>
                      <a:pt x="7271" y="1885"/>
                    </a:lnTo>
                    <a:lnTo>
                      <a:pt x="7275" y="1883"/>
                    </a:lnTo>
                    <a:lnTo>
                      <a:pt x="7279" y="1881"/>
                    </a:lnTo>
                    <a:lnTo>
                      <a:pt x="7283" y="1878"/>
                    </a:lnTo>
                    <a:lnTo>
                      <a:pt x="7284" y="1873"/>
                    </a:lnTo>
                    <a:lnTo>
                      <a:pt x="7288" y="1870"/>
                    </a:lnTo>
                    <a:lnTo>
                      <a:pt x="7290" y="1866"/>
                    </a:lnTo>
                    <a:lnTo>
                      <a:pt x="7290" y="1861"/>
                    </a:lnTo>
                    <a:lnTo>
                      <a:pt x="7291" y="1853"/>
                    </a:lnTo>
                    <a:lnTo>
                      <a:pt x="7284" y="1851"/>
                    </a:lnTo>
                    <a:lnTo>
                      <a:pt x="7278" y="1850"/>
                    </a:lnTo>
                    <a:lnTo>
                      <a:pt x="7270" y="1848"/>
                    </a:lnTo>
                    <a:lnTo>
                      <a:pt x="7263" y="1846"/>
                    </a:lnTo>
                    <a:lnTo>
                      <a:pt x="7255" y="1848"/>
                    </a:lnTo>
                    <a:lnTo>
                      <a:pt x="7245" y="1848"/>
                    </a:lnTo>
                    <a:lnTo>
                      <a:pt x="7238" y="1850"/>
                    </a:lnTo>
                    <a:lnTo>
                      <a:pt x="7233" y="1851"/>
                    </a:lnTo>
                    <a:lnTo>
                      <a:pt x="7225" y="1855"/>
                    </a:lnTo>
                    <a:lnTo>
                      <a:pt x="7220" y="1857"/>
                    </a:lnTo>
                    <a:lnTo>
                      <a:pt x="7214" y="1863"/>
                    </a:lnTo>
                    <a:lnTo>
                      <a:pt x="7209" y="1866"/>
                    </a:lnTo>
                    <a:lnTo>
                      <a:pt x="7205" y="1871"/>
                    </a:lnTo>
                    <a:lnTo>
                      <a:pt x="7204" y="1878"/>
                    </a:lnTo>
                    <a:lnTo>
                      <a:pt x="7202" y="1883"/>
                    </a:lnTo>
                    <a:lnTo>
                      <a:pt x="7202" y="1891"/>
                    </a:lnTo>
                    <a:lnTo>
                      <a:pt x="7214" y="1878"/>
                    </a:lnTo>
                    <a:lnTo>
                      <a:pt x="7222" y="1870"/>
                    </a:lnTo>
                    <a:lnTo>
                      <a:pt x="7227" y="1865"/>
                    </a:lnTo>
                    <a:lnTo>
                      <a:pt x="7235" y="1861"/>
                    </a:lnTo>
                    <a:lnTo>
                      <a:pt x="7242" y="1857"/>
                    </a:lnTo>
                    <a:lnTo>
                      <a:pt x="7248" y="1855"/>
                    </a:lnTo>
                    <a:lnTo>
                      <a:pt x="7255" y="1853"/>
                    </a:lnTo>
                    <a:lnTo>
                      <a:pt x="7250" y="1861"/>
                    </a:lnTo>
                    <a:lnTo>
                      <a:pt x="7244" y="1866"/>
                    </a:lnTo>
                    <a:close/>
                    <a:moveTo>
                      <a:pt x="6534" y="1246"/>
                    </a:moveTo>
                    <a:lnTo>
                      <a:pt x="6532" y="1244"/>
                    </a:lnTo>
                    <a:lnTo>
                      <a:pt x="6529" y="1244"/>
                    </a:lnTo>
                    <a:lnTo>
                      <a:pt x="6527" y="1244"/>
                    </a:lnTo>
                    <a:lnTo>
                      <a:pt x="6522" y="1246"/>
                    </a:lnTo>
                    <a:lnTo>
                      <a:pt x="6517" y="1248"/>
                    </a:lnTo>
                    <a:lnTo>
                      <a:pt x="6511" y="1249"/>
                    </a:lnTo>
                    <a:lnTo>
                      <a:pt x="6504" y="1251"/>
                    </a:lnTo>
                    <a:lnTo>
                      <a:pt x="6507" y="1251"/>
                    </a:lnTo>
                    <a:lnTo>
                      <a:pt x="6513" y="1251"/>
                    </a:lnTo>
                    <a:lnTo>
                      <a:pt x="6517" y="1251"/>
                    </a:lnTo>
                    <a:lnTo>
                      <a:pt x="6519" y="1251"/>
                    </a:lnTo>
                    <a:lnTo>
                      <a:pt x="6524" y="1251"/>
                    </a:lnTo>
                    <a:lnTo>
                      <a:pt x="6527" y="1251"/>
                    </a:lnTo>
                    <a:lnTo>
                      <a:pt x="6535" y="1251"/>
                    </a:lnTo>
                    <a:lnTo>
                      <a:pt x="6534" y="1249"/>
                    </a:lnTo>
                    <a:lnTo>
                      <a:pt x="6534" y="1248"/>
                    </a:lnTo>
                    <a:lnTo>
                      <a:pt x="6534" y="1246"/>
                    </a:lnTo>
                    <a:close/>
                    <a:moveTo>
                      <a:pt x="6736" y="1329"/>
                    </a:moveTo>
                    <a:lnTo>
                      <a:pt x="6741" y="1327"/>
                    </a:lnTo>
                    <a:lnTo>
                      <a:pt x="6748" y="1325"/>
                    </a:lnTo>
                    <a:lnTo>
                      <a:pt x="6753" y="1323"/>
                    </a:lnTo>
                    <a:lnTo>
                      <a:pt x="6758" y="1323"/>
                    </a:lnTo>
                    <a:lnTo>
                      <a:pt x="6761" y="1322"/>
                    </a:lnTo>
                    <a:lnTo>
                      <a:pt x="6764" y="1320"/>
                    </a:lnTo>
                    <a:lnTo>
                      <a:pt x="6766" y="1318"/>
                    </a:lnTo>
                    <a:lnTo>
                      <a:pt x="6769" y="1316"/>
                    </a:lnTo>
                    <a:lnTo>
                      <a:pt x="6775" y="1315"/>
                    </a:lnTo>
                    <a:lnTo>
                      <a:pt x="6779" y="1313"/>
                    </a:lnTo>
                    <a:lnTo>
                      <a:pt x="6790" y="1307"/>
                    </a:lnTo>
                    <a:lnTo>
                      <a:pt x="6801" y="1303"/>
                    </a:lnTo>
                    <a:lnTo>
                      <a:pt x="6812" y="1298"/>
                    </a:lnTo>
                    <a:lnTo>
                      <a:pt x="6825" y="1292"/>
                    </a:lnTo>
                    <a:lnTo>
                      <a:pt x="6836" y="1287"/>
                    </a:lnTo>
                    <a:lnTo>
                      <a:pt x="6847" y="1279"/>
                    </a:lnTo>
                    <a:lnTo>
                      <a:pt x="6856" y="1274"/>
                    </a:lnTo>
                    <a:lnTo>
                      <a:pt x="6860" y="1270"/>
                    </a:lnTo>
                    <a:lnTo>
                      <a:pt x="6863" y="1268"/>
                    </a:lnTo>
                    <a:lnTo>
                      <a:pt x="6868" y="1264"/>
                    </a:lnTo>
                    <a:lnTo>
                      <a:pt x="6869" y="1261"/>
                    </a:lnTo>
                    <a:lnTo>
                      <a:pt x="6871" y="1259"/>
                    </a:lnTo>
                    <a:lnTo>
                      <a:pt x="6873" y="1255"/>
                    </a:lnTo>
                    <a:lnTo>
                      <a:pt x="6873" y="1251"/>
                    </a:lnTo>
                    <a:lnTo>
                      <a:pt x="6873" y="1248"/>
                    </a:lnTo>
                    <a:lnTo>
                      <a:pt x="6871" y="1244"/>
                    </a:lnTo>
                    <a:lnTo>
                      <a:pt x="6869" y="1242"/>
                    </a:lnTo>
                    <a:lnTo>
                      <a:pt x="6865" y="1239"/>
                    </a:lnTo>
                    <a:lnTo>
                      <a:pt x="6862" y="1234"/>
                    </a:lnTo>
                    <a:lnTo>
                      <a:pt x="6856" y="1231"/>
                    </a:lnTo>
                    <a:lnTo>
                      <a:pt x="6851" y="1229"/>
                    </a:lnTo>
                    <a:lnTo>
                      <a:pt x="6843" y="1226"/>
                    </a:lnTo>
                    <a:lnTo>
                      <a:pt x="6838" y="1224"/>
                    </a:lnTo>
                    <a:lnTo>
                      <a:pt x="6830" y="1222"/>
                    </a:lnTo>
                    <a:lnTo>
                      <a:pt x="6822" y="1220"/>
                    </a:lnTo>
                    <a:lnTo>
                      <a:pt x="6804" y="1218"/>
                    </a:lnTo>
                    <a:lnTo>
                      <a:pt x="6786" y="1216"/>
                    </a:lnTo>
                    <a:lnTo>
                      <a:pt x="6766" y="1216"/>
                    </a:lnTo>
                    <a:lnTo>
                      <a:pt x="6746" y="1216"/>
                    </a:lnTo>
                    <a:lnTo>
                      <a:pt x="6725" y="1218"/>
                    </a:lnTo>
                    <a:lnTo>
                      <a:pt x="6703" y="1222"/>
                    </a:lnTo>
                    <a:lnTo>
                      <a:pt x="6682" y="1226"/>
                    </a:lnTo>
                    <a:lnTo>
                      <a:pt x="6664" y="1231"/>
                    </a:lnTo>
                    <a:lnTo>
                      <a:pt x="6646" y="1236"/>
                    </a:lnTo>
                    <a:lnTo>
                      <a:pt x="6628" y="1244"/>
                    </a:lnTo>
                    <a:lnTo>
                      <a:pt x="6620" y="1248"/>
                    </a:lnTo>
                    <a:lnTo>
                      <a:pt x="6613" y="1251"/>
                    </a:lnTo>
                    <a:lnTo>
                      <a:pt x="6605" y="1257"/>
                    </a:lnTo>
                    <a:lnTo>
                      <a:pt x="6598" y="1261"/>
                    </a:lnTo>
                    <a:lnTo>
                      <a:pt x="6593" y="1266"/>
                    </a:lnTo>
                    <a:lnTo>
                      <a:pt x="6588" y="1270"/>
                    </a:lnTo>
                    <a:lnTo>
                      <a:pt x="6595" y="1268"/>
                    </a:lnTo>
                    <a:lnTo>
                      <a:pt x="6600" y="1264"/>
                    </a:lnTo>
                    <a:lnTo>
                      <a:pt x="6605" y="1264"/>
                    </a:lnTo>
                    <a:lnTo>
                      <a:pt x="6611" y="1262"/>
                    </a:lnTo>
                    <a:lnTo>
                      <a:pt x="6616" y="1262"/>
                    </a:lnTo>
                    <a:lnTo>
                      <a:pt x="6620" y="1262"/>
                    </a:lnTo>
                    <a:lnTo>
                      <a:pt x="6624" y="1264"/>
                    </a:lnTo>
                    <a:lnTo>
                      <a:pt x="6629" y="1266"/>
                    </a:lnTo>
                    <a:lnTo>
                      <a:pt x="6636" y="1270"/>
                    </a:lnTo>
                    <a:lnTo>
                      <a:pt x="6644" y="1275"/>
                    </a:lnTo>
                    <a:lnTo>
                      <a:pt x="6649" y="1281"/>
                    </a:lnTo>
                    <a:lnTo>
                      <a:pt x="6657" y="1288"/>
                    </a:lnTo>
                    <a:lnTo>
                      <a:pt x="6651" y="1294"/>
                    </a:lnTo>
                    <a:lnTo>
                      <a:pt x="6646" y="1298"/>
                    </a:lnTo>
                    <a:lnTo>
                      <a:pt x="6644" y="1302"/>
                    </a:lnTo>
                    <a:lnTo>
                      <a:pt x="6642" y="1303"/>
                    </a:lnTo>
                    <a:lnTo>
                      <a:pt x="6641" y="1305"/>
                    </a:lnTo>
                    <a:lnTo>
                      <a:pt x="6646" y="1307"/>
                    </a:lnTo>
                    <a:lnTo>
                      <a:pt x="6649" y="1308"/>
                    </a:lnTo>
                    <a:lnTo>
                      <a:pt x="6654" y="1310"/>
                    </a:lnTo>
                    <a:lnTo>
                      <a:pt x="6657" y="1315"/>
                    </a:lnTo>
                    <a:lnTo>
                      <a:pt x="6659" y="1318"/>
                    </a:lnTo>
                    <a:lnTo>
                      <a:pt x="6661" y="1323"/>
                    </a:lnTo>
                    <a:lnTo>
                      <a:pt x="6662" y="1333"/>
                    </a:lnTo>
                    <a:lnTo>
                      <a:pt x="6664" y="1341"/>
                    </a:lnTo>
                    <a:lnTo>
                      <a:pt x="6664" y="1348"/>
                    </a:lnTo>
                    <a:lnTo>
                      <a:pt x="6666" y="1351"/>
                    </a:lnTo>
                    <a:lnTo>
                      <a:pt x="6666" y="1355"/>
                    </a:lnTo>
                    <a:lnTo>
                      <a:pt x="6667" y="1356"/>
                    </a:lnTo>
                    <a:lnTo>
                      <a:pt x="6670" y="1359"/>
                    </a:lnTo>
                    <a:lnTo>
                      <a:pt x="6674" y="1359"/>
                    </a:lnTo>
                    <a:lnTo>
                      <a:pt x="6679" y="1359"/>
                    </a:lnTo>
                    <a:lnTo>
                      <a:pt x="6687" y="1359"/>
                    </a:lnTo>
                    <a:lnTo>
                      <a:pt x="6692" y="1356"/>
                    </a:lnTo>
                    <a:lnTo>
                      <a:pt x="6695" y="1353"/>
                    </a:lnTo>
                    <a:lnTo>
                      <a:pt x="6707" y="1348"/>
                    </a:lnTo>
                    <a:lnTo>
                      <a:pt x="6716" y="1341"/>
                    </a:lnTo>
                    <a:lnTo>
                      <a:pt x="6725" y="1335"/>
                    </a:lnTo>
                    <a:lnTo>
                      <a:pt x="6736" y="1329"/>
                    </a:lnTo>
                    <a:close/>
                    <a:moveTo>
                      <a:pt x="7290" y="1214"/>
                    </a:moveTo>
                    <a:lnTo>
                      <a:pt x="7296" y="1220"/>
                    </a:lnTo>
                    <a:lnTo>
                      <a:pt x="7301" y="1226"/>
                    </a:lnTo>
                    <a:lnTo>
                      <a:pt x="7306" y="1229"/>
                    </a:lnTo>
                    <a:lnTo>
                      <a:pt x="7312" y="1233"/>
                    </a:lnTo>
                    <a:lnTo>
                      <a:pt x="7317" y="1234"/>
                    </a:lnTo>
                    <a:lnTo>
                      <a:pt x="7319" y="1239"/>
                    </a:lnTo>
                    <a:lnTo>
                      <a:pt x="7324" y="1244"/>
                    </a:lnTo>
                    <a:lnTo>
                      <a:pt x="7324" y="1249"/>
                    </a:lnTo>
                    <a:lnTo>
                      <a:pt x="7319" y="1254"/>
                    </a:lnTo>
                    <a:lnTo>
                      <a:pt x="7317" y="1255"/>
                    </a:lnTo>
                    <a:lnTo>
                      <a:pt x="7314" y="1255"/>
                    </a:lnTo>
                    <a:lnTo>
                      <a:pt x="7311" y="1257"/>
                    </a:lnTo>
                    <a:lnTo>
                      <a:pt x="7306" y="1257"/>
                    </a:lnTo>
                    <a:lnTo>
                      <a:pt x="7304" y="1257"/>
                    </a:lnTo>
                    <a:lnTo>
                      <a:pt x="7298" y="1255"/>
                    </a:lnTo>
                    <a:lnTo>
                      <a:pt x="7291" y="1254"/>
                    </a:lnTo>
                    <a:lnTo>
                      <a:pt x="7284" y="1251"/>
                    </a:lnTo>
                    <a:lnTo>
                      <a:pt x="7279" y="1249"/>
                    </a:lnTo>
                    <a:lnTo>
                      <a:pt x="7271" y="1249"/>
                    </a:lnTo>
                    <a:lnTo>
                      <a:pt x="7268" y="1246"/>
                    </a:lnTo>
                    <a:lnTo>
                      <a:pt x="7264" y="1244"/>
                    </a:lnTo>
                    <a:lnTo>
                      <a:pt x="7260" y="1244"/>
                    </a:lnTo>
                    <a:lnTo>
                      <a:pt x="7257" y="1242"/>
                    </a:lnTo>
                    <a:lnTo>
                      <a:pt x="7251" y="1242"/>
                    </a:lnTo>
                    <a:lnTo>
                      <a:pt x="7248" y="1242"/>
                    </a:lnTo>
                    <a:lnTo>
                      <a:pt x="7242" y="1244"/>
                    </a:lnTo>
                    <a:lnTo>
                      <a:pt x="7238" y="1246"/>
                    </a:lnTo>
                    <a:lnTo>
                      <a:pt x="7229" y="1249"/>
                    </a:lnTo>
                    <a:lnTo>
                      <a:pt x="7220" y="1255"/>
                    </a:lnTo>
                    <a:lnTo>
                      <a:pt x="7210" y="1261"/>
                    </a:lnTo>
                    <a:lnTo>
                      <a:pt x="7204" y="1266"/>
                    </a:lnTo>
                    <a:lnTo>
                      <a:pt x="7210" y="1274"/>
                    </a:lnTo>
                    <a:lnTo>
                      <a:pt x="7217" y="1279"/>
                    </a:lnTo>
                    <a:lnTo>
                      <a:pt x="7224" y="1285"/>
                    </a:lnTo>
                    <a:lnTo>
                      <a:pt x="7230" y="1288"/>
                    </a:lnTo>
                    <a:lnTo>
                      <a:pt x="7237" y="1290"/>
                    </a:lnTo>
                    <a:lnTo>
                      <a:pt x="7240" y="1290"/>
                    </a:lnTo>
                    <a:lnTo>
                      <a:pt x="7244" y="1290"/>
                    </a:lnTo>
                    <a:lnTo>
                      <a:pt x="7250" y="1290"/>
                    </a:lnTo>
                    <a:lnTo>
                      <a:pt x="7255" y="1290"/>
                    </a:lnTo>
                    <a:lnTo>
                      <a:pt x="7260" y="1288"/>
                    </a:lnTo>
                    <a:lnTo>
                      <a:pt x="7266" y="1287"/>
                    </a:lnTo>
                    <a:lnTo>
                      <a:pt x="7271" y="1283"/>
                    </a:lnTo>
                    <a:lnTo>
                      <a:pt x="7284" y="1283"/>
                    </a:lnTo>
                    <a:lnTo>
                      <a:pt x="7290" y="1283"/>
                    </a:lnTo>
                    <a:lnTo>
                      <a:pt x="7296" y="1283"/>
                    </a:lnTo>
                    <a:lnTo>
                      <a:pt x="7299" y="1283"/>
                    </a:lnTo>
                    <a:lnTo>
                      <a:pt x="7303" y="1283"/>
                    </a:lnTo>
                    <a:lnTo>
                      <a:pt x="7304" y="1283"/>
                    </a:lnTo>
                    <a:lnTo>
                      <a:pt x="7306" y="1283"/>
                    </a:lnTo>
                    <a:lnTo>
                      <a:pt x="7312" y="1285"/>
                    </a:lnTo>
                    <a:lnTo>
                      <a:pt x="7316" y="1287"/>
                    </a:lnTo>
                    <a:lnTo>
                      <a:pt x="7321" y="1288"/>
                    </a:lnTo>
                    <a:lnTo>
                      <a:pt x="7325" y="1292"/>
                    </a:lnTo>
                    <a:lnTo>
                      <a:pt x="7331" y="1295"/>
                    </a:lnTo>
                    <a:lnTo>
                      <a:pt x="7334" y="1298"/>
                    </a:lnTo>
                    <a:lnTo>
                      <a:pt x="7337" y="1298"/>
                    </a:lnTo>
                    <a:lnTo>
                      <a:pt x="7342" y="1300"/>
                    </a:lnTo>
                    <a:lnTo>
                      <a:pt x="7345" y="1302"/>
                    </a:lnTo>
                    <a:lnTo>
                      <a:pt x="7340" y="1302"/>
                    </a:lnTo>
                    <a:lnTo>
                      <a:pt x="7334" y="1302"/>
                    </a:lnTo>
                    <a:lnTo>
                      <a:pt x="7329" y="1302"/>
                    </a:lnTo>
                    <a:lnTo>
                      <a:pt x="7327" y="1302"/>
                    </a:lnTo>
                    <a:lnTo>
                      <a:pt x="7324" y="1302"/>
                    </a:lnTo>
                    <a:lnTo>
                      <a:pt x="7319" y="1298"/>
                    </a:lnTo>
                    <a:lnTo>
                      <a:pt x="7316" y="1295"/>
                    </a:lnTo>
                    <a:lnTo>
                      <a:pt x="7312" y="1294"/>
                    </a:lnTo>
                    <a:lnTo>
                      <a:pt x="7309" y="1294"/>
                    </a:lnTo>
                    <a:lnTo>
                      <a:pt x="7303" y="1294"/>
                    </a:lnTo>
                    <a:lnTo>
                      <a:pt x="7299" y="1294"/>
                    </a:lnTo>
                    <a:lnTo>
                      <a:pt x="7290" y="1294"/>
                    </a:lnTo>
                    <a:lnTo>
                      <a:pt x="7279" y="1295"/>
                    </a:lnTo>
                    <a:lnTo>
                      <a:pt x="7270" y="1300"/>
                    </a:lnTo>
                    <a:lnTo>
                      <a:pt x="7263" y="1302"/>
                    </a:lnTo>
                    <a:lnTo>
                      <a:pt x="7264" y="1302"/>
                    </a:lnTo>
                    <a:lnTo>
                      <a:pt x="7268" y="1303"/>
                    </a:lnTo>
                    <a:lnTo>
                      <a:pt x="7270" y="1303"/>
                    </a:lnTo>
                    <a:lnTo>
                      <a:pt x="7275" y="1307"/>
                    </a:lnTo>
                    <a:lnTo>
                      <a:pt x="7279" y="1308"/>
                    </a:lnTo>
                    <a:lnTo>
                      <a:pt x="7281" y="1313"/>
                    </a:lnTo>
                    <a:lnTo>
                      <a:pt x="7281" y="1318"/>
                    </a:lnTo>
                    <a:lnTo>
                      <a:pt x="7281" y="1322"/>
                    </a:lnTo>
                    <a:lnTo>
                      <a:pt x="7279" y="1327"/>
                    </a:lnTo>
                    <a:lnTo>
                      <a:pt x="7275" y="1333"/>
                    </a:lnTo>
                    <a:lnTo>
                      <a:pt x="7271" y="1336"/>
                    </a:lnTo>
                    <a:lnTo>
                      <a:pt x="7268" y="1340"/>
                    </a:lnTo>
                    <a:lnTo>
                      <a:pt x="7263" y="1346"/>
                    </a:lnTo>
                    <a:lnTo>
                      <a:pt x="7257" y="1348"/>
                    </a:lnTo>
                    <a:lnTo>
                      <a:pt x="7251" y="1351"/>
                    </a:lnTo>
                    <a:lnTo>
                      <a:pt x="7244" y="1353"/>
                    </a:lnTo>
                    <a:lnTo>
                      <a:pt x="7248" y="1349"/>
                    </a:lnTo>
                    <a:lnTo>
                      <a:pt x="7251" y="1346"/>
                    </a:lnTo>
                    <a:lnTo>
                      <a:pt x="7255" y="1341"/>
                    </a:lnTo>
                    <a:lnTo>
                      <a:pt x="7258" y="1336"/>
                    </a:lnTo>
                    <a:lnTo>
                      <a:pt x="7263" y="1331"/>
                    </a:lnTo>
                    <a:lnTo>
                      <a:pt x="7266" y="1325"/>
                    </a:lnTo>
                    <a:lnTo>
                      <a:pt x="7271" y="1318"/>
                    </a:lnTo>
                    <a:lnTo>
                      <a:pt x="7263" y="1322"/>
                    </a:lnTo>
                    <a:lnTo>
                      <a:pt x="7255" y="1325"/>
                    </a:lnTo>
                    <a:lnTo>
                      <a:pt x="7250" y="1327"/>
                    </a:lnTo>
                    <a:lnTo>
                      <a:pt x="7245" y="1331"/>
                    </a:lnTo>
                    <a:lnTo>
                      <a:pt x="7240" y="1335"/>
                    </a:lnTo>
                    <a:lnTo>
                      <a:pt x="7238" y="1338"/>
                    </a:lnTo>
                    <a:lnTo>
                      <a:pt x="7235" y="1340"/>
                    </a:lnTo>
                    <a:lnTo>
                      <a:pt x="7233" y="1344"/>
                    </a:lnTo>
                    <a:lnTo>
                      <a:pt x="7230" y="1351"/>
                    </a:lnTo>
                    <a:lnTo>
                      <a:pt x="7229" y="1356"/>
                    </a:lnTo>
                    <a:lnTo>
                      <a:pt x="7227" y="1361"/>
                    </a:lnTo>
                    <a:lnTo>
                      <a:pt x="7225" y="1364"/>
                    </a:lnTo>
                    <a:lnTo>
                      <a:pt x="7224" y="1366"/>
                    </a:lnTo>
                    <a:lnTo>
                      <a:pt x="7222" y="1369"/>
                    </a:lnTo>
                    <a:lnTo>
                      <a:pt x="7207" y="1371"/>
                    </a:lnTo>
                    <a:lnTo>
                      <a:pt x="7192" y="1374"/>
                    </a:lnTo>
                    <a:lnTo>
                      <a:pt x="7177" y="1376"/>
                    </a:lnTo>
                    <a:lnTo>
                      <a:pt x="7161" y="1377"/>
                    </a:lnTo>
                    <a:lnTo>
                      <a:pt x="7146" y="1377"/>
                    </a:lnTo>
                    <a:lnTo>
                      <a:pt x="7136" y="1377"/>
                    </a:lnTo>
                    <a:lnTo>
                      <a:pt x="7130" y="1377"/>
                    </a:lnTo>
                    <a:lnTo>
                      <a:pt x="7122" y="1377"/>
                    </a:lnTo>
                    <a:lnTo>
                      <a:pt x="7115" y="1376"/>
                    </a:lnTo>
                    <a:lnTo>
                      <a:pt x="7107" y="1374"/>
                    </a:lnTo>
                    <a:lnTo>
                      <a:pt x="7102" y="1369"/>
                    </a:lnTo>
                    <a:lnTo>
                      <a:pt x="7103" y="1369"/>
                    </a:lnTo>
                    <a:lnTo>
                      <a:pt x="7105" y="1369"/>
                    </a:lnTo>
                    <a:lnTo>
                      <a:pt x="7107" y="1368"/>
                    </a:lnTo>
                    <a:lnTo>
                      <a:pt x="7109" y="1368"/>
                    </a:lnTo>
                    <a:lnTo>
                      <a:pt x="7109" y="1366"/>
                    </a:lnTo>
                    <a:lnTo>
                      <a:pt x="7109" y="1364"/>
                    </a:lnTo>
                    <a:lnTo>
                      <a:pt x="7107" y="1359"/>
                    </a:lnTo>
                    <a:lnTo>
                      <a:pt x="7105" y="1355"/>
                    </a:lnTo>
                    <a:lnTo>
                      <a:pt x="7103" y="1348"/>
                    </a:lnTo>
                    <a:lnTo>
                      <a:pt x="7102" y="1341"/>
                    </a:lnTo>
                    <a:lnTo>
                      <a:pt x="7102" y="1335"/>
                    </a:lnTo>
                    <a:lnTo>
                      <a:pt x="7098" y="1329"/>
                    </a:lnTo>
                    <a:lnTo>
                      <a:pt x="7092" y="1325"/>
                    </a:lnTo>
                    <a:lnTo>
                      <a:pt x="7087" y="1322"/>
                    </a:lnTo>
                    <a:lnTo>
                      <a:pt x="7080" y="1318"/>
                    </a:lnTo>
                    <a:lnTo>
                      <a:pt x="7074" y="1316"/>
                    </a:lnTo>
                    <a:lnTo>
                      <a:pt x="7067" y="1316"/>
                    </a:lnTo>
                    <a:lnTo>
                      <a:pt x="7057" y="1316"/>
                    </a:lnTo>
                    <a:lnTo>
                      <a:pt x="7050" y="1316"/>
                    </a:lnTo>
                    <a:lnTo>
                      <a:pt x="7043" y="1318"/>
                    </a:lnTo>
                    <a:lnTo>
                      <a:pt x="7034" y="1320"/>
                    </a:lnTo>
                    <a:lnTo>
                      <a:pt x="7026" y="1322"/>
                    </a:lnTo>
                    <a:lnTo>
                      <a:pt x="7021" y="1323"/>
                    </a:lnTo>
                    <a:lnTo>
                      <a:pt x="7013" y="1325"/>
                    </a:lnTo>
                    <a:lnTo>
                      <a:pt x="7008" y="1329"/>
                    </a:lnTo>
                    <a:lnTo>
                      <a:pt x="7002" y="1333"/>
                    </a:lnTo>
                    <a:lnTo>
                      <a:pt x="6998" y="1335"/>
                    </a:lnTo>
                    <a:lnTo>
                      <a:pt x="6991" y="1336"/>
                    </a:lnTo>
                    <a:lnTo>
                      <a:pt x="6983" y="1338"/>
                    </a:lnTo>
                    <a:lnTo>
                      <a:pt x="6975" y="1341"/>
                    </a:lnTo>
                    <a:lnTo>
                      <a:pt x="6967" y="1346"/>
                    </a:lnTo>
                    <a:lnTo>
                      <a:pt x="6960" y="1351"/>
                    </a:lnTo>
                    <a:lnTo>
                      <a:pt x="6955" y="1355"/>
                    </a:lnTo>
                    <a:lnTo>
                      <a:pt x="6954" y="1356"/>
                    </a:lnTo>
                    <a:lnTo>
                      <a:pt x="6950" y="1361"/>
                    </a:lnTo>
                    <a:lnTo>
                      <a:pt x="6949" y="1364"/>
                    </a:lnTo>
                    <a:lnTo>
                      <a:pt x="6949" y="1366"/>
                    </a:lnTo>
                    <a:lnTo>
                      <a:pt x="6949" y="1369"/>
                    </a:lnTo>
                    <a:lnTo>
                      <a:pt x="6949" y="1376"/>
                    </a:lnTo>
                    <a:lnTo>
                      <a:pt x="6950" y="1381"/>
                    </a:lnTo>
                    <a:lnTo>
                      <a:pt x="6952" y="1384"/>
                    </a:lnTo>
                    <a:lnTo>
                      <a:pt x="6955" y="1389"/>
                    </a:lnTo>
                    <a:lnTo>
                      <a:pt x="6960" y="1390"/>
                    </a:lnTo>
                    <a:lnTo>
                      <a:pt x="6963" y="1392"/>
                    </a:lnTo>
                    <a:lnTo>
                      <a:pt x="6973" y="1395"/>
                    </a:lnTo>
                    <a:lnTo>
                      <a:pt x="6982" y="1399"/>
                    </a:lnTo>
                    <a:lnTo>
                      <a:pt x="6987" y="1401"/>
                    </a:lnTo>
                    <a:lnTo>
                      <a:pt x="6991" y="1405"/>
                    </a:lnTo>
                    <a:lnTo>
                      <a:pt x="6995" y="1407"/>
                    </a:lnTo>
                    <a:lnTo>
                      <a:pt x="6996" y="1410"/>
                    </a:lnTo>
                    <a:lnTo>
                      <a:pt x="6998" y="1415"/>
                    </a:lnTo>
                    <a:lnTo>
                      <a:pt x="6998" y="1422"/>
                    </a:lnTo>
                    <a:lnTo>
                      <a:pt x="6993" y="1422"/>
                    </a:lnTo>
                    <a:lnTo>
                      <a:pt x="6990" y="1422"/>
                    </a:lnTo>
                    <a:lnTo>
                      <a:pt x="6985" y="1422"/>
                    </a:lnTo>
                    <a:lnTo>
                      <a:pt x="6983" y="1422"/>
                    </a:lnTo>
                    <a:lnTo>
                      <a:pt x="6982" y="1422"/>
                    </a:lnTo>
                    <a:lnTo>
                      <a:pt x="6982" y="1423"/>
                    </a:lnTo>
                    <a:lnTo>
                      <a:pt x="6983" y="1425"/>
                    </a:lnTo>
                    <a:lnTo>
                      <a:pt x="6985" y="1427"/>
                    </a:lnTo>
                    <a:lnTo>
                      <a:pt x="6990" y="1429"/>
                    </a:lnTo>
                    <a:lnTo>
                      <a:pt x="6995" y="1429"/>
                    </a:lnTo>
                    <a:lnTo>
                      <a:pt x="7000" y="1430"/>
                    </a:lnTo>
                    <a:lnTo>
                      <a:pt x="7008" y="1430"/>
                    </a:lnTo>
                    <a:lnTo>
                      <a:pt x="7023" y="1432"/>
                    </a:lnTo>
                    <a:lnTo>
                      <a:pt x="7029" y="1435"/>
                    </a:lnTo>
                    <a:lnTo>
                      <a:pt x="7036" y="1435"/>
                    </a:lnTo>
                    <a:lnTo>
                      <a:pt x="7043" y="1436"/>
                    </a:lnTo>
                    <a:lnTo>
                      <a:pt x="7046" y="1438"/>
                    </a:lnTo>
                    <a:lnTo>
                      <a:pt x="7050" y="1442"/>
                    </a:lnTo>
                    <a:lnTo>
                      <a:pt x="7052" y="1443"/>
                    </a:lnTo>
                    <a:lnTo>
                      <a:pt x="7052" y="1445"/>
                    </a:lnTo>
                    <a:lnTo>
                      <a:pt x="7052" y="1447"/>
                    </a:lnTo>
                    <a:lnTo>
                      <a:pt x="7052" y="1451"/>
                    </a:lnTo>
                    <a:lnTo>
                      <a:pt x="7052" y="1453"/>
                    </a:lnTo>
                    <a:lnTo>
                      <a:pt x="7050" y="1456"/>
                    </a:lnTo>
                    <a:lnTo>
                      <a:pt x="7056" y="1455"/>
                    </a:lnTo>
                    <a:lnTo>
                      <a:pt x="7061" y="1453"/>
                    </a:lnTo>
                    <a:lnTo>
                      <a:pt x="7067" y="1451"/>
                    </a:lnTo>
                    <a:lnTo>
                      <a:pt x="7070" y="1453"/>
                    </a:lnTo>
                    <a:lnTo>
                      <a:pt x="7074" y="1453"/>
                    </a:lnTo>
                    <a:lnTo>
                      <a:pt x="7076" y="1455"/>
                    </a:lnTo>
                    <a:lnTo>
                      <a:pt x="7080" y="1458"/>
                    </a:lnTo>
                    <a:lnTo>
                      <a:pt x="7082" y="1460"/>
                    </a:lnTo>
                    <a:lnTo>
                      <a:pt x="7087" y="1468"/>
                    </a:lnTo>
                    <a:lnTo>
                      <a:pt x="7090" y="1475"/>
                    </a:lnTo>
                    <a:lnTo>
                      <a:pt x="7097" y="1483"/>
                    </a:lnTo>
                    <a:lnTo>
                      <a:pt x="7102" y="1489"/>
                    </a:lnTo>
                    <a:lnTo>
                      <a:pt x="7107" y="1501"/>
                    </a:lnTo>
                    <a:lnTo>
                      <a:pt x="7113" y="1512"/>
                    </a:lnTo>
                    <a:lnTo>
                      <a:pt x="7118" y="1522"/>
                    </a:lnTo>
                    <a:lnTo>
                      <a:pt x="7122" y="1532"/>
                    </a:lnTo>
                    <a:lnTo>
                      <a:pt x="7123" y="1537"/>
                    </a:lnTo>
                    <a:lnTo>
                      <a:pt x="7126" y="1542"/>
                    </a:lnTo>
                    <a:lnTo>
                      <a:pt x="7126" y="1547"/>
                    </a:lnTo>
                    <a:lnTo>
                      <a:pt x="7126" y="1552"/>
                    </a:lnTo>
                    <a:lnTo>
                      <a:pt x="7123" y="1558"/>
                    </a:lnTo>
                    <a:lnTo>
                      <a:pt x="7123" y="1563"/>
                    </a:lnTo>
                    <a:lnTo>
                      <a:pt x="7122" y="1569"/>
                    </a:lnTo>
                    <a:lnTo>
                      <a:pt x="7118" y="1575"/>
                    </a:lnTo>
                    <a:lnTo>
                      <a:pt x="7128" y="1578"/>
                    </a:lnTo>
                    <a:lnTo>
                      <a:pt x="7136" y="1580"/>
                    </a:lnTo>
                    <a:lnTo>
                      <a:pt x="7148" y="1582"/>
                    </a:lnTo>
                    <a:lnTo>
                      <a:pt x="7157" y="1582"/>
                    </a:lnTo>
                    <a:lnTo>
                      <a:pt x="7166" y="1582"/>
                    </a:lnTo>
                    <a:lnTo>
                      <a:pt x="7176" y="1582"/>
                    </a:lnTo>
                    <a:lnTo>
                      <a:pt x="7184" y="1580"/>
                    </a:lnTo>
                    <a:lnTo>
                      <a:pt x="7196" y="1580"/>
                    </a:lnTo>
                    <a:lnTo>
                      <a:pt x="7214" y="1575"/>
                    </a:lnTo>
                    <a:lnTo>
                      <a:pt x="7233" y="1571"/>
                    </a:lnTo>
                    <a:lnTo>
                      <a:pt x="7253" y="1563"/>
                    </a:lnTo>
                    <a:lnTo>
                      <a:pt x="7271" y="1558"/>
                    </a:lnTo>
                    <a:lnTo>
                      <a:pt x="7270" y="1554"/>
                    </a:lnTo>
                    <a:lnTo>
                      <a:pt x="7266" y="1552"/>
                    </a:lnTo>
                    <a:lnTo>
                      <a:pt x="7263" y="1545"/>
                    </a:lnTo>
                    <a:lnTo>
                      <a:pt x="7260" y="1539"/>
                    </a:lnTo>
                    <a:lnTo>
                      <a:pt x="7260" y="1536"/>
                    </a:lnTo>
                    <a:lnTo>
                      <a:pt x="7263" y="1530"/>
                    </a:lnTo>
                    <a:lnTo>
                      <a:pt x="7264" y="1524"/>
                    </a:lnTo>
                    <a:lnTo>
                      <a:pt x="7266" y="1521"/>
                    </a:lnTo>
                    <a:lnTo>
                      <a:pt x="7270" y="1517"/>
                    </a:lnTo>
                    <a:lnTo>
                      <a:pt x="7273" y="1514"/>
                    </a:lnTo>
                    <a:lnTo>
                      <a:pt x="7279" y="1509"/>
                    </a:lnTo>
                    <a:lnTo>
                      <a:pt x="7288" y="1503"/>
                    </a:lnTo>
                    <a:lnTo>
                      <a:pt x="7299" y="1496"/>
                    </a:lnTo>
                    <a:lnTo>
                      <a:pt x="7303" y="1491"/>
                    </a:lnTo>
                    <a:lnTo>
                      <a:pt x="7306" y="1489"/>
                    </a:lnTo>
                    <a:lnTo>
                      <a:pt x="7304" y="1496"/>
                    </a:lnTo>
                    <a:lnTo>
                      <a:pt x="7303" y="1499"/>
                    </a:lnTo>
                    <a:lnTo>
                      <a:pt x="7299" y="1503"/>
                    </a:lnTo>
                    <a:lnTo>
                      <a:pt x="7296" y="1506"/>
                    </a:lnTo>
                    <a:lnTo>
                      <a:pt x="7290" y="1509"/>
                    </a:lnTo>
                    <a:lnTo>
                      <a:pt x="7284" y="1514"/>
                    </a:lnTo>
                    <a:lnTo>
                      <a:pt x="7279" y="1517"/>
                    </a:lnTo>
                    <a:lnTo>
                      <a:pt x="7271" y="1522"/>
                    </a:lnTo>
                    <a:lnTo>
                      <a:pt x="7286" y="1529"/>
                    </a:lnTo>
                    <a:lnTo>
                      <a:pt x="7301" y="1532"/>
                    </a:lnTo>
                    <a:lnTo>
                      <a:pt x="7316" y="1536"/>
                    </a:lnTo>
                    <a:lnTo>
                      <a:pt x="7332" y="1536"/>
                    </a:lnTo>
                    <a:lnTo>
                      <a:pt x="7347" y="1536"/>
                    </a:lnTo>
                    <a:lnTo>
                      <a:pt x="7364" y="1532"/>
                    </a:lnTo>
                    <a:lnTo>
                      <a:pt x="7378" y="1529"/>
                    </a:lnTo>
                    <a:lnTo>
                      <a:pt x="7391" y="1522"/>
                    </a:lnTo>
                    <a:lnTo>
                      <a:pt x="7398" y="1522"/>
                    </a:lnTo>
                    <a:lnTo>
                      <a:pt x="7405" y="1521"/>
                    </a:lnTo>
                    <a:lnTo>
                      <a:pt x="7411" y="1517"/>
                    </a:lnTo>
                    <a:lnTo>
                      <a:pt x="7419" y="1516"/>
                    </a:lnTo>
                    <a:lnTo>
                      <a:pt x="7428" y="1512"/>
                    </a:lnTo>
                    <a:lnTo>
                      <a:pt x="7438" y="1508"/>
                    </a:lnTo>
                    <a:lnTo>
                      <a:pt x="7447" y="1506"/>
                    </a:lnTo>
                    <a:lnTo>
                      <a:pt x="7459" y="1506"/>
                    </a:lnTo>
                    <a:lnTo>
                      <a:pt x="7464" y="1506"/>
                    </a:lnTo>
                    <a:lnTo>
                      <a:pt x="7465" y="1506"/>
                    </a:lnTo>
                    <a:lnTo>
                      <a:pt x="7471" y="1506"/>
                    </a:lnTo>
                    <a:lnTo>
                      <a:pt x="7474" y="1506"/>
                    </a:lnTo>
                    <a:lnTo>
                      <a:pt x="7480" y="1506"/>
                    </a:lnTo>
                    <a:lnTo>
                      <a:pt x="7489" y="1504"/>
                    </a:lnTo>
                    <a:lnTo>
                      <a:pt x="7495" y="1503"/>
                    </a:lnTo>
                    <a:lnTo>
                      <a:pt x="7498" y="1503"/>
                    </a:lnTo>
                    <a:lnTo>
                      <a:pt x="7500" y="1501"/>
                    </a:lnTo>
                    <a:lnTo>
                      <a:pt x="7502" y="1499"/>
                    </a:lnTo>
                    <a:lnTo>
                      <a:pt x="7504" y="1497"/>
                    </a:lnTo>
                    <a:lnTo>
                      <a:pt x="7502" y="1496"/>
                    </a:lnTo>
                    <a:lnTo>
                      <a:pt x="7500" y="1493"/>
                    </a:lnTo>
                    <a:lnTo>
                      <a:pt x="7498" y="1491"/>
                    </a:lnTo>
                    <a:lnTo>
                      <a:pt x="7497" y="1489"/>
                    </a:lnTo>
                    <a:lnTo>
                      <a:pt x="7500" y="1489"/>
                    </a:lnTo>
                    <a:lnTo>
                      <a:pt x="7504" y="1489"/>
                    </a:lnTo>
                    <a:lnTo>
                      <a:pt x="7510" y="1489"/>
                    </a:lnTo>
                    <a:lnTo>
                      <a:pt x="7515" y="1489"/>
                    </a:lnTo>
                    <a:lnTo>
                      <a:pt x="7528" y="1489"/>
                    </a:lnTo>
                    <a:lnTo>
                      <a:pt x="7523" y="1483"/>
                    </a:lnTo>
                    <a:lnTo>
                      <a:pt x="7518" y="1478"/>
                    </a:lnTo>
                    <a:lnTo>
                      <a:pt x="7515" y="1476"/>
                    </a:lnTo>
                    <a:lnTo>
                      <a:pt x="7513" y="1475"/>
                    </a:lnTo>
                    <a:lnTo>
                      <a:pt x="7512" y="1475"/>
                    </a:lnTo>
                    <a:lnTo>
                      <a:pt x="7512" y="1473"/>
                    </a:lnTo>
                    <a:lnTo>
                      <a:pt x="7513" y="1473"/>
                    </a:lnTo>
                    <a:lnTo>
                      <a:pt x="7517" y="1473"/>
                    </a:lnTo>
                    <a:lnTo>
                      <a:pt x="7523" y="1471"/>
                    </a:lnTo>
                    <a:lnTo>
                      <a:pt x="7526" y="1469"/>
                    </a:lnTo>
                    <a:lnTo>
                      <a:pt x="7532" y="1466"/>
                    </a:lnTo>
                    <a:lnTo>
                      <a:pt x="7539" y="1462"/>
                    </a:lnTo>
                    <a:lnTo>
                      <a:pt x="7545" y="1456"/>
                    </a:lnTo>
                    <a:lnTo>
                      <a:pt x="7550" y="1456"/>
                    </a:lnTo>
                    <a:lnTo>
                      <a:pt x="7554" y="1453"/>
                    </a:lnTo>
                    <a:lnTo>
                      <a:pt x="7558" y="1451"/>
                    </a:lnTo>
                    <a:lnTo>
                      <a:pt x="7558" y="1447"/>
                    </a:lnTo>
                    <a:lnTo>
                      <a:pt x="7558" y="1443"/>
                    </a:lnTo>
                    <a:lnTo>
                      <a:pt x="7554" y="1442"/>
                    </a:lnTo>
                    <a:lnTo>
                      <a:pt x="7550" y="1440"/>
                    </a:lnTo>
                    <a:lnTo>
                      <a:pt x="7545" y="1438"/>
                    </a:lnTo>
                    <a:lnTo>
                      <a:pt x="7559" y="1438"/>
                    </a:lnTo>
                    <a:lnTo>
                      <a:pt x="7565" y="1436"/>
                    </a:lnTo>
                    <a:lnTo>
                      <a:pt x="7572" y="1436"/>
                    </a:lnTo>
                    <a:lnTo>
                      <a:pt x="7579" y="1432"/>
                    </a:lnTo>
                    <a:lnTo>
                      <a:pt x="7589" y="1430"/>
                    </a:lnTo>
                    <a:lnTo>
                      <a:pt x="7596" y="1427"/>
                    </a:lnTo>
                    <a:lnTo>
                      <a:pt x="7602" y="1423"/>
                    </a:lnTo>
                    <a:lnTo>
                      <a:pt x="7609" y="1420"/>
                    </a:lnTo>
                    <a:lnTo>
                      <a:pt x="7617" y="1414"/>
                    </a:lnTo>
                    <a:lnTo>
                      <a:pt x="7624" y="1409"/>
                    </a:lnTo>
                    <a:lnTo>
                      <a:pt x="7630" y="1402"/>
                    </a:lnTo>
                    <a:lnTo>
                      <a:pt x="7635" y="1395"/>
                    </a:lnTo>
                    <a:lnTo>
                      <a:pt x="7639" y="1389"/>
                    </a:lnTo>
                    <a:lnTo>
                      <a:pt x="7645" y="1379"/>
                    </a:lnTo>
                    <a:lnTo>
                      <a:pt x="7648" y="1369"/>
                    </a:lnTo>
                    <a:lnTo>
                      <a:pt x="7640" y="1374"/>
                    </a:lnTo>
                    <a:lnTo>
                      <a:pt x="7635" y="1376"/>
                    </a:lnTo>
                    <a:lnTo>
                      <a:pt x="7627" y="1377"/>
                    </a:lnTo>
                    <a:lnTo>
                      <a:pt x="7622" y="1377"/>
                    </a:lnTo>
                    <a:lnTo>
                      <a:pt x="7609" y="1379"/>
                    </a:lnTo>
                    <a:lnTo>
                      <a:pt x="7599" y="1379"/>
                    </a:lnTo>
                    <a:lnTo>
                      <a:pt x="7587" y="1379"/>
                    </a:lnTo>
                    <a:lnTo>
                      <a:pt x="7578" y="1379"/>
                    </a:lnTo>
                    <a:lnTo>
                      <a:pt x="7576" y="1380"/>
                    </a:lnTo>
                    <a:lnTo>
                      <a:pt x="7578" y="1377"/>
                    </a:lnTo>
                    <a:lnTo>
                      <a:pt x="7579" y="1374"/>
                    </a:lnTo>
                    <a:lnTo>
                      <a:pt x="7581" y="1369"/>
                    </a:lnTo>
                    <a:lnTo>
                      <a:pt x="7581" y="1368"/>
                    </a:lnTo>
                    <a:lnTo>
                      <a:pt x="7581" y="1364"/>
                    </a:lnTo>
                    <a:lnTo>
                      <a:pt x="7581" y="1361"/>
                    </a:lnTo>
                    <a:lnTo>
                      <a:pt x="7579" y="1359"/>
                    </a:lnTo>
                    <a:lnTo>
                      <a:pt x="7576" y="1356"/>
                    </a:lnTo>
                    <a:lnTo>
                      <a:pt x="7572" y="1355"/>
                    </a:lnTo>
                    <a:lnTo>
                      <a:pt x="7569" y="1353"/>
                    </a:lnTo>
                    <a:lnTo>
                      <a:pt x="7572" y="1353"/>
                    </a:lnTo>
                    <a:lnTo>
                      <a:pt x="7576" y="1351"/>
                    </a:lnTo>
                    <a:lnTo>
                      <a:pt x="7578" y="1351"/>
                    </a:lnTo>
                    <a:lnTo>
                      <a:pt x="7578" y="1349"/>
                    </a:lnTo>
                    <a:lnTo>
                      <a:pt x="7579" y="1346"/>
                    </a:lnTo>
                    <a:lnTo>
                      <a:pt x="7579" y="1341"/>
                    </a:lnTo>
                    <a:lnTo>
                      <a:pt x="7579" y="1335"/>
                    </a:lnTo>
                    <a:lnTo>
                      <a:pt x="7572" y="1333"/>
                    </a:lnTo>
                    <a:lnTo>
                      <a:pt x="7565" y="1331"/>
                    </a:lnTo>
                    <a:lnTo>
                      <a:pt x="7559" y="1329"/>
                    </a:lnTo>
                    <a:lnTo>
                      <a:pt x="7550" y="1329"/>
                    </a:lnTo>
                    <a:lnTo>
                      <a:pt x="7543" y="1329"/>
                    </a:lnTo>
                    <a:lnTo>
                      <a:pt x="7535" y="1329"/>
                    </a:lnTo>
                    <a:lnTo>
                      <a:pt x="7528" y="1329"/>
                    </a:lnTo>
                    <a:lnTo>
                      <a:pt x="7518" y="1331"/>
                    </a:lnTo>
                    <a:lnTo>
                      <a:pt x="7504" y="1335"/>
                    </a:lnTo>
                    <a:lnTo>
                      <a:pt x="7487" y="1340"/>
                    </a:lnTo>
                    <a:lnTo>
                      <a:pt x="7472" y="1346"/>
                    </a:lnTo>
                    <a:lnTo>
                      <a:pt x="7459" y="1353"/>
                    </a:lnTo>
                    <a:lnTo>
                      <a:pt x="7459" y="1348"/>
                    </a:lnTo>
                    <a:lnTo>
                      <a:pt x="7462" y="1341"/>
                    </a:lnTo>
                    <a:lnTo>
                      <a:pt x="7465" y="1336"/>
                    </a:lnTo>
                    <a:lnTo>
                      <a:pt x="7469" y="1333"/>
                    </a:lnTo>
                    <a:lnTo>
                      <a:pt x="7472" y="1329"/>
                    </a:lnTo>
                    <a:lnTo>
                      <a:pt x="7479" y="1325"/>
                    </a:lnTo>
                    <a:lnTo>
                      <a:pt x="7484" y="1323"/>
                    </a:lnTo>
                    <a:lnTo>
                      <a:pt x="7489" y="1320"/>
                    </a:lnTo>
                    <a:lnTo>
                      <a:pt x="7504" y="1316"/>
                    </a:lnTo>
                    <a:lnTo>
                      <a:pt x="7517" y="1313"/>
                    </a:lnTo>
                    <a:lnTo>
                      <a:pt x="7532" y="1307"/>
                    </a:lnTo>
                    <a:lnTo>
                      <a:pt x="7545" y="1302"/>
                    </a:lnTo>
                    <a:lnTo>
                      <a:pt x="7559" y="1302"/>
                    </a:lnTo>
                    <a:lnTo>
                      <a:pt x="7574" y="1298"/>
                    </a:lnTo>
                    <a:lnTo>
                      <a:pt x="7589" y="1294"/>
                    </a:lnTo>
                    <a:lnTo>
                      <a:pt x="7607" y="1290"/>
                    </a:lnTo>
                    <a:lnTo>
                      <a:pt x="7625" y="1285"/>
                    </a:lnTo>
                    <a:lnTo>
                      <a:pt x="7645" y="1279"/>
                    </a:lnTo>
                    <a:lnTo>
                      <a:pt x="7681" y="1266"/>
                    </a:lnTo>
                    <a:lnTo>
                      <a:pt x="7679" y="1264"/>
                    </a:lnTo>
                    <a:lnTo>
                      <a:pt x="7676" y="1262"/>
                    </a:lnTo>
                    <a:lnTo>
                      <a:pt x="7672" y="1261"/>
                    </a:lnTo>
                    <a:lnTo>
                      <a:pt x="7668" y="1259"/>
                    </a:lnTo>
                    <a:lnTo>
                      <a:pt x="7666" y="1259"/>
                    </a:lnTo>
                    <a:lnTo>
                      <a:pt x="7663" y="1259"/>
                    </a:lnTo>
                    <a:lnTo>
                      <a:pt x="7655" y="1261"/>
                    </a:lnTo>
                    <a:lnTo>
                      <a:pt x="7650" y="1262"/>
                    </a:lnTo>
                    <a:lnTo>
                      <a:pt x="7642" y="1264"/>
                    </a:lnTo>
                    <a:lnTo>
                      <a:pt x="7637" y="1266"/>
                    </a:lnTo>
                    <a:lnTo>
                      <a:pt x="7632" y="1266"/>
                    </a:lnTo>
                    <a:lnTo>
                      <a:pt x="7637" y="1261"/>
                    </a:lnTo>
                    <a:lnTo>
                      <a:pt x="7645" y="1255"/>
                    </a:lnTo>
                    <a:lnTo>
                      <a:pt x="7652" y="1251"/>
                    </a:lnTo>
                    <a:lnTo>
                      <a:pt x="7660" y="1249"/>
                    </a:lnTo>
                    <a:lnTo>
                      <a:pt x="7666" y="1246"/>
                    </a:lnTo>
                    <a:lnTo>
                      <a:pt x="7674" y="1246"/>
                    </a:lnTo>
                    <a:lnTo>
                      <a:pt x="7691" y="1242"/>
                    </a:lnTo>
                    <a:lnTo>
                      <a:pt x="7707" y="1242"/>
                    </a:lnTo>
                    <a:lnTo>
                      <a:pt x="7722" y="1241"/>
                    </a:lnTo>
                    <a:lnTo>
                      <a:pt x="7729" y="1239"/>
                    </a:lnTo>
                    <a:lnTo>
                      <a:pt x="7737" y="1236"/>
                    </a:lnTo>
                    <a:lnTo>
                      <a:pt x="7744" y="1234"/>
                    </a:lnTo>
                    <a:lnTo>
                      <a:pt x="7749" y="1231"/>
                    </a:lnTo>
                    <a:lnTo>
                      <a:pt x="7752" y="1231"/>
                    </a:lnTo>
                    <a:lnTo>
                      <a:pt x="7752" y="1229"/>
                    </a:lnTo>
                    <a:lnTo>
                      <a:pt x="7753" y="1226"/>
                    </a:lnTo>
                    <a:lnTo>
                      <a:pt x="7752" y="1222"/>
                    </a:lnTo>
                    <a:lnTo>
                      <a:pt x="7749" y="1220"/>
                    </a:lnTo>
                    <a:lnTo>
                      <a:pt x="7746" y="1216"/>
                    </a:lnTo>
                    <a:lnTo>
                      <a:pt x="7740" y="1214"/>
                    </a:lnTo>
                    <a:lnTo>
                      <a:pt x="7735" y="1211"/>
                    </a:lnTo>
                    <a:lnTo>
                      <a:pt x="7729" y="1209"/>
                    </a:lnTo>
                    <a:lnTo>
                      <a:pt x="7714" y="1203"/>
                    </a:lnTo>
                    <a:lnTo>
                      <a:pt x="7701" y="1201"/>
                    </a:lnTo>
                    <a:lnTo>
                      <a:pt x="7696" y="1200"/>
                    </a:lnTo>
                    <a:lnTo>
                      <a:pt x="7693" y="1199"/>
                    </a:lnTo>
                    <a:lnTo>
                      <a:pt x="7694" y="1198"/>
                    </a:lnTo>
                    <a:lnTo>
                      <a:pt x="7709" y="1195"/>
                    </a:lnTo>
                    <a:lnTo>
                      <a:pt x="7714" y="1193"/>
                    </a:lnTo>
                    <a:lnTo>
                      <a:pt x="7722" y="1188"/>
                    </a:lnTo>
                    <a:lnTo>
                      <a:pt x="7727" y="1185"/>
                    </a:lnTo>
                    <a:lnTo>
                      <a:pt x="7731" y="1181"/>
                    </a:lnTo>
                    <a:lnTo>
                      <a:pt x="7737" y="1175"/>
                    </a:lnTo>
                    <a:lnTo>
                      <a:pt x="7740" y="1170"/>
                    </a:lnTo>
                    <a:lnTo>
                      <a:pt x="7727" y="1172"/>
                    </a:lnTo>
                    <a:lnTo>
                      <a:pt x="7714" y="1174"/>
                    </a:lnTo>
                    <a:lnTo>
                      <a:pt x="7701" y="1175"/>
                    </a:lnTo>
                    <a:lnTo>
                      <a:pt x="7688" y="1178"/>
                    </a:lnTo>
                    <a:lnTo>
                      <a:pt x="7676" y="1181"/>
                    </a:lnTo>
                    <a:lnTo>
                      <a:pt x="7663" y="1183"/>
                    </a:lnTo>
                    <a:lnTo>
                      <a:pt x="7650" y="1185"/>
                    </a:lnTo>
                    <a:lnTo>
                      <a:pt x="7637" y="1185"/>
                    </a:lnTo>
                    <a:lnTo>
                      <a:pt x="7624" y="1187"/>
                    </a:lnTo>
                    <a:lnTo>
                      <a:pt x="7611" y="1188"/>
                    </a:lnTo>
                    <a:lnTo>
                      <a:pt x="7596" y="1190"/>
                    </a:lnTo>
                    <a:lnTo>
                      <a:pt x="7584" y="1193"/>
                    </a:lnTo>
                    <a:lnTo>
                      <a:pt x="7569" y="1196"/>
                    </a:lnTo>
                    <a:lnTo>
                      <a:pt x="7552" y="1198"/>
                    </a:lnTo>
                    <a:lnTo>
                      <a:pt x="7535" y="1200"/>
                    </a:lnTo>
                    <a:lnTo>
                      <a:pt x="7539" y="1200"/>
                    </a:lnTo>
                    <a:lnTo>
                      <a:pt x="7545" y="1200"/>
                    </a:lnTo>
                    <a:lnTo>
                      <a:pt x="7548" y="1200"/>
                    </a:lnTo>
                    <a:lnTo>
                      <a:pt x="7550" y="1200"/>
                    </a:lnTo>
                    <a:lnTo>
                      <a:pt x="7548" y="1201"/>
                    </a:lnTo>
                    <a:lnTo>
                      <a:pt x="7545" y="1203"/>
                    </a:lnTo>
                    <a:lnTo>
                      <a:pt x="7541" y="1205"/>
                    </a:lnTo>
                    <a:lnTo>
                      <a:pt x="7539" y="1208"/>
                    </a:lnTo>
                    <a:lnTo>
                      <a:pt x="7539" y="1209"/>
                    </a:lnTo>
                    <a:lnTo>
                      <a:pt x="7539" y="1211"/>
                    </a:lnTo>
                    <a:lnTo>
                      <a:pt x="7541" y="1213"/>
                    </a:lnTo>
                    <a:lnTo>
                      <a:pt x="7543" y="1213"/>
                    </a:lnTo>
                    <a:lnTo>
                      <a:pt x="7546" y="1213"/>
                    </a:lnTo>
                    <a:lnTo>
                      <a:pt x="7554" y="1214"/>
                    </a:lnTo>
                    <a:lnTo>
                      <a:pt x="7559" y="1214"/>
                    </a:lnTo>
                    <a:lnTo>
                      <a:pt x="7563" y="1214"/>
                    </a:lnTo>
                    <a:lnTo>
                      <a:pt x="7565" y="1214"/>
                    </a:lnTo>
                    <a:lnTo>
                      <a:pt x="7566" y="1214"/>
                    </a:lnTo>
                    <a:lnTo>
                      <a:pt x="7569" y="1214"/>
                    </a:lnTo>
                    <a:lnTo>
                      <a:pt x="7571" y="1214"/>
                    </a:lnTo>
                    <a:lnTo>
                      <a:pt x="7558" y="1216"/>
                    </a:lnTo>
                    <a:lnTo>
                      <a:pt x="7545" y="1216"/>
                    </a:lnTo>
                    <a:lnTo>
                      <a:pt x="7532" y="1218"/>
                    </a:lnTo>
                    <a:lnTo>
                      <a:pt x="7518" y="1222"/>
                    </a:lnTo>
                    <a:lnTo>
                      <a:pt x="7505" y="1226"/>
                    </a:lnTo>
                    <a:lnTo>
                      <a:pt x="7495" y="1231"/>
                    </a:lnTo>
                    <a:lnTo>
                      <a:pt x="7493" y="1224"/>
                    </a:lnTo>
                    <a:lnTo>
                      <a:pt x="7492" y="1216"/>
                    </a:lnTo>
                    <a:lnTo>
                      <a:pt x="7487" y="1209"/>
                    </a:lnTo>
                    <a:lnTo>
                      <a:pt x="7484" y="1205"/>
                    </a:lnTo>
                    <a:lnTo>
                      <a:pt x="7479" y="1201"/>
                    </a:lnTo>
                    <a:lnTo>
                      <a:pt x="7471" y="1198"/>
                    </a:lnTo>
                    <a:lnTo>
                      <a:pt x="7465" y="1196"/>
                    </a:lnTo>
                    <a:lnTo>
                      <a:pt x="7458" y="1196"/>
                    </a:lnTo>
                    <a:lnTo>
                      <a:pt x="7451" y="1195"/>
                    </a:lnTo>
                    <a:lnTo>
                      <a:pt x="7443" y="1195"/>
                    </a:lnTo>
                    <a:lnTo>
                      <a:pt x="7436" y="1196"/>
                    </a:lnTo>
                    <a:lnTo>
                      <a:pt x="7428" y="1196"/>
                    </a:lnTo>
                    <a:lnTo>
                      <a:pt x="7423" y="1196"/>
                    </a:lnTo>
                    <a:lnTo>
                      <a:pt x="7418" y="1198"/>
                    </a:lnTo>
                    <a:lnTo>
                      <a:pt x="7411" y="1198"/>
                    </a:lnTo>
                    <a:lnTo>
                      <a:pt x="7408" y="1198"/>
                    </a:lnTo>
                    <a:lnTo>
                      <a:pt x="7416" y="1203"/>
                    </a:lnTo>
                    <a:lnTo>
                      <a:pt x="7421" y="1208"/>
                    </a:lnTo>
                    <a:lnTo>
                      <a:pt x="7425" y="1209"/>
                    </a:lnTo>
                    <a:lnTo>
                      <a:pt x="7423" y="1209"/>
                    </a:lnTo>
                    <a:lnTo>
                      <a:pt x="7418" y="1211"/>
                    </a:lnTo>
                    <a:lnTo>
                      <a:pt x="7410" y="1209"/>
                    </a:lnTo>
                    <a:lnTo>
                      <a:pt x="7405" y="1208"/>
                    </a:lnTo>
                    <a:lnTo>
                      <a:pt x="7397" y="1203"/>
                    </a:lnTo>
                    <a:lnTo>
                      <a:pt x="7391" y="1198"/>
                    </a:lnTo>
                    <a:lnTo>
                      <a:pt x="7378" y="1198"/>
                    </a:lnTo>
                    <a:lnTo>
                      <a:pt x="7365" y="1200"/>
                    </a:lnTo>
                    <a:lnTo>
                      <a:pt x="7352" y="1203"/>
                    </a:lnTo>
                    <a:lnTo>
                      <a:pt x="7340" y="1208"/>
                    </a:lnTo>
                    <a:lnTo>
                      <a:pt x="7327" y="1209"/>
                    </a:lnTo>
                    <a:lnTo>
                      <a:pt x="7314" y="1213"/>
                    </a:lnTo>
                    <a:lnTo>
                      <a:pt x="7301" y="1214"/>
                    </a:lnTo>
                    <a:lnTo>
                      <a:pt x="7290" y="1214"/>
                    </a:lnTo>
                    <a:close/>
                    <a:moveTo>
                      <a:pt x="8364" y="2786"/>
                    </a:moveTo>
                    <a:lnTo>
                      <a:pt x="8377" y="2782"/>
                    </a:lnTo>
                    <a:lnTo>
                      <a:pt x="8389" y="2778"/>
                    </a:lnTo>
                    <a:lnTo>
                      <a:pt x="8383" y="2773"/>
                    </a:lnTo>
                    <a:lnTo>
                      <a:pt x="8377" y="2770"/>
                    </a:lnTo>
                    <a:lnTo>
                      <a:pt x="8369" y="2765"/>
                    </a:lnTo>
                    <a:lnTo>
                      <a:pt x="8364" y="2763"/>
                    </a:lnTo>
                    <a:lnTo>
                      <a:pt x="8356" y="2762"/>
                    </a:lnTo>
                    <a:lnTo>
                      <a:pt x="8351" y="2762"/>
                    </a:lnTo>
                    <a:lnTo>
                      <a:pt x="8343" y="2762"/>
                    </a:lnTo>
                    <a:lnTo>
                      <a:pt x="8351" y="2760"/>
                    </a:lnTo>
                    <a:lnTo>
                      <a:pt x="8356" y="2757"/>
                    </a:lnTo>
                    <a:lnTo>
                      <a:pt x="8361" y="2752"/>
                    </a:lnTo>
                    <a:lnTo>
                      <a:pt x="8366" y="2750"/>
                    </a:lnTo>
                    <a:lnTo>
                      <a:pt x="8369" y="2747"/>
                    </a:lnTo>
                    <a:lnTo>
                      <a:pt x="8371" y="2745"/>
                    </a:lnTo>
                    <a:lnTo>
                      <a:pt x="8366" y="2744"/>
                    </a:lnTo>
                    <a:lnTo>
                      <a:pt x="8363" y="2742"/>
                    </a:lnTo>
                    <a:lnTo>
                      <a:pt x="8358" y="2740"/>
                    </a:lnTo>
                    <a:lnTo>
                      <a:pt x="8355" y="2736"/>
                    </a:lnTo>
                    <a:lnTo>
                      <a:pt x="8351" y="2732"/>
                    </a:lnTo>
                    <a:lnTo>
                      <a:pt x="8348" y="2730"/>
                    </a:lnTo>
                    <a:lnTo>
                      <a:pt x="8343" y="2729"/>
                    </a:lnTo>
                    <a:lnTo>
                      <a:pt x="8338" y="2729"/>
                    </a:lnTo>
                    <a:lnTo>
                      <a:pt x="8336" y="2729"/>
                    </a:lnTo>
                    <a:lnTo>
                      <a:pt x="8335" y="2729"/>
                    </a:lnTo>
                    <a:lnTo>
                      <a:pt x="8331" y="2729"/>
                    </a:lnTo>
                    <a:lnTo>
                      <a:pt x="8327" y="2729"/>
                    </a:lnTo>
                    <a:lnTo>
                      <a:pt x="8322" y="2729"/>
                    </a:lnTo>
                    <a:lnTo>
                      <a:pt x="8316" y="2729"/>
                    </a:lnTo>
                    <a:lnTo>
                      <a:pt x="8303" y="2729"/>
                    </a:lnTo>
                    <a:lnTo>
                      <a:pt x="8290" y="2729"/>
                    </a:lnTo>
                    <a:lnTo>
                      <a:pt x="8277" y="2730"/>
                    </a:lnTo>
                    <a:lnTo>
                      <a:pt x="8264" y="2732"/>
                    </a:lnTo>
                    <a:lnTo>
                      <a:pt x="8251" y="2736"/>
                    </a:lnTo>
                    <a:lnTo>
                      <a:pt x="8239" y="2740"/>
                    </a:lnTo>
                    <a:lnTo>
                      <a:pt x="8226" y="2742"/>
                    </a:lnTo>
                    <a:lnTo>
                      <a:pt x="8213" y="2744"/>
                    </a:lnTo>
                    <a:lnTo>
                      <a:pt x="8202" y="2745"/>
                    </a:lnTo>
                    <a:lnTo>
                      <a:pt x="8203" y="2740"/>
                    </a:lnTo>
                    <a:lnTo>
                      <a:pt x="8208" y="2734"/>
                    </a:lnTo>
                    <a:lnTo>
                      <a:pt x="8213" y="2730"/>
                    </a:lnTo>
                    <a:lnTo>
                      <a:pt x="8216" y="2727"/>
                    </a:lnTo>
                    <a:lnTo>
                      <a:pt x="8220" y="2725"/>
                    </a:lnTo>
                    <a:lnTo>
                      <a:pt x="8224" y="2724"/>
                    </a:lnTo>
                    <a:lnTo>
                      <a:pt x="8233" y="2719"/>
                    </a:lnTo>
                    <a:lnTo>
                      <a:pt x="8241" y="2716"/>
                    </a:lnTo>
                    <a:lnTo>
                      <a:pt x="8244" y="2714"/>
                    </a:lnTo>
                    <a:lnTo>
                      <a:pt x="8246" y="2712"/>
                    </a:lnTo>
                    <a:lnTo>
                      <a:pt x="8249" y="2709"/>
                    </a:lnTo>
                    <a:lnTo>
                      <a:pt x="8249" y="2704"/>
                    </a:lnTo>
                    <a:lnTo>
                      <a:pt x="8251" y="2699"/>
                    </a:lnTo>
                    <a:lnTo>
                      <a:pt x="8251" y="2694"/>
                    </a:lnTo>
                    <a:lnTo>
                      <a:pt x="8254" y="2688"/>
                    </a:lnTo>
                    <a:lnTo>
                      <a:pt x="8256" y="2684"/>
                    </a:lnTo>
                    <a:lnTo>
                      <a:pt x="8257" y="2681"/>
                    </a:lnTo>
                    <a:lnTo>
                      <a:pt x="8261" y="2676"/>
                    </a:lnTo>
                    <a:lnTo>
                      <a:pt x="8264" y="2673"/>
                    </a:lnTo>
                    <a:lnTo>
                      <a:pt x="8266" y="2670"/>
                    </a:lnTo>
                    <a:lnTo>
                      <a:pt x="8269" y="2666"/>
                    </a:lnTo>
                    <a:lnTo>
                      <a:pt x="8270" y="2660"/>
                    </a:lnTo>
                    <a:lnTo>
                      <a:pt x="8269" y="2653"/>
                    </a:lnTo>
                    <a:lnTo>
                      <a:pt x="8266" y="2647"/>
                    </a:lnTo>
                    <a:lnTo>
                      <a:pt x="8262" y="2642"/>
                    </a:lnTo>
                    <a:lnTo>
                      <a:pt x="8259" y="2636"/>
                    </a:lnTo>
                    <a:lnTo>
                      <a:pt x="8254" y="2633"/>
                    </a:lnTo>
                    <a:lnTo>
                      <a:pt x="8248" y="2629"/>
                    </a:lnTo>
                    <a:lnTo>
                      <a:pt x="8241" y="2627"/>
                    </a:lnTo>
                    <a:lnTo>
                      <a:pt x="8235" y="2625"/>
                    </a:lnTo>
                    <a:lnTo>
                      <a:pt x="8235" y="2623"/>
                    </a:lnTo>
                    <a:lnTo>
                      <a:pt x="8233" y="2622"/>
                    </a:lnTo>
                    <a:lnTo>
                      <a:pt x="8231" y="2620"/>
                    </a:lnTo>
                    <a:lnTo>
                      <a:pt x="8229" y="2618"/>
                    </a:lnTo>
                    <a:lnTo>
                      <a:pt x="8224" y="2618"/>
                    </a:lnTo>
                    <a:lnTo>
                      <a:pt x="8218" y="2618"/>
                    </a:lnTo>
                    <a:lnTo>
                      <a:pt x="8211" y="2618"/>
                    </a:lnTo>
                    <a:lnTo>
                      <a:pt x="8205" y="2616"/>
                    </a:lnTo>
                    <a:lnTo>
                      <a:pt x="8203" y="2616"/>
                    </a:lnTo>
                    <a:lnTo>
                      <a:pt x="8202" y="2614"/>
                    </a:lnTo>
                    <a:lnTo>
                      <a:pt x="8202" y="2612"/>
                    </a:lnTo>
                    <a:lnTo>
                      <a:pt x="8202" y="2609"/>
                    </a:lnTo>
                    <a:lnTo>
                      <a:pt x="8195" y="2603"/>
                    </a:lnTo>
                    <a:lnTo>
                      <a:pt x="8190" y="2599"/>
                    </a:lnTo>
                    <a:lnTo>
                      <a:pt x="8187" y="2596"/>
                    </a:lnTo>
                    <a:lnTo>
                      <a:pt x="8183" y="2594"/>
                    </a:lnTo>
                    <a:lnTo>
                      <a:pt x="8180" y="2592"/>
                    </a:lnTo>
                    <a:lnTo>
                      <a:pt x="8175" y="2592"/>
                    </a:lnTo>
                    <a:lnTo>
                      <a:pt x="8172" y="2592"/>
                    </a:lnTo>
                    <a:lnTo>
                      <a:pt x="8167" y="2592"/>
                    </a:lnTo>
                    <a:lnTo>
                      <a:pt x="8162" y="2584"/>
                    </a:lnTo>
                    <a:lnTo>
                      <a:pt x="8155" y="2579"/>
                    </a:lnTo>
                    <a:lnTo>
                      <a:pt x="8154" y="2574"/>
                    </a:lnTo>
                    <a:lnTo>
                      <a:pt x="8152" y="2568"/>
                    </a:lnTo>
                    <a:lnTo>
                      <a:pt x="8150" y="2564"/>
                    </a:lnTo>
                    <a:lnTo>
                      <a:pt x="8150" y="2561"/>
                    </a:lnTo>
                    <a:lnTo>
                      <a:pt x="8150" y="2559"/>
                    </a:lnTo>
                    <a:lnTo>
                      <a:pt x="8150" y="2556"/>
                    </a:lnTo>
                    <a:lnTo>
                      <a:pt x="8142" y="2551"/>
                    </a:lnTo>
                    <a:lnTo>
                      <a:pt x="8134" y="2548"/>
                    </a:lnTo>
                    <a:lnTo>
                      <a:pt x="8124" y="2544"/>
                    </a:lnTo>
                    <a:lnTo>
                      <a:pt x="8114" y="2543"/>
                    </a:lnTo>
                    <a:lnTo>
                      <a:pt x="8106" y="2543"/>
                    </a:lnTo>
                    <a:lnTo>
                      <a:pt x="8096" y="2540"/>
                    </a:lnTo>
                    <a:lnTo>
                      <a:pt x="8088" y="2540"/>
                    </a:lnTo>
                    <a:lnTo>
                      <a:pt x="8081" y="2540"/>
                    </a:lnTo>
                    <a:lnTo>
                      <a:pt x="8080" y="2535"/>
                    </a:lnTo>
                    <a:lnTo>
                      <a:pt x="8078" y="2528"/>
                    </a:lnTo>
                    <a:lnTo>
                      <a:pt x="8075" y="2522"/>
                    </a:lnTo>
                    <a:lnTo>
                      <a:pt x="8071" y="2518"/>
                    </a:lnTo>
                    <a:lnTo>
                      <a:pt x="8065" y="2513"/>
                    </a:lnTo>
                    <a:lnTo>
                      <a:pt x="8060" y="2508"/>
                    </a:lnTo>
                    <a:lnTo>
                      <a:pt x="8052" y="2507"/>
                    </a:lnTo>
                    <a:lnTo>
                      <a:pt x="8047" y="2507"/>
                    </a:lnTo>
                    <a:lnTo>
                      <a:pt x="8043" y="2507"/>
                    </a:lnTo>
                    <a:lnTo>
                      <a:pt x="8040" y="2508"/>
                    </a:lnTo>
                    <a:lnTo>
                      <a:pt x="8035" y="2508"/>
                    </a:lnTo>
                    <a:lnTo>
                      <a:pt x="8030" y="2513"/>
                    </a:lnTo>
                    <a:lnTo>
                      <a:pt x="8021" y="2518"/>
                    </a:lnTo>
                    <a:lnTo>
                      <a:pt x="8012" y="2523"/>
                    </a:lnTo>
                    <a:lnTo>
                      <a:pt x="8002" y="2529"/>
                    </a:lnTo>
                    <a:lnTo>
                      <a:pt x="7994" y="2535"/>
                    </a:lnTo>
                    <a:lnTo>
                      <a:pt x="7989" y="2536"/>
                    </a:lnTo>
                    <a:lnTo>
                      <a:pt x="7986" y="2538"/>
                    </a:lnTo>
                    <a:lnTo>
                      <a:pt x="7982" y="2540"/>
                    </a:lnTo>
                    <a:lnTo>
                      <a:pt x="7979" y="2540"/>
                    </a:lnTo>
                    <a:lnTo>
                      <a:pt x="7974" y="2536"/>
                    </a:lnTo>
                    <a:lnTo>
                      <a:pt x="7973" y="2535"/>
                    </a:lnTo>
                    <a:lnTo>
                      <a:pt x="7973" y="2531"/>
                    </a:lnTo>
                    <a:lnTo>
                      <a:pt x="7973" y="2528"/>
                    </a:lnTo>
                    <a:lnTo>
                      <a:pt x="7974" y="2525"/>
                    </a:lnTo>
                    <a:lnTo>
                      <a:pt x="7974" y="2522"/>
                    </a:lnTo>
                    <a:lnTo>
                      <a:pt x="7979" y="2515"/>
                    </a:lnTo>
                    <a:lnTo>
                      <a:pt x="7981" y="2508"/>
                    </a:lnTo>
                    <a:lnTo>
                      <a:pt x="7982" y="2505"/>
                    </a:lnTo>
                    <a:lnTo>
                      <a:pt x="7982" y="2502"/>
                    </a:lnTo>
                    <a:lnTo>
                      <a:pt x="7982" y="2500"/>
                    </a:lnTo>
                    <a:lnTo>
                      <a:pt x="7982" y="2495"/>
                    </a:lnTo>
                    <a:lnTo>
                      <a:pt x="7981" y="2492"/>
                    </a:lnTo>
                    <a:lnTo>
                      <a:pt x="7979" y="2490"/>
                    </a:lnTo>
                    <a:lnTo>
                      <a:pt x="7981" y="2490"/>
                    </a:lnTo>
                    <a:lnTo>
                      <a:pt x="7984" y="2490"/>
                    </a:lnTo>
                    <a:lnTo>
                      <a:pt x="7986" y="2490"/>
                    </a:lnTo>
                    <a:lnTo>
                      <a:pt x="7989" y="2490"/>
                    </a:lnTo>
                    <a:lnTo>
                      <a:pt x="7994" y="2490"/>
                    </a:lnTo>
                    <a:lnTo>
                      <a:pt x="7995" y="2490"/>
                    </a:lnTo>
                    <a:lnTo>
                      <a:pt x="8001" y="2483"/>
                    </a:lnTo>
                    <a:lnTo>
                      <a:pt x="8004" y="2477"/>
                    </a:lnTo>
                    <a:lnTo>
                      <a:pt x="8007" y="2472"/>
                    </a:lnTo>
                    <a:lnTo>
                      <a:pt x="8010" y="2467"/>
                    </a:lnTo>
                    <a:lnTo>
                      <a:pt x="8012" y="2461"/>
                    </a:lnTo>
                    <a:lnTo>
                      <a:pt x="8012" y="2459"/>
                    </a:lnTo>
                    <a:lnTo>
                      <a:pt x="8012" y="2455"/>
                    </a:lnTo>
                    <a:lnTo>
                      <a:pt x="8006" y="2449"/>
                    </a:lnTo>
                    <a:lnTo>
                      <a:pt x="8002" y="2446"/>
                    </a:lnTo>
                    <a:lnTo>
                      <a:pt x="7999" y="2444"/>
                    </a:lnTo>
                    <a:lnTo>
                      <a:pt x="7995" y="2442"/>
                    </a:lnTo>
                    <a:lnTo>
                      <a:pt x="7991" y="2444"/>
                    </a:lnTo>
                    <a:lnTo>
                      <a:pt x="7987" y="2446"/>
                    </a:lnTo>
                    <a:lnTo>
                      <a:pt x="7984" y="2449"/>
                    </a:lnTo>
                    <a:lnTo>
                      <a:pt x="7979" y="2455"/>
                    </a:lnTo>
                    <a:lnTo>
                      <a:pt x="7981" y="2452"/>
                    </a:lnTo>
                    <a:lnTo>
                      <a:pt x="7984" y="2449"/>
                    </a:lnTo>
                    <a:lnTo>
                      <a:pt x="7986" y="2448"/>
                    </a:lnTo>
                    <a:lnTo>
                      <a:pt x="7986" y="2444"/>
                    </a:lnTo>
                    <a:lnTo>
                      <a:pt x="7987" y="2442"/>
                    </a:lnTo>
                    <a:lnTo>
                      <a:pt x="7987" y="2441"/>
                    </a:lnTo>
                    <a:lnTo>
                      <a:pt x="7987" y="2439"/>
                    </a:lnTo>
                    <a:lnTo>
                      <a:pt x="7986" y="2437"/>
                    </a:lnTo>
                    <a:lnTo>
                      <a:pt x="7982" y="2434"/>
                    </a:lnTo>
                    <a:lnTo>
                      <a:pt x="7979" y="2434"/>
                    </a:lnTo>
                    <a:lnTo>
                      <a:pt x="7973" y="2433"/>
                    </a:lnTo>
                    <a:lnTo>
                      <a:pt x="7964" y="2434"/>
                    </a:lnTo>
                    <a:lnTo>
                      <a:pt x="7958" y="2434"/>
                    </a:lnTo>
                    <a:lnTo>
                      <a:pt x="7954" y="2437"/>
                    </a:lnTo>
                    <a:lnTo>
                      <a:pt x="7949" y="2437"/>
                    </a:lnTo>
                    <a:lnTo>
                      <a:pt x="7947" y="2437"/>
                    </a:lnTo>
                    <a:lnTo>
                      <a:pt x="7943" y="2439"/>
                    </a:lnTo>
                    <a:lnTo>
                      <a:pt x="7930" y="2444"/>
                    </a:lnTo>
                    <a:lnTo>
                      <a:pt x="7921" y="2452"/>
                    </a:lnTo>
                    <a:lnTo>
                      <a:pt x="7912" y="2457"/>
                    </a:lnTo>
                    <a:lnTo>
                      <a:pt x="7903" y="2464"/>
                    </a:lnTo>
                    <a:lnTo>
                      <a:pt x="7895" y="2470"/>
                    </a:lnTo>
                    <a:lnTo>
                      <a:pt x="7888" y="2477"/>
                    </a:lnTo>
                    <a:lnTo>
                      <a:pt x="7875" y="2490"/>
                    </a:lnTo>
                    <a:lnTo>
                      <a:pt x="7857" y="2503"/>
                    </a:lnTo>
                    <a:lnTo>
                      <a:pt x="7840" y="2518"/>
                    </a:lnTo>
                    <a:lnTo>
                      <a:pt x="7823" y="2533"/>
                    </a:lnTo>
                    <a:lnTo>
                      <a:pt x="7808" y="2549"/>
                    </a:lnTo>
                    <a:lnTo>
                      <a:pt x="7793" y="2564"/>
                    </a:lnTo>
                    <a:lnTo>
                      <a:pt x="7781" y="2581"/>
                    </a:lnTo>
                    <a:lnTo>
                      <a:pt x="7768" y="2596"/>
                    </a:lnTo>
                    <a:lnTo>
                      <a:pt x="7755" y="2609"/>
                    </a:lnTo>
                    <a:lnTo>
                      <a:pt x="7747" y="2614"/>
                    </a:lnTo>
                    <a:lnTo>
                      <a:pt x="7740" y="2622"/>
                    </a:lnTo>
                    <a:lnTo>
                      <a:pt x="7731" y="2627"/>
                    </a:lnTo>
                    <a:lnTo>
                      <a:pt x="7720" y="2635"/>
                    </a:lnTo>
                    <a:lnTo>
                      <a:pt x="7711" y="2640"/>
                    </a:lnTo>
                    <a:lnTo>
                      <a:pt x="7701" y="2647"/>
                    </a:lnTo>
                    <a:lnTo>
                      <a:pt x="7694" y="2653"/>
                    </a:lnTo>
                    <a:lnTo>
                      <a:pt x="7686" y="2660"/>
                    </a:lnTo>
                    <a:lnTo>
                      <a:pt x="7686" y="2671"/>
                    </a:lnTo>
                    <a:lnTo>
                      <a:pt x="7686" y="2683"/>
                    </a:lnTo>
                    <a:lnTo>
                      <a:pt x="7685" y="2691"/>
                    </a:lnTo>
                    <a:lnTo>
                      <a:pt x="7685" y="2699"/>
                    </a:lnTo>
                    <a:lnTo>
                      <a:pt x="7683" y="2709"/>
                    </a:lnTo>
                    <a:lnTo>
                      <a:pt x="7679" y="2714"/>
                    </a:lnTo>
                    <a:lnTo>
                      <a:pt x="7676" y="2721"/>
                    </a:lnTo>
                    <a:lnTo>
                      <a:pt x="7670" y="2729"/>
                    </a:lnTo>
                    <a:lnTo>
                      <a:pt x="7645" y="2734"/>
                    </a:lnTo>
                    <a:lnTo>
                      <a:pt x="7619" y="2737"/>
                    </a:lnTo>
                    <a:lnTo>
                      <a:pt x="7594" y="2744"/>
                    </a:lnTo>
                    <a:lnTo>
                      <a:pt x="7571" y="2749"/>
                    </a:lnTo>
                    <a:lnTo>
                      <a:pt x="7559" y="2752"/>
                    </a:lnTo>
                    <a:lnTo>
                      <a:pt x="7548" y="2757"/>
                    </a:lnTo>
                    <a:lnTo>
                      <a:pt x="7539" y="2760"/>
                    </a:lnTo>
                    <a:lnTo>
                      <a:pt x="7530" y="2765"/>
                    </a:lnTo>
                    <a:lnTo>
                      <a:pt x="7520" y="2771"/>
                    </a:lnTo>
                    <a:lnTo>
                      <a:pt x="7512" y="2778"/>
                    </a:lnTo>
                    <a:lnTo>
                      <a:pt x="7504" y="2786"/>
                    </a:lnTo>
                    <a:lnTo>
                      <a:pt x="7498" y="2795"/>
                    </a:lnTo>
                    <a:lnTo>
                      <a:pt x="7500" y="2801"/>
                    </a:lnTo>
                    <a:lnTo>
                      <a:pt x="7504" y="2806"/>
                    </a:lnTo>
                    <a:lnTo>
                      <a:pt x="7510" y="2808"/>
                    </a:lnTo>
                    <a:lnTo>
                      <a:pt x="7513" y="2810"/>
                    </a:lnTo>
                    <a:lnTo>
                      <a:pt x="7518" y="2810"/>
                    </a:lnTo>
                    <a:lnTo>
                      <a:pt x="7523" y="2810"/>
                    </a:lnTo>
                    <a:lnTo>
                      <a:pt x="7528" y="2810"/>
                    </a:lnTo>
                    <a:lnTo>
                      <a:pt x="7532" y="2808"/>
                    </a:lnTo>
                    <a:lnTo>
                      <a:pt x="7541" y="2804"/>
                    </a:lnTo>
                    <a:lnTo>
                      <a:pt x="7550" y="2801"/>
                    </a:lnTo>
                    <a:lnTo>
                      <a:pt x="7556" y="2798"/>
                    </a:lnTo>
                    <a:lnTo>
                      <a:pt x="7559" y="2797"/>
                    </a:lnTo>
                    <a:lnTo>
                      <a:pt x="7563" y="2795"/>
                    </a:lnTo>
                    <a:lnTo>
                      <a:pt x="7566" y="2795"/>
                    </a:lnTo>
                    <a:lnTo>
                      <a:pt x="7576" y="2793"/>
                    </a:lnTo>
                    <a:lnTo>
                      <a:pt x="7586" y="2791"/>
                    </a:lnTo>
                    <a:lnTo>
                      <a:pt x="7594" y="2790"/>
                    </a:lnTo>
                    <a:lnTo>
                      <a:pt x="7602" y="2788"/>
                    </a:lnTo>
                    <a:lnTo>
                      <a:pt x="7619" y="2788"/>
                    </a:lnTo>
                    <a:lnTo>
                      <a:pt x="7635" y="2788"/>
                    </a:lnTo>
                    <a:lnTo>
                      <a:pt x="7652" y="2788"/>
                    </a:lnTo>
                    <a:lnTo>
                      <a:pt x="7668" y="2786"/>
                    </a:lnTo>
                    <a:lnTo>
                      <a:pt x="7676" y="2786"/>
                    </a:lnTo>
                    <a:lnTo>
                      <a:pt x="7685" y="2783"/>
                    </a:lnTo>
                    <a:lnTo>
                      <a:pt x="7694" y="2782"/>
                    </a:lnTo>
                    <a:lnTo>
                      <a:pt x="7703" y="2778"/>
                    </a:lnTo>
                    <a:lnTo>
                      <a:pt x="7703" y="2783"/>
                    </a:lnTo>
                    <a:lnTo>
                      <a:pt x="7701" y="2791"/>
                    </a:lnTo>
                    <a:lnTo>
                      <a:pt x="7698" y="2797"/>
                    </a:lnTo>
                    <a:lnTo>
                      <a:pt x="7696" y="2801"/>
                    </a:lnTo>
                    <a:lnTo>
                      <a:pt x="7693" y="2806"/>
                    </a:lnTo>
                    <a:lnTo>
                      <a:pt x="7686" y="2811"/>
                    </a:lnTo>
                    <a:lnTo>
                      <a:pt x="7678" y="2821"/>
                    </a:lnTo>
                    <a:lnTo>
                      <a:pt x="7668" y="2831"/>
                    </a:lnTo>
                    <a:lnTo>
                      <a:pt x="7665" y="2836"/>
                    </a:lnTo>
                    <a:lnTo>
                      <a:pt x="7661" y="2841"/>
                    </a:lnTo>
                    <a:lnTo>
                      <a:pt x="7657" y="2847"/>
                    </a:lnTo>
                    <a:lnTo>
                      <a:pt x="7653" y="2852"/>
                    </a:lnTo>
                    <a:lnTo>
                      <a:pt x="7653" y="2857"/>
                    </a:lnTo>
                    <a:lnTo>
                      <a:pt x="7652" y="2864"/>
                    </a:lnTo>
                    <a:lnTo>
                      <a:pt x="7652" y="2867"/>
                    </a:lnTo>
                    <a:lnTo>
                      <a:pt x="7650" y="2869"/>
                    </a:lnTo>
                    <a:lnTo>
                      <a:pt x="7652" y="2871"/>
                    </a:lnTo>
                    <a:lnTo>
                      <a:pt x="7652" y="2872"/>
                    </a:lnTo>
                    <a:lnTo>
                      <a:pt x="7653" y="2874"/>
                    </a:lnTo>
                    <a:lnTo>
                      <a:pt x="7657" y="2877"/>
                    </a:lnTo>
                    <a:lnTo>
                      <a:pt x="7661" y="2877"/>
                    </a:lnTo>
                    <a:lnTo>
                      <a:pt x="7665" y="2878"/>
                    </a:lnTo>
                    <a:lnTo>
                      <a:pt x="7668" y="2878"/>
                    </a:lnTo>
                    <a:lnTo>
                      <a:pt x="7672" y="2878"/>
                    </a:lnTo>
                    <a:lnTo>
                      <a:pt x="7683" y="2878"/>
                    </a:lnTo>
                    <a:lnTo>
                      <a:pt x="7694" y="2877"/>
                    </a:lnTo>
                    <a:lnTo>
                      <a:pt x="7706" y="2874"/>
                    </a:lnTo>
                    <a:lnTo>
                      <a:pt x="7718" y="2872"/>
                    </a:lnTo>
                    <a:lnTo>
                      <a:pt x="7729" y="2869"/>
                    </a:lnTo>
                    <a:lnTo>
                      <a:pt x="7740" y="2865"/>
                    </a:lnTo>
                    <a:lnTo>
                      <a:pt x="7752" y="2862"/>
                    </a:lnTo>
                    <a:lnTo>
                      <a:pt x="7755" y="2859"/>
                    </a:lnTo>
                    <a:lnTo>
                      <a:pt x="7759" y="2857"/>
                    </a:lnTo>
                    <a:lnTo>
                      <a:pt x="7762" y="2856"/>
                    </a:lnTo>
                    <a:lnTo>
                      <a:pt x="7767" y="2854"/>
                    </a:lnTo>
                    <a:lnTo>
                      <a:pt x="7768" y="2852"/>
                    </a:lnTo>
                    <a:lnTo>
                      <a:pt x="7770" y="2851"/>
                    </a:lnTo>
                    <a:lnTo>
                      <a:pt x="7772" y="2849"/>
                    </a:lnTo>
                    <a:lnTo>
                      <a:pt x="7772" y="2847"/>
                    </a:lnTo>
                    <a:lnTo>
                      <a:pt x="7792" y="2839"/>
                    </a:lnTo>
                    <a:lnTo>
                      <a:pt x="7810" y="2832"/>
                    </a:lnTo>
                    <a:lnTo>
                      <a:pt x="7831" y="2823"/>
                    </a:lnTo>
                    <a:lnTo>
                      <a:pt x="7851" y="2813"/>
                    </a:lnTo>
                    <a:lnTo>
                      <a:pt x="7874" y="2803"/>
                    </a:lnTo>
                    <a:lnTo>
                      <a:pt x="7895" y="2793"/>
                    </a:lnTo>
                    <a:lnTo>
                      <a:pt x="7920" y="2786"/>
                    </a:lnTo>
                    <a:lnTo>
                      <a:pt x="7943" y="2778"/>
                    </a:lnTo>
                    <a:lnTo>
                      <a:pt x="7949" y="2775"/>
                    </a:lnTo>
                    <a:lnTo>
                      <a:pt x="7954" y="2773"/>
                    </a:lnTo>
                    <a:lnTo>
                      <a:pt x="7958" y="2770"/>
                    </a:lnTo>
                    <a:lnTo>
                      <a:pt x="7961" y="2765"/>
                    </a:lnTo>
                    <a:lnTo>
                      <a:pt x="7964" y="2763"/>
                    </a:lnTo>
                    <a:lnTo>
                      <a:pt x="7966" y="2760"/>
                    </a:lnTo>
                    <a:lnTo>
                      <a:pt x="7969" y="2752"/>
                    </a:lnTo>
                    <a:lnTo>
                      <a:pt x="7973" y="2747"/>
                    </a:lnTo>
                    <a:lnTo>
                      <a:pt x="7974" y="2744"/>
                    </a:lnTo>
                    <a:lnTo>
                      <a:pt x="7976" y="2740"/>
                    </a:lnTo>
                    <a:lnTo>
                      <a:pt x="7981" y="2737"/>
                    </a:lnTo>
                    <a:lnTo>
                      <a:pt x="7984" y="2734"/>
                    </a:lnTo>
                    <a:lnTo>
                      <a:pt x="7989" y="2730"/>
                    </a:lnTo>
                    <a:lnTo>
                      <a:pt x="7995" y="2729"/>
                    </a:lnTo>
                    <a:lnTo>
                      <a:pt x="8001" y="2725"/>
                    </a:lnTo>
                    <a:lnTo>
                      <a:pt x="8007" y="2724"/>
                    </a:lnTo>
                    <a:lnTo>
                      <a:pt x="8014" y="2721"/>
                    </a:lnTo>
                    <a:lnTo>
                      <a:pt x="8017" y="2719"/>
                    </a:lnTo>
                    <a:lnTo>
                      <a:pt x="8028" y="2719"/>
                    </a:lnTo>
                    <a:lnTo>
                      <a:pt x="8037" y="2719"/>
                    </a:lnTo>
                    <a:lnTo>
                      <a:pt x="8047" y="2719"/>
                    </a:lnTo>
                    <a:lnTo>
                      <a:pt x="8058" y="2717"/>
                    </a:lnTo>
                    <a:lnTo>
                      <a:pt x="8063" y="2717"/>
                    </a:lnTo>
                    <a:lnTo>
                      <a:pt x="8068" y="2716"/>
                    </a:lnTo>
                    <a:lnTo>
                      <a:pt x="8075" y="2714"/>
                    </a:lnTo>
                    <a:lnTo>
                      <a:pt x="8081" y="2710"/>
                    </a:lnTo>
                    <a:lnTo>
                      <a:pt x="8080" y="2716"/>
                    </a:lnTo>
                    <a:lnTo>
                      <a:pt x="8078" y="2721"/>
                    </a:lnTo>
                    <a:lnTo>
                      <a:pt x="8076" y="2724"/>
                    </a:lnTo>
                    <a:lnTo>
                      <a:pt x="8073" y="2725"/>
                    </a:lnTo>
                    <a:lnTo>
                      <a:pt x="8068" y="2727"/>
                    </a:lnTo>
                    <a:lnTo>
                      <a:pt x="8067" y="2727"/>
                    </a:lnTo>
                    <a:lnTo>
                      <a:pt x="8065" y="2729"/>
                    </a:lnTo>
                    <a:lnTo>
                      <a:pt x="8063" y="2729"/>
                    </a:lnTo>
                    <a:lnTo>
                      <a:pt x="8071" y="2734"/>
                    </a:lnTo>
                    <a:lnTo>
                      <a:pt x="8076" y="2737"/>
                    </a:lnTo>
                    <a:lnTo>
                      <a:pt x="8083" y="2742"/>
                    </a:lnTo>
                    <a:lnTo>
                      <a:pt x="8089" y="2744"/>
                    </a:lnTo>
                    <a:lnTo>
                      <a:pt x="8096" y="2744"/>
                    </a:lnTo>
                    <a:lnTo>
                      <a:pt x="8102" y="2745"/>
                    </a:lnTo>
                    <a:lnTo>
                      <a:pt x="8114" y="2745"/>
                    </a:lnTo>
                    <a:lnTo>
                      <a:pt x="8119" y="2747"/>
                    </a:lnTo>
                    <a:lnTo>
                      <a:pt x="8121" y="2749"/>
                    </a:lnTo>
                    <a:lnTo>
                      <a:pt x="8122" y="2749"/>
                    </a:lnTo>
                    <a:lnTo>
                      <a:pt x="8124" y="2750"/>
                    </a:lnTo>
                    <a:lnTo>
                      <a:pt x="8124" y="2752"/>
                    </a:lnTo>
                    <a:lnTo>
                      <a:pt x="8124" y="2755"/>
                    </a:lnTo>
                    <a:lnTo>
                      <a:pt x="8124" y="2758"/>
                    </a:lnTo>
                    <a:lnTo>
                      <a:pt x="8122" y="2760"/>
                    </a:lnTo>
                    <a:lnTo>
                      <a:pt x="8119" y="2763"/>
                    </a:lnTo>
                    <a:lnTo>
                      <a:pt x="8114" y="2765"/>
                    </a:lnTo>
                    <a:lnTo>
                      <a:pt x="8111" y="2767"/>
                    </a:lnTo>
                    <a:lnTo>
                      <a:pt x="8101" y="2773"/>
                    </a:lnTo>
                    <a:lnTo>
                      <a:pt x="8096" y="2775"/>
                    </a:lnTo>
                    <a:lnTo>
                      <a:pt x="8091" y="2775"/>
                    </a:lnTo>
                    <a:lnTo>
                      <a:pt x="8088" y="2777"/>
                    </a:lnTo>
                    <a:lnTo>
                      <a:pt x="8083" y="2778"/>
                    </a:lnTo>
                    <a:lnTo>
                      <a:pt x="8081" y="2778"/>
                    </a:lnTo>
                    <a:lnTo>
                      <a:pt x="8088" y="2783"/>
                    </a:lnTo>
                    <a:lnTo>
                      <a:pt x="8093" y="2788"/>
                    </a:lnTo>
                    <a:lnTo>
                      <a:pt x="8098" y="2791"/>
                    </a:lnTo>
                    <a:lnTo>
                      <a:pt x="8104" y="2793"/>
                    </a:lnTo>
                    <a:lnTo>
                      <a:pt x="8109" y="2795"/>
                    </a:lnTo>
                    <a:lnTo>
                      <a:pt x="8111" y="2795"/>
                    </a:lnTo>
                    <a:lnTo>
                      <a:pt x="8114" y="2795"/>
                    </a:lnTo>
                    <a:lnTo>
                      <a:pt x="8128" y="2795"/>
                    </a:lnTo>
                    <a:lnTo>
                      <a:pt x="8137" y="2795"/>
                    </a:lnTo>
                    <a:lnTo>
                      <a:pt x="8147" y="2797"/>
                    </a:lnTo>
                    <a:lnTo>
                      <a:pt x="8155" y="2797"/>
                    </a:lnTo>
                    <a:lnTo>
                      <a:pt x="8163" y="2801"/>
                    </a:lnTo>
                    <a:lnTo>
                      <a:pt x="8170" y="2803"/>
                    </a:lnTo>
                    <a:lnTo>
                      <a:pt x="8178" y="2806"/>
                    </a:lnTo>
                    <a:lnTo>
                      <a:pt x="8183" y="2813"/>
                    </a:lnTo>
                    <a:lnTo>
                      <a:pt x="8190" y="2816"/>
                    </a:lnTo>
                    <a:lnTo>
                      <a:pt x="8196" y="2817"/>
                    </a:lnTo>
                    <a:lnTo>
                      <a:pt x="8209" y="2821"/>
                    </a:lnTo>
                    <a:lnTo>
                      <a:pt x="8221" y="2823"/>
                    </a:lnTo>
                    <a:lnTo>
                      <a:pt x="8235" y="2824"/>
                    </a:lnTo>
                    <a:lnTo>
                      <a:pt x="8248" y="2823"/>
                    </a:lnTo>
                    <a:lnTo>
                      <a:pt x="8261" y="2821"/>
                    </a:lnTo>
                    <a:lnTo>
                      <a:pt x="8274" y="2819"/>
                    </a:lnTo>
                    <a:lnTo>
                      <a:pt x="8287" y="2816"/>
                    </a:lnTo>
                    <a:lnTo>
                      <a:pt x="8300" y="2810"/>
                    </a:lnTo>
                    <a:lnTo>
                      <a:pt x="8312" y="2806"/>
                    </a:lnTo>
                    <a:lnTo>
                      <a:pt x="8338" y="2795"/>
                    </a:lnTo>
                    <a:lnTo>
                      <a:pt x="8364" y="2786"/>
                    </a:lnTo>
                    <a:close/>
                    <a:moveTo>
                      <a:pt x="7624" y="1361"/>
                    </a:moveTo>
                    <a:lnTo>
                      <a:pt x="7617" y="1362"/>
                    </a:lnTo>
                    <a:lnTo>
                      <a:pt x="7609" y="1364"/>
                    </a:lnTo>
                    <a:lnTo>
                      <a:pt x="7602" y="1366"/>
                    </a:lnTo>
                    <a:lnTo>
                      <a:pt x="7596" y="1368"/>
                    </a:lnTo>
                    <a:lnTo>
                      <a:pt x="7609" y="1368"/>
                    </a:lnTo>
                    <a:lnTo>
                      <a:pt x="7620" y="1368"/>
                    </a:lnTo>
                    <a:lnTo>
                      <a:pt x="7630" y="1368"/>
                    </a:lnTo>
                    <a:lnTo>
                      <a:pt x="7637" y="1368"/>
                    </a:lnTo>
                    <a:lnTo>
                      <a:pt x="7642" y="1366"/>
                    </a:lnTo>
                    <a:lnTo>
                      <a:pt x="7648" y="1364"/>
                    </a:lnTo>
                    <a:lnTo>
                      <a:pt x="7650" y="1362"/>
                    </a:lnTo>
                    <a:lnTo>
                      <a:pt x="7652" y="1359"/>
                    </a:lnTo>
                    <a:lnTo>
                      <a:pt x="7637" y="1361"/>
                    </a:lnTo>
                    <a:lnTo>
                      <a:pt x="7624" y="1361"/>
                    </a:lnTo>
                    <a:close/>
                    <a:moveTo>
                      <a:pt x="7665" y="1346"/>
                    </a:moveTo>
                    <a:lnTo>
                      <a:pt x="7670" y="1341"/>
                    </a:lnTo>
                    <a:lnTo>
                      <a:pt x="7676" y="1338"/>
                    </a:lnTo>
                    <a:lnTo>
                      <a:pt x="7681" y="1333"/>
                    </a:lnTo>
                    <a:lnTo>
                      <a:pt x="7685" y="1329"/>
                    </a:lnTo>
                    <a:lnTo>
                      <a:pt x="7688" y="1323"/>
                    </a:lnTo>
                    <a:lnTo>
                      <a:pt x="7688" y="1318"/>
                    </a:lnTo>
                    <a:lnTo>
                      <a:pt x="7688" y="1315"/>
                    </a:lnTo>
                    <a:lnTo>
                      <a:pt x="7688" y="1313"/>
                    </a:lnTo>
                    <a:lnTo>
                      <a:pt x="7688" y="1308"/>
                    </a:lnTo>
                    <a:lnTo>
                      <a:pt x="7686" y="1305"/>
                    </a:lnTo>
                    <a:lnTo>
                      <a:pt x="7683" y="1307"/>
                    </a:lnTo>
                    <a:lnTo>
                      <a:pt x="7678" y="1307"/>
                    </a:lnTo>
                    <a:lnTo>
                      <a:pt x="7674" y="1307"/>
                    </a:lnTo>
                    <a:lnTo>
                      <a:pt x="7668" y="1308"/>
                    </a:lnTo>
                    <a:lnTo>
                      <a:pt x="7655" y="1313"/>
                    </a:lnTo>
                    <a:lnTo>
                      <a:pt x="7642" y="1316"/>
                    </a:lnTo>
                    <a:lnTo>
                      <a:pt x="7637" y="1318"/>
                    </a:lnTo>
                    <a:lnTo>
                      <a:pt x="7632" y="1320"/>
                    </a:lnTo>
                    <a:lnTo>
                      <a:pt x="7627" y="1323"/>
                    </a:lnTo>
                    <a:lnTo>
                      <a:pt x="7622" y="1325"/>
                    </a:lnTo>
                    <a:lnTo>
                      <a:pt x="7619" y="1329"/>
                    </a:lnTo>
                    <a:lnTo>
                      <a:pt x="7617" y="1331"/>
                    </a:lnTo>
                    <a:lnTo>
                      <a:pt x="7615" y="1335"/>
                    </a:lnTo>
                    <a:lnTo>
                      <a:pt x="7615" y="1336"/>
                    </a:lnTo>
                    <a:lnTo>
                      <a:pt x="7619" y="1341"/>
                    </a:lnTo>
                    <a:lnTo>
                      <a:pt x="7622" y="1346"/>
                    </a:lnTo>
                    <a:lnTo>
                      <a:pt x="7630" y="1349"/>
                    </a:lnTo>
                    <a:lnTo>
                      <a:pt x="7635" y="1349"/>
                    </a:lnTo>
                    <a:lnTo>
                      <a:pt x="7642" y="1349"/>
                    </a:lnTo>
                    <a:lnTo>
                      <a:pt x="7650" y="1349"/>
                    </a:lnTo>
                    <a:lnTo>
                      <a:pt x="7657" y="1348"/>
                    </a:lnTo>
                    <a:lnTo>
                      <a:pt x="7665" y="1346"/>
                    </a:lnTo>
                    <a:close/>
                    <a:moveTo>
                      <a:pt x="8010" y="2971"/>
                    </a:moveTo>
                    <a:lnTo>
                      <a:pt x="8021" y="2963"/>
                    </a:lnTo>
                    <a:lnTo>
                      <a:pt x="8034" y="2958"/>
                    </a:lnTo>
                    <a:lnTo>
                      <a:pt x="8045" y="2950"/>
                    </a:lnTo>
                    <a:lnTo>
                      <a:pt x="8058" y="2943"/>
                    </a:lnTo>
                    <a:lnTo>
                      <a:pt x="8071" y="2933"/>
                    </a:lnTo>
                    <a:lnTo>
                      <a:pt x="8083" y="2925"/>
                    </a:lnTo>
                    <a:lnTo>
                      <a:pt x="8078" y="2920"/>
                    </a:lnTo>
                    <a:lnTo>
                      <a:pt x="8073" y="2918"/>
                    </a:lnTo>
                    <a:lnTo>
                      <a:pt x="8061" y="2915"/>
                    </a:lnTo>
                    <a:lnTo>
                      <a:pt x="8052" y="2913"/>
                    </a:lnTo>
                    <a:lnTo>
                      <a:pt x="8041" y="2913"/>
                    </a:lnTo>
                    <a:lnTo>
                      <a:pt x="8030" y="2913"/>
                    </a:lnTo>
                    <a:lnTo>
                      <a:pt x="8017" y="2915"/>
                    </a:lnTo>
                    <a:lnTo>
                      <a:pt x="8006" y="2917"/>
                    </a:lnTo>
                    <a:lnTo>
                      <a:pt x="7995" y="2920"/>
                    </a:lnTo>
                    <a:lnTo>
                      <a:pt x="7973" y="2926"/>
                    </a:lnTo>
                    <a:lnTo>
                      <a:pt x="7949" y="2933"/>
                    </a:lnTo>
                    <a:lnTo>
                      <a:pt x="7938" y="2938"/>
                    </a:lnTo>
                    <a:lnTo>
                      <a:pt x="7927" y="2939"/>
                    </a:lnTo>
                    <a:lnTo>
                      <a:pt x="7918" y="2941"/>
                    </a:lnTo>
                    <a:lnTo>
                      <a:pt x="7907" y="2941"/>
                    </a:lnTo>
                    <a:lnTo>
                      <a:pt x="7900" y="2935"/>
                    </a:lnTo>
                    <a:lnTo>
                      <a:pt x="7894" y="2931"/>
                    </a:lnTo>
                    <a:lnTo>
                      <a:pt x="7886" y="2930"/>
                    </a:lnTo>
                    <a:lnTo>
                      <a:pt x="7879" y="2928"/>
                    </a:lnTo>
                    <a:lnTo>
                      <a:pt x="7869" y="2930"/>
                    </a:lnTo>
                    <a:lnTo>
                      <a:pt x="7860" y="2931"/>
                    </a:lnTo>
                    <a:lnTo>
                      <a:pt x="7849" y="2935"/>
                    </a:lnTo>
                    <a:lnTo>
                      <a:pt x="7836" y="2941"/>
                    </a:lnTo>
                    <a:lnTo>
                      <a:pt x="7833" y="2946"/>
                    </a:lnTo>
                    <a:lnTo>
                      <a:pt x="7829" y="2952"/>
                    </a:lnTo>
                    <a:lnTo>
                      <a:pt x="7825" y="2958"/>
                    </a:lnTo>
                    <a:lnTo>
                      <a:pt x="7821" y="2961"/>
                    </a:lnTo>
                    <a:lnTo>
                      <a:pt x="7816" y="2964"/>
                    </a:lnTo>
                    <a:lnTo>
                      <a:pt x="7813" y="2969"/>
                    </a:lnTo>
                    <a:lnTo>
                      <a:pt x="7801" y="2972"/>
                    </a:lnTo>
                    <a:lnTo>
                      <a:pt x="7792" y="2978"/>
                    </a:lnTo>
                    <a:lnTo>
                      <a:pt x="7783" y="2982"/>
                    </a:lnTo>
                    <a:lnTo>
                      <a:pt x="7773" y="2987"/>
                    </a:lnTo>
                    <a:lnTo>
                      <a:pt x="7767" y="2992"/>
                    </a:lnTo>
                    <a:lnTo>
                      <a:pt x="7764" y="2996"/>
                    </a:lnTo>
                    <a:lnTo>
                      <a:pt x="7760" y="2999"/>
                    </a:lnTo>
                    <a:lnTo>
                      <a:pt x="7760" y="3002"/>
                    </a:lnTo>
                    <a:lnTo>
                      <a:pt x="7759" y="3005"/>
                    </a:lnTo>
                    <a:lnTo>
                      <a:pt x="7757" y="3011"/>
                    </a:lnTo>
                    <a:lnTo>
                      <a:pt x="7757" y="3018"/>
                    </a:lnTo>
                    <a:lnTo>
                      <a:pt x="7757" y="3024"/>
                    </a:lnTo>
                    <a:lnTo>
                      <a:pt x="7757" y="3032"/>
                    </a:lnTo>
                    <a:lnTo>
                      <a:pt x="7755" y="3033"/>
                    </a:lnTo>
                    <a:lnTo>
                      <a:pt x="7753" y="3037"/>
                    </a:lnTo>
                    <a:lnTo>
                      <a:pt x="7752" y="3040"/>
                    </a:lnTo>
                    <a:lnTo>
                      <a:pt x="7749" y="3045"/>
                    </a:lnTo>
                    <a:lnTo>
                      <a:pt x="7760" y="3043"/>
                    </a:lnTo>
                    <a:lnTo>
                      <a:pt x="7772" y="3040"/>
                    </a:lnTo>
                    <a:lnTo>
                      <a:pt x="7783" y="3038"/>
                    </a:lnTo>
                    <a:lnTo>
                      <a:pt x="7790" y="3037"/>
                    </a:lnTo>
                    <a:lnTo>
                      <a:pt x="7800" y="3035"/>
                    </a:lnTo>
                    <a:lnTo>
                      <a:pt x="7803" y="3035"/>
                    </a:lnTo>
                    <a:lnTo>
                      <a:pt x="7805" y="3037"/>
                    </a:lnTo>
                    <a:lnTo>
                      <a:pt x="7808" y="3037"/>
                    </a:lnTo>
                    <a:lnTo>
                      <a:pt x="7813" y="3038"/>
                    </a:lnTo>
                    <a:lnTo>
                      <a:pt x="7816" y="3040"/>
                    </a:lnTo>
                    <a:lnTo>
                      <a:pt x="7820" y="3045"/>
                    </a:lnTo>
                    <a:lnTo>
                      <a:pt x="7823" y="3046"/>
                    </a:lnTo>
                    <a:lnTo>
                      <a:pt x="7827" y="3048"/>
                    </a:lnTo>
                    <a:lnTo>
                      <a:pt x="7833" y="3048"/>
                    </a:lnTo>
                    <a:lnTo>
                      <a:pt x="7838" y="3048"/>
                    </a:lnTo>
                    <a:lnTo>
                      <a:pt x="7844" y="3046"/>
                    </a:lnTo>
                    <a:lnTo>
                      <a:pt x="7849" y="3046"/>
                    </a:lnTo>
                    <a:lnTo>
                      <a:pt x="7864" y="3040"/>
                    </a:lnTo>
                    <a:lnTo>
                      <a:pt x="7877" y="3037"/>
                    </a:lnTo>
                    <a:lnTo>
                      <a:pt x="7888" y="3032"/>
                    </a:lnTo>
                    <a:lnTo>
                      <a:pt x="7894" y="3030"/>
                    </a:lnTo>
                    <a:lnTo>
                      <a:pt x="7899" y="3028"/>
                    </a:lnTo>
                    <a:lnTo>
                      <a:pt x="7903" y="3025"/>
                    </a:lnTo>
                    <a:lnTo>
                      <a:pt x="7907" y="3025"/>
                    </a:lnTo>
                    <a:lnTo>
                      <a:pt x="7927" y="3015"/>
                    </a:lnTo>
                    <a:lnTo>
                      <a:pt x="7947" y="3004"/>
                    </a:lnTo>
                    <a:lnTo>
                      <a:pt x="7967" y="2992"/>
                    </a:lnTo>
                    <a:lnTo>
                      <a:pt x="7987" y="2982"/>
                    </a:lnTo>
                    <a:lnTo>
                      <a:pt x="8010" y="2971"/>
                    </a:lnTo>
                    <a:close/>
                    <a:moveTo>
                      <a:pt x="7823" y="1899"/>
                    </a:moveTo>
                    <a:lnTo>
                      <a:pt x="7823" y="1898"/>
                    </a:lnTo>
                    <a:lnTo>
                      <a:pt x="7823" y="1896"/>
                    </a:lnTo>
                    <a:lnTo>
                      <a:pt x="7823" y="1894"/>
                    </a:lnTo>
                    <a:lnTo>
                      <a:pt x="7823" y="1892"/>
                    </a:lnTo>
                    <a:lnTo>
                      <a:pt x="7821" y="1892"/>
                    </a:lnTo>
                    <a:lnTo>
                      <a:pt x="7820" y="1892"/>
                    </a:lnTo>
                    <a:lnTo>
                      <a:pt x="7816" y="1892"/>
                    </a:lnTo>
                    <a:lnTo>
                      <a:pt x="7814" y="1894"/>
                    </a:lnTo>
                    <a:lnTo>
                      <a:pt x="7810" y="1898"/>
                    </a:lnTo>
                    <a:lnTo>
                      <a:pt x="7806" y="1901"/>
                    </a:lnTo>
                    <a:lnTo>
                      <a:pt x="7805" y="1909"/>
                    </a:lnTo>
                    <a:lnTo>
                      <a:pt x="7810" y="1907"/>
                    </a:lnTo>
                    <a:lnTo>
                      <a:pt x="7814" y="1907"/>
                    </a:lnTo>
                    <a:lnTo>
                      <a:pt x="7818" y="1906"/>
                    </a:lnTo>
                    <a:lnTo>
                      <a:pt x="7821" y="1903"/>
                    </a:lnTo>
                    <a:lnTo>
                      <a:pt x="7823" y="1899"/>
                    </a:lnTo>
                    <a:close/>
                    <a:moveTo>
                      <a:pt x="7810" y="1846"/>
                    </a:moveTo>
                    <a:lnTo>
                      <a:pt x="7808" y="1850"/>
                    </a:lnTo>
                    <a:lnTo>
                      <a:pt x="7806" y="1851"/>
                    </a:lnTo>
                    <a:lnTo>
                      <a:pt x="7805" y="1853"/>
                    </a:lnTo>
                    <a:lnTo>
                      <a:pt x="7805" y="1855"/>
                    </a:lnTo>
                    <a:lnTo>
                      <a:pt x="7806" y="1853"/>
                    </a:lnTo>
                    <a:lnTo>
                      <a:pt x="7808" y="1853"/>
                    </a:lnTo>
                    <a:lnTo>
                      <a:pt x="7813" y="1851"/>
                    </a:lnTo>
                    <a:lnTo>
                      <a:pt x="7816" y="1850"/>
                    </a:lnTo>
                    <a:lnTo>
                      <a:pt x="7818" y="1846"/>
                    </a:lnTo>
                    <a:lnTo>
                      <a:pt x="7820" y="1842"/>
                    </a:lnTo>
                    <a:lnTo>
                      <a:pt x="7821" y="1837"/>
                    </a:lnTo>
                    <a:lnTo>
                      <a:pt x="7816" y="1842"/>
                    </a:lnTo>
                    <a:lnTo>
                      <a:pt x="7810" y="1846"/>
                    </a:lnTo>
                    <a:close/>
                    <a:moveTo>
                      <a:pt x="7827" y="1983"/>
                    </a:moveTo>
                    <a:lnTo>
                      <a:pt x="7831" y="1981"/>
                    </a:lnTo>
                    <a:lnTo>
                      <a:pt x="7833" y="1977"/>
                    </a:lnTo>
                    <a:lnTo>
                      <a:pt x="7836" y="1973"/>
                    </a:lnTo>
                    <a:lnTo>
                      <a:pt x="7838" y="1972"/>
                    </a:lnTo>
                    <a:lnTo>
                      <a:pt x="7833" y="1972"/>
                    </a:lnTo>
                    <a:lnTo>
                      <a:pt x="7829" y="1972"/>
                    </a:lnTo>
                    <a:lnTo>
                      <a:pt x="7825" y="1972"/>
                    </a:lnTo>
                    <a:lnTo>
                      <a:pt x="7823" y="1973"/>
                    </a:lnTo>
                    <a:lnTo>
                      <a:pt x="7821" y="1975"/>
                    </a:lnTo>
                    <a:lnTo>
                      <a:pt x="7821" y="1978"/>
                    </a:lnTo>
                    <a:lnTo>
                      <a:pt x="7821" y="1983"/>
                    </a:lnTo>
                    <a:lnTo>
                      <a:pt x="7821" y="1988"/>
                    </a:lnTo>
                    <a:lnTo>
                      <a:pt x="7823" y="1986"/>
                    </a:lnTo>
                    <a:lnTo>
                      <a:pt x="7827" y="1983"/>
                    </a:lnTo>
                    <a:close/>
                    <a:moveTo>
                      <a:pt x="7867" y="1878"/>
                    </a:moveTo>
                    <a:lnTo>
                      <a:pt x="7859" y="1881"/>
                    </a:lnTo>
                    <a:lnTo>
                      <a:pt x="7851" y="1883"/>
                    </a:lnTo>
                    <a:lnTo>
                      <a:pt x="7847" y="1885"/>
                    </a:lnTo>
                    <a:lnTo>
                      <a:pt x="7846" y="1886"/>
                    </a:lnTo>
                    <a:lnTo>
                      <a:pt x="7842" y="1888"/>
                    </a:lnTo>
                    <a:lnTo>
                      <a:pt x="7840" y="1888"/>
                    </a:lnTo>
                    <a:lnTo>
                      <a:pt x="7840" y="1891"/>
                    </a:lnTo>
                    <a:lnTo>
                      <a:pt x="7842" y="1892"/>
                    </a:lnTo>
                    <a:lnTo>
                      <a:pt x="7846" y="1894"/>
                    </a:lnTo>
                    <a:lnTo>
                      <a:pt x="7849" y="1896"/>
                    </a:lnTo>
                    <a:lnTo>
                      <a:pt x="7853" y="1898"/>
                    </a:lnTo>
                    <a:lnTo>
                      <a:pt x="7857" y="1898"/>
                    </a:lnTo>
                    <a:lnTo>
                      <a:pt x="7859" y="1896"/>
                    </a:lnTo>
                    <a:lnTo>
                      <a:pt x="7862" y="1896"/>
                    </a:lnTo>
                    <a:lnTo>
                      <a:pt x="7866" y="1894"/>
                    </a:lnTo>
                    <a:lnTo>
                      <a:pt x="7874" y="1891"/>
                    </a:lnTo>
                    <a:lnTo>
                      <a:pt x="7879" y="1885"/>
                    </a:lnTo>
                    <a:lnTo>
                      <a:pt x="7886" y="1878"/>
                    </a:lnTo>
                    <a:lnTo>
                      <a:pt x="7894" y="1871"/>
                    </a:lnTo>
                    <a:lnTo>
                      <a:pt x="7886" y="1871"/>
                    </a:lnTo>
                    <a:lnTo>
                      <a:pt x="7877" y="1873"/>
                    </a:lnTo>
                    <a:lnTo>
                      <a:pt x="7867" y="1878"/>
                    </a:lnTo>
                    <a:close/>
                    <a:moveTo>
                      <a:pt x="8032" y="2479"/>
                    </a:moveTo>
                    <a:lnTo>
                      <a:pt x="8035" y="2482"/>
                    </a:lnTo>
                    <a:lnTo>
                      <a:pt x="8037" y="2483"/>
                    </a:lnTo>
                    <a:lnTo>
                      <a:pt x="8041" y="2485"/>
                    </a:lnTo>
                    <a:lnTo>
                      <a:pt x="8043" y="2485"/>
                    </a:lnTo>
                    <a:lnTo>
                      <a:pt x="8045" y="2485"/>
                    </a:lnTo>
                    <a:lnTo>
                      <a:pt x="8050" y="2485"/>
                    </a:lnTo>
                    <a:lnTo>
                      <a:pt x="8055" y="2483"/>
                    </a:lnTo>
                    <a:lnTo>
                      <a:pt x="8058" y="2479"/>
                    </a:lnTo>
                    <a:lnTo>
                      <a:pt x="8060" y="2474"/>
                    </a:lnTo>
                    <a:lnTo>
                      <a:pt x="8063" y="2469"/>
                    </a:lnTo>
                    <a:lnTo>
                      <a:pt x="8065" y="2462"/>
                    </a:lnTo>
                    <a:lnTo>
                      <a:pt x="8067" y="2455"/>
                    </a:lnTo>
                    <a:lnTo>
                      <a:pt x="8073" y="2442"/>
                    </a:lnTo>
                    <a:lnTo>
                      <a:pt x="8075" y="2437"/>
                    </a:lnTo>
                    <a:lnTo>
                      <a:pt x="8076" y="2429"/>
                    </a:lnTo>
                    <a:lnTo>
                      <a:pt x="8080" y="2426"/>
                    </a:lnTo>
                    <a:lnTo>
                      <a:pt x="8083" y="2422"/>
                    </a:lnTo>
                    <a:lnTo>
                      <a:pt x="8076" y="2418"/>
                    </a:lnTo>
                    <a:lnTo>
                      <a:pt x="8068" y="2416"/>
                    </a:lnTo>
                    <a:lnTo>
                      <a:pt x="8063" y="2416"/>
                    </a:lnTo>
                    <a:lnTo>
                      <a:pt x="8056" y="2416"/>
                    </a:lnTo>
                    <a:lnTo>
                      <a:pt x="8050" y="2418"/>
                    </a:lnTo>
                    <a:lnTo>
                      <a:pt x="8045" y="2421"/>
                    </a:lnTo>
                    <a:lnTo>
                      <a:pt x="8040" y="2424"/>
                    </a:lnTo>
                    <a:lnTo>
                      <a:pt x="8035" y="2428"/>
                    </a:lnTo>
                    <a:lnTo>
                      <a:pt x="8032" y="2433"/>
                    </a:lnTo>
                    <a:lnTo>
                      <a:pt x="8028" y="2437"/>
                    </a:lnTo>
                    <a:lnTo>
                      <a:pt x="8027" y="2442"/>
                    </a:lnTo>
                    <a:lnTo>
                      <a:pt x="8025" y="2449"/>
                    </a:lnTo>
                    <a:lnTo>
                      <a:pt x="8025" y="2455"/>
                    </a:lnTo>
                    <a:lnTo>
                      <a:pt x="8025" y="2462"/>
                    </a:lnTo>
                    <a:lnTo>
                      <a:pt x="8027" y="2469"/>
                    </a:lnTo>
                    <a:lnTo>
                      <a:pt x="8028" y="2475"/>
                    </a:lnTo>
                    <a:lnTo>
                      <a:pt x="8032" y="2479"/>
                    </a:lnTo>
                    <a:close/>
                    <a:moveTo>
                      <a:pt x="8165" y="2057"/>
                    </a:moveTo>
                    <a:lnTo>
                      <a:pt x="8163" y="2054"/>
                    </a:lnTo>
                    <a:lnTo>
                      <a:pt x="8159" y="2054"/>
                    </a:lnTo>
                    <a:lnTo>
                      <a:pt x="8154" y="2057"/>
                    </a:lnTo>
                    <a:lnTo>
                      <a:pt x="8144" y="2057"/>
                    </a:lnTo>
                    <a:lnTo>
                      <a:pt x="8137" y="2059"/>
                    </a:lnTo>
                    <a:lnTo>
                      <a:pt x="8132" y="2060"/>
                    </a:lnTo>
                    <a:lnTo>
                      <a:pt x="8124" y="2060"/>
                    </a:lnTo>
                    <a:lnTo>
                      <a:pt x="8119" y="2062"/>
                    </a:lnTo>
                    <a:lnTo>
                      <a:pt x="8111" y="2066"/>
                    </a:lnTo>
                    <a:lnTo>
                      <a:pt x="8106" y="2069"/>
                    </a:lnTo>
                    <a:lnTo>
                      <a:pt x="8101" y="2075"/>
                    </a:lnTo>
                    <a:lnTo>
                      <a:pt x="8093" y="2080"/>
                    </a:lnTo>
                    <a:lnTo>
                      <a:pt x="8081" y="2093"/>
                    </a:lnTo>
                    <a:lnTo>
                      <a:pt x="8080" y="2099"/>
                    </a:lnTo>
                    <a:lnTo>
                      <a:pt x="8078" y="2108"/>
                    </a:lnTo>
                    <a:lnTo>
                      <a:pt x="8076" y="2115"/>
                    </a:lnTo>
                    <a:lnTo>
                      <a:pt x="8075" y="2123"/>
                    </a:lnTo>
                    <a:lnTo>
                      <a:pt x="8075" y="2130"/>
                    </a:lnTo>
                    <a:lnTo>
                      <a:pt x="8075" y="2134"/>
                    </a:lnTo>
                    <a:lnTo>
                      <a:pt x="8075" y="2138"/>
                    </a:lnTo>
                    <a:lnTo>
                      <a:pt x="8075" y="2140"/>
                    </a:lnTo>
                    <a:lnTo>
                      <a:pt x="8076" y="2141"/>
                    </a:lnTo>
                    <a:lnTo>
                      <a:pt x="8078" y="2141"/>
                    </a:lnTo>
                    <a:lnTo>
                      <a:pt x="8081" y="2143"/>
                    </a:lnTo>
                    <a:lnTo>
                      <a:pt x="8089" y="2141"/>
                    </a:lnTo>
                    <a:lnTo>
                      <a:pt x="8098" y="2140"/>
                    </a:lnTo>
                    <a:lnTo>
                      <a:pt x="8106" y="2138"/>
                    </a:lnTo>
                    <a:lnTo>
                      <a:pt x="8113" y="2134"/>
                    </a:lnTo>
                    <a:lnTo>
                      <a:pt x="8119" y="2130"/>
                    </a:lnTo>
                    <a:lnTo>
                      <a:pt x="8124" y="2126"/>
                    </a:lnTo>
                    <a:lnTo>
                      <a:pt x="8129" y="2121"/>
                    </a:lnTo>
                    <a:lnTo>
                      <a:pt x="8135" y="2115"/>
                    </a:lnTo>
                    <a:lnTo>
                      <a:pt x="8142" y="2105"/>
                    </a:lnTo>
                    <a:lnTo>
                      <a:pt x="8150" y="2093"/>
                    </a:lnTo>
                    <a:lnTo>
                      <a:pt x="8154" y="2088"/>
                    </a:lnTo>
                    <a:lnTo>
                      <a:pt x="8157" y="2084"/>
                    </a:lnTo>
                    <a:lnTo>
                      <a:pt x="8162" y="2079"/>
                    </a:lnTo>
                    <a:lnTo>
                      <a:pt x="8165" y="2077"/>
                    </a:lnTo>
                    <a:lnTo>
                      <a:pt x="8167" y="2069"/>
                    </a:lnTo>
                    <a:lnTo>
                      <a:pt x="8168" y="2066"/>
                    </a:lnTo>
                    <a:lnTo>
                      <a:pt x="8168" y="2062"/>
                    </a:lnTo>
                    <a:lnTo>
                      <a:pt x="8168" y="2060"/>
                    </a:lnTo>
                    <a:lnTo>
                      <a:pt x="8167" y="2057"/>
                    </a:lnTo>
                    <a:lnTo>
                      <a:pt x="8165" y="2057"/>
                    </a:lnTo>
                    <a:close/>
                    <a:moveTo>
                      <a:pt x="8198" y="2434"/>
                    </a:moveTo>
                    <a:lnTo>
                      <a:pt x="8203" y="2433"/>
                    </a:lnTo>
                    <a:lnTo>
                      <a:pt x="8208" y="2429"/>
                    </a:lnTo>
                    <a:lnTo>
                      <a:pt x="8209" y="2428"/>
                    </a:lnTo>
                    <a:lnTo>
                      <a:pt x="8209" y="2426"/>
                    </a:lnTo>
                    <a:lnTo>
                      <a:pt x="8209" y="2424"/>
                    </a:lnTo>
                    <a:lnTo>
                      <a:pt x="8209" y="2422"/>
                    </a:lnTo>
                    <a:lnTo>
                      <a:pt x="8208" y="2422"/>
                    </a:lnTo>
                    <a:lnTo>
                      <a:pt x="8205" y="2421"/>
                    </a:lnTo>
                    <a:lnTo>
                      <a:pt x="8203" y="2421"/>
                    </a:lnTo>
                    <a:lnTo>
                      <a:pt x="8200" y="2416"/>
                    </a:lnTo>
                    <a:lnTo>
                      <a:pt x="8195" y="2415"/>
                    </a:lnTo>
                    <a:lnTo>
                      <a:pt x="8190" y="2411"/>
                    </a:lnTo>
                    <a:lnTo>
                      <a:pt x="8185" y="2408"/>
                    </a:lnTo>
                    <a:lnTo>
                      <a:pt x="8174" y="2401"/>
                    </a:lnTo>
                    <a:lnTo>
                      <a:pt x="8163" y="2398"/>
                    </a:lnTo>
                    <a:lnTo>
                      <a:pt x="8157" y="2396"/>
                    </a:lnTo>
                    <a:lnTo>
                      <a:pt x="8154" y="2396"/>
                    </a:lnTo>
                    <a:lnTo>
                      <a:pt x="8148" y="2395"/>
                    </a:lnTo>
                    <a:lnTo>
                      <a:pt x="8144" y="2395"/>
                    </a:lnTo>
                    <a:lnTo>
                      <a:pt x="8141" y="2396"/>
                    </a:lnTo>
                    <a:lnTo>
                      <a:pt x="8139" y="2398"/>
                    </a:lnTo>
                    <a:lnTo>
                      <a:pt x="8137" y="2400"/>
                    </a:lnTo>
                    <a:lnTo>
                      <a:pt x="8137" y="2403"/>
                    </a:lnTo>
                    <a:lnTo>
                      <a:pt x="8137" y="2409"/>
                    </a:lnTo>
                    <a:lnTo>
                      <a:pt x="8139" y="2413"/>
                    </a:lnTo>
                    <a:lnTo>
                      <a:pt x="8141" y="2416"/>
                    </a:lnTo>
                    <a:lnTo>
                      <a:pt x="8144" y="2418"/>
                    </a:lnTo>
                    <a:lnTo>
                      <a:pt x="8148" y="2421"/>
                    </a:lnTo>
                    <a:lnTo>
                      <a:pt x="8150" y="2421"/>
                    </a:lnTo>
                    <a:lnTo>
                      <a:pt x="8152" y="2421"/>
                    </a:lnTo>
                    <a:lnTo>
                      <a:pt x="8154" y="2421"/>
                    </a:lnTo>
                    <a:lnTo>
                      <a:pt x="8155" y="2421"/>
                    </a:lnTo>
                    <a:lnTo>
                      <a:pt x="8157" y="2422"/>
                    </a:lnTo>
                    <a:lnTo>
                      <a:pt x="8159" y="2424"/>
                    </a:lnTo>
                    <a:lnTo>
                      <a:pt x="8159" y="2426"/>
                    </a:lnTo>
                    <a:lnTo>
                      <a:pt x="8162" y="2429"/>
                    </a:lnTo>
                    <a:lnTo>
                      <a:pt x="8159" y="2433"/>
                    </a:lnTo>
                    <a:lnTo>
                      <a:pt x="8159" y="2439"/>
                    </a:lnTo>
                    <a:lnTo>
                      <a:pt x="8157" y="2446"/>
                    </a:lnTo>
                    <a:lnTo>
                      <a:pt x="8155" y="2452"/>
                    </a:lnTo>
                    <a:lnTo>
                      <a:pt x="8154" y="2454"/>
                    </a:lnTo>
                    <a:lnTo>
                      <a:pt x="8154" y="2455"/>
                    </a:lnTo>
                    <a:lnTo>
                      <a:pt x="8154" y="2457"/>
                    </a:lnTo>
                    <a:lnTo>
                      <a:pt x="8165" y="2457"/>
                    </a:lnTo>
                    <a:lnTo>
                      <a:pt x="8170" y="2457"/>
                    </a:lnTo>
                    <a:lnTo>
                      <a:pt x="8175" y="2457"/>
                    </a:lnTo>
                    <a:lnTo>
                      <a:pt x="8180" y="2457"/>
                    </a:lnTo>
                    <a:lnTo>
                      <a:pt x="8183" y="2457"/>
                    </a:lnTo>
                    <a:lnTo>
                      <a:pt x="8185" y="2457"/>
                    </a:lnTo>
                    <a:lnTo>
                      <a:pt x="8187" y="2457"/>
                    </a:lnTo>
                    <a:lnTo>
                      <a:pt x="8182" y="2462"/>
                    </a:lnTo>
                    <a:lnTo>
                      <a:pt x="8175" y="2469"/>
                    </a:lnTo>
                    <a:lnTo>
                      <a:pt x="8174" y="2470"/>
                    </a:lnTo>
                    <a:lnTo>
                      <a:pt x="8172" y="2474"/>
                    </a:lnTo>
                    <a:lnTo>
                      <a:pt x="8170" y="2474"/>
                    </a:lnTo>
                    <a:lnTo>
                      <a:pt x="8170" y="2475"/>
                    </a:lnTo>
                    <a:lnTo>
                      <a:pt x="8175" y="2475"/>
                    </a:lnTo>
                    <a:lnTo>
                      <a:pt x="8185" y="2477"/>
                    </a:lnTo>
                    <a:lnTo>
                      <a:pt x="8193" y="2479"/>
                    </a:lnTo>
                    <a:lnTo>
                      <a:pt x="8203" y="2479"/>
                    </a:lnTo>
                    <a:lnTo>
                      <a:pt x="8208" y="2479"/>
                    </a:lnTo>
                    <a:lnTo>
                      <a:pt x="8213" y="2479"/>
                    </a:lnTo>
                    <a:lnTo>
                      <a:pt x="8216" y="2477"/>
                    </a:lnTo>
                    <a:lnTo>
                      <a:pt x="8220" y="2475"/>
                    </a:lnTo>
                    <a:lnTo>
                      <a:pt x="8226" y="2472"/>
                    </a:lnTo>
                    <a:lnTo>
                      <a:pt x="8229" y="2469"/>
                    </a:lnTo>
                    <a:lnTo>
                      <a:pt x="8233" y="2462"/>
                    </a:lnTo>
                    <a:lnTo>
                      <a:pt x="8236" y="2457"/>
                    </a:lnTo>
                    <a:lnTo>
                      <a:pt x="8224" y="2457"/>
                    </a:lnTo>
                    <a:lnTo>
                      <a:pt x="8216" y="2455"/>
                    </a:lnTo>
                    <a:lnTo>
                      <a:pt x="8211" y="2455"/>
                    </a:lnTo>
                    <a:lnTo>
                      <a:pt x="8205" y="2454"/>
                    </a:lnTo>
                    <a:lnTo>
                      <a:pt x="8198" y="2449"/>
                    </a:lnTo>
                    <a:lnTo>
                      <a:pt x="8193" y="2444"/>
                    </a:lnTo>
                    <a:lnTo>
                      <a:pt x="8187" y="2439"/>
                    </a:lnTo>
                    <a:lnTo>
                      <a:pt x="8193" y="2439"/>
                    </a:lnTo>
                    <a:lnTo>
                      <a:pt x="8198" y="2434"/>
                    </a:lnTo>
                    <a:close/>
                    <a:moveTo>
                      <a:pt x="8315" y="3033"/>
                    </a:moveTo>
                    <a:lnTo>
                      <a:pt x="8318" y="3028"/>
                    </a:lnTo>
                    <a:lnTo>
                      <a:pt x="8320" y="3022"/>
                    </a:lnTo>
                    <a:lnTo>
                      <a:pt x="8320" y="3017"/>
                    </a:lnTo>
                    <a:lnTo>
                      <a:pt x="8320" y="3015"/>
                    </a:lnTo>
                    <a:lnTo>
                      <a:pt x="8320" y="3011"/>
                    </a:lnTo>
                    <a:lnTo>
                      <a:pt x="8318" y="3009"/>
                    </a:lnTo>
                    <a:lnTo>
                      <a:pt x="8316" y="3009"/>
                    </a:lnTo>
                    <a:lnTo>
                      <a:pt x="8315" y="3007"/>
                    </a:lnTo>
                    <a:lnTo>
                      <a:pt x="8310" y="3005"/>
                    </a:lnTo>
                    <a:lnTo>
                      <a:pt x="8307" y="3005"/>
                    </a:lnTo>
                    <a:lnTo>
                      <a:pt x="8303" y="3005"/>
                    </a:lnTo>
                    <a:lnTo>
                      <a:pt x="8300" y="3004"/>
                    </a:lnTo>
                    <a:lnTo>
                      <a:pt x="8294" y="3004"/>
                    </a:lnTo>
                    <a:lnTo>
                      <a:pt x="8290" y="3004"/>
                    </a:lnTo>
                    <a:lnTo>
                      <a:pt x="8285" y="3004"/>
                    </a:lnTo>
                    <a:lnTo>
                      <a:pt x="8279" y="3005"/>
                    </a:lnTo>
                    <a:lnTo>
                      <a:pt x="8274" y="3007"/>
                    </a:lnTo>
                    <a:lnTo>
                      <a:pt x="8266" y="3009"/>
                    </a:lnTo>
                    <a:lnTo>
                      <a:pt x="8261" y="3013"/>
                    </a:lnTo>
                    <a:lnTo>
                      <a:pt x="8246" y="3018"/>
                    </a:lnTo>
                    <a:lnTo>
                      <a:pt x="8231" y="3028"/>
                    </a:lnTo>
                    <a:lnTo>
                      <a:pt x="8218" y="3037"/>
                    </a:lnTo>
                    <a:lnTo>
                      <a:pt x="8203" y="3046"/>
                    </a:lnTo>
                    <a:lnTo>
                      <a:pt x="8190" y="3058"/>
                    </a:lnTo>
                    <a:lnTo>
                      <a:pt x="8185" y="3063"/>
                    </a:lnTo>
                    <a:lnTo>
                      <a:pt x="8180" y="3068"/>
                    </a:lnTo>
                    <a:lnTo>
                      <a:pt x="8174" y="3074"/>
                    </a:lnTo>
                    <a:lnTo>
                      <a:pt x="8170" y="3079"/>
                    </a:lnTo>
                    <a:lnTo>
                      <a:pt x="8167" y="3085"/>
                    </a:lnTo>
                    <a:lnTo>
                      <a:pt x="8163" y="3091"/>
                    </a:lnTo>
                    <a:lnTo>
                      <a:pt x="8162" y="3096"/>
                    </a:lnTo>
                    <a:lnTo>
                      <a:pt x="8159" y="3099"/>
                    </a:lnTo>
                    <a:lnTo>
                      <a:pt x="8157" y="3106"/>
                    </a:lnTo>
                    <a:lnTo>
                      <a:pt x="8157" y="3111"/>
                    </a:lnTo>
                    <a:lnTo>
                      <a:pt x="8159" y="3114"/>
                    </a:lnTo>
                    <a:lnTo>
                      <a:pt x="8162" y="3119"/>
                    </a:lnTo>
                    <a:lnTo>
                      <a:pt x="8165" y="3122"/>
                    </a:lnTo>
                    <a:lnTo>
                      <a:pt x="8168" y="3126"/>
                    </a:lnTo>
                    <a:lnTo>
                      <a:pt x="8172" y="3129"/>
                    </a:lnTo>
                    <a:lnTo>
                      <a:pt x="8174" y="3131"/>
                    </a:lnTo>
                    <a:lnTo>
                      <a:pt x="8178" y="3132"/>
                    </a:lnTo>
                    <a:lnTo>
                      <a:pt x="8182" y="3135"/>
                    </a:lnTo>
                    <a:lnTo>
                      <a:pt x="8185" y="3135"/>
                    </a:lnTo>
                    <a:lnTo>
                      <a:pt x="8188" y="3135"/>
                    </a:lnTo>
                    <a:lnTo>
                      <a:pt x="8196" y="3135"/>
                    </a:lnTo>
                    <a:lnTo>
                      <a:pt x="8203" y="3132"/>
                    </a:lnTo>
                    <a:lnTo>
                      <a:pt x="8211" y="3129"/>
                    </a:lnTo>
                    <a:lnTo>
                      <a:pt x="8218" y="3124"/>
                    </a:lnTo>
                    <a:lnTo>
                      <a:pt x="8224" y="3120"/>
                    </a:lnTo>
                    <a:lnTo>
                      <a:pt x="8231" y="3112"/>
                    </a:lnTo>
                    <a:lnTo>
                      <a:pt x="8239" y="3107"/>
                    </a:lnTo>
                    <a:lnTo>
                      <a:pt x="8244" y="3099"/>
                    </a:lnTo>
                    <a:lnTo>
                      <a:pt x="8251" y="3094"/>
                    </a:lnTo>
                    <a:lnTo>
                      <a:pt x="8256" y="3089"/>
                    </a:lnTo>
                    <a:lnTo>
                      <a:pt x="8261" y="3083"/>
                    </a:lnTo>
                    <a:lnTo>
                      <a:pt x="8264" y="3078"/>
                    </a:lnTo>
                    <a:lnTo>
                      <a:pt x="8269" y="3074"/>
                    </a:lnTo>
                    <a:lnTo>
                      <a:pt x="8272" y="3074"/>
                    </a:lnTo>
                    <a:lnTo>
                      <a:pt x="8277" y="3070"/>
                    </a:lnTo>
                    <a:lnTo>
                      <a:pt x="8282" y="3068"/>
                    </a:lnTo>
                    <a:lnTo>
                      <a:pt x="8289" y="3063"/>
                    </a:lnTo>
                    <a:lnTo>
                      <a:pt x="8294" y="3058"/>
                    </a:lnTo>
                    <a:lnTo>
                      <a:pt x="8300" y="3052"/>
                    </a:lnTo>
                    <a:lnTo>
                      <a:pt x="8305" y="3046"/>
                    </a:lnTo>
                    <a:lnTo>
                      <a:pt x="8310" y="3040"/>
                    </a:lnTo>
                    <a:lnTo>
                      <a:pt x="8315" y="3033"/>
                    </a:lnTo>
                    <a:close/>
                    <a:moveTo>
                      <a:pt x="10502" y="2030"/>
                    </a:moveTo>
                    <a:lnTo>
                      <a:pt x="10503" y="2031"/>
                    </a:lnTo>
                    <a:lnTo>
                      <a:pt x="10504" y="2030"/>
                    </a:lnTo>
                    <a:lnTo>
                      <a:pt x="10504" y="2030"/>
                    </a:lnTo>
                    <a:lnTo>
                      <a:pt x="10504" y="2030"/>
                    </a:lnTo>
                    <a:lnTo>
                      <a:pt x="10502" y="2030"/>
                    </a:lnTo>
                    <a:lnTo>
                      <a:pt x="10502" y="2030"/>
                    </a:lnTo>
                    <a:lnTo>
                      <a:pt x="10502" y="2030"/>
                    </a:lnTo>
                    <a:close/>
                    <a:moveTo>
                      <a:pt x="10504" y="2030"/>
                    </a:moveTo>
                    <a:lnTo>
                      <a:pt x="10516" y="2029"/>
                    </a:lnTo>
                    <a:lnTo>
                      <a:pt x="10526" y="2029"/>
                    </a:lnTo>
                    <a:lnTo>
                      <a:pt x="10536" y="2027"/>
                    </a:lnTo>
                    <a:lnTo>
                      <a:pt x="10546" y="2025"/>
                    </a:lnTo>
                    <a:lnTo>
                      <a:pt x="10555" y="2023"/>
                    </a:lnTo>
                    <a:lnTo>
                      <a:pt x="10542" y="2023"/>
                    </a:lnTo>
                    <a:lnTo>
                      <a:pt x="10531" y="2025"/>
                    </a:lnTo>
                    <a:lnTo>
                      <a:pt x="10521" y="2027"/>
                    </a:lnTo>
                    <a:lnTo>
                      <a:pt x="10514" y="2029"/>
                    </a:lnTo>
                    <a:lnTo>
                      <a:pt x="10506" y="2029"/>
                    </a:lnTo>
                    <a:lnTo>
                      <a:pt x="10504" y="2030"/>
                    </a:lnTo>
                    <a:lnTo>
                      <a:pt x="10504" y="2030"/>
                    </a:lnTo>
                    <a:lnTo>
                      <a:pt x="10504" y="2030"/>
                    </a:lnTo>
                    <a:close/>
                    <a:moveTo>
                      <a:pt x="11018" y="2298"/>
                    </a:moveTo>
                    <a:lnTo>
                      <a:pt x="11020" y="2304"/>
                    </a:lnTo>
                    <a:lnTo>
                      <a:pt x="11020" y="2307"/>
                    </a:lnTo>
                    <a:lnTo>
                      <a:pt x="11020" y="2311"/>
                    </a:lnTo>
                    <a:lnTo>
                      <a:pt x="11018" y="2317"/>
                    </a:lnTo>
                    <a:lnTo>
                      <a:pt x="11016" y="2321"/>
                    </a:lnTo>
                    <a:lnTo>
                      <a:pt x="11013" y="2324"/>
                    </a:lnTo>
                    <a:lnTo>
                      <a:pt x="11007" y="2327"/>
                    </a:lnTo>
                    <a:lnTo>
                      <a:pt x="11002" y="2332"/>
                    </a:lnTo>
                    <a:lnTo>
                      <a:pt x="10995" y="2332"/>
                    </a:lnTo>
                    <a:lnTo>
                      <a:pt x="10992" y="2330"/>
                    </a:lnTo>
                    <a:lnTo>
                      <a:pt x="10988" y="2326"/>
                    </a:lnTo>
                    <a:lnTo>
                      <a:pt x="10985" y="2322"/>
                    </a:lnTo>
                    <a:lnTo>
                      <a:pt x="10982" y="2321"/>
                    </a:lnTo>
                    <a:lnTo>
                      <a:pt x="10977" y="2317"/>
                    </a:lnTo>
                    <a:lnTo>
                      <a:pt x="10974" y="2315"/>
                    </a:lnTo>
                    <a:lnTo>
                      <a:pt x="10968" y="2315"/>
                    </a:lnTo>
                    <a:lnTo>
                      <a:pt x="10964" y="2311"/>
                    </a:lnTo>
                    <a:lnTo>
                      <a:pt x="10961" y="2309"/>
                    </a:lnTo>
                    <a:lnTo>
                      <a:pt x="10957" y="2307"/>
                    </a:lnTo>
                    <a:lnTo>
                      <a:pt x="10954" y="2307"/>
                    </a:lnTo>
                    <a:lnTo>
                      <a:pt x="10952" y="2307"/>
                    </a:lnTo>
                    <a:lnTo>
                      <a:pt x="10947" y="2307"/>
                    </a:lnTo>
                    <a:lnTo>
                      <a:pt x="10942" y="2307"/>
                    </a:lnTo>
                    <a:lnTo>
                      <a:pt x="10934" y="2309"/>
                    </a:lnTo>
                    <a:lnTo>
                      <a:pt x="10929" y="2311"/>
                    </a:lnTo>
                    <a:lnTo>
                      <a:pt x="10922" y="2313"/>
                    </a:lnTo>
                    <a:lnTo>
                      <a:pt x="10916" y="2315"/>
                    </a:lnTo>
                    <a:lnTo>
                      <a:pt x="10922" y="2315"/>
                    </a:lnTo>
                    <a:lnTo>
                      <a:pt x="10931" y="2315"/>
                    </a:lnTo>
                    <a:lnTo>
                      <a:pt x="10941" y="2315"/>
                    </a:lnTo>
                    <a:lnTo>
                      <a:pt x="10947" y="2317"/>
                    </a:lnTo>
                    <a:lnTo>
                      <a:pt x="10955" y="2319"/>
                    </a:lnTo>
                    <a:lnTo>
                      <a:pt x="10959" y="2321"/>
                    </a:lnTo>
                    <a:lnTo>
                      <a:pt x="10961" y="2322"/>
                    </a:lnTo>
                    <a:lnTo>
                      <a:pt x="10964" y="2324"/>
                    </a:lnTo>
                    <a:lnTo>
                      <a:pt x="10967" y="2326"/>
                    </a:lnTo>
                    <a:lnTo>
                      <a:pt x="10967" y="2327"/>
                    </a:lnTo>
                    <a:lnTo>
                      <a:pt x="10968" y="2332"/>
                    </a:lnTo>
                    <a:lnTo>
                      <a:pt x="10954" y="2332"/>
                    </a:lnTo>
                    <a:lnTo>
                      <a:pt x="10947" y="2334"/>
                    </a:lnTo>
                    <a:lnTo>
                      <a:pt x="10942" y="2334"/>
                    </a:lnTo>
                    <a:lnTo>
                      <a:pt x="10934" y="2335"/>
                    </a:lnTo>
                    <a:lnTo>
                      <a:pt x="10929" y="2339"/>
                    </a:lnTo>
                    <a:lnTo>
                      <a:pt x="10922" y="2342"/>
                    </a:lnTo>
                    <a:lnTo>
                      <a:pt x="10916" y="2350"/>
                    </a:lnTo>
                    <a:lnTo>
                      <a:pt x="10942" y="2350"/>
                    </a:lnTo>
                    <a:lnTo>
                      <a:pt x="10961" y="2350"/>
                    </a:lnTo>
                    <a:lnTo>
                      <a:pt x="10952" y="2352"/>
                    </a:lnTo>
                    <a:lnTo>
                      <a:pt x="10942" y="2354"/>
                    </a:lnTo>
                    <a:lnTo>
                      <a:pt x="10933" y="2357"/>
                    </a:lnTo>
                    <a:lnTo>
                      <a:pt x="10924" y="2362"/>
                    </a:lnTo>
                    <a:lnTo>
                      <a:pt x="10914" y="2363"/>
                    </a:lnTo>
                    <a:lnTo>
                      <a:pt x="10906" y="2365"/>
                    </a:lnTo>
                    <a:lnTo>
                      <a:pt x="10898" y="2367"/>
                    </a:lnTo>
                    <a:lnTo>
                      <a:pt x="10893" y="2360"/>
                    </a:lnTo>
                    <a:lnTo>
                      <a:pt x="10885" y="2354"/>
                    </a:lnTo>
                    <a:lnTo>
                      <a:pt x="10880" y="2348"/>
                    </a:lnTo>
                    <a:lnTo>
                      <a:pt x="10872" y="2345"/>
                    </a:lnTo>
                    <a:lnTo>
                      <a:pt x="10868" y="2342"/>
                    </a:lnTo>
                    <a:lnTo>
                      <a:pt x="10867" y="2342"/>
                    </a:lnTo>
                    <a:lnTo>
                      <a:pt x="10863" y="2342"/>
                    </a:lnTo>
                    <a:lnTo>
                      <a:pt x="10860" y="2342"/>
                    </a:lnTo>
                    <a:lnTo>
                      <a:pt x="10855" y="2342"/>
                    </a:lnTo>
                    <a:lnTo>
                      <a:pt x="10854" y="2345"/>
                    </a:lnTo>
                    <a:lnTo>
                      <a:pt x="10850" y="2347"/>
                    </a:lnTo>
                    <a:lnTo>
                      <a:pt x="10847" y="2350"/>
                    </a:lnTo>
                    <a:lnTo>
                      <a:pt x="10850" y="2350"/>
                    </a:lnTo>
                    <a:lnTo>
                      <a:pt x="10852" y="2350"/>
                    </a:lnTo>
                    <a:lnTo>
                      <a:pt x="10855" y="2352"/>
                    </a:lnTo>
                    <a:lnTo>
                      <a:pt x="10860" y="2354"/>
                    </a:lnTo>
                    <a:lnTo>
                      <a:pt x="10861" y="2355"/>
                    </a:lnTo>
                    <a:lnTo>
                      <a:pt x="10863" y="2362"/>
                    </a:lnTo>
                    <a:lnTo>
                      <a:pt x="10865" y="2367"/>
                    </a:lnTo>
                    <a:lnTo>
                      <a:pt x="10857" y="2367"/>
                    </a:lnTo>
                    <a:lnTo>
                      <a:pt x="10848" y="2368"/>
                    </a:lnTo>
                    <a:lnTo>
                      <a:pt x="10839" y="2370"/>
                    </a:lnTo>
                    <a:lnTo>
                      <a:pt x="10830" y="2372"/>
                    </a:lnTo>
                    <a:lnTo>
                      <a:pt x="10821" y="2375"/>
                    </a:lnTo>
                    <a:lnTo>
                      <a:pt x="10815" y="2375"/>
                    </a:lnTo>
                    <a:lnTo>
                      <a:pt x="10811" y="2375"/>
                    </a:lnTo>
                    <a:lnTo>
                      <a:pt x="10806" y="2372"/>
                    </a:lnTo>
                    <a:lnTo>
                      <a:pt x="10802" y="2370"/>
                    </a:lnTo>
                    <a:lnTo>
                      <a:pt x="10799" y="2368"/>
                    </a:lnTo>
                    <a:lnTo>
                      <a:pt x="10796" y="2367"/>
                    </a:lnTo>
                    <a:lnTo>
                      <a:pt x="10796" y="2372"/>
                    </a:lnTo>
                    <a:lnTo>
                      <a:pt x="10799" y="2376"/>
                    </a:lnTo>
                    <a:lnTo>
                      <a:pt x="10802" y="2380"/>
                    </a:lnTo>
                    <a:lnTo>
                      <a:pt x="10806" y="2381"/>
                    </a:lnTo>
                    <a:lnTo>
                      <a:pt x="10811" y="2383"/>
                    </a:lnTo>
                    <a:lnTo>
                      <a:pt x="10817" y="2383"/>
                    </a:lnTo>
                    <a:lnTo>
                      <a:pt x="10830" y="2385"/>
                    </a:lnTo>
                    <a:lnTo>
                      <a:pt x="10835" y="2387"/>
                    </a:lnTo>
                    <a:lnTo>
                      <a:pt x="10842" y="2387"/>
                    </a:lnTo>
                    <a:lnTo>
                      <a:pt x="10848" y="2388"/>
                    </a:lnTo>
                    <a:lnTo>
                      <a:pt x="10854" y="2393"/>
                    </a:lnTo>
                    <a:lnTo>
                      <a:pt x="10857" y="2396"/>
                    </a:lnTo>
                    <a:lnTo>
                      <a:pt x="10861" y="2401"/>
                    </a:lnTo>
                    <a:lnTo>
                      <a:pt x="10863" y="2409"/>
                    </a:lnTo>
                    <a:lnTo>
                      <a:pt x="10863" y="2413"/>
                    </a:lnTo>
                    <a:lnTo>
                      <a:pt x="10865" y="2418"/>
                    </a:lnTo>
                    <a:lnTo>
                      <a:pt x="10861" y="2415"/>
                    </a:lnTo>
                    <a:lnTo>
                      <a:pt x="10855" y="2413"/>
                    </a:lnTo>
                    <a:lnTo>
                      <a:pt x="10852" y="2411"/>
                    </a:lnTo>
                    <a:lnTo>
                      <a:pt x="10847" y="2411"/>
                    </a:lnTo>
                    <a:lnTo>
                      <a:pt x="10834" y="2409"/>
                    </a:lnTo>
                    <a:lnTo>
                      <a:pt x="10821" y="2409"/>
                    </a:lnTo>
                    <a:lnTo>
                      <a:pt x="10807" y="2409"/>
                    </a:lnTo>
                    <a:lnTo>
                      <a:pt x="10796" y="2408"/>
                    </a:lnTo>
                    <a:lnTo>
                      <a:pt x="10791" y="2408"/>
                    </a:lnTo>
                    <a:lnTo>
                      <a:pt x="10786" y="2406"/>
                    </a:lnTo>
                    <a:lnTo>
                      <a:pt x="10781" y="2403"/>
                    </a:lnTo>
                    <a:lnTo>
                      <a:pt x="10778" y="2401"/>
                    </a:lnTo>
                    <a:lnTo>
                      <a:pt x="10778" y="2403"/>
                    </a:lnTo>
                    <a:lnTo>
                      <a:pt x="10780" y="2406"/>
                    </a:lnTo>
                    <a:lnTo>
                      <a:pt x="10781" y="2409"/>
                    </a:lnTo>
                    <a:lnTo>
                      <a:pt x="10784" y="2411"/>
                    </a:lnTo>
                    <a:lnTo>
                      <a:pt x="10789" y="2413"/>
                    </a:lnTo>
                    <a:lnTo>
                      <a:pt x="10794" y="2415"/>
                    </a:lnTo>
                    <a:lnTo>
                      <a:pt x="10802" y="2416"/>
                    </a:lnTo>
                    <a:lnTo>
                      <a:pt x="10807" y="2416"/>
                    </a:lnTo>
                    <a:lnTo>
                      <a:pt x="10809" y="2416"/>
                    </a:lnTo>
                    <a:lnTo>
                      <a:pt x="10811" y="2418"/>
                    </a:lnTo>
                    <a:lnTo>
                      <a:pt x="10814" y="2418"/>
                    </a:lnTo>
                    <a:lnTo>
                      <a:pt x="10815" y="2418"/>
                    </a:lnTo>
                    <a:lnTo>
                      <a:pt x="10817" y="2421"/>
                    </a:lnTo>
                    <a:lnTo>
                      <a:pt x="10819" y="2422"/>
                    </a:lnTo>
                    <a:lnTo>
                      <a:pt x="10821" y="2424"/>
                    </a:lnTo>
                    <a:lnTo>
                      <a:pt x="10822" y="2426"/>
                    </a:lnTo>
                    <a:lnTo>
                      <a:pt x="10821" y="2428"/>
                    </a:lnTo>
                    <a:lnTo>
                      <a:pt x="10819" y="2429"/>
                    </a:lnTo>
                    <a:lnTo>
                      <a:pt x="10815" y="2431"/>
                    </a:lnTo>
                    <a:lnTo>
                      <a:pt x="10811" y="2431"/>
                    </a:lnTo>
                    <a:lnTo>
                      <a:pt x="10806" y="2433"/>
                    </a:lnTo>
                    <a:lnTo>
                      <a:pt x="10801" y="2433"/>
                    </a:lnTo>
                    <a:lnTo>
                      <a:pt x="10793" y="2434"/>
                    </a:lnTo>
                    <a:lnTo>
                      <a:pt x="10781" y="2434"/>
                    </a:lnTo>
                    <a:lnTo>
                      <a:pt x="10774" y="2434"/>
                    </a:lnTo>
                    <a:lnTo>
                      <a:pt x="10769" y="2434"/>
                    </a:lnTo>
                    <a:lnTo>
                      <a:pt x="10765" y="2434"/>
                    </a:lnTo>
                    <a:lnTo>
                      <a:pt x="10761" y="2434"/>
                    </a:lnTo>
                    <a:lnTo>
                      <a:pt x="10763" y="2439"/>
                    </a:lnTo>
                    <a:lnTo>
                      <a:pt x="10765" y="2441"/>
                    </a:lnTo>
                    <a:lnTo>
                      <a:pt x="10766" y="2442"/>
                    </a:lnTo>
                    <a:lnTo>
                      <a:pt x="10766" y="2444"/>
                    </a:lnTo>
                    <a:lnTo>
                      <a:pt x="10766" y="2446"/>
                    </a:lnTo>
                    <a:lnTo>
                      <a:pt x="10766" y="2448"/>
                    </a:lnTo>
                    <a:lnTo>
                      <a:pt x="10765" y="2449"/>
                    </a:lnTo>
                    <a:lnTo>
                      <a:pt x="10761" y="2452"/>
                    </a:lnTo>
                    <a:lnTo>
                      <a:pt x="10756" y="2452"/>
                    </a:lnTo>
                    <a:lnTo>
                      <a:pt x="10750" y="2452"/>
                    </a:lnTo>
                    <a:lnTo>
                      <a:pt x="10745" y="2452"/>
                    </a:lnTo>
                    <a:lnTo>
                      <a:pt x="10745" y="2454"/>
                    </a:lnTo>
                    <a:lnTo>
                      <a:pt x="10747" y="2454"/>
                    </a:lnTo>
                    <a:lnTo>
                      <a:pt x="10748" y="2455"/>
                    </a:lnTo>
                    <a:lnTo>
                      <a:pt x="10750" y="2459"/>
                    </a:lnTo>
                    <a:lnTo>
                      <a:pt x="10756" y="2462"/>
                    </a:lnTo>
                    <a:lnTo>
                      <a:pt x="10761" y="2470"/>
                    </a:lnTo>
                    <a:lnTo>
                      <a:pt x="10760" y="2470"/>
                    </a:lnTo>
                    <a:lnTo>
                      <a:pt x="10758" y="2469"/>
                    </a:lnTo>
                    <a:lnTo>
                      <a:pt x="10756" y="2469"/>
                    </a:lnTo>
                    <a:lnTo>
                      <a:pt x="10750" y="2469"/>
                    </a:lnTo>
                    <a:lnTo>
                      <a:pt x="10745" y="2467"/>
                    </a:lnTo>
                    <a:lnTo>
                      <a:pt x="10741" y="2464"/>
                    </a:lnTo>
                    <a:lnTo>
                      <a:pt x="10740" y="2462"/>
                    </a:lnTo>
                    <a:lnTo>
                      <a:pt x="10738" y="2467"/>
                    </a:lnTo>
                    <a:lnTo>
                      <a:pt x="10733" y="2469"/>
                    </a:lnTo>
                    <a:lnTo>
                      <a:pt x="10732" y="2470"/>
                    </a:lnTo>
                    <a:lnTo>
                      <a:pt x="10728" y="2474"/>
                    </a:lnTo>
                    <a:lnTo>
                      <a:pt x="10725" y="2474"/>
                    </a:lnTo>
                    <a:lnTo>
                      <a:pt x="10719" y="2474"/>
                    </a:lnTo>
                    <a:lnTo>
                      <a:pt x="10713" y="2472"/>
                    </a:lnTo>
                    <a:lnTo>
                      <a:pt x="10710" y="2469"/>
                    </a:lnTo>
                    <a:lnTo>
                      <a:pt x="10704" y="2464"/>
                    </a:lnTo>
                    <a:lnTo>
                      <a:pt x="10700" y="2461"/>
                    </a:lnTo>
                    <a:lnTo>
                      <a:pt x="10692" y="2452"/>
                    </a:lnTo>
                    <a:lnTo>
                      <a:pt x="10682" y="2442"/>
                    </a:lnTo>
                    <a:lnTo>
                      <a:pt x="10679" y="2439"/>
                    </a:lnTo>
                    <a:lnTo>
                      <a:pt x="10674" y="2434"/>
                    </a:lnTo>
                    <a:lnTo>
                      <a:pt x="10677" y="2441"/>
                    </a:lnTo>
                    <a:lnTo>
                      <a:pt x="10679" y="2446"/>
                    </a:lnTo>
                    <a:lnTo>
                      <a:pt x="10680" y="2449"/>
                    </a:lnTo>
                    <a:lnTo>
                      <a:pt x="10679" y="2452"/>
                    </a:lnTo>
                    <a:lnTo>
                      <a:pt x="10679" y="2455"/>
                    </a:lnTo>
                    <a:lnTo>
                      <a:pt x="10677" y="2455"/>
                    </a:lnTo>
                    <a:lnTo>
                      <a:pt x="10674" y="2457"/>
                    </a:lnTo>
                    <a:lnTo>
                      <a:pt x="10671" y="2459"/>
                    </a:lnTo>
                    <a:lnTo>
                      <a:pt x="10664" y="2459"/>
                    </a:lnTo>
                    <a:lnTo>
                      <a:pt x="10656" y="2461"/>
                    </a:lnTo>
                    <a:lnTo>
                      <a:pt x="10653" y="2462"/>
                    </a:lnTo>
                    <a:lnTo>
                      <a:pt x="10647" y="2464"/>
                    </a:lnTo>
                    <a:lnTo>
                      <a:pt x="10643" y="2467"/>
                    </a:lnTo>
                    <a:lnTo>
                      <a:pt x="10641" y="2470"/>
                    </a:lnTo>
                    <a:lnTo>
                      <a:pt x="10647" y="2470"/>
                    </a:lnTo>
                    <a:lnTo>
                      <a:pt x="10651" y="2470"/>
                    </a:lnTo>
                    <a:lnTo>
                      <a:pt x="10654" y="2470"/>
                    </a:lnTo>
                    <a:lnTo>
                      <a:pt x="10658" y="2472"/>
                    </a:lnTo>
                    <a:lnTo>
                      <a:pt x="10662" y="2474"/>
                    </a:lnTo>
                    <a:lnTo>
                      <a:pt x="10666" y="2477"/>
                    </a:lnTo>
                    <a:lnTo>
                      <a:pt x="10669" y="2482"/>
                    </a:lnTo>
                    <a:lnTo>
                      <a:pt x="10674" y="2487"/>
                    </a:lnTo>
                    <a:lnTo>
                      <a:pt x="10669" y="2487"/>
                    </a:lnTo>
                    <a:lnTo>
                      <a:pt x="10666" y="2487"/>
                    </a:lnTo>
                    <a:lnTo>
                      <a:pt x="10662" y="2487"/>
                    </a:lnTo>
                    <a:lnTo>
                      <a:pt x="10658" y="2487"/>
                    </a:lnTo>
                    <a:lnTo>
                      <a:pt x="10654" y="2487"/>
                    </a:lnTo>
                    <a:lnTo>
                      <a:pt x="10651" y="2487"/>
                    </a:lnTo>
                    <a:lnTo>
                      <a:pt x="10647" y="2487"/>
                    </a:lnTo>
                    <a:lnTo>
                      <a:pt x="10641" y="2487"/>
                    </a:lnTo>
                    <a:lnTo>
                      <a:pt x="10643" y="2489"/>
                    </a:lnTo>
                    <a:lnTo>
                      <a:pt x="10646" y="2490"/>
                    </a:lnTo>
                    <a:lnTo>
                      <a:pt x="10649" y="2494"/>
                    </a:lnTo>
                    <a:lnTo>
                      <a:pt x="10653" y="2498"/>
                    </a:lnTo>
                    <a:lnTo>
                      <a:pt x="10658" y="2503"/>
                    </a:lnTo>
                    <a:lnTo>
                      <a:pt x="10653" y="2503"/>
                    </a:lnTo>
                    <a:lnTo>
                      <a:pt x="10647" y="2503"/>
                    </a:lnTo>
                    <a:lnTo>
                      <a:pt x="10643" y="2505"/>
                    </a:lnTo>
                    <a:lnTo>
                      <a:pt x="10641" y="2507"/>
                    </a:lnTo>
                    <a:lnTo>
                      <a:pt x="10638" y="2507"/>
                    </a:lnTo>
                    <a:lnTo>
                      <a:pt x="10638" y="2508"/>
                    </a:lnTo>
                    <a:lnTo>
                      <a:pt x="10636" y="2510"/>
                    </a:lnTo>
                    <a:lnTo>
                      <a:pt x="10636" y="2513"/>
                    </a:lnTo>
                    <a:lnTo>
                      <a:pt x="10638" y="2516"/>
                    </a:lnTo>
                    <a:lnTo>
                      <a:pt x="10638" y="2518"/>
                    </a:lnTo>
                    <a:lnTo>
                      <a:pt x="10640" y="2520"/>
                    </a:lnTo>
                    <a:lnTo>
                      <a:pt x="10641" y="2522"/>
                    </a:lnTo>
                    <a:lnTo>
                      <a:pt x="10640" y="2533"/>
                    </a:lnTo>
                    <a:lnTo>
                      <a:pt x="10640" y="2540"/>
                    </a:lnTo>
                    <a:lnTo>
                      <a:pt x="10638" y="2544"/>
                    </a:lnTo>
                    <a:lnTo>
                      <a:pt x="10636" y="2549"/>
                    </a:lnTo>
                    <a:lnTo>
                      <a:pt x="10634" y="2551"/>
                    </a:lnTo>
                    <a:lnTo>
                      <a:pt x="10628" y="2555"/>
                    </a:lnTo>
                    <a:lnTo>
                      <a:pt x="10623" y="2555"/>
                    </a:lnTo>
                    <a:lnTo>
                      <a:pt x="10618" y="2561"/>
                    </a:lnTo>
                    <a:lnTo>
                      <a:pt x="10610" y="2566"/>
                    </a:lnTo>
                    <a:lnTo>
                      <a:pt x="10605" y="2569"/>
                    </a:lnTo>
                    <a:lnTo>
                      <a:pt x="10597" y="2571"/>
                    </a:lnTo>
                    <a:lnTo>
                      <a:pt x="10592" y="2576"/>
                    </a:lnTo>
                    <a:lnTo>
                      <a:pt x="10585" y="2579"/>
                    </a:lnTo>
                    <a:lnTo>
                      <a:pt x="10579" y="2584"/>
                    </a:lnTo>
                    <a:lnTo>
                      <a:pt x="10572" y="2590"/>
                    </a:lnTo>
                    <a:lnTo>
                      <a:pt x="10572" y="2584"/>
                    </a:lnTo>
                    <a:lnTo>
                      <a:pt x="10572" y="2579"/>
                    </a:lnTo>
                    <a:lnTo>
                      <a:pt x="10572" y="2577"/>
                    </a:lnTo>
                    <a:lnTo>
                      <a:pt x="10570" y="2576"/>
                    </a:lnTo>
                    <a:lnTo>
                      <a:pt x="10567" y="2574"/>
                    </a:lnTo>
                    <a:lnTo>
                      <a:pt x="10564" y="2574"/>
                    </a:lnTo>
                    <a:lnTo>
                      <a:pt x="10560" y="2574"/>
                    </a:lnTo>
                    <a:lnTo>
                      <a:pt x="10555" y="2574"/>
                    </a:lnTo>
                    <a:lnTo>
                      <a:pt x="10559" y="2571"/>
                    </a:lnTo>
                    <a:lnTo>
                      <a:pt x="10560" y="2569"/>
                    </a:lnTo>
                    <a:lnTo>
                      <a:pt x="10564" y="2568"/>
                    </a:lnTo>
                    <a:lnTo>
                      <a:pt x="10566" y="2566"/>
                    </a:lnTo>
                    <a:lnTo>
                      <a:pt x="10567" y="2564"/>
                    </a:lnTo>
                    <a:lnTo>
                      <a:pt x="10566" y="2562"/>
                    </a:lnTo>
                    <a:lnTo>
                      <a:pt x="10564" y="2562"/>
                    </a:lnTo>
                    <a:lnTo>
                      <a:pt x="10562" y="2561"/>
                    </a:lnTo>
                    <a:lnTo>
                      <a:pt x="10560" y="2559"/>
                    </a:lnTo>
                    <a:lnTo>
                      <a:pt x="10559" y="2559"/>
                    </a:lnTo>
                    <a:lnTo>
                      <a:pt x="10559" y="2555"/>
                    </a:lnTo>
                    <a:lnTo>
                      <a:pt x="10560" y="2553"/>
                    </a:lnTo>
                    <a:lnTo>
                      <a:pt x="10562" y="2549"/>
                    </a:lnTo>
                    <a:lnTo>
                      <a:pt x="10566" y="2544"/>
                    </a:lnTo>
                    <a:lnTo>
                      <a:pt x="10559" y="2548"/>
                    </a:lnTo>
                    <a:lnTo>
                      <a:pt x="10552" y="2551"/>
                    </a:lnTo>
                    <a:lnTo>
                      <a:pt x="10546" y="2555"/>
                    </a:lnTo>
                    <a:lnTo>
                      <a:pt x="10540" y="2559"/>
                    </a:lnTo>
                    <a:lnTo>
                      <a:pt x="10532" y="2562"/>
                    </a:lnTo>
                    <a:lnTo>
                      <a:pt x="10527" y="2566"/>
                    </a:lnTo>
                    <a:lnTo>
                      <a:pt x="10519" y="2574"/>
                    </a:lnTo>
                    <a:lnTo>
                      <a:pt x="10519" y="2561"/>
                    </a:lnTo>
                    <a:lnTo>
                      <a:pt x="10521" y="2553"/>
                    </a:lnTo>
                    <a:lnTo>
                      <a:pt x="10521" y="2549"/>
                    </a:lnTo>
                    <a:lnTo>
                      <a:pt x="10524" y="2544"/>
                    </a:lnTo>
                    <a:lnTo>
                      <a:pt x="10527" y="2543"/>
                    </a:lnTo>
                    <a:lnTo>
                      <a:pt x="10531" y="2538"/>
                    </a:lnTo>
                    <a:lnTo>
                      <a:pt x="10527" y="2538"/>
                    </a:lnTo>
                    <a:lnTo>
                      <a:pt x="10524" y="2538"/>
                    </a:lnTo>
                    <a:lnTo>
                      <a:pt x="10519" y="2538"/>
                    </a:lnTo>
                    <a:lnTo>
                      <a:pt x="10516" y="2538"/>
                    </a:lnTo>
                    <a:lnTo>
                      <a:pt x="10513" y="2538"/>
                    </a:lnTo>
                    <a:lnTo>
                      <a:pt x="10509" y="2538"/>
                    </a:lnTo>
                    <a:lnTo>
                      <a:pt x="10503" y="2538"/>
                    </a:lnTo>
                    <a:lnTo>
                      <a:pt x="10509" y="2533"/>
                    </a:lnTo>
                    <a:lnTo>
                      <a:pt x="10486" y="2555"/>
                    </a:lnTo>
                    <a:lnTo>
                      <a:pt x="10479" y="2555"/>
                    </a:lnTo>
                    <a:lnTo>
                      <a:pt x="10475" y="2553"/>
                    </a:lnTo>
                    <a:lnTo>
                      <a:pt x="10473" y="2551"/>
                    </a:lnTo>
                    <a:lnTo>
                      <a:pt x="10470" y="2549"/>
                    </a:lnTo>
                    <a:lnTo>
                      <a:pt x="10470" y="2548"/>
                    </a:lnTo>
                    <a:lnTo>
                      <a:pt x="10468" y="2544"/>
                    </a:lnTo>
                    <a:lnTo>
                      <a:pt x="10468" y="2538"/>
                    </a:lnTo>
                    <a:lnTo>
                      <a:pt x="10468" y="2531"/>
                    </a:lnTo>
                    <a:lnTo>
                      <a:pt x="10468" y="2529"/>
                    </a:lnTo>
                    <a:lnTo>
                      <a:pt x="10466" y="2525"/>
                    </a:lnTo>
                    <a:lnTo>
                      <a:pt x="10465" y="2523"/>
                    </a:lnTo>
                    <a:lnTo>
                      <a:pt x="10460" y="2522"/>
                    </a:lnTo>
                    <a:lnTo>
                      <a:pt x="10457" y="2522"/>
                    </a:lnTo>
                    <a:lnTo>
                      <a:pt x="10452" y="2522"/>
                    </a:lnTo>
                    <a:lnTo>
                      <a:pt x="10459" y="2515"/>
                    </a:lnTo>
                    <a:lnTo>
                      <a:pt x="10468" y="2510"/>
                    </a:lnTo>
                    <a:lnTo>
                      <a:pt x="10465" y="2510"/>
                    </a:lnTo>
                    <a:lnTo>
                      <a:pt x="10457" y="2510"/>
                    </a:lnTo>
                    <a:lnTo>
                      <a:pt x="10450" y="2510"/>
                    </a:lnTo>
                    <a:lnTo>
                      <a:pt x="10445" y="2510"/>
                    </a:lnTo>
                    <a:lnTo>
                      <a:pt x="10440" y="2510"/>
                    </a:lnTo>
                    <a:lnTo>
                      <a:pt x="10437" y="2508"/>
                    </a:lnTo>
                    <a:lnTo>
                      <a:pt x="10435" y="2507"/>
                    </a:lnTo>
                    <a:lnTo>
                      <a:pt x="10435" y="2503"/>
                    </a:lnTo>
                    <a:lnTo>
                      <a:pt x="10437" y="2502"/>
                    </a:lnTo>
                    <a:lnTo>
                      <a:pt x="10440" y="2500"/>
                    </a:lnTo>
                    <a:lnTo>
                      <a:pt x="10442" y="2500"/>
                    </a:lnTo>
                    <a:lnTo>
                      <a:pt x="10445" y="2498"/>
                    </a:lnTo>
                    <a:lnTo>
                      <a:pt x="10452" y="2495"/>
                    </a:lnTo>
                    <a:lnTo>
                      <a:pt x="10457" y="2492"/>
                    </a:lnTo>
                    <a:lnTo>
                      <a:pt x="10463" y="2489"/>
                    </a:lnTo>
                    <a:lnTo>
                      <a:pt x="10472" y="2485"/>
                    </a:lnTo>
                    <a:lnTo>
                      <a:pt x="10481" y="2482"/>
                    </a:lnTo>
                    <a:lnTo>
                      <a:pt x="10490" y="2475"/>
                    </a:lnTo>
                    <a:lnTo>
                      <a:pt x="10503" y="2470"/>
                    </a:lnTo>
                    <a:lnTo>
                      <a:pt x="10499" y="2470"/>
                    </a:lnTo>
                    <a:lnTo>
                      <a:pt x="10496" y="2470"/>
                    </a:lnTo>
                    <a:lnTo>
                      <a:pt x="10492" y="2472"/>
                    </a:lnTo>
                    <a:lnTo>
                      <a:pt x="10486" y="2474"/>
                    </a:lnTo>
                    <a:lnTo>
                      <a:pt x="10477" y="2477"/>
                    </a:lnTo>
                    <a:lnTo>
                      <a:pt x="10468" y="2482"/>
                    </a:lnTo>
                    <a:lnTo>
                      <a:pt x="10465" y="2483"/>
                    </a:lnTo>
                    <a:lnTo>
                      <a:pt x="10459" y="2485"/>
                    </a:lnTo>
                    <a:lnTo>
                      <a:pt x="10455" y="2485"/>
                    </a:lnTo>
                    <a:lnTo>
                      <a:pt x="10450" y="2483"/>
                    </a:lnTo>
                    <a:lnTo>
                      <a:pt x="10445" y="2482"/>
                    </a:lnTo>
                    <a:lnTo>
                      <a:pt x="10440" y="2479"/>
                    </a:lnTo>
                    <a:lnTo>
                      <a:pt x="10437" y="2475"/>
                    </a:lnTo>
                    <a:lnTo>
                      <a:pt x="10435" y="2470"/>
                    </a:lnTo>
                    <a:lnTo>
                      <a:pt x="10440" y="2469"/>
                    </a:lnTo>
                    <a:lnTo>
                      <a:pt x="10450" y="2467"/>
                    </a:lnTo>
                    <a:lnTo>
                      <a:pt x="10459" y="2464"/>
                    </a:lnTo>
                    <a:lnTo>
                      <a:pt x="10468" y="2461"/>
                    </a:lnTo>
                    <a:lnTo>
                      <a:pt x="10477" y="2457"/>
                    </a:lnTo>
                    <a:lnTo>
                      <a:pt x="10486" y="2455"/>
                    </a:lnTo>
                    <a:lnTo>
                      <a:pt x="10496" y="2452"/>
                    </a:lnTo>
                    <a:lnTo>
                      <a:pt x="10490" y="2452"/>
                    </a:lnTo>
                    <a:lnTo>
                      <a:pt x="10481" y="2455"/>
                    </a:lnTo>
                    <a:lnTo>
                      <a:pt x="10470" y="2457"/>
                    </a:lnTo>
                    <a:lnTo>
                      <a:pt x="10460" y="2461"/>
                    </a:lnTo>
                    <a:lnTo>
                      <a:pt x="10450" y="2464"/>
                    </a:lnTo>
                    <a:lnTo>
                      <a:pt x="10440" y="2467"/>
                    </a:lnTo>
                    <a:lnTo>
                      <a:pt x="10429" y="2469"/>
                    </a:lnTo>
                    <a:lnTo>
                      <a:pt x="10419" y="2470"/>
                    </a:lnTo>
                    <a:lnTo>
                      <a:pt x="10422" y="2461"/>
                    </a:lnTo>
                    <a:lnTo>
                      <a:pt x="10425" y="2452"/>
                    </a:lnTo>
                    <a:lnTo>
                      <a:pt x="10431" y="2446"/>
                    </a:lnTo>
                    <a:lnTo>
                      <a:pt x="10439" y="2439"/>
                    </a:lnTo>
                    <a:lnTo>
                      <a:pt x="10445" y="2434"/>
                    </a:lnTo>
                    <a:lnTo>
                      <a:pt x="10453" y="2429"/>
                    </a:lnTo>
                    <a:lnTo>
                      <a:pt x="10463" y="2428"/>
                    </a:lnTo>
                    <a:lnTo>
                      <a:pt x="10470" y="2424"/>
                    </a:lnTo>
                    <a:lnTo>
                      <a:pt x="10479" y="2422"/>
                    </a:lnTo>
                    <a:lnTo>
                      <a:pt x="10488" y="2421"/>
                    </a:lnTo>
                    <a:lnTo>
                      <a:pt x="10506" y="2418"/>
                    </a:lnTo>
                    <a:lnTo>
                      <a:pt x="10514" y="2418"/>
                    </a:lnTo>
                    <a:lnTo>
                      <a:pt x="10524" y="2418"/>
                    </a:lnTo>
                    <a:lnTo>
                      <a:pt x="10531" y="2418"/>
                    </a:lnTo>
                    <a:lnTo>
                      <a:pt x="10538" y="2418"/>
                    </a:lnTo>
                    <a:lnTo>
                      <a:pt x="10538" y="2411"/>
                    </a:lnTo>
                    <a:lnTo>
                      <a:pt x="10540" y="2406"/>
                    </a:lnTo>
                    <a:lnTo>
                      <a:pt x="10544" y="2400"/>
                    </a:lnTo>
                    <a:lnTo>
                      <a:pt x="10549" y="2395"/>
                    </a:lnTo>
                    <a:lnTo>
                      <a:pt x="10552" y="2391"/>
                    </a:lnTo>
                    <a:lnTo>
                      <a:pt x="10560" y="2385"/>
                    </a:lnTo>
                    <a:lnTo>
                      <a:pt x="10567" y="2381"/>
                    </a:lnTo>
                    <a:lnTo>
                      <a:pt x="10573" y="2376"/>
                    </a:lnTo>
                    <a:lnTo>
                      <a:pt x="10588" y="2368"/>
                    </a:lnTo>
                    <a:lnTo>
                      <a:pt x="10595" y="2365"/>
                    </a:lnTo>
                    <a:lnTo>
                      <a:pt x="10603" y="2362"/>
                    </a:lnTo>
                    <a:lnTo>
                      <a:pt x="10608" y="2360"/>
                    </a:lnTo>
                    <a:lnTo>
                      <a:pt x="10613" y="2355"/>
                    </a:lnTo>
                    <a:lnTo>
                      <a:pt x="10620" y="2352"/>
                    </a:lnTo>
                    <a:lnTo>
                      <a:pt x="10623" y="2350"/>
                    </a:lnTo>
                    <a:lnTo>
                      <a:pt x="10572" y="2375"/>
                    </a:lnTo>
                    <a:lnTo>
                      <a:pt x="10519" y="2401"/>
                    </a:lnTo>
                    <a:lnTo>
                      <a:pt x="10506" y="2406"/>
                    </a:lnTo>
                    <a:lnTo>
                      <a:pt x="10492" y="2411"/>
                    </a:lnTo>
                    <a:lnTo>
                      <a:pt x="10475" y="2413"/>
                    </a:lnTo>
                    <a:lnTo>
                      <a:pt x="10460" y="2415"/>
                    </a:lnTo>
                    <a:lnTo>
                      <a:pt x="10444" y="2416"/>
                    </a:lnTo>
                    <a:lnTo>
                      <a:pt x="10427" y="2416"/>
                    </a:lnTo>
                    <a:lnTo>
                      <a:pt x="10412" y="2418"/>
                    </a:lnTo>
                    <a:lnTo>
                      <a:pt x="10399" y="2418"/>
                    </a:lnTo>
                    <a:lnTo>
                      <a:pt x="10398" y="2416"/>
                    </a:lnTo>
                    <a:lnTo>
                      <a:pt x="10398" y="2415"/>
                    </a:lnTo>
                    <a:lnTo>
                      <a:pt x="10398" y="2413"/>
                    </a:lnTo>
                    <a:lnTo>
                      <a:pt x="10398" y="2411"/>
                    </a:lnTo>
                    <a:lnTo>
                      <a:pt x="10398" y="2409"/>
                    </a:lnTo>
                    <a:lnTo>
                      <a:pt x="10399" y="2408"/>
                    </a:lnTo>
                    <a:lnTo>
                      <a:pt x="10404" y="2401"/>
                    </a:lnTo>
                    <a:lnTo>
                      <a:pt x="10409" y="2398"/>
                    </a:lnTo>
                    <a:lnTo>
                      <a:pt x="10414" y="2393"/>
                    </a:lnTo>
                    <a:lnTo>
                      <a:pt x="10422" y="2388"/>
                    </a:lnTo>
                    <a:lnTo>
                      <a:pt x="10429" y="2383"/>
                    </a:lnTo>
                    <a:lnTo>
                      <a:pt x="10419" y="2383"/>
                    </a:lnTo>
                    <a:lnTo>
                      <a:pt x="10414" y="2387"/>
                    </a:lnTo>
                    <a:lnTo>
                      <a:pt x="10411" y="2388"/>
                    </a:lnTo>
                    <a:lnTo>
                      <a:pt x="10407" y="2388"/>
                    </a:lnTo>
                    <a:lnTo>
                      <a:pt x="10402" y="2391"/>
                    </a:lnTo>
                    <a:lnTo>
                      <a:pt x="10398" y="2391"/>
                    </a:lnTo>
                    <a:lnTo>
                      <a:pt x="10394" y="2391"/>
                    </a:lnTo>
                    <a:lnTo>
                      <a:pt x="10392" y="2388"/>
                    </a:lnTo>
                    <a:lnTo>
                      <a:pt x="10389" y="2387"/>
                    </a:lnTo>
                    <a:lnTo>
                      <a:pt x="10387" y="2385"/>
                    </a:lnTo>
                    <a:lnTo>
                      <a:pt x="10385" y="2383"/>
                    </a:lnTo>
                    <a:lnTo>
                      <a:pt x="10385" y="2381"/>
                    </a:lnTo>
                    <a:lnTo>
                      <a:pt x="10385" y="2378"/>
                    </a:lnTo>
                    <a:lnTo>
                      <a:pt x="10387" y="2376"/>
                    </a:lnTo>
                    <a:lnTo>
                      <a:pt x="10391" y="2372"/>
                    </a:lnTo>
                    <a:lnTo>
                      <a:pt x="10394" y="2368"/>
                    </a:lnTo>
                    <a:lnTo>
                      <a:pt x="10399" y="2367"/>
                    </a:lnTo>
                    <a:lnTo>
                      <a:pt x="10392" y="2367"/>
                    </a:lnTo>
                    <a:lnTo>
                      <a:pt x="10387" y="2368"/>
                    </a:lnTo>
                    <a:lnTo>
                      <a:pt x="10379" y="2372"/>
                    </a:lnTo>
                    <a:lnTo>
                      <a:pt x="10374" y="2375"/>
                    </a:lnTo>
                    <a:lnTo>
                      <a:pt x="10368" y="2378"/>
                    </a:lnTo>
                    <a:lnTo>
                      <a:pt x="10361" y="2381"/>
                    </a:lnTo>
                    <a:lnTo>
                      <a:pt x="10355" y="2383"/>
                    </a:lnTo>
                    <a:lnTo>
                      <a:pt x="10348" y="2383"/>
                    </a:lnTo>
                    <a:lnTo>
                      <a:pt x="10348" y="2378"/>
                    </a:lnTo>
                    <a:lnTo>
                      <a:pt x="10351" y="2372"/>
                    </a:lnTo>
                    <a:lnTo>
                      <a:pt x="10353" y="2368"/>
                    </a:lnTo>
                    <a:lnTo>
                      <a:pt x="10358" y="2367"/>
                    </a:lnTo>
                    <a:lnTo>
                      <a:pt x="10361" y="2363"/>
                    </a:lnTo>
                    <a:lnTo>
                      <a:pt x="10363" y="2360"/>
                    </a:lnTo>
                    <a:lnTo>
                      <a:pt x="10365" y="2355"/>
                    </a:lnTo>
                    <a:lnTo>
                      <a:pt x="10366" y="2350"/>
                    </a:lnTo>
                    <a:lnTo>
                      <a:pt x="10363" y="2352"/>
                    </a:lnTo>
                    <a:lnTo>
                      <a:pt x="10359" y="2354"/>
                    </a:lnTo>
                    <a:lnTo>
                      <a:pt x="10355" y="2354"/>
                    </a:lnTo>
                    <a:lnTo>
                      <a:pt x="10353" y="2354"/>
                    </a:lnTo>
                    <a:lnTo>
                      <a:pt x="10350" y="2352"/>
                    </a:lnTo>
                    <a:lnTo>
                      <a:pt x="10348" y="2350"/>
                    </a:lnTo>
                    <a:lnTo>
                      <a:pt x="10346" y="2348"/>
                    </a:lnTo>
                    <a:lnTo>
                      <a:pt x="10345" y="2345"/>
                    </a:lnTo>
                    <a:lnTo>
                      <a:pt x="10343" y="2341"/>
                    </a:lnTo>
                    <a:lnTo>
                      <a:pt x="10341" y="2337"/>
                    </a:lnTo>
                    <a:lnTo>
                      <a:pt x="10341" y="2334"/>
                    </a:lnTo>
                    <a:lnTo>
                      <a:pt x="10341" y="2330"/>
                    </a:lnTo>
                    <a:lnTo>
                      <a:pt x="10343" y="2326"/>
                    </a:lnTo>
                    <a:lnTo>
                      <a:pt x="10343" y="2321"/>
                    </a:lnTo>
                    <a:lnTo>
                      <a:pt x="10345" y="2317"/>
                    </a:lnTo>
                    <a:lnTo>
                      <a:pt x="10348" y="2315"/>
                    </a:lnTo>
                    <a:lnTo>
                      <a:pt x="10345" y="2315"/>
                    </a:lnTo>
                    <a:lnTo>
                      <a:pt x="10343" y="2315"/>
                    </a:lnTo>
                    <a:lnTo>
                      <a:pt x="10337" y="2315"/>
                    </a:lnTo>
                    <a:lnTo>
                      <a:pt x="10332" y="2315"/>
                    </a:lnTo>
                    <a:lnTo>
                      <a:pt x="10326" y="2315"/>
                    </a:lnTo>
                    <a:lnTo>
                      <a:pt x="10315" y="2315"/>
                    </a:lnTo>
                    <a:lnTo>
                      <a:pt x="10315" y="2317"/>
                    </a:lnTo>
                    <a:lnTo>
                      <a:pt x="10317" y="2321"/>
                    </a:lnTo>
                    <a:lnTo>
                      <a:pt x="10317" y="2324"/>
                    </a:lnTo>
                    <a:lnTo>
                      <a:pt x="10315" y="2327"/>
                    </a:lnTo>
                    <a:lnTo>
                      <a:pt x="10313" y="2330"/>
                    </a:lnTo>
                    <a:lnTo>
                      <a:pt x="10309" y="2330"/>
                    </a:lnTo>
                    <a:lnTo>
                      <a:pt x="10304" y="2330"/>
                    </a:lnTo>
                    <a:lnTo>
                      <a:pt x="10298" y="2330"/>
                    </a:lnTo>
                    <a:lnTo>
                      <a:pt x="10292" y="2330"/>
                    </a:lnTo>
                    <a:lnTo>
                      <a:pt x="10278" y="2327"/>
                    </a:lnTo>
                    <a:lnTo>
                      <a:pt x="10272" y="2326"/>
                    </a:lnTo>
                    <a:lnTo>
                      <a:pt x="10265" y="2326"/>
                    </a:lnTo>
                    <a:lnTo>
                      <a:pt x="10259" y="2326"/>
                    </a:lnTo>
                    <a:lnTo>
                      <a:pt x="10254" y="2327"/>
                    </a:lnTo>
                    <a:lnTo>
                      <a:pt x="10248" y="2330"/>
                    </a:lnTo>
                    <a:lnTo>
                      <a:pt x="10244" y="2332"/>
                    </a:lnTo>
                    <a:lnTo>
                      <a:pt x="10258" y="2332"/>
                    </a:lnTo>
                    <a:lnTo>
                      <a:pt x="10265" y="2334"/>
                    </a:lnTo>
                    <a:lnTo>
                      <a:pt x="10271" y="2334"/>
                    </a:lnTo>
                    <a:lnTo>
                      <a:pt x="10278" y="2335"/>
                    </a:lnTo>
                    <a:lnTo>
                      <a:pt x="10284" y="2339"/>
                    </a:lnTo>
                    <a:lnTo>
                      <a:pt x="10291" y="2342"/>
                    </a:lnTo>
                    <a:lnTo>
                      <a:pt x="10297" y="2350"/>
                    </a:lnTo>
                    <a:lnTo>
                      <a:pt x="10284" y="2350"/>
                    </a:lnTo>
                    <a:lnTo>
                      <a:pt x="10278" y="2350"/>
                    </a:lnTo>
                    <a:lnTo>
                      <a:pt x="10272" y="2350"/>
                    </a:lnTo>
                    <a:lnTo>
                      <a:pt x="10269" y="2350"/>
                    </a:lnTo>
                    <a:lnTo>
                      <a:pt x="10265" y="2350"/>
                    </a:lnTo>
                    <a:lnTo>
                      <a:pt x="10263" y="2350"/>
                    </a:lnTo>
                    <a:lnTo>
                      <a:pt x="10265" y="2352"/>
                    </a:lnTo>
                    <a:lnTo>
                      <a:pt x="10267" y="2354"/>
                    </a:lnTo>
                    <a:lnTo>
                      <a:pt x="10271" y="2355"/>
                    </a:lnTo>
                    <a:lnTo>
                      <a:pt x="10274" y="2362"/>
                    </a:lnTo>
                    <a:lnTo>
                      <a:pt x="10280" y="2367"/>
                    </a:lnTo>
                    <a:lnTo>
                      <a:pt x="10274" y="2368"/>
                    </a:lnTo>
                    <a:lnTo>
                      <a:pt x="10267" y="2368"/>
                    </a:lnTo>
                    <a:lnTo>
                      <a:pt x="10261" y="2368"/>
                    </a:lnTo>
                    <a:lnTo>
                      <a:pt x="10256" y="2368"/>
                    </a:lnTo>
                    <a:lnTo>
                      <a:pt x="10252" y="2367"/>
                    </a:lnTo>
                    <a:lnTo>
                      <a:pt x="10246" y="2363"/>
                    </a:lnTo>
                    <a:lnTo>
                      <a:pt x="10239" y="2357"/>
                    </a:lnTo>
                    <a:lnTo>
                      <a:pt x="10231" y="2352"/>
                    </a:lnTo>
                    <a:lnTo>
                      <a:pt x="10228" y="2348"/>
                    </a:lnTo>
                    <a:lnTo>
                      <a:pt x="10225" y="2347"/>
                    </a:lnTo>
                    <a:lnTo>
                      <a:pt x="10221" y="2347"/>
                    </a:lnTo>
                    <a:lnTo>
                      <a:pt x="10217" y="2347"/>
                    </a:lnTo>
                    <a:lnTo>
                      <a:pt x="10213" y="2347"/>
                    </a:lnTo>
                    <a:lnTo>
                      <a:pt x="10211" y="2350"/>
                    </a:lnTo>
                    <a:lnTo>
                      <a:pt x="10210" y="2355"/>
                    </a:lnTo>
                    <a:lnTo>
                      <a:pt x="10208" y="2360"/>
                    </a:lnTo>
                    <a:lnTo>
                      <a:pt x="10206" y="2363"/>
                    </a:lnTo>
                    <a:lnTo>
                      <a:pt x="10205" y="2367"/>
                    </a:lnTo>
                    <a:lnTo>
                      <a:pt x="10202" y="2368"/>
                    </a:lnTo>
                    <a:lnTo>
                      <a:pt x="10202" y="2370"/>
                    </a:lnTo>
                    <a:lnTo>
                      <a:pt x="10205" y="2372"/>
                    </a:lnTo>
                    <a:lnTo>
                      <a:pt x="10205" y="2376"/>
                    </a:lnTo>
                    <a:lnTo>
                      <a:pt x="10206" y="2378"/>
                    </a:lnTo>
                    <a:lnTo>
                      <a:pt x="10208" y="2380"/>
                    </a:lnTo>
                    <a:lnTo>
                      <a:pt x="10211" y="2383"/>
                    </a:lnTo>
                    <a:lnTo>
                      <a:pt x="10217" y="2388"/>
                    </a:lnTo>
                    <a:lnTo>
                      <a:pt x="10226" y="2395"/>
                    </a:lnTo>
                    <a:lnTo>
                      <a:pt x="10233" y="2398"/>
                    </a:lnTo>
                    <a:lnTo>
                      <a:pt x="10236" y="2400"/>
                    </a:lnTo>
                    <a:lnTo>
                      <a:pt x="10239" y="2400"/>
                    </a:lnTo>
                    <a:lnTo>
                      <a:pt x="10241" y="2401"/>
                    </a:lnTo>
                    <a:lnTo>
                      <a:pt x="10243" y="2403"/>
                    </a:lnTo>
                    <a:lnTo>
                      <a:pt x="10243" y="2406"/>
                    </a:lnTo>
                    <a:lnTo>
                      <a:pt x="10243" y="2408"/>
                    </a:lnTo>
                    <a:lnTo>
                      <a:pt x="10241" y="2409"/>
                    </a:lnTo>
                    <a:lnTo>
                      <a:pt x="10238" y="2413"/>
                    </a:lnTo>
                    <a:lnTo>
                      <a:pt x="10233" y="2415"/>
                    </a:lnTo>
                    <a:lnTo>
                      <a:pt x="10228" y="2418"/>
                    </a:lnTo>
                    <a:lnTo>
                      <a:pt x="10221" y="2424"/>
                    </a:lnTo>
                    <a:lnTo>
                      <a:pt x="10211" y="2428"/>
                    </a:lnTo>
                    <a:lnTo>
                      <a:pt x="10202" y="2431"/>
                    </a:lnTo>
                    <a:lnTo>
                      <a:pt x="10193" y="2433"/>
                    </a:lnTo>
                    <a:lnTo>
                      <a:pt x="10184" y="2434"/>
                    </a:lnTo>
                    <a:lnTo>
                      <a:pt x="10175" y="2434"/>
                    </a:lnTo>
                    <a:lnTo>
                      <a:pt x="10165" y="2434"/>
                    </a:lnTo>
                    <a:lnTo>
                      <a:pt x="10160" y="2434"/>
                    </a:lnTo>
                    <a:lnTo>
                      <a:pt x="10152" y="2434"/>
                    </a:lnTo>
                    <a:lnTo>
                      <a:pt x="10149" y="2433"/>
                    </a:lnTo>
                    <a:lnTo>
                      <a:pt x="10145" y="2431"/>
                    </a:lnTo>
                    <a:lnTo>
                      <a:pt x="10141" y="2429"/>
                    </a:lnTo>
                    <a:lnTo>
                      <a:pt x="10139" y="2428"/>
                    </a:lnTo>
                    <a:lnTo>
                      <a:pt x="10139" y="2424"/>
                    </a:lnTo>
                    <a:lnTo>
                      <a:pt x="10139" y="2421"/>
                    </a:lnTo>
                    <a:lnTo>
                      <a:pt x="10139" y="2418"/>
                    </a:lnTo>
                    <a:lnTo>
                      <a:pt x="10141" y="2415"/>
                    </a:lnTo>
                    <a:lnTo>
                      <a:pt x="10141" y="2411"/>
                    </a:lnTo>
                    <a:lnTo>
                      <a:pt x="10147" y="2406"/>
                    </a:lnTo>
                    <a:lnTo>
                      <a:pt x="10149" y="2403"/>
                    </a:lnTo>
                    <a:lnTo>
                      <a:pt x="10152" y="2401"/>
                    </a:lnTo>
                    <a:lnTo>
                      <a:pt x="10156" y="2401"/>
                    </a:lnTo>
                    <a:lnTo>
                      <a:pt x="10160" y="2401"/>
                    </a:lnTo>
                    <a:lnTo>
                      <a:pt x="10151" y="2398"/>
                    </a:lnTo>
                    <a:lnTo>
                      <a:pt x="10141" y="2395"/>
                    </a:lnTo>
                    <a:lnTo>
                      <a:pt x="10134" y="2393"/>
                    </a:lnTo>
                    <a:lnTo>
                      <a:pt x="10129" y="2391"/>
                    </a:lnTo>
                    <a:lnTo>
                      <a:pt x="10123" y="2388"/>
                    </a:lnTo>
                    <a:lnTo>
                      <a:pt x="10117" y="2387"/>
                    </a:lnTo>
                    <a:lnTo>
                      <a:pt x="10110" y="2385"/>
                    </a:lnTo>
                    <a:lnTo>
                      <a:pt x="10114" y="2388"/>
                    </a:lnTo>
                    <a:lnTo>
                      <a:pt x="10117" y="2395"/>
                    </a:lnTo>
                    <a:lnTo>
                      <a:pt x="10121" y="2396"/>
                    </a:lnTo>
                    <a:lnTo>
                      <a:pt x="10124" y="2398"/>
                    </a:lnTo>
                    <a:lnTo>
                      <a:pt x="10129" y="2400"/>
                    </a:lnTo>
                    <a:lnTo>
                      <a:pt x="10132" y="2400"/>
                    </a:lnTo>
                    <a:lnTo>
                      <a:pt x="10136" y="2401"/>
                    </a:lnTo>
                    <a:lnTo>
                      <a:pt x="10141" y="2401"/>
                    </a:lnTo>
                    <a:lnTo>
                      <a:pt x="10141" y="2406"/>
                    </a:lnTo>
                    <a:lnTo>
                      <a:pt x="10137" y="2411"/>
                    </a:lnTo>
                    <a:lnTo>
                      <a:pt x="10136" y="2413"/>
                    </a:lnTo>
                    <a:lnTo>
                      <a:pt x="10131" y="2413"/>
                    </a:lnTo>
                    <a:lnTo>
                      <a:pt x="10126" y="2413"/>
                    </a:lnTo>
                    <a:lnTo>
                      <a:pt x="10119" y="2411"/>
                    </a:lnTo>
                    <a:lnTo>
                      <a:pt x="10114" y="2406"/>
                    </a:lnTo>
                    <a:lnTo>
                      <a:pt x="10108" y="2401"/>
                    </a:lnTo>
                    <a:lnTo>
                      <a:pt x="10110" y="2403"/>
                    </a:lnTo>
                    <a:lnTo>
                      <a:pt x="10111" y="2408"/>
                    </a:lnTo>
                    <a:lnTo>
                      <a:pt x="10114" y="2411"/>
                    </a:lnTo>
                    <a:lnTo>
                      <a:pt x="10114" y="2413"/>
                    </a:lnTo>
                    <a:lnTo>
                      <a:pt x="10114" y="2416"/>
                    </a:lnTo>
                    <a:lnTo>
                      <a:pt x="10114" y="2418"/>
                    </a:lnTo>
                    <a:lnTo>
                      <a:pt x="10114" y="2422"/>
                    </a:lnTo>
                    <a:lnTo>
                      <a:pt x="10111" y="2424"/>
                    </a:lnTo>
                    <a:lnTo>
                      <a:pt x="10109" y="2428"/>
                    </a:lnTo>
                    <a:lnTo>
                      <a:pt x="10110" y="2429"/>
                    </a:lnTo>
                    <a:lnTo>
                      <a:pt x="10111" y="2431"/>
                    </a:lnTo>
                    <a:lnTo>
                      <a:pt x="10114" y="2433"/>
                    </a:lnTo>
                    <a:lnTo>
                      <a:pt x="10114" y="2434"/>
                    </a:lnTo>
                    <a:lnTo>
                      <a:pt x="10114" y="2437"/>
                    </a:lnTo>
                    <a:lnTo>
                      <a:pt x="10114" y="2439"/>
                    </a:lnTo>
                    <a:lnTo>
                      <a:pt x="10114" y="2442"/>
                    </a:lnTo>
                    <a:lnTo>
                      <a:pt x="10111" y="2446"/>
                    </a:lnTo>
                    <a:lnTo>
                      <a:pt x="10110" y="2448"/>
                    </a:lnTo>
                    <a:lnTo>
                      <a:pt x="10108" y="2452"/>
                    </a:lnTo>
                    <a:lnTo>
                      <a:pt x="10114" y="2452"/>
                    </a:lnTo>
                    <a:lnTo>
                      <a:pt x="10117" y="2452"/>
                    </a:lnTo>
                    <a:lnTo>
                      <a:pt x="10121" y="2452"/>
                    </a:lnTo>
                    <a:lnTo>
                      <a:pt x="10124" y="2452"/>
                    </a:lnTo>
                    <a:lnTo>
                      <a:pt x="10129" y="2452"/>
                    </a:lnTo>
                    <a:lnTo>
                      <a:pt x="10132" y="2452"/>
                    </a:lnTo>
                    <a:lnTo>
                      <a:pt x="10136" y="2452"/>
                    </a:lnTo>
                    <a:lnTo>
                      <a:pt x="10141" y="2452"/>
                    </a:lnTo>
                    <a:lnTo>
                      <a:pt x="10129" y="2464"/>
                    </a:lnTo>
                    <a:lnTo>
                      <a:pt x="10123" y="2470"/>
                    </a:lnTo>
                    <a:lnTo>
                      <a:pt x="10116" y="2475"/>
                    </a:lnTo>
                    <a:lnTo>
                      <a:pt x="10110" y="2482"/>
                    </a:lnTo>
                    <a:lnTo>
                      <a:pt x="10103" y="2483"/>
                    </a:lnTo>
                    <a:lnTo>
                      <a:pt x="10098" y="2487"/>
                    </a:lnTo>
                    <a:lnTo>
                      <a:pt x="10103" y="2485"/>
                    </a:lnTo>
                    <a:lnTo>
                      <a:pt x="10110" y="2483"/>
                    </a:lnTo>
                    <a:lnTo>
                      <a:pt x="10116" y="2482"/>
                    </a:lnTo>
                    <a:lnTo>
                      <a:pt x="10129" y="2477"/>
                    </a:lnTo>
                    <a:lnTo>
                      <a:pt x="10141" y="2472"/>
                    </a:lnTo>
                    <a:lnTo>
                      <a:pt x="10149" y="2469"/>
                    </a:lnTo>
                    <a:lnTo>
                      <a:pt x="10154" y="2467"/>
                    </a:lnTo>
                    <a:lnTo>
                      <a:pt x="10162" y="2467"/>
                    </a:lnTo>
                    <a:lnTo>
                      <a:pt x="10167" y="2464"/>
                    </a:lnTo>
                    <a:lnTo>
                      <a:pt x="10175" y="2464"/>
                    </a:lnTo>
                    <a:lnTo>
                      <a:pt x="10180" y="2464"/>
                    </a:lnTo>
                    <a:lnTo>
                      <a:pt x="10187" y="2467"/>
                    </a:lnTo>
                    <a:lnTo>
                      <a:pt x="10193" y="2470"/>
                    </a:lnTo>
                    <a:lnTo>
                      <a:pt x="10187" y="2475"/>
                    </a:lnTo>
                    <a:lnTo>
                      <a:pt x="10184" y="2479"/>
                    </a:lnTo>
                    <a:lnTo>
                      <a:pt x="10180" y="2483"/>
                    </a:lnTo>
                    <a:lnTo>
                      <a:pt x="10178" y="2487"/>
                    </a:lnTo>
                    <a:lnTo>
                      <a:pt x="10177" y="2490"/>
                    </a:lnTo>
                    <a:lnTo>
                      <a:pt x="10177" y="2494"/>
                    </a:lnTo>
                    <a:lnTo>
                      <a:pt x="10177" y="2498"/>
                    </a:lnTo>
                    <a:lnTo>
                      <a:pt x="10177" y="2503"/>
                    </a:lnTo>
                    <a:lnTo>
                      <a:pt x="10178" y="2503"/>
                    </a:lnTo>
                    <a:lnTo>
                      <a:pt x="10182" y="2503"/>
                    </a:lnTo>
                    <a:lnTo>
                      <a:pt x="10185" y="2503"/>
                    </a:lnTo>
                    <a:lnTo>
                      <a:pt x="10187" y="2503"/>
                    </a:lnTo>
                    <a:lnTo>
                      <a:pt x="10191" y="2503"/>
                    </a:lnTo>
                    <a:lnTo>
                      <a:pt x="10193" y="2503"/>
                    </a:lnTo>
                    <a:lnTo>
                      <a:pt x="10193" y="2507"/>
                    </a:lnTo>
                    <a:lnTo>
                      <a:pt x="10191" y="2508"/>
                    </a:lnTo>
                    <a:lnTo>
                      <a:pt x="10190" y="2510"/>
                    </a:lnTo>
                    <a:lnTo>
                      <a:pt x="10187" y="2510"/>
                    </a:lnTo>
                    <a:lnTo>
                      <a:pt x="10184" y="2513"/>
                    </a:lnTo>
                    <a:lnTo>
                      <a:pt x="10182" y="2513"/>
                    </a:lnTo>
                    <a:lnTo>
                      <a:pt x="10175" y="2513"/>
                    </a:lnTo>
                    <a:lnTo>
                      <a:pt x="10165" y="2513"/>
                    </a:lnTo>
                    <a:lnTo>
                      <a:pt x="10156" y="2513"/>
                    </a:lnTo>
                    <a:lnTo>
                      <a:pt x="10152" y="2515"/>
                    </a:lnTo>
                    <a:lnTo>
                      <a:pt x="10149" y="2516"/>
                    </a:lnTo>
                    <a:lnTo>
                      <a:pt x="10145" y="2518"/>
                    </a:lnTo>
                    <a:lnTo>
                      <a:pt x="10141" y="2522"/>
                    </a:lnTo>
                    <a:lnTo>
                      <a:pt x="10147" y="2518"/>
                    </a:lnTo>
                    <a:lnTo>
                      <a:pt x="10152" y="2516"/>
                    </a:lnTo>
                    <a:lnTo>
                      <a:pt x="10157" y="2516"/>
                    </a:lnTo>
                    <a:lnTo>
                      <a:pt x="10162" y="2516"/>
                    </a:lnTo>
                    <a:lnTo>
                      <a:pt x="10165" y="2518"/>
                    </a:lnTo>
                    <a:lnTo>
                      <a:pt x="10169" y="2518"/>
                    </a:lnTo>
                    <a:lnTo>
                      <a:pt x="10170" y="2520"/>
                    </a:lnTo>
                    <a:lnTo>
                      <a:pt x="10175" y="2523"/>
                    </a:lnTo>
                    <a:lnTo>
                      <a:pt x="10178" y="2529"/>
                    </a:lnTo>
                    <a:lnTo>
                      <a:pt x="10184" y="2533"/>
                    </a:lnTo>
                    <a:lnTo>
                      <a:pt x="10185" y="2535"/>
                    </a:lnTo>
                    <a:lnTo>
                      <a:pt x="10187" y="2536"/>
                    </a:lnTo>
                    <a:lnTo>
                      <a:pt x="10190" y="2538"/>
                    </a:lnTo>
                    <a:lnTo>
                      <a:pt x="10193" y="2538"/>
                    </a:lnTo>
                    <a:lnTo>
                      <a:pt x="10193" y="2544"/>
                    </a:lnTo>
                    <a:lnTo>
                      <a:pt x="10190" y="2548"/>
                    </a:lnTo>
                    <a:lnTo>
                      <a:pt x="10187" y="2551"/>
                    </a:lnTo>
                    <a:lnTo>
                      <a:pt x="10182" y="2553"/>
                    </a:lnTo>
                    <a:lnTo>
                      <a:pt x="10178" y="2555"/>
                    </a:lnTo>
                    <a:lnTo>
                      <a:pt x="10170" y="2555"/>
                    </a:lnTo>
                    <a:lnTo>
                      <a:pt x="10160" y="2555"/>
                    </a:lnTo>
                    <a:lnTo>
                      <a:pt x="10162" y="2559"/>
                    </a:lnTo>
                    <a:lnTo>
                      <a:pt x="10165" y="2561"/>
                    </a:lnTo>
                    <a:lnTo>
                      <a:pt x="10169" y="2562"/>
                    </a:lnTo>
                    <a:lnTo>
                      <a:pt x="10172" y="2562"/>
                    </a:lnTo>
                    <a:lnTo>
                      <a:pt x="10175" y="2562"/>
                    </a:lnTo>
                    <a:lnTo>
                      <a:pt x="10178" y="2562"/>
                    </a:lnTo>
                    <a:lnTo>
                      <a:pt x="10185" y="2562"/>
                    </a:lnTo>
                    <a:lnTo>
                      <a:pt x="10191" y="2561"/>
                    </a:lnTo>
                    <a:lnTo>
                      <a:pt x="10197" y="2556"/>
                    </a:lnTo>
                    <a:lnTo>
                      <a:pt x="10205" y="2555"/>
                    </a:lnTo>
                    <a:lnTo>
                      <a:pt x="10210" y="2555"/>
                    </a:lnTo>
                    <a:lnTo>
                      <a:pt x="10208" y="2559"/>
                    </a:lnTo>
                    <a:lnTo>
                      <a:pt x="10205" y="2561"/>
                    </a:lnTo>
                    <a:lnTo>
                      <a:pt x="10200" y="2564"/>
                    </a:lnTo>
                    <a:lnTo>
                      <a:pt x="10195" y="2568"/>
                    </a:lnTo>
                    <a:lnTo>
                      <a:pt x="10190" y="2569"/>
                    </a:lnTo>
                    <a:lnTo>
                      <a:pt x="10182" y="2571"/>
                    </a:lnTo>
                    <a:lnTo>
                      <a:pt x="10177" y="2574"/>
                    </a:lnTo>
                    <a:lnTo>
                      <a:pt x="10182" y="2574"/>
                    </a:lnTo>
                    <a:lnTo>
                      <a:pt x="10187" y="2574"/>
                    </a:lnTo>
                    <a:lnTo>
                      <a:pt x="10191" y="2574"/>
                    </a:lnTo>
                    <a:lnTo>
                      <a:pt x="10193" y="2574"/>
                    </a:lnTo>
                    <a:lnTo>
                      <a:pt x="10195" y="2574"/>
                    </a:lnTo>
                    <a:lnTo>
                      <a:pt x="10197" y="2574"/>
                    </a:lnTo>
                    <a:lnTo>
                      <a:pt x="10197" y="2576"/>
                    </a:lnTo>
                    <a:lnTo>
                      <a:pt x="10197" y="2577"/>
                    </a:lnTo>
                    <a:lnTo>
                      <a:pt x="10197" y="2579"/>
                    </a:lnTo>
                    <a:lnTo>
                      <a:pt x="10197" y="2581"/>
                    </a:lnTo>
                    <a:lnTo>
                      <a:pt x="10197" y="2584"/>
                    </a:lnTo>
                    <a:lnTo>
                      <a:pt x="10195" y="2586"/>
                    </a:lnTo>
                    <a:lnTo>
                      <a:pt x="10195" y="2590"/>
                    </a:lnTo>
                    <a:lnTo>
                      <a:pt x="10193" y="2596"/>
                    </a:lnTo>
                    <a:lnTo>
                      <a:pt x="10193" y="2599"/>
                    </a:lnTo>
                    <a:lnTo>
                      <a:pt x="10197" y="2594"/>
                    </a:lnTo>
                    <a:lnTo>
                      <a:pt x="10198" y="2589"/>
                    </a:lnTo>
                    <a:lnTo>
                      <a:pt x="10202" y="2582"/>
                    </a:lnTo>
                    <a:lnTo>
                      <a:pt x="10206" y="2579"/>
                    </a:lnTo>
                    <a:lnTo>
                      <a:pt x="10208" y="2576"/>
                    </a:lnTo>
                    <a:lnTo>
                      <a:pt x="10210" y="2574"/>
                    </a:lnTo>
                    <a:lnTo>
                      <a:pt x="10211" y="2574"/>
                    </a:lnTo>
                    <a:lnTo>
                      <a:pt x="10211" y="2576"/>
                    </a:lnTo>
                    <a:lnTo>
                      <a:pt x="10211" y="2577"/>
                    </a:lnTo>
                    <a:lnTo>
                      <a:pt x="10213" y="2581"/>
                    </a:lnTo>
                    <a:lnTo>
                      <a:pt x="10217" y="2582"/>
                    </a:lnTo>
                    <a:lnTo>
                      <a:pt x="10218" y="2584"/>
                    </a:lnTo>
                    <a:lnTo>
                      <a:pt x="10223" y="2584"/>
                    </a:lnTo>
                    <a:lnTo>
                      <a:pt x="10230" y="2586"/>
                    </a:lnTo>
                    <a:lnTo>
                      <a:pt x="10238" y="2589"/>
                    </a:lnTo>
                    <a:lnTo>
                      <a:pt x="10246" y="2589"/>
                    </a:lnTo>
                    <a:lnTo>
                      <a:pt x="10256" y="2590"/>
                    </a:lnTo>
                    <a:lnTo>
                      <a:pt x="10263" y="2590"/>
                    </a:lnTo>
                    <a:lnTo>
                      <a:pt x="10256" y="2596"/>
                    </a:lnTo>
                    <a:lnTo>
                      <a:pt x="10252" y="2599"/>
                    </a:lnTo>
                    <a:lnTo>
                      <a:pt x="10248" y="2603"/>
                    </a:lnTo>
                    <a:lnTo>
                      <a:pt x="10244" y="2607"/>
                    </a:lnTo>
                    <a:lnTo>
                      <a:pt x="10241" y="2610"/>
                    </a:lnTo>
                    <a:lnTo>
                      <a:pt x="10238" y="2614"/>
                    </a:lnTo>
                    <a:lnTo>
                      <a:pt x="10233" y="2618"/>
                    </a:lnTo>
                    <a:lnTo>
                      <a:pt x="10228" y="2625"/>
                    </a:lnTo>
                    <a:lnTo>
                      <a:pt x="10233" y="2623"/>
                    </a:lnTo>
                    <a:lnTo>
                      <a:pt x="10238" y="2622"/>
                    </a:lnTo>
                    <a:lnTo>
                      <a:pt x="10241" y="2620"/>
                    </a:lnTo>
                    <a:lnTo>
                      <a:pt x="10244" y="2616"/>
                    </a:lnTo>
                    <a:lnTo>
                      <a:pt x="10248" y="2612"/>
                    </a:lnTo>
                    <a:lnTo>
                      <a:pt x="10252" y="2610"/>
                    </a:lnTo>
                    <a:lnTo>
                      <a:pt x="10256" y="2607"/>
                    </a:lnTo>
                    <a:lnTo>
                      <a:pt x="10263" y="2607"/>
                    </a:lnTo>
                    <a:lnTo>
                      <a:pt x="10263" y="2609"/>
                    </a:lnTo>
                    <a:lnTo>
                      <a:pt x="10263" y="2610"/>
                    </a:lnTo>
                    <a:lnTo>
                      <a:pt x="10263" y="2614"/>
                    </a:lnTo>
                    <a:lnTo>
                      <a:pt x="10263" y="2618"/>
                    </a:lnTo>
                    <a:lnTo>
                      <a:pt x="10263" y="2625"/>
                    </a:lnTo>
                    <a:lnTo>
                      <a:pt x="10265" y="2623"/>
                    </a:lnTo>
                    <a:lnTo>
                      <a:pt x="10269" y="2623"/>
                    </a:lnTo>
                    <a:lnTo>
                      <a:pt x="10271" y="2622"/>
                    </a:lnTo>
                    <a:lnTo>
                      <a:pt x="10272" y="2620"/>
                    </a:lnTo>
                    <a:lnTo>
                      <a:pt x="10276" y="2614"/>
                    </a:lnTo>
                    <a:lnTo>
                      <a:pt x="10280" y="2607"/>
                    </a:lnTo>
                    <a:lnTo>
                      <a:pt x="10284" y="2601"/>
                    </a:lnTo>
                    <a:lnTo>
                      <a:pt x="10287" y="2594"/>
                    </a:lnTo>
                    <a:lnTo>
                      <a:pt x="10289" y="2592"/>
                    </a:lnTo>
                    <a:lnTo>
                      <a:pt x="10291" y="2590"/>
                    </a:lnTo>
                    <a:lnTo>
                      <a:pt x="10292" y="2590"/>
                    </a:lnTo>
                    <a:lnTo>
                      <a:pt x="10297" y="2590"/>
                    </a:lnTo>
                    <a:lnTo>
                      <a:pt x="10300" y="2590"/>
                    </a:lnTo>
                    <a:lnTo>
                      <a:pt x="10302" y="2590"/>
                    </a:lnTo>
                    <a:lnTo>
                      <a:pt x="10305" y="2590"/>
                    </a:lnTo>
                    <a:lnTo>
                      <a:pt x="10307" y="2592"/>
                    </a:lnTo>
                    <a:lnTo>
                      <a:pt x="10309" y="2594"/>
                    </a:lnTo>
                    <a:lnTo>
                      <a:pt x="10309" y="2597"/>
                    </a:lnTo>
                    <a:lnTo>
                      <a:pt x="10307" y="2601"/>
                    </a:lnTo>
                    <a:lnTo>
                      <a:pt x="10307" y="2603"/>
                    </a:lnTo>
                    <a:lnTo>
                      <a:pt x="10305" y="2607"/>
                    </a:lnTo>
                    <a:lnTo>
                      <a:pt x="10304" y="2610"/>
                    </a:lnTo>
                    <a:lnTo>
                      <a:pt x="10302" y="2614"/>
                    </a:lnTo>
                    <a:lnTo>
                      <a:pt x="10302" y="2616"/>
                    </a:lnTo>
                    <a:lnTo>
                      <a:pt x="10302" y="2620"/>
                    </a:lnTo>
                    <a:lnTo>
                      <a:pt x="10302" y="2622"/>
                    </a:lnTo>
                    <a:lnTo>
                      <a:pt x="10305" y="2623"/>
                    </a:lnTo>
                    <a:lnTo>
                      <a:pt x="10309" y="2623"/>
                    </a:lnTo>
                    <a:lnTo>
                      <a:pt x="10312" y="2623"/>
                    </a:lnTo>
                    <a:lnTo>
                      <a:pt x="10315" y="2625"/>
                    </a:lnTo>
                    <a:lnTo>
                      <a:pt x="10307" y="2630"/>
                    </a:lnTo>
                    <a:lnTo>
                      <a:pt x="10302" y="2635"/>
                    </a:lnTo>
                    <a:lnTo>
                      <a:pt x="10294" y="2638"/>
                    </a:lnTo>
                    <a:lnTo>
                      <a:pt x="10291" y="2642"/>
                    </a:lnTo>
                    <a:lnTo>
                      <a:pt x="10285" y="2643"/>
                    </a:lnTo>
                    <a:lnTo>
                      <a:pt x="10284" y="2647"/>
                    </a:lnTo>
                    <a:lnTo>
                      <a:pt x="10280" y="2653"/>
                    </a:lnTo>
                    <a:lnTo>
                      <a:pt x="10280" y="2658"/>
                    </a:lnTo>
                    <a:lnTo>
                      <a:pt x="10284" y="2658"/>
                    </a:lnTo>
                    <a:lnTo>
                      <a:pt x="10286" y="2658"/>
                    </a:lnTo>
                    <a:lnTo>
                      <a:pt x="10287" y="2656"/>
                    </a:lnTo>
                    <a:lnTo>
                      <a:pt x="10294" y="2650"/>
                    </a:lnTo>
                    <a:lnTo>
                      <a:pt x="10305" y="2640"/>
                    </a:lnTo>
                    <a:lnTo>
                      <a:pt x="10315" y="2633"/>
                    </a:lnTo>
                    <a:lnTo>
                      <a:pt x="10320" y="2629"/>
                    </a:lnTo>
                    <a:lnTo>
                      <a:pt x="10324" y="2627"/>
                    </a:lnTo>
                    <a:lnTo>
                      <a:pt x="10330" y="2625"/>
                    </a:lnTo>
                    <a:lnTo>
                      <a:pt x="10335" y="2623"/>
                    </a:lnTo>
                    <a:lnTo>
                      <a:pt x="10338" y="2623"/>
                    </a:lnTo>
                    <a:lnTo>
                      <a:pt x="10343" y="2623"/>
                    </a:lnTo>
                    <a:lnTo>
                      <a:pt x="10348" y="2625"/>
                    </a:lnTo>
                    <a:lnTo>
                      <a:pt x="10351" y="2629"/>
                    </a:lnTo>
                    <a:lnTo>
                      <a:pt x="10345" y="2635"/>
                    </a:lnTo>
                    <a:lnTo>
                      <a:pt x="10337" y="2638"/>
                    </a:lnTo>
                    <a:lnTo>
                      <a:pt x="10330" y="2643"/>
                    </a:lnTo>
                    <a:lnTo>
                      <a:pt x="10322" y="2647"/>
                    </a:lnTo>
                    <a:lnTo>
                      <a:pt x="10313" y="2650"/>
                    </a:lnTo>
                    <a:lnTo>
                      <a:pt x="10302" y="2655"/>
                    </a:lnTo>
                    <a:lnTo>
                      <a:pt x="10297" y="2656"/>
                    </a:lnTo>
                    <a:lnTo>
                      <a:pt x="10307" y="2655"/>
                    </a:lnTo>
                    <a:lnTo>
                      <a:pt x="10312" y="2653"/>
                    </a:lnTo>
                    <a:lnTo>
                      <a:pt x="10317" y="2651"/>
                    </a:lnTo>
                    <a:lnTo>
                      <a:pt x="10320" y="2651"/>
                    </a:lnTo>
                    <a:lnTo>
                      <a:pt x="10322" y="2651"/>
                    </a:lnTo>
                    <a:lnTo>
                      <a:pt x="10324" y="2651"/>
                    </a:lnTo>
                    <a:lnTo>
                      <a:pt x="10322" y="2653"/>
                    </a:lnTo>
                    <a:lnTo>
                      <a:pt x="10318" y="2655"/>
                    </a:lnTo>
                    <a:lnTo>
                      <a:pt x="10317" y="2656"/>
                    </a:lnTo>
                    <a:lnTo>
                      <a:pt x="10315" y="2658"/>
                    </a:lnTo>
                    <a:lnTo>
                      <a:pt x="10317" y="2658"/>
                    </a:lnTo>
                    <a:lnTo>
                      <a:pt x="10320" y="2658"/>
                    </a:lnTo>
                    <a:lnTo>
                      <a:pt x="10324" y="2658"/>
                    </a:lnTo>
                    <a:lnTo>
                      <a:pt x="10330" y="2658"/>
                    </a:lnTo>
                    <a:lnTo>
                      <a:pt x="10335" y="2658"/>
                    </a:lnTo>
                    <a:lnTo>
                      <a:pt x="10348" y="2658"/>
                    </a:lnTo>
                    <a:lnTo>
                      <a:pt x="10348" y="2664"/>
                    </a:lnTo>
                    <a:lnTo>
                      <a:pt x="10345" y="2668"/>
                    </a:lnTo>
                    <a:lnTo>
                      <a:pt x="10343" y="2671"/>
                    </a:lnTo>
                    <a:lnTo>
                      <a:pt x="10337" y="2675"/>
                    </a:lnTo>
                    <a:lnTo>
                      <a:pt x="10332" y="2679"/>
                    </a:lnTo>
                    <a:lnTo>
                      <a:pt x="10326" y="2683"/>
                    </a:lnTo>
                    <a:lnTo>
                      <a:pt x="10320" y="2686"/>
                    </a:lnTo>
                    <a:lnTo>
                      <a:pt x="10315" y="2694"/>
                    </a:lnTo>
                    <a:lnTo>
                      <a:pt x="10307" y="2691"/>
                    </a:lnTo>
                    <a:lnTo>
                      <a:pt x="10304" y="2689"/>
                    </a:lnTo>
                    <a:lnTo>
                      <a:pt x="10300" y="2688"/>
                    </a:lnTo>
                    <a:lnTo>
                      <a:pt x="10297" y="2686"/>
                    </a:lnTo>
                    <a:lnTo>
                      <a:pt x="10292" y="2684"/>
                    </a:lnTo>
                    <a:lnTo>
                      <a:pt x="10291" y="2684"/>
                    </a:lnTo>
                    <a:lnTo>
                      <a:pt x="10289" y="2686"/>
                    </a:lnTo>
                    <a:lnTo>
                      <a:pt x="10287" y="2686"/>
                    </a:lnTo>
                    <a:lnTo>
                      <a:pt x="10285" y="2688"/>
                    </a:lnTo>
                    <a:lnTo>
                      <a:pt x="10284" y="2689"/>
                    </a:lnTo>
                    <a:lnTo>
                      <a:pt x="10280" y="2694"/>
                    </a:lnTo>
                    <a:lnTo>
                      <a:pt x="10285" y="2694"/>
                    </a:lnTo>
                    <a:lnTo>
                      <a:pt x="10291" y="2696"/>
                    </a:lnTo>
                    <a:lnTo>
                      <a:pt x="10297" y="2699"/>
                    </a:lnTo>
                    <a:lnTo>
                      <a:pt x="10298" y="2699"/>
                    </a:lnTo>
                    <a:lnTo>
                      <a:pt x="10298" y="2701"/>
                    </a:lnTo>
                    <a:lnTo>
                      <a:pt x="10300" y="2703"/>
                    </a:lnTo>
                    <a:lnTo>
                      <a:pt x="10300" y="2704"/>
                    </a:lnTo>
                    <a:lnTo>
                      <a:pt x="10298" y="2706"/>
                    </a:lnTo>
                    <a:lnTo>
                      <a:pt x="10297" y="2709"/>
                    </a:lnTo>
                    <a:lnTo>
                      <a:pt x="10294" y="2709"/>
                    </a:lnTo>
                    <a:lnTo>
                      <a:pt x="10291" y="2710"/>
                    </a:lnTo>
                    <a:lnTo>
                      <a:pt x="10285" y="2710"/>
                    </a:lnTo>
                    <a:lnTo>
                      <a:pt x="10292" y="2712"/>
                    </a:lnTo>
                    <a:lnTo>
                      <a:pt x="10297" y="2716"/>
                    </a:lnTo>
                    <a:lnTo>
                      <a:pt x="10300" y="2719"/>
                    </a:lnTo>
                    <a:lnTo>
                      <a:pt x="10302" y="2719"/>
                    </a:lnTo>
                    <a:lnTo>
                      <a:pt x="10304" y="2721"/>
                    </a:lnTo>
                    <a:lnTo>
                      <a:pt x="10304" y="2724"/>
                    </a:lnTo>
                    <a:lnTo>
                      <a:pt x="10304" y="2725"/>
                    </a:lnTo>
                    <a:lnTo>
                      <a:pt x="10302" y="2725"/>
                    </a:lnTo>
                    <a:lnTo>
                      <a:pt x="10302" y="2727"/>
                    </a:lnTo>
                    <a:lnTo>
                      <a:pt x="10309" y="2727"/>
                    </a:lnTo>
                    <a:lnTo>
                      <a:pt x="10317" y="2729"/>
                    </a:lnTo>
                    <a:lnTo>
                      <a:pt x="10322" y="2729"/>
                    </a:lnTo>
                    <a:lnTo>
                      <a:pt x="10328" y="2730"/>
                    </a:lnTo>
                    <a:lnTo>
                      <a:pt x="10335" y="2734"/>
                    </a:lnTo>
                    <a:lnTo>
                      <a:pt x="10341" y="2737"/>
                    </a:lnTo>
                    <a:lnTo>
                      <a:pt x="10348" y="2745"/>
                    </a:lnTo>
                    <a:lnTo>
                      <a:pt x="10335" y="2745"/>
                    </a:lnTo>
                    <a:lnTo>
                      <a:pt x="10330" y="2745"/>
                    </a:lnTo>
                    <a:lnTo>
                      <a:pt x="10324" y="2747"/>
                    </a:lnTo>
                    <a:lnTo>
                      <a:pt x="10320" y="2749"/>
                    </a:lnTo>
                    <a:lnTo>
                      <a:pt x="10317" y="2752"/>
                    </a:lnTo>
                    <a:lnTo>
                      <a:pt x="10315" y="2757"/>
                    </a:lnTo>
                    <a:lnTo>
                      <a:pt x="10315" y="2762"/>
                    </a:lnTo>
                    <a:lnTo>
                      <a:pt x="10317" y="2762"/>
                    </a:lnTo>
                    <a:lnTo>
                      <a:pt x="10318" y="2760"/>
                    </a:lnTo>
                    <a:lnTo>
                      <a:pt x="10322" y="2760"/>
                    </a:lnTo>
                    <a:lnTo>
                      <a:pt x="10326" y="2758"/>
                    </a:lnTo>
                    <a:lnTo>
                      <a:pt x="10330" y="2758"/>
                    </a:lnTo>
                    <a:lnTo>
                      <a:pt x="10341" y="2755"/>
                    </a:lnTo>
                    <a:lnTo>
                      <a:pt x="10350" y="2755"/>
                    </a:lnTo>
                    <a:lnTo>
                      <a:pt x="10353" y="2755"/>
                    </a:lnTo>
                    <a:lnTo>
                      <a:pt x="10358" y="2755"/>
                    </a:lnTo>
                    <a:lnTo>
                      <a:pt x="10361" y="2755"/>
                    </a:lnTo>
                    <a:lnTo>
                      <a:pt x="10363" y="2757"/>
                    </a:lnTo>
                    <a:lnTo>
                      <a:pt x="10365" y="2758"/>
                    </a:lnTo>
                    <a:lnTo>
                      <a:pt x="10366" y="2762"/>
                    </a:lnTo>
                    <a:lnTo>
                      <a:pt x="10365" y="2762"/>
                    </a:lnTo>
                    <a:lnTo>
                      <a:pt x="10363" y="2763"/>
                    </a:lnTo>
                    <a:lnTo>
                      <a:pt x="10361" y="2767"/>
                    </a:lnTo>
                    <a:lnTo>
                      <a:pt x="10359" y="2770"/>
                    </a:lnTo>
                    <a:lnTo>
                      <a:pt x="10358" y="2773"/>
                    </a:lnTo>
                    <a:lnTo>
                      <a:pt x="10355" y="2775"/>
                    </a:lnTo>
                    <a:lnTo>
                      <a:pt x="10353" y="2778"/>
                    </a:lnTo>
                    <a:lnTo>
                      <a:pt x="10351" y="2782"/>
                    </a:lnTo>
                    <a:lnTo>
                      <a:pt x="10358" y="2788"/>
                    </a:lnTo>
                    <a:lnTo>
                      <a:pt x="10358" y="2788"/>
                    </a:lnTo>
                    <a:lnTo>
                      <a:pt x="10359" y="2790"/>
                    </a:lnTo>
                    <a:lnTo>
                      <a:pt x="10363" y="2793"/>
                    </a:lnTo>
                    <a:lnTo>
                      <a:pt x="10363" y="2793"/>
                    </a:lnTo>
                    <a:lnTo>
                      <a:pt x="10370" y="2801"/>
                    </a:lnTo>
                    <a:lnTo>
                      <a:pt x="10368" y="2798"/>
                    </a:lnTo>
                    <a:lnTo>
                      <a:pt x="10366" y="2797"/>
                    </a:lnTo>
                    <a:lnTo>
                      <a:pt x="10353" y="2790"/>
                    </a:lnTo>
                    <a:lnTo>
                      <a:pt x="10351" y="2787"/>
                    </a:lnTo>
                    <a:lnTo>
                      <a:pt x="10348" y="2786"/>
                    </a:lnTo>
                    <a:lnTo>
                      <a:pt x="10343" y="2782"/>
                    </a:lnTo>
                    <a:lnTo>
                      <a:pt x="10335" y="2778"/>
                    </a:lnTo>
                    <a:lnTo>
                      <a:pt x="10328" y="2775"/>
                    </a:lnTo>
                    <a:lnTo>
                      <a:pt x="10320" y="2771"/>
                    </a:lnTo>
                    <a:lnTo>
                      <a:pt x="10316" y="2764"/>
                    </a:lnTo>
                    <a:lnTo>
                      <a:pt x="10315" y="2765"/>
                    </a:lnTo>
                    <a:lnTo>
                      <a:pt x="10315" y="2770"/>
                    </a:lnTo>
                    <a:lnTo>
                      <a:pt x="10315" y="2773"/>
                    </a:lnTo>
                    <a:lnTo>
                      <a:pt x="10315" y="2778"/>
                    </a:lnTo>
                    <a:lnTo>
                      <a:pt x="10317" y="2778"/>
                    </a:lnTo>
                    <a:lnTo>
                      <a:pt x="10318" y="2778"/>
                    </a:lnTo>
                    <a:lnTo>
                      <a:pt x="10322" y="2778"/>
                    </a:lnTo>
                    <a:lnTo>
                      <a:pt x="10326" y="2778"/>
                    </a:lnTo>
                    <a:lnTo>
                      <a:pt x="10328" y="2778"/>
                    </a:lnTo>
                    <a:lnTo>
                      <a:pt x="10330" y="2778"/>
                    </a:lnTo>
                    <a:lnTo>
                      <a:pt x="10332" y="2778"/>
                    </a:lnTo>
                    <a:lnTo>
                      <a:pt x="10332" y="2782"/>
                    </a:lnTo>
                    <a:lnTo>
                      <a:pt x="10330" y="2786"/>
                    </a:lnTo>
                    <a:lnTo>
                      <a:pt x="10330" y="2791"/>
                    </a:lnTo>
                    <a:lnTo>
                      <a:pt x="10330" y="2797"/>
                    </a:lnTo>
                    <a:lnTo>
                      <a:pt x="10330" y="2808"/>
                    </a:lnTo>
                    <a:lnTo>
                      <a:pt x="10326" y="2817"/>
                    </a:lnTo>
                    <a:lnTo>
                      <a:pt x="10324" y="2823"/>
                    </a:lnTo>
                    <a:lnTo>
                      <a:pt x="10322" y="2826"/>
                    </a:lnTo>
                    <a:lnTo>
                      <a:pt x="10320" y="2831"/>
                    </a:lnTo>
                    <a:lnTo>
                      <a:pt x="10317" y="2832"/>
                    </a:lnTo>
                    <a:lnTo>
                      <a:pt x="10313" y="2834"/>
                    </a:lnTo>
                    <a:lnTo>
                      <a:pt x="10307" y="2834"/>
                    </a:lnTo>
                    <a:lnTo>
                      <a:pt x="10302" y="2832"/>
                    </a:lnTo>
                    <a:lnTo>
                      <a:pt x="10297" y="2831"/>
                    </a:lnTo>
                    <a:lnTo>
                      <a:pt x="10300" y="2834"/>
                    </a:lnTo>
                    <a:lnTo>
                      <a:pt x="10302" y="2837"/>
                    </a:lnTo>
                    <a:lnTo>
                      <a:pt x="10302" y="2839"/>
                    </a:lnTo>
                    <a:lnTo>
                      <a:pt x="10304" y="2843"/>
                    </a:lnTo>
                    <a:lnTo>
                      <a:pt x="10304" y="2844"/>
                    </a:lnTo>
                    <a:lnTo>
                      <a:pt x="10304" y="2849"/>
                    </a:lnTo>
                    <a:lnTo>
                      <a:pt x="10302" y="2851"/>
                    </a:lnTo>
                    <a:lnTo>
                      <a:pt x="10300" y="2852"/>
                    </a:lnTo>
                    <a:lnTo>
                      <a:pt x="10298" y="2852"/>
                    </a:lnTo>
                    <a:lnTo>
                      <a:pt x="10297" y="2854"/>
                    </a:lnTo>
                    <a:lnTo>
                      <a:pt x="10294" y="2854"/>
                    </a:lnTo>
                    <a:lnTo>
                      <a:pt x="10292" y="2854"/>
                    </a:lnTo>
                    <a:lnTo>
                      <a:pt x="10289" y="2854"/>
                    </a:lnTo>
                    <a:lnTo>
                      <a:pt x="10285" y="2852"/>
                    </a:lnTo>
                    <a:lnTo>
                      <a:pt x="10284" y="2851"/>
                    </a:lnTo>
                    <a:lnTo>
                      <a:pt x="10280" y="2849"/>
                    </a:lnTo>
                    <a:lnTo>
                      <a:pt x="10280" y="2847"/>
                    </a:lnTo>
                    <a:lnTo>
                      <a:pt x="10280" y="2844"/>
                    </a:lnTo>
                    <a:lnTo>
                      <a:pt x="10280" y="2841"/>
                    </a:lnTo>
                    <a:lnTo>
                      <a:pt x="10280" y="2837"/>
                    </a:lnTo>
                    <a:lnTo>
                      <a:pt x="10280" y="2836"/>
                    </a:lnTo>
                    <a:lnTo>
                      <a:pt x="10263" y="2821"/>
                    </a:lnTo>
                    <a:lnTo>
                      <a:pt x="10263" y="2821"/>
                    </a:lnTo>
                    <a:lnTo>
                      <a:pt x="10259" y="2824"/>
                    </a:lnTo>
                    <a:lnTo>
                      <a:pt x="10256" y="2828"/>
                    </a:lnTo>
                    <a:lnTo>
                      <a:pt x="10251" y="2831"/>
                    </a:lnTo>
                    <a:lnTo>
                      <a:pt x="10244" y="2831"/>
                    </a:lnTo>
                    <a:lnTo>
                      <a:pt x="10246" y="2832"/>
                    </a:lnTo>
                    <a:lnTo>
                      <a:pt x="10248" y="2834"/>
                    </a:lnTo>
                    <a:lnTo>
                      <a:pt x="10252" y="2837"/>
                    </a:lnTo>
                    <a:lnTo>
                      <a:pt x="10256" y="2841"/>
                    </a:lnTo>
                    <a:lnTo>
                      <a:pt x="10263" y="2849"/>
                    </a:lnTo>
                    <a:lnTo>
                      <a:pt x="10256" y="2849"/>
                    </a:lnTo>
                    <a:lnTo>
                      <a:pt x="10252" y="2851"/>
                    </a:lnTo>
                    <a:lnTo>
                      <a:pt x="10248" y="2852"/>
                    </a:lnTo>
                    <a:lnTo>
                      <a:pt x="10244" y="2856"/>
                    </a:lnTo>
                    <a:lnTo>
                      <a:pt x="10241" y="2859"/>
                    </a:lnTo>
                    <a:lnTo>
                      <a:pt x="10238" y="2862"/>
                    </a:lnTo>
                    <a:lnTo>
                      <a:pt x="10233" y="2864"/>
                    </a:lnTo>
                    <a:lnTo>
                      <a:pt x="10228" y="2865"/>
                    </a:lnTo>
                    <a:lnTo>
                      <a:pt x="10228" y="2867"/>
                    </a:lnTo>
                    <a:lnTo>
                      <a:pt x="10228" y="2869"/>
                    </a:lnTo>
                    <a:lnTo>
                      <a:pt x="10230" y="2871"/>
                    </a:lnTo>
                    <a:lnTo>
                      <a:pt x="10231" y="2872"/>
                    </a:lnTo>
                    <a:lnTo>
                      <a:pt x="10233" y="2872"/>
                    </a:lnTo>
                    <a:lnTo>
                      <a:pt x="10236" y="2872"/>
                    </a:lnTo>
                    <a:lnTo>
                      <a:pt x="10238" y="2871"/>
                    </a:lnTo>
                    <a:lnTo>
                      <a:pt x="10239" y="2869"/>
                    </a:lnTo>
                    <a:lnTo>
                      <a:pt x="10241" y="2867"/>
                    </a:lnTo>
                    <a:lnTo>
                      <a:pt x="10244" y="2865"/>
                    </a:lnTo>
                    <a:lnTo>
                      <a:pt x="10244" y="2871"/>
                    </a:lnTo>
                    <a:lnTo>
                      <a:pt x="10246" y="2880"/>
                    </a:lnTo>
                    <a:lnTo>
                      <a:pt x="10248" y="2889"/>
                    </a:lnTo>
                    <a:lnTo>
                      <a:pt x="10248" y="2897"/>
                    </a:lnTo>
                    <a:lnTo>
                      <a:pt x="10248" y="2900"/>
                    </a:lnTo>
                    <a:lnTo>
                      <a:pt x="10248" y="2904"/>
                    </a:lnTo>
                    <a:lnTo>
                      <a:pt x="10246" y="2908"/>
                    </a:lnTo>
                    <a:lnTo>
                      <a:pt x="10244" y="2910"/>
                    </a:lnTo>
                    <a:lnTo>
                      <a:pt x="10243" y="2913"/>
                    </a:lnTo>
                    <a:lnTo>
                      <a:pt x="10239" y="2915"/>
                    </a:lnTo>
                    <a:lnTo>
                      <a:pt x="10233" y="2915"/>
                    </a:lnTo>
                    <a:lnTo>
                      <a:pt x="10228" y="2917"/>
                    </a:lnTo>
                    <a:lnTo>
                      <a:pt x="10225" y="2918"/>
                    </a:lnTo>
                    <a:lnTo>
                      <a:pt x="10221" y="2920"/>
                    </a:lnTo>
                    <a:lnTo>
                      <a:pt x="10218" y="2920"/>
                    </a:lnTo>
                    <a:lnTo>
                      <a:pt x="10215" y="2920"/>
                    </a:lnTo>
                    <a:lnTo>
                      <a:pt x="10211" y="2920"/>
                    </a:lnTo>
                    <a:lnTo>
                      <a:pt x="10208" y="2918"/>
                    </a:lnTo>
                    <a:lnTo>
                      <a:pt x="10202" y="2915"/>
                    </a:lnTo>
                    <a:lnTo>
                      <a:pt x="10195" y="2910"/>
                    </a:lnTo>
                    <a:lnTo>
                      <a:pt x="10190" y="2904"/>
                    </a:lnTo>
                    <a:lnTo>
                      <a:pt x="10185" y="2902"/>
                    </a:lnTo>
                    <a:lnTo>
                      <a:pt x="10182" y="2900"/>
                    </a:lnTo>
                    <a:lnTo>
                      <a:pt x="10180" y="2900"/>
                    </a:lnTo>
                    <a:lnTo>
                      <a:pt x="10177" y="2900"/>
                    </a:lnTo>
                    <a:lnTo>
                      <a:pt x="10177" y="2902"/>
                    </a:lnTo>
                    <a:lnTo>
                      <a:pt x="10178" y="2908"/>
                    </a:lnTo>
                    <a:lnTo>
                      <a:pt x="10180" y="2911"/>
                    </a:lnTo>
                    <a:lnTo>
                      <a:pt x="10182" y="2917"/>
                    </a:lnTo>
                    <a:lnTo>
                      <a:pt x="10185" y="2928"/>
                    </a:lnTo>
                    <a:lnTo>
                      <a:pt x="10190" y="2939"/>
                    </a:lnTo>
                    <a:lnTo>
                      <a:pt x="10191" y="2944"/>
                    </a:lnTo>
                    <a:lnTo>
                      <a:pt x="10191" y="2950"/>
                    </a:lnTo>
                    <a:lnTo>
                      <a:pt x="10191" y="2956"/>
                    </a:lnTo>
                    <a:lnTo>
                      <a:pt x="10191" y="2959"/>
                    </a:lnTo>
                    <a:lnTo>
                      <a:pt x="10190" y="2963"/>
                    </a:lnTo>
                    <a:lnTo>
                      <a:pt x="10185" y="2964"/>
                    </a:lnTo>
                    <a:lnTo>
                      <a:pt x="10182" y="2967"/>
                    </a:lnTo>
                    <a:lnTo>
                      <a:pt x="10177" y="2969"/>
                    </a:lnTo>
                    <a:lnTo>
                      <a:pt x="10172" y="2969"/>
                    </a:lnTo>
                    <a:lnTo>
                      <a:pt x="10167" y="2971"/>
                    </a:lnTo>
                    <a:lnTo>
                      <a:pt x="10165" y="2971"/>
                    </a:lnTo>
                    <a:lnTo>
                      <a:pt x="10162" y="2971"/>
                    </a:lnTo>
                    <a:lnTo>
                      <a:pt x="10160" y="2971"/>
                    </a:lnTo>
                    <a:lnTo>
                      <a:pt x="10157" y="2969"/>
                    </a:lnTo>
                    <a:lnTo>
                      <a:pt x="10154" y="2967"/>
                    </a:lnTo>
                    <a:lnTo>
                      <a:pt x="10154" y="2963"/>
                    </a:lnTo>
                    <a:lnTo>
                      <a:pt x="10154" y="2959"/>
                    </a:lnTo>
                    <a:lnTo>
                      <a:pt x="10154" y="2954"/>
                    </a:lnTo>
                    <a:lnTo>
                      <a:pt x="10157" y="2948"/>
                    </a:lnTo>
                    <a:lnTo>
                      <a:pt x="10160" y="2943"/>
                    </a:lnTo>
                    <a:lnTo>
                      <a:pt x="10164" y="2938"/>
                    </a:lnTo>
                    <a:lnTo>
                      <a:pt x="10165" y="2931"/>
                    </a:lnTo>
                    <a:lnTo>
                      <a:pt x="10169" y="2926"/>
                    </a:lnTo>
                    <a:lnTo>
                      <a:pt x="10172" y="2923"/>
                    </a:lnTo>
                    <a:lnTo>
                      <a:pt x="10175" y="2918"/>
                    </a:lnTo>
                    <a:lnTo>
                      <a:pt x="10177" y="2917"/>
                    </a:lnTo>
                    <a:lnTo>
                      <a:pt x="10164" y="2923"/>
                    </a:lnTo>
                    <a:lnTo>
                      <a:pt x="10157" y="2925"/>
                    </a:lnTo>
                    <a:lnTo>
                      <a:pt x="10151" y="2926"/>
                    </a:lnTo>
                    <a:lnTo>
                      <a:pt x="10145" y="2926"/>
                    </a:lnTo>
                    <a:lnTo>
                      <a:pt x="10139" y="2928"/>
                    </a:lnTo>
                    <a:lnTo>
                      <a:pt x="10136" y="2928"/>
                    </a:lnTo>
                    <a:lnTo>
                      <a:pt x="10131" y="2928"/>
                    </a:lnTo>
                    <a:lnTo>
                      <a:pt x="10126" y="2926"/>
                    </a:lnTo>
                    <a:lnTo>
                      <a:pt x="10124" y="2925"/>
                    </a:lnTo>
                    <a:lnTo>
                      <a:pt x="10121" y="2923"/>
                    </a:lnTo>
                    <a:lnTo>
                      <a:pt x="10121" y="2918"/>
                    </a:lnTo>
                    <a:lnTo>
                      <a:pt x="10119" y="2915"/>
                    </a:lnTo>
                    <a:lnTo>
                      <a:pt x="10121" y="2911"/>
                    </a:lnTo>
                    <a:lnTo>
                      <a:pt x="10123" y="2905"/>
                    </a:lnTo>
                    <a:lnTo>
                      <a:pt x="10124" y="2900"/>
                    </a:lnTo>
                    <a:lnTo>
                      <a:pt x="10121" y="2902"/>
                    </a:lnTo>
                    <a:lnTo>
                      <a:pt x="10119" y="2904"/>
                    </a:lnTo>
                    <a:lnTo>
                      <a:pt x="10114" y="2908"/>
                    </a:lnTo>
                    <a:lnTo>
                      <a:pt x="10108" y="2911"/>
                    </a:lnTo>
                    <a:lnTo>
                      <a:pt x="10103" y="2913"/>
                    </a:lnTo>
                    <a:lnTo>
                      <a:pt x="10098" y="2915"/>
                    </a:lnTo>
                    <a:lnTo>
                      <a:pt x="10091" y="2917"/>
                    </a:lnTo>
                    <a:lnTo>
                      <a:pt x="10091" y="2915"/>
                    </a:lnTo>
                    <a:lnTo>
                      <a:pt x="10093" y="2913"/>
                    </a:lnTo>
                    <a:lnTo>
                      <a:pt x="10095" y="2911"/>
                    </a:lnTo>
                    <a:lnTo>
                      <a:pt x="10098" y="2910"/>
                    </a:lnTo>
                    <a:lnTo>
                      <a:pt x="10103" y="2904"/>
                    </a:lnTo>
                    <a:lnTo>
                      <a:pt x="10108" y="2900"/>
                    </a:lnTo>
                    <a:lnTo>
                      <a:pt x="10104" y="2902"/>
                    </a:lnTo>
                    <a:lnTo>
                      <a:pt x="10101" y="2904"/>
                    </a:lnTo>
                    <a:lnTo>
                      <a:pt x="10098" y="2905"/>
                    </a:lnTo>
                    <a:lnTo>
                      <a:pt x="10095" y="2905"/>
                    </a:lnTo>
                    <a:lnTo>
                      <a:pt x="10091" y="2905"/>
                    </a:lnTo>
                    <a:lnTo>
                      <a:pt x="10090" y="2905"/>
                    </a:lnTo>
                    <a:lnTo>
                      <a:pt x="10086" y="2904"/>
                    </a:lnTo>
                    <a:lnTo>
                      <a:pt x="10084" y="2904"/>
                    </a:lnTo>
                    <a:lnTo>
                      <a:pt x="10080" y="2900"/>
                    </a:lnTo>
                    <a:lnTo>
                      <a:pt x="10077" y="2895"/>
                    </a:lnTo>
                    <a:lnTo>
                      <a:pt x="10073" y="2889"/>
                    </a:lnTo>
                    <a:lnTo>
                      <a:pt x="10073" y="2893"/>
                    </a:lnTo>
                    <a:lnTo>
                      <a:pt x="10073" y="2897"/>
                    </a:lnTo>
                    <a:lnTo>
                      <a:pt x="10073" y="2898"/>
                    </a:lnTo>
                    <a:lnTo>
                      <a:pt x="10073" y="2902"/>
                    </a:lnTo>
                    <a:lnTo>
                      <a:pt x="10073" y="2905"/>
                    </a:lnTo>
                    <a:lnTo>
                      <a:pt x="10073" y="2911"/>
                    </a:lnTo>
                    <a:lnTo>
                      <a:pt x="10073" y="2917"/>
                    </a:lnTo>
                    <a:lnTo>
                      <a:pt x="10068" y="2913"/>
                    </a:lnTo>
                    <a:lnTo>
                      <a:pt x="10062" y="2910"/>
                    </a:lnTo>
                    <a:lnTo>
                      <a:pt x="10058" y="2905"/>
                    </a:lnTo>
                    <a:lnTo>
                      <a:pt x="10057" y="2904"/>
                    </a:lnTo>
                    <a:lnTo>
                      <a:pt x="10053" y="2900"/>
                    </a:lnTo>
                    <a:lnTo>
                      <a:pt x="10050" y="2897"/>
                    </a:lnTo>
                    <a:lnTo>
                      <a:pt x="10049" y="2889"/>
                    </a:lnTo>
                    <a:lnTo>
                      <a:pt x="10047" y="2880"/>
                    </a:lnTo>
                    <a:lnTo>
                      <a:pt x="10047" y="2871"/>
                    </a:lnTo>
                    <a:lnTo>
                      <a:pt x="10045" y="2865"/>
                    </a:lnTo>
                    <a:lnTo>
                      <a:pt x="10044" y="2859"/>
                    </a:lnTo>
                    <a:lnTo>
                      <a:pt x="10042" y="2854"/>
                    </a:lnTo>
                    <a:lnTo>
                      <a:pt x="10040" y="2849"/>
                    </a:lnTo>
                    <a:lnTo>
                      <a:pt x="10038" y="2854"/>
                    </a:lnTo>
                    <a:lnTo>
                      <a:pt x="10038" y="2859"/>
                    </a:lnTo>
                    <a:lnTo>
                      <a:pt x="10037" y="2864"/>
                    </a:lnTo>
                    <a:lnTo>
                      <a:pt x="10034" y="2867"/>
                    </a:lnTo>
                    <a:lnTo>
                      <a:pt x="10030" y="2871"/>
                    </a:lnTo>
                    <a:lnTo>
                      <a:pt x="10029" y="2874"/>
                    </a:lnTo>
                    <a:lnTo>
                      <a:pt x="10024" y="2880"/>
                    </a:lnTo>
                    <a:lnTo>
                      <a:pt x="10022" y="2882"/>
                    </a:lnTo>
                    <a:lnTo>
                      <a:pt x="10019" y="2884"/>
                    </a:lnTo>
                    <a:lnTo>
                      <a:pt x="10017" y="2887"/>
                    </a:lnTo>
                    <a:lnTo>
                      <a:pt x="10016" y="2889"/>
                    </a:lnTo>
                    <a:lnTo>
                      <a:pt x="10016" y="2891"/>
                    </a:lnTo>
                    <a:lnTo>
                      <a:pt x="10017" y="2893"/>
                    </a:lnTo>
                    <a:lnTo>
                      <a:pt x="10019" y="2897"/>
                    </a:lnTo>
                    <a:lnTo>
                      <a:pt x="10022" y="2900"/>
                    </a:lnTo>
                    <a:lnTo>
                      <a:pt x="10016" y="2898"/>
                    </a:lnTo>
                    <a:lnTo>
                      <a:pt x="10012" y="2897"/>
                    </a:lnTo>
                    <a:lnTo>
                      <a:pt x="10009" y="2893"/>
                    </a:lnTo>
                    <a:lnTo>
                      <a:pt x="10007" y="2889"/>
                    </a:lnTo>
                    <a:lnTo>
                      <a:pt x="10004" y="2884"/>
                    </a:lnTo>
                    <a:lnTo>
                      <a:pt x="10004" y="2877"/>
                    </a:lnTo>
                    <a:lnTo>
                      <a:pt x="10004" y="2865"/>
                    </a:lnTo>
                    <a:lnTo>
                      <a:pt x="10003" y="2865"/>
                    </a:lnTo>
                    <a:lnTo>
                      <a:pt x="10001" y="2867"/>
                    </a:lnTo>
                    <a:lnTo>
                      <a:pt x="9999" y="2869"/>
                    </a:lnTo>
                    <a:lnTo>
                      <a:pt x="9997" y="2872"/>
                    </a:lnTo>
                    <a:lnTo>
                      <a:pt x="9992" y="2877"/>
                    </a:lnTo>
                    <a:lnTo>
                      <a:pt x="9988" y="2882"/>
                    </a:lnTo>
                    <a:lnTo>
                      <a:pt x="9988" y="2869"/>
                    </a:lnTo>
                    <a:lnTo>
                      <a:pt x="9988" y="2864"/>
                    </a:lnTo>
                    <a:lnTo>
                      <a:pt x="9988" y="2862"/>
                    </a:lnTo>
                    <a:lnTo>
                      <a:pt x="9988" y="2862"/>
                    </a:lnTo>
                    <a:lnTo>
                      <a:pt x="9988" y="2862"/>
                    </a:lnTo>
                    <a:lnTo>
                      <a:pt x="9988" y="2862"/>
                    </a:lnTo>
                    <a:lnTo>
                      <a:pt x="9988" y="2862"/>
                    </a:lnTo>
                    <a:lnTo>
                      <a:pt x="9988" y="2862"/>
                    </a:lnTo>
                    <a:lnTo>
                      <a:pt x="9984" y="2862"/>
                    </a:lnTo>
                    <a:lnTo>
                      <a:pt x="9981" y="2862"/>
                    </a:lnTo>
                    <a:lnTo>
                      <a:pt x="9979" y="2862"/>
                    </a:lnTo>
                    <a:lnTo>
                      <a:pt x="9976" y="2859"/>
                    </a:lnTo>
                    <a:lnTo>
                      <a:pt x="9971" y="2857"/>
                    </a:lnTo>
                    <a:lnTo>
                      <a:pt x="9970" y="2856"/>
                    </a:lnTo>
                    <a:lnTo>
                      <a:pt x="9966" y="2852"/>
                    </a:lnTo>
                    <a:lnTo>
                      <a:pt x="9961" y="2847"/>
                    </a:lnTo>
                    <a:lnTo>
                      <a:pt x="9955" y="2839"/>
                    </a:lnTo>
                    <a:lnTo>
                      <a:pt x="9950" y="2831"/>
                    </a:lnTo>
                    <a:lnTo>
                      <a:pt x="9943" y="2821"/>
                    </a:lnTo>
                    <a:lnTo>
                      <a:pt x="9938" y="2813"/>
                    </a:lnTo>
                    <a:lnTo>
                      <a:pt x="9935" y="2804"/>
                    </a:lnTo>
                    <a:lnTo>
                      <a:pt x="9930" y="2795"/>
                    </a:lnTo>
                    <a:lnTo>
                      <a:pt x="9925" y="2790"/>
                    </a:lnTo>
                    <a:lnTo>
                      <a:pt x="9925" y="2791"/>
                    </a:lnTo>
                    <a:lnTo>
                      <a:pt x="9925" y="2795"/>
                    </a:lnTo>
                    <a:lnTo>
                      <a:pt x="9925" y="2798"/>
                    </a:lnTo>
                    <a:lnTo>
                      <a:pt x="9925" y="2806"/>
                    </a:lnTo>
                    <a:lnTo>
                      <a:pt x="9923" y="2816"/>
                    </a:lnTo>
                    <a:lnTo>
                      <a:pt x="9920" y="2824"/>
                    </a:lnTo>
                    <a:lnTo>
                      <a:pt x="9918" y="2836"/>
                    </a:lnTo>
                    <a:lnTo>
                      <a:pt x="9918" y="2849"/>
                    </a:lnTo>
                    <a:lnTo>
                      <a:pt x="9910" y="2841"/>
                    </a:lnTo>
                    <a:lnTo>
                      <a:pt x="9903" y="2834"/>
                    </a:lnTo>
                    <a:lnTo>
                      <a:pt x="9894" y="2828"/>
                    </a:lnTo>
                    <a:lnTo>
                      <a:pt x="9887" y="2821"/>
                    </a:lnTo>
                    <a:lnTo>
                      <a:pt x="9879" y="2816"/>
                    </a:lnTo>
                    <a:lnTo>
                      <a:pt x="9876" y="2811"/>
                    </a:lnTo>
                    <a:lnTo>
                      <a:pt x="9872" y="2808"/>
                    </a:lnTo>
                    <a:lnTo>
                      <a:pt x="9870" y="2806"/>
                    </a:lnTo>
                    <a:lnTo>
                      <a:pt x="9869" y="2803"/>
                    </a:lnTo>
                    <a:lnTo>
                      <a:pt x="9866" y="2798"/>
                    </a:lnTo>
                    <a:lnTo>
                      <a:pt x="9866" y="2797"/>
                    </a:lnTo>
                    <a:lnTo>
                      <a:pt x="9866" y="2795"/>
                    </a:lnTo>
                    <a:lnTo>
                      <a:pt x="9863" y="2795"/>
                    </a:lnTo>
                    <a:lnTo>
                      <a:pt x="9859" y="2793"/>
                    </a:lnTo>
                    <a:lnTo>
                      <a:pt x="9854" y="2791"/>
                    </a:lnTo>
                    <a:lnTo>
                      <a:pt x="9848" y="2790"/>
                    </a:lnTo>
                    <a:lnTo>
                      <a:pt x="9841" y="2788"/>
                    </a:lnTo>
                    <a:lnTo>
                      <a:pt x="9826" y="2783"/>
                    </a:lnTo>
                    <a:lnTo>
                      <a:pt x="9818" y="2782"/>
                    </a:lnTo>
                    <a:lnTo>
                      <a:pt x="9813" y="2780"/>
                    </a:lnTo>
                    <a:lnTo>
                      <a:pt x="9805" y="2780"/>
                    </a:lnTo>
                    <a:lnTo>
                      <a:pt x="9802" y="2782"/>
                    </a:lnTo>
                    <a:lnTo>
                      <a:pt x="9798" y="2783"/>
                    </a:lnTo>
                    <a:lnTo>
                      <a:pt x="9796" y="2783"/>
                    </a:lnTo>
                    <a:lnTo>
                      <a:pt x="9796" y="2786"/>
                    </a:lnTo>
                    <a:lnTo>
                      <a:pt x="9796" y="2788"/>
                    </a:lnTo>
                    <a:lnTo>
                      <a:pt x="9796" y="2790"/>
                    </a:lnTo>
                    <a:lnTo>
                      <a:pt x="9796" y="2793"/>
                    </a:lnTo>
                    <a:lnTo>
                      <a:pt x="9798" y="2797"/>
                    </a:lnTo>
                    <a:lnTo>
                      <a:pt x="9805" y="2816"/>
                    </a:lnTo>
                    <a:lnTo>
                      <a:pt x="9815" y="2832"/>
                    </a:lnTo>
                    <a:lnTo>
                      <a:pt x="9824" y="2847"/>
                    </a:lnTo>
                    <a:lnTo>
                      <a:pt x="9836" y="2859"/>
                    </a:lnTo>
                    <a:lnTo>
                      <a:pt x="9849" y="2872"/>
                    </a:lnTo>
                    <a:lnTo>
                      <a:pt x="9866" y="2884"/>
                    </a:lnTo>
                    <a:lnTo>
                      <a:pt x="9882" y="2893"/>
                    </a:lnTo>
                    <a:lnTo>
                      <a:pt x="9879" y="2893"/>
                    </a:lnTo>
                    <a:lnTo>
                      <a:pt x="9877" y="2895"/>
                    </a:lnTo>
                    <a:lnTo>
                      <a:pt x="9874" y="2898"/>
                    </a:lnTo>
                    <a:lnTo>
                      <a:pt x="9870" y="2904"/>
                    </a:lnTo>
                    <a:lnTo>
                      <a:pt x="9866" y="2910"/>
                    </a:lnTo>
                    <a:lnTo>
                      <a:pt x="9866" y="2917"/>
                    </a:lnTo>
                    <a:lnTo>
                      <a:pt x="9874" y="2911"/>
                    </a:lnTo>
                    <a:lnTo>
                      <a:pt x="9881" y="2905"/>
                    </a:lnTo>
                    <a:lnTo>
                      <a:pt x="9889" y="2904"/>
                    </a:lnTo>
                    <a:lnTo>
                      <a:pt x="9892" y="2904"/>
                    </a:lnTo>
                    <a:lnTo>
                      <a:pt x="9894" y="2904"/>
                    </a:lnTo>
                    <a:lnTo>
                      <a:pt x="9896" y="2904"/>
                    </a:lnTo>
                    <a:lnTo>
                      <a:pt x="9897" y="2904"/>
                    </a:lnTo>
                    <a:lnTo>
                      <a:pt x="9897" y="2905"/>
                    </a:lnTo>
                    <a:lnTo>
                      <a:pt x="9896" y="2908"/>
                    </a:lnTo>
                    <a:lnTo>
                      <a:pt x="9894" y="2911"/>
                    </a:lnTo>
                    <a:lnTo>
                      <a:pt x="9897" y="2911"/>
                    </a:lnTo>
                    <a:lnTo>
                      <a:pt x="9902" y="2911"/>
                    </a:lnTo>
                    <a:lnTo>
                      <a:pt x="9903" y="2913"/>
                    </a:lnTo>
                    <a:lnTo>
                      <a:pt x="9907" y="2915"/>
                    </a:lnTo>
                    <a:lnTo>
                      <a:pt x="9910" y="2918"/>
                    </a:lnTo>
                    <a:lnTo>
                      <a:pt x="9912" y="2925"/>
                    </a:lnTo>
                    <a:lnTo>
                      <a:pt x="9917" y="2926"/>
                    </a:lnTo>
                    <a:lnTo>
                      <a:pt x="9918" y="2928"/>
                    </a:lnTo>
                    <a:lnTo>
                      <a:pt x="9922" y="2930"/>
                    </a:lnTo>
                    <a:lnTo>
                      <a:pt x="9925" y="2931"/>
                    </a:lnTo>
                    <a:lnTo>
                      <a:pt x="9930" y="2933"/>
                    </a:lnTo>
                    <a:lnTo>
                      <a:pt x="9936" y="2933"/>
                    </a:lnTo>
                    <a:lnTo>
                      <a:pt x="9936" y="2935"/>
                    </a:lnTo>
                    <a:lnTo>
                      <a:pt x="9936" y="2938"/>
                    </a:lnTo>
                    <a:lnTo>
                      <a:pt x="9936" y="2941"/>
                    </a:lnTo>
                    <a:lnTo>
                      <a:pt x="9936" y="2944"/>
                    </a:lnTo>
                    <a:lnTo>
                      <a:pt x="9936" y="2950"/>
                    </a:lnTo>
                    <a:lnTo>
                      <a:pt x="9938" y="2950"/>
                    </a:lnTo>
                    <a:lnTo>
                      <a:pt x="9940" y="2950"/>
                    </a:lnTo>
                    <a:lnTo>
                      <a:pt x="9946" y="2952"/>
                    </a:lnTo>
                    <a:lnTo>
                      <a:pt x="9953" y="2952"/>
                    </a:lnTo>
                    <a:lnTo>
                      <a:pt x="9958" y="2954"/>
                    </a:lnTo>
                    <a:lnTo>
                      <a:pt x="9964" y="2958"/>
                    </a:lnTo>
                    <a:lnTo>
                      <a:pt x="9966" y="2959"/>
                    </a:lnTo>
                    <a:lnTo>
                      <a:pt x="9968" y="2961"/>
                    </a:lnTo>
                    <a:lnTo>
                      <a:pt x="9970" y="2964"/>
                    </a:lnTo>
                    <a:lnTo>
                      <a:pt x="9970" y="2969"/>
                    </a:lnTo>
                    <a:lnTo>
                      <a:pt x="9973" y="2971"/>
                    </a:lnTo>
                    <a:lnTo>
                      <a:pt x="9976" y="2974"/>
                    </a:lnTo>
                    <a:lnTo>
                      <a:pt x="9977" y="2976"/>
                    </a:lnTo>
                    <a:lnTo>
                      <a:pt x="9977" y="2978"/>
                    </a:lnTo>
                    <a:lnTo>
                      <a:pt x="9977" y="2979"/>
                    </a:lnTo>
                    <a:lnTo>
                      <a:pt x="9977" y="2982"/>
                    </a:lnTo>
                    <a:lnTo>
                      <a:pt x="9977" y="2985"/>
                    </a:lnTo>
                    <a:lnTo>
                      <a:pt x="9976" y="2989"/>
                    </a:lnTo>
                    <a:lnTo>
                      <a:pt x="9971" y="2992"/>
                    </a:lnTo>
                    <a:lnTo>
                      <a:pt x="9970" y="2996"/>
                    </a:lnTo>
                    <a:lnTo>
                      <a:pt x="9970" y="3002"/>
                    </a:lnTo>
                    <a:lnTo>
                      <a:pt x="9976" y="3002"/>
                    </a:lnTo>
                    <a:lnTo>
                      <a:pt x="9979" y="3002"/>
                    </a:lnTo>
                    <a:lnTo>
                      <a:pt x="9983" y="3004"/>
                    </a:lnTo>
                    <a:lnTo>
                      <a:pt x="9983" y="3005"/>
                    </a:lnTo>
                    <a:lnTo>
                      <a:pt x="9982" y="3006"/>
                    </a:lnTo>
                    <a:lnTo>
                      <a:pt x="9986" y="3007"/>
                    </a:lnTo>
                    <a:lnTo>
                      <a:pt x="9992" y="3009"/>
                    </a:lnTo>
                    <a:lnTo>
                      <a:pt x="9997" y="3013"/>
                    </a:lnTo>
                    <a:lnTo>
                      <a:pt x="10004" y="3020"/>
                    </a:lnTo>
                    <a:lnTo>
                      <a:pt x="10001" y="3020"/>
                    </a:lnTo>
                    <a:lnTo>
                      <a:pt x="9999" y="3020"/>
                    </a:lnTo>
                    <a:lnTo>
                      <a:pt x="9997" y="3020"/>
                    </a:lnTo>
                    <a:lnTo>
                      <a:pt x="9997" y="3022"/>
                    </a:lnTo>
                    <a:lnTo>
                      <a:pt x="9997" y="3024"/>
                    </a:lnTo>
                    <a:lnTo>
                      <a:pt x="9997" y="3025"/>
                    </a:lnTo>
                    <a:lnTo>
                      <a:pt x="9999" y="3025"/>
                    </a:lnTo>
                    <a:lnTo>
                      <a:pt x="9999" y="3028"/>
                    </a:lnTo>
                    <a:lnTo>
                      <a:pt x="10003" y="3032"/>
                    </a:lnTo>
                    <a:lnTo>
                      <a:pt x="10009" y="3035"/>
                    </a:lnTo>
                    <a:lnTo>
                      <a:pt x="10016" y="3037"/>
                    </a:lnTo>
                    <a:lnTo>
                      <a:pt x="10022" y="3037"/>
                    </a:lnTo>
                    <a:lnTo>
                      <a:pt x="10016" y="3043"/>
                    </a:lnTo>
                    <a:lnTo>
                      <a:pt x="10010" y="3046"/>
                    </a:lnTo>
                    <a:lnTo>
                      <a:pt x="10007" y="3050"/>
                    </a:lnTo>
                    <a:lnTo>
                      <a:pt x="10004" y="3052"/>
                    </a:lnTo>
                    <a:lnTo>
                      <a:pt x="10001" y="3053"/>
                    </a:lnTo>
                    <a:lnTo>
                      <a:pt x="9997" y="3053"/>
                    </a:lnTo>
                    <a:lnTo>
                      <a:pt x="9994" y="3053"/>
                    </a:lnTo>
                    <a:lnTo>
                      <a:pt x="9988" y="3053"/>
                    </a:lnTo>
                    <a:lnTo>
                      <a:pt x="9988" y="3059"/>
                    </a:lnTo>
                    <a:lnTo>
                      <a:pt x="9988" y="3065"/>
                    </a:lnTo>
                    <a:lnTo>
                      <a:pt x="9988" y="3068"/>
                    </a:lnTo>
                    <a:lnTo>
                      <a:pt x="9988" y="3070"/>
                    </a:lnTo>
                    <a:lnTo>
                      <a:pt x="9988" y="3074"/>
                    </a:lnTo>
                    <a:lnTo>
                      <a:pt x="9988" y="3078"/>
                    </a:lnTo>
                    <a:lnTo>
                      <a:pt x="9988" y="3083"/>
                    </a:lnTo>
                    <a:lnTo>
                      <a:pt x="9988" y="3089"/>
                    </a:lnTo>
                    <a:lnTo>
                      <a:pt x="9973" y="3086"/>
                    </a:lnTo>
                    <a:lnTo>
                      <a:pt x="9958" y="3085"/>
                    </a:lnTo>
                    <a:lnTo>
                      <a:pt x="9942" y="3081"/>
                    </a:lnTo>
                    <a:lnTo>
                      <a:pt x="9927" y="3078"/>
                    </a:lnTo>
                    <a:lnTo>
                      <a:pt x="9910" y="3073"/>
                    </a:lnTo>
                    <a:lnTo>
                      <a:pt x="9896" y="3066"/>
                    </a:lnTo>
                    <a:lnTo>
                      <a:pt x="9881" y="3061"/>
                    </a:lnTo>
                    <a:lnTo>
                      <a:pt x="9866" y="3053"/>
                    </a:lnTo>
                    <a:lnTo>
                      <a:pt x="9848" y="3048"/>
                    </a:lnTo>
                    <a:lnTo>
                      <a:pt x="9831" y="3045"/>
                    </a:lnTo>
                    <a:lnTo>
                      <a:pt x="9815" y="3040"/>
                    </a:lnTo>
                    <a:lnTo>
                      <a:pt x="9798" y="3038"/>
                    </a:lnTo>
                    <a:lnTo>
                      <a:pt x="9782" y="3037"/>
                    </a:lnTo>
                    <a:lnTo>
                      <a:pt x="9765" y="3037"/>
                    </a:lnTo>
                    <a:lnTo>
                      <a:pt x="9749" y="3037"/>
                    </a:lnTo>
                    <a:lnTo>
                      <a:pt x="9729" y="3037"/>
                    </a:lnTo>
                    <a:lnTo>
                      <a:pt x="9717" y="3032"/>
                    </a:lnTo>
                    <a:lnTo>
                      <a:pt x="9704" y="3025"/>
                    </a:lnTo>
                    <a:lnTo>
                      <a:pt x="9691" y="3022"/>
                    </a:lnTo>
                    <a:lnTo>
                      <a:pt x="9680" y="3017"/>
                    </a:lnTo>
                    <a:lnTo>
                      <a:pt x="9668" y="3013"/>
                    </a:lnTo>
                    <a:lnTo>
                      <a:pt x="9663" y="3009"/>
                    </a:lnTo>
                    <a:lnTo>
                      <a:pt x="9660" y="3005"/>
                    </a:lnTo>
                    <a:lnTo>
                      <a:pt x="9654" y="3002"/>
                    </a:lnTo>
                    <a:lnTo>
                      <a:pt x="9650" y="2996"/>
                    </a:lnTo>
                    <a:lnTo>
                      <a:pt x="9647" y="2991"/>
                    </a:lnTo>
                    <a:lnTo>
                      <a:pt x="9643" y="2985"/>
                    </a:lnTo>
                    <a:lnTo>
                      <a:pt x="9637" y="2982"/>
                    </a:lnTo>
                    <a:lnTo>
                      <a:pt x="9632" y="2978"/>
                    </a:lnTo>
                    <a:lnTo>
                      <a:pt x="9627" y="2976"/>
                    </a:lnTo>
                    <a:lnTo>
                      <a:pt x="9621" y="2972"/>
                    </a:lnTo>
                    <a:lnTo>
                      <a:pt x="9617" y="2969"/>
                    </a:lnTo>
                    <a:lnTo>
                      <a:pt x="9615" y="2964"/>
                    </a:lnTo>
                    <a:lnTo>
                      <a:pt x="9612" y="2963"/>
                    </a:lnTo>
                    <a:lnTo>
                      <a:pt x="9612" y="2959"/>
                    </a:lnTo>
                    <a:lnTo>
                      <a:pt x="9610" y="2956"/>
                    </a:lnTo>
                    <a:lnTo>
                      <a:pt x="9612" y="2952"/>
                    </a:lnTo>
                    <a:lnTo>
                      <a:pt x="9614" y="2950"/>
                    </a:lnTo>
                    <a:lnTo>
                      <a:pt x="9617" y="2946"/>
                    </a:lnTo>
                    <a:lnTo>
                      <a:pt x="9621" y="2943"/>
                    </a:lnTo>
                    <a:lnTo>
                      <a:pt x="9627" y="2939"/>
                    </a:lnTo>
                    <a:lnTo>
                      <a:pt x="9634" y="2938"/>
                    </a:lnTo>
                    <a:lnTo>
                      <a:pt x="9643" y="2933"/>
                    </a:lnTo>
                    <a:lnTo>
                      <a:pt x="9630" y="2933"/>
                    </a:lnTo>
                    <a:lnTo>
                      <a:pt x="9615" y="2935"/>
                    </a:lnTo>
                    <a:lnTo>
                      <a:pt x="9599" y="2938"/>
                    </a:lnTo>
                    <a:lnTo>
                      <a:pt x="9584" y="2939"/>
                    </a:lnTo>
                    <a:lnTo>
                      <a:pt x="9568" y="2941"/>
                    </a:lnTo>
                    <a:lnTo>
                      <a:pt x="9560" y="2941"/>
                    </a:lnTo>
                    <a:lnTo>
                      <a:pt x="9551" y="2941"/>
                    </a:lnTo>
                    <a:lnTo>
                      <a:pt x="9543" y="2939"/>
                    </a:lnTo>
                    <a:lnTo>
                      <a:pt x="9536" y="2939"/>
                    </a:lnTo>
                    <a:lnTo>
                      <a:pt x="9530" y="2938"/>
                    </a:lnTo>
                    <a:lnTo>
                      <a:pt x="9523" y="2933"/>
                    </a:lnTo>
                    <a:lnTo>
                      <a:pt x="9520" y="2933"/>
                    </a:lnTo>
                    <a:lnTo>
                      <a:pt x="9515" y="2931"/>
                    </a:lnTo>
                    <a:lnTo>
                      <a:pt x="9512" y="2930"/>
                    </a:lnTo>
                    <a:lnTo>
                      <a:pt x="9507" y="2928"/>
                    </a:lnTo>
                    <a:lnTo>
                      <a:pt x="9497" y="2923"/>
                    </a:lnTo>
                    <a:lnTo>
                      <a:pt x="9486" y="2917"/>
                    </a:lnTo>
                    <a:lnTo>
                      <a:pt x="9475" y="2910"/>
                    </a:lnTo>
                    <a:lnTo>
                      <a:pt x="9462" y="2904"/>
                    </a:lnTo>
                    <a:lnTo>
                      <a:pt x="9456" y="2902"/>
                    </a:lnTo>
                    <a:lnTo>
                      <a:pt x="9449" y="2900"/>
                    </a:lnTo>
                    <a:lnTo>
                      <a:pt x="9444" y="2900"/>
                    </a:lnTo>
                    <a:lnTo>
                      <a:pt x="9436" y="2900"/>
                    </a:lnTo>
                    <a:lnTo>
                      <a:pt x="9444" y="2898"/>
                    </a:lnTo>
                    <a:lnTo>
                      <a:pt x="9449" y="2897"/>
                    </a:lnTo>
                    <a:lnTo>
                      <a:pt x="9456" y="2895"/>
                    </a:lnTo>
                    <a:lnTo>
                      <a:pt x="9446" y="2895"/>
                    </a:lnTo>
                    <a:lnTo>
                      <a:pt x="9433" y="2895"/>
                    </a:lnTo>
                    <a:lnTo>
                      <a:pt x="9421" y="2891"/>
                    </a:lnTo>
                    <a:lnTo>
                      <a:pt x="9416" y="2889"/>
                    </a:lnTo>
                    <a:lnTo>
                      <a:pt x="9410" y="2887"/>
                    </a:lnTo>
                    <a:lnTo>
                      <a:pt x="9407" y="2885"/>
                    </a:lnTo>
                    <a:lnTo>
                      <a:pt x="9403" y="2882"/>
                    </a:lnTo>
                    <a:lnTo>
                      <a:pt x="9400" y="2877"/>
                    </a:lnTo>
                    <a:lnTo>
                      <a:pt x="9398" y="2871"/>
                    </a:lnTo>
                    <a:lnTo>
                      <a:pt x="9395" y="2865"/>
                    </a:lnTo>
                    <a:lnTo>
                      <a:pt x="9394" y="2859"/>
                    </a:lnTo>
                    <a:lnTo>
                      <a:pt x="9394" y="2851"/>
                    </a:lnTo>
                    <a:lnTo>
                      <a:pt x="9392" y="2843"/>
                    </a:lnTo>
                    <a:lnTo>
                      <a:pt x="9390" y="2837"/>
                    </a:lnTo>
                    <a:lnTo>
                      <a:pt x="9388" y="2836"/>
                    </a:lnTo>
                    <a:lnTo>
                      <a:pt x="9385" y="2834"/>
                    </a:lnTo>
                    <a:lnTo>
                      <a:pt x="9383" y="2832"/>
                    </a:lnTo>
                    <a:lnTo>
                      <a:pt x="9379" y="2831"/>
                    </a:lnTo>
                    <a:lnTo>
                      <a:pt x="9381" y="2831"/>
                    </a:lnTo>
                    <a:lnTo>
                      <a:pt x="9395" y="2831"/>
                    </a:lnTo>
                    <a:lnTo>
                      <a:pt x="9413" y="2828"/>
                    </a:lnTo>
                    <a:lnTo>
                      <a:pt x="9429" y="2826"/>
                    </a:lnTo>
                    <a:lnTo>
                      <a:pt x="9436" y="2824"/>
                    </a:lnTo>
                    <a:lnTo>
                      <a:pt x="9444" y="2823"/>
                    </a:lnTo>
                    <a:lnTo>
                      <a:pt x="9451" y="2819"/>
                    </a:lnTo>
                    <a:lnTo>
                      <a:pt x="9461" y="2816"/>
                    </a:lnTo>
                    <a:lnTo>
                      <a:pt x="9467" y="2811"/>
                    </a:lnTo>
                    <a:lnTo>
                      <a:pt x="9475" y="2808"/>
                    </a:lnTo>
                    <a:lnTo>
                      <a:pt x="9481" y="2803"/>
                    </a:lnTo>
                    <a:lnTo>
                      <a:pt x="9488" y="2797"/>
                    </a:lnTo>
                    <a:lnTo>
                      <a:pt x="9481" y="2795"/>
                    </a:lnTo>
                    <a:lnTo>
                      <a:pt x="9474" y="2795"/>
                    </a:lnTo>
                    <a:lnTo>
                      <a:pt x="9464" y="2795"/>
                    </a:lnTo>
                    <a:lnTo>
                      <a:pt x="9454" y="2791"/>
                    </a:lnTo>
                    <a:lnTo>
                      <a:pt x="9449" y="2790"/>
                    </a:lnTo>
                    <a:lnTo>
                      <a:pt x="9444" y="2788"/>
                    </a:lnTo>
                    <a:lnTo>
                      <a:pt x="9440" y="2786"/>
                    </a:lnTo>
                    <a:lnTo>
                      <a:pt x="9434" y="2782"/>
                    </a:lnTo>
                    <a:lnTo>
                      <a:pt x="9431" y="2778"/>
                    </a:lnTo>
                    <a:lnTo>
                      <a:pt x="9428" y="2773"/>
                    </a:lnTo>
                    <a:lnTo>
                      <a:pt x="9423" y="2767"/>
                    </a:lnTo>
                    <a:lnTo>
                      <a:pt x="9420" y="2762"/>
                    </a:lnTo>
                    <a:lnTo>
                      <a:pt x="9420" y="2767"/>
                    </a:lnTo>
                    <a:lnTo>
                      <a:pt x="9418" y="2771"/>
                    </a:lnTo>
                    <a:lnTo>
                      <a:pt x="9416" y="2775"/>
                    </a:lnTo>
                    <a:lnTo>
                      <a:pt x="9413" y="2777"/>
                    </a:lnTo>
                    <a:lnTo>
                      <a:pt x="9413" y="2778"/>
                    </a:lnTo>
                    <a:lnTo>
                      <a:pt x="9414" y="2778"/>
                    </a:lnTo>
                    <a:lnTo>
                      <a:pt x="9416" y="2778"/>
                    </a:lnTo>
                    <a:lnTo>
                      <a:pt x="9420" y="2778"/>
                    </a:lnTo>
                    <a:lnTo>
                      <a:pt x="9416" y="2782"/>
                    </a:lnTo>
                    <a:lnTo>
                      <a:pt x="9413" y="2783"/>
                    </a:lnTo>
                    <a:lnTo>
                      <a:pt x="9410" y="2786"/>
                    </a:lnTo>
                    <a:lnTo>
                      <a:pt x="9407" y="2786"/>
                    </a:lnTo>
                    <a:lnTo>
                      <a:pt x="9400" y="2788"/>
                    </a:lnTo>
                    <a:lnTo>
                      <a:pt x="9394" y="2788"/>
                    </a:lnTo>
                    <a:lnTo>
                      <a:pt x="9388" y="2788"/>
                    </a:lnTo>
                    <a:lnTo>
                      <a:pt x="9381" y="2788"/>
                    </a:lnTo>
                    <a:lnTo>
                      <a:pt x="9377" y="2790"/>
                    </a:lnTo>
                    <a:lnTo>
                      <a:pt x="9375" y="2791"/>
                    </a:lnTo>
                    <a:lnTo>
                      <a:pt x="9372" y="2793"/>
                    </a:lnTo>
                    <a:lnTo>
                      <a:pt x="9368" y="2797"/>
                    </a:lnTo>
                    <a:lnTo>
                      <a:pt x="9368" y="2790"/>
                    </a:lnTo>
                    <a:lnTo>
                      <a:pt x="9372" y="2783"/>
                    </a:lnTo>
                    <a:lnTo>
                      <a:pt x="9375" y="2777"/>
                    </a:lnTo>
                    <a:lnTo>
                      <a:pt x="9379" y="2773"/>
                    </a:lnTo>
                    <a:lnTo>
                      <a:pt x="9385" y="2767"/>
                    </a:lnTo>
                    <a:lnTo>
                      <a:pt x="9390" y="2765"/>
                    </a:lnTo>
                    <a:lnTo>
                      <a:pt x="9395" y="2762"/>
                    </a:lnTo>
                    <a:lnTo>
                      <a:pt x="9390" y="2763"/>
                    </a:lnTo>
                    <a:lnTo>
                      <a:pt x="9383" y="2765"/>
                    </a:lnTo>
                    <a:lnTo>
                      <a:pt x="9377" y="2767"/>
                    </a:lnTo>
                    <a:lnTo>
                      <a:pt x="9370" y="2770"/>
                    </a:lnTo>
                    <a:lnTo>
                      <a:pt x="9367" y="2770"/>
                    </a:lnTo>
                    <a:lnTo>
                      <a:pt x="9364" y="2770"/>
                    </a:lnTo>
                    <a:lnTo>
                      <a:pt x="9360" y="2767"/>
                    </a:lnTo>
                    <a:lnTo>
                      <a:pt x="9357" y="2767"/>
                    </a:lnTo>
                    <a:lnTo>
                      <a:pt x="9354" y="2765"/>
                    </a:lnTo>
                    <a:lnTo>
                      <a:pt x="9352" y="2762"/>
                    </a:lnTo>
                    <a:lnTo>
                      <a:pt x="9352" y="2757"/>
                    </a:lnTo>
                    <a:lnTo>
                      <a:pt x="9354" y="2750"/>
                    </a:lnTo>
                    <a:lnTo>
                      <a:pt x="9355" y="2747"/>
                    </a:lnTo>
                    <a:lnTo>
                      <a:pt x="9357" y="2745"/>
                    </a:lnTo>
                    <a:lnTo>
                      <a:pt x="9359" y="2742"/>
                    </a:lnTo>
                    <a:lnTo>
                      <a:pt x="9359" y="2740"/>
                    </a:lnTo>
                    <a:lnTo>
                      <a:pt x="9359" y="2737"/>
                    </a:lnTo>
                    <a:lnTo>
                      <a:pt x="9357" y="2734"/>
                    </a:lnTo>
                    <a:lnTo>
                      <a:pt x="9355" y="2732"/>
                    </a:lnTo>
                    <a:lnTo>
                      <a:pt x="9354" y="2730"/>
                    </a:lnTo>
                    <a:lnTo>
                      <a:pt x="9352" y="2727"/>
                    </a:lnTo>
                    <a:lnTo>
                      <a:pt x="9352" y="2729"/>
                    </a:lnTo>
                    <a:lnTo>
                      <a:pt x="9352" y="2730"/>
                    </a:lnTo>
                    <a:lnTo>
                      <a:pt x="9352" y="2734"/>
                    </a:lnTo>
                    <a:lnTo>
                      <a:pt x="9352" y="2737"/>
                    </a:lnTo>
                    <a:lnTo>
                      <a:pt x="9352" y="2745"/>
                    </a:lnTo>
                    <a:lnTo>
                      <a:pt x="9346" y="2737"/>
                    </a:lnTo>
                    <a:lnTo>
                      <a:pt x="9340" y="2732"/>
                    </a:lnTo>
                    <a:lnTo>
                      <a:pt x="9339" y="2725"/>
                    </a:lnTo>
                    <a:lnTo>
                      <a:pt x="9337" y="2721"/>
                    </a:lnTo>
                    <a:lnTo>
                      <a:pt x="9334" y="2716"/>
                    </a:lnTo>
                    <a:lnTo>
                      <a:pt x="9334" y="2714"/>
                    </a:lnTo>
                    <a:lnTo>
                      <a:pt x="9334" y="2710"/>
                    </a:lnTo>
                    <a:lnTo>
                      <a:pt x="9333" y="2710"/>
                    </a:lnTo>
                    <a:lnTo>
                      <a:pt x="9331" y="2710"/>
                    </a:lnTo>
                    <a:lnTo>
                      <a:pt x="9329" y="2710"/>
                    </a:lnTo>
                    <a:lnTo>
                      <a:pt x="9327" y="2710"/>
                    </a:lnTo>
                    <a:lnTo>
                      <a:pt x="9322" y="2710"/>
                    </a:lnTo>
                    <a:lnTo>
                      <a:pt x="9316" y="2710"/>
                    </a:lnTo>
                    <a:lnTo>
                      <a:pt x="9316" y="2703"/>
                    </a:lnTo>
                    <a:lnTo>
                      <a:pt x="9314" y="2697"/>
                    </a:lnTo>
                    <a:lnTo>
                      <a:pt x="9313" y="2689"/>
                    </a:lnTo>
                    <a:lnTo>
                      <a:pt x="9309" y="2684"/>
                    </a:lnTo>
                    <a:lnTo>
                      <a:pt x="9309" y="2676"/>
                    </a:lnTo>
                    <a:lnTo>
                      <a:pt x="9309" y="2675"/>
                    </a:lnTo>
                    <a:lnTo>
                      <a:pt x="9309" y="2671"/>
                    </a:lnTo>
                    <a:lnTo>
                      <a:pt x="9309" y="2668"/>
                    </a:lnTo>
                    <a:lnTo>
                      <a:pt x="9311" y="2664"/>
                    </a:lnTo>
                    <a:lnTo>
                      <a:pt x="9313" y="2662"/>
                    </a:lnTo>
                    <a:lnTo>
                      <a:pt x="9316" y="2658"/>
                    </a:lnTo>
                    <a:lnTo>
                      <a:pt x="9316" y="2653"/>
                    </a:lnTo>
                    <a:lnTo>
                      <a:pt x="9316" y="2647"/>
                    </a:lnTo>
                    <a:lnTo>
                      <a:pt x="9316" y="2643"/>
                    </a:lnTo>
                    <a:lnTo>
                      <a:pt x="9314" y="2642"/>
                    </a:lnTo>
                    <a:lnTo>
                      <a:pt x="9313" y="2638"/>
                    </a:lnTo>
                    <a:lnTo>
                      <a:pt x="9309" y="2635"/>
                    </a:lnTo>
                    <a:lnTo>
                      <a:pt x="9306" y="2630"/>
                    </a:lnTo>
                    <a:lnTo>
                      <a:pt x="9300" y="2625"/>
                    </a:lnTo>
                    <a:lnTo>
                      <a:pt x="9298" y="2630"/>
                    </a:lnTo>
                    <a:lnTo>
                      <a:pt x="9298" y="2636"/>
                    </a:lnTo>
                    <a:lnTo>
                      <a:pt x="9298" y="2640"/>
                    </a:lnTo>
                    <a:lnTo>
                      <a:pt x="9296" y="2643"/>
                    </a:lnTo>
                    <a:lnTo>
                      <a:pt x="9294" y="2647"/>
                    </a:lnTo>
                    <a:lnTo>
                      <a:pt x="9293" y="2650"/>
                    </a:lnTo>
                    <a:lnTo>
                      <a:pt x="9291" y="2651"/>
                    </a:lnTo>
                    <a:lnTo>
                      <a:pt x="9288" y="2653"/>
                    </a:lnTo>
                    <a:lnTo>
                      <a:pt x="9285" y="2653"/>
                    </a:lnTo>
                    <a:lnTo>
                      <a:pt x="9283" y="2653"/>
                    </a:lnTo>
                    <a:lnTo>
                      <a:pt x="9281" y="2651"/>
                    </a:lnTo>
                    <a:lnTo>
                      <a:pt x="9278" y="2651"/>
                    </a:lnTo>
                    <a:lnTo>
                      <a:pt x="9273" y="2650"/>
                    </a:lnTo>
                    <a:lnTo>
                      <a:pt x="9272" y="2647"/>
                    </a:lnTo>
                    <a:lnTo>
                      <a:pt x="9265" y="2642"/>
                    </a:lnTo>
                    <a:lnTo>
                      <a:pt x="9265" y="2643"/>
                    </a:lnTo>
                    <a:lnTo>
                      <a:pt x="9263" y="2647"/>
                    </a:lnTo>
                    <a:lnTo>
                      <a:pt x="9261" y="2651"/>
                    </a:lnTo>
                    <a:lnTo>
                      <a:pt x="9260" y="2653"/>
                    </a:lnTo>
                    <a:lnTo>
                      <a:pt x="9255" y="2656"/>
                    </a:lnTo>
                    <a:lnTo>
                      <a:pt x="9253" y="2660"/>
                    </a:lnTo>
                    <a:lnTo>
                      <a:pt x="9247" y="2664"/>
                    </a:lnTo>
                    <a:lnTo>
                      <a:pt x="9237" y="2670"/>
                    </a:lnTo>
                    <a:lnTo>
                      <a:pt x="9227" y="2671"/>
                    </a:lnTo>
                    <a:lnTo>
                      <a:pt x="9220" y="2675"/>
                    </a:lnTo>
                    <a:lnTo>
                      <a:pt x="9217" y="2675"/>
                    </a:lnTo>
                    <a:lnTo>
                      <a:pt x="9219" y="2673"/>
                    </a:lnTo>
                    <a:lnTo>
                      <a:pt x="9220" y="2671"/>
                    </a:lnTo>
                    <a:lnTo>
                      <a:pt x="9224" y="2670"/>
                    </a:lnTo>
                    <a:lnTo>
                      <a:pt x="9227" y="2666"/>
                    </a:lnTo>
                    <a:lnTo>
                      <a:pt x="9230" y="2660"/>
                    </a:lnTo>
                    <a:lnTo>
                      <a:pt x="9233" y="2656"/>
                    </a:lnTo>
                    <a:lnTo>
                      <a:pt x="9235" y="2655"/>
                    </a:lnTo>
                    <a:lnTo>
                      <a:pt x="9237" y="2653"/>
                    </a:lnTo>
                    <a:lnTo>
                      <a:pt x="9235" y="2651"/>
                    </a:lnTo>
                    <a:lnTo>
                      <a:pt x="9233" y="2647"/>
                    </a:lnTo>
                    <a:lnTo>
                      <a:pt x="9232" y="2645"/>
                    </a:lnTo>
                    <a:lnTo>
                      <a:pt x="9232" y="2643"/>
                    </a:lnTo>
                    <a:lnTo>
                      <a:pt x="9233" y="2642"/>
                    </a:lnTo>
                    <a:lnTo>
                      <a:pt x="9235" y="2642"/>
                    </a:lnTo>
                    <a:lnTo>
                      <a:pt x="9239" y="2638"/>
                    </a:lnTo>
                    <a:lnTo>
                      <a:pt x="9242" y="2635"/>
                    </a:lnTo>
                    <a:lnTo>
                      <a:pt x="9245" y="2633"/>
                    </a:lnTo>
                    <a:lnTo>
                      <a:pt x="9247" y="2630"/>
                    </a:lnTo>
                    <a:lnTo>
                      <a:pt x="9247" y="2627"/>
                    </a:lnTo>
                    <a:lnTo>
                      <a:pt x="9248" y="2625"/>
                    </a:lnTo>
                    <a:lnTo>
                      <a:pt x="9247" y="2625"/>
                    </a:lnTo>
                    <a:lnTo>
                      <a:pt x="9245" y="2625"/>
                    </a:lnTo>
                    <a:lnTo>
                      <a:pt x="9240" y="2627"/>
                    </a:lnTo>
                    <a:lnTo>
                      <a:pt x="9239" y="2629"/>
                    </a:lnTo>
                    <a:lnTo>
                      <a:pt x="9235" y="2629"/>
                    </a:lnTo>
                    <a:lnTo>
                      <a:pt x="9227" y="2633"/>
                    </a:lnTo>
                    <a:lnTo>
                      <a:pt x="9220" y="2636"/>
                    </a:lnTo>
                    <a:lnTo>
                      <a:pt x="9211" y="2638"/>
                    </a:lnTo>
                    <a:lnTo>
                      <a:pt x="9204" y="2640"/>
                    </a:lnTo>
                    <a:lnTo>
                      <a:pt x="9196" y="2642"/>
                    </a:lnTo>
                    <a:lnTo>
                      <a:pt x="9194" y="2635"/>
                    </a:lnTo>
                    <a:lnTo>
                      <a:pt x="9193" y="2629"/>
                    </a:lnTo>
                    <a:lnTo>
                      <a:pt x="9191" y="2625"/>
                    </a:lnTo>
                    <a:lnTo>
                      <a:pt x="9191" y="2622"/>
                    </a:lnTo>
                    <a:lnTo>
                      <a:pt x="9193" y="2618"/>
                    </a:lnTo>
                    <a:lnTo>
                      <a:pt x="9194" y="2614"/>
                    </a:lnTo>
                    <a:lnTo>
                      <a:pt x="9199" y="2609"/>
                    </a:lnTo>
                    <a:lnTo>
                      <a:pt x="9204" y="2605"/>
                    </a:lnTo>
                    <a:lnTo>
                      <a:pt x="9207" y="2599"/>
                    </a:lnTo>
                    <a:lnTo>
                      <a:pt x="9209" y="2597"/>
                    </a:lnTo>
                    <a:lnTo>
                      <a:pt x="9211" y="2596"/>
                    </a:lnTo>
                    <a:lnTo>
                      <a:pt x="9214" y="2592"/>
                    </a:lnTo>
                    <a:lnTo>
                      <a:pt x="9214" y="2590"/>
                    </a:lnTo>
                    <a:lnTo>
                      <a:pt x="9207" y="2590"/>
                    </a:lnTo>
                    <a:lnTo>
                      <a:pt x="9200" y="2592"/>
                    </a:lnTo>
                    <a:lnTo>
                      <a:pt x="9193" y="2596"/>
                    </a:lnTo>
                    <a:lnTo>
                      <a:pt x="9186" y="2597"/>
                    </a:lnTo>
                    <a:lnTo>
                      <a:pt x="9176" y="2601"/>
                    </a:lnTo>
                    <a:lnTo>
                      <a:pt x="9166" y="2605"/>
                    </a:lnTo>
                    <a:lnTo>
                      <a:pt x="9158" y="2607"/>
                    </a:lnTo>
                    <a:lnTo>
                      <a:pt x="9145" y="2607"/>
                    </a:lnTo>
                    <a:lnTo>
                      <a:pt x="9150" y="2610"/>
                    </a:lnTo>
                    <a:lnTo>
                      <a:pt x="9156" y="2614"/>
                    </a:lnTo>
                    <a:lnTo>
                      <a:pt x="9161" y="2616"/>
                    </a:lnTo>
                    <a:lnTo>
                      <a:pt x="9166" y="2620"/>
                    </a:lnTo>
                    <a:lnTo>
                      <a:pt x="9171" y="2623"/>
                    </a:lnTo>
                    <a:lnTo>
                      <a:pt x="9174" y="2627"/>
                    </a:lnTo>
                    <a:lnTo>
                      <a:pt x="9178" y="2629"/>
                    </a:lnTo>
                    <a:lnTo>
                      <a:pt x="9179" y="2633"/>
                    </a:lnTo>
                    <a:lnTo>
                      <a:pt x="9179" y="2636"/>
                    </a:lnTo>
                    <a:lnTo>
                      <a:pt x="9179" y="2638"/>
                    </a:lnTo>
                    <a:lnTo>
                      <a:pt x="9179" y="2642"/>
                    </a:lnTo>
                    <a:lnTo>
                      <a:pt x="9178" y="2645"/>
                    </a:lnTo>
                    <a:lnTo>
                      <a:pt x="9176" y="2650"/>
                    </a:lnTo>
                    <a:lnTo>
                      <a:pt x="9173" y="2651"/>
                    </a:lnTo>
                    <a:lnTo>
                      <a:pt x="9166" y="2655"/>
                    </a:lnTo>
                    <a:lnTo>
                      <a:pt x="9161" y="2658"/>
                    </a:lnTo>
                    <a:lnTo>
                      <a:pt x="9154" y="2664"/>
                    </a:lnTo>
                    <a:lnTo>
                      <a:pt x="9146" y="2668"/>
                    </a:lnTo>
                    <a:lnTo>
                      <a:pt x="9138" y="2670"/>
                    </a:lnTo>
                    <a:lnTo>
                      <a:pt x="9128" y="2671"/>
                    </a:lnTo>
                    <a:lnTo>
                      <a:pt x="9117" y="2670"/>
                    </a:lnTo>
                    <a:lnTo>
                      <a:pt x="9108" y="2668"/>
                    </a:lnTo>
                    <a:lnTo>
                      <a:pt x="9100" y="2664"/>
                    </a:lnTo>
                    <a:lnTo>
                      <a:pt x="9093" y="2658"/>
                    </a:lnTo>
                    <a:lnTo>
                      <a:pt x="9092" y="2658"/>
                    </a:lnTo>
                    <a:lnTo>
                      <a:pt x="9089" y="2656"/>
                    </a:lnTo>
                    <a:lnTo>
                      <a:pt x="9084" y="2655"/>
                    </a:lnTo>
                    <a:lnTo>
                      <a:pt x="9079" y="2653"/>
                    </a:lnTo>
                    <a:lnTo>
                      <a:pt x="9071" y="2651"/>
                    </a:lnTo>
                    <a:lnTo>
                      <a:pt x="9062" y="2650"/>
                    </a:lnTo>
                    <a:lnTo>
                      <a:pt x="9046" y="2645"/>
                    </a:lnTo>
                    <a:lnTo>
                      <a:pt x="9038" y="2643"/>
                    </a:lnTo>
                    <a:lnTo>
                      <a:pt x="9031" y="2643"/>
                    </a:lnTo>
                    <a:lnTo>
                      <a:pt x="9025" y="2643"/>
                    </a:lnTo>
                    <a:lnTo>
                      <a:pt x="9021" y="2643"/>
                    </a:lnTo>
                    <a:lnTo>
                      <a:pt x="9019" y="2645"/>
                    </a:lnTo>
                    <a:lnTo>
                      <a:pt x="9018" y="2645"/>
                    </a:lnTo>
                    <a:lnTo>
                      <a:pt x="9018" y="2647"/>
                    </a:lnTo>
                    <a:lnTo>
                      <a:pt x="9018" y="2650"/>
                    </a:lnTo>
                    <a:lnTo>
                      <a:pt x="9018" y="2651"/>
                    </a:lnTo>
                    <a:lnTo>
                      <a:pt x="9019" y="2653"/>
                    </a:lnTo>
                    <a:lnTo>
                      <a:pt x="9021" y="2655"/>
                    </a:lnTo>
                    <a:lnTo>
                      <a:pt x="9025" y="2658"/>
                    </a:lnTo>
                    <a:lnTo>
                      <a:pt x="9019" y="2658"/>
                    </a:lnTo>
                    <a:lnTo>
                      <a:pt x="9013" y="2658"/>
                    </a:lnTo>
                    <a:lnTo>
                      <a:pt x="9012" y="2658"/>
                    </a:lnTo>
                    <a:lnTo>
                      <a:pt x="9010" y="2660"/>
                    </a:lnTo>
                    <a:lnTo>
                      <a:pt x="9008" y="2662"/>
                    </a:lnTo>
                    <a:lnTo>
                      <a:pt x="9008" y="2666"/>
                    </a:lnTo>
                    <a:lnTo>
                      <a:pt x="9008" y="2670"/>
                    </a:lnTo>
                    <a:lnTo>
                      <a:pt x="9008" y="2675"/>
                    </a:lnTo>
                    <a:lnTo>
                      <a:pt x="9006" y="2675"/>
                    </a:lnTo>
                    <a:lnTo>
                      <a:pt x="9005" y="2675"/>
                    </a:lnTo>
                    <a:lnTo>
                      <a:pt x="9001" y="2675"/>
                    </a:lnTo>
                    <a:lnTo>
                      <a:pt x="8997" y="2675"/>
                    </a:lnTo>
                    <a:lnTo>
                      <a:pt x="8992" y="2675"/>
                    </a:lnTo>
                    <a:lnTo>
                      <a:pt x="8985" y="2675"/>
                    </a:lnTo>
                    <a:lnTo>
                      <a:pt x="8973" y="2675"/>
                    </a:lnTo>
                    <a:lnTo>
                      <a:pt x="8967" y="2675"/>
                    </a:lnTo>
                    <a:lnTo>
                      <a:pt x="8962" y="2679"/>
                    </a:lnTo>
                    <a:lnTo>
                      <a:pt x="8959" y="2681"/>
                    </a:lnTo>
                    <a:lnTo>
                      <a:pt x="8955" y="2684"/>
                    </a:lnTo>
                    <a:lnTo>
                      <a:pt x="8952" y="2688"/>
                    </a:lnTo>
                    <a:lnTo>
                      <a:pt x="8949" y="2689"/>
                    </a:lnTo>
                    <a:lnTo>
                      <a:pt x="8944" y="2691"/>
                    </a:lnTo>
                    <a:lnTo>
                      <a:pt x="8939" y="2694"/>
                    </a:lnTo>
                    <a:lnTo>
                      <a:pt x="8931" y="2691"/>
                    </a:lnTo>
                    <a:lnTo>
                      <a:pt x="8925" y="2689"/>
                    </a:lnTo>
                    <a:lnTo>
                      <a:pt x="8918" y="2688"/>
                    </a:lnTo>
                    <a:lnTo>
                      <a:pt x="8912" y="2686"/>
                    </a:lnTo>
                    <a:lnTo>
                      <a:pt x="8906" y="2684"/>
                    </a:lnTo>
                    <a:lnTo>
                      <a:pt x="8903" y="2684"/>
                    </a:lnTo>
                    <a:lnTo>
                      <a:pt x="8899" y="2686"/>
                    </a:lnTo>
                    <a:lnTo>
                      <a:pt x="8896" y="2686"/>
                    </a:lnTo>
                    <a:lnTo>
                      <a:pt x="8894" y="2688"/>
                    </a:lnTo>
                    <a:lnTo>
                      <a:pt x="8890" y="2689"/>
                    </a:lnTo>
                    <a:lnTo>
                      <a:pt x="8886" y="2694"/>
                    </a:lnTo>
                    <a:lnTo>
                      <a:pt x="8883" y="2694"/>
                    </a:lnTo>
                    <a:lnTo>
                      <a:pt x="8881" y="2694"/>
                    </a:lnTo>
                    <a:lnTo>
                      <a:pt x="8879" y="2694"/>
                    </a:lnTo>
                    <a:lnTo>
                      <a:pt x="8879" y="2696"/>
                    </a:lnTo>
                    <a:lnTo>
                      <a:pt x="8878" y="2699"/>
                    </a:lnTo>
                    <a:lnTo>
                      <a:pt x="8878" y="2701"/>
                    </a:lnTo>
                    <a:lnTo>
                      <a:pt x="8878" y="2704"/>
                    </a:lnTo>
                    <a:lnTo>
                      <a:pt x="8878" y="2709"/>
                    </a:lnTo>
                    <a:lnTo>
                      <a:pt x="8875" y="2709"/>
                    </a:lnTo>
                    <a:lnTo>
                      <a:pt x="8873" y="2710"/>
                    </a:lnTo>
                    <a:lnTo>
                      <a:pt x="8871" y="2710"/>
                    </a:lnTo>
                    <a:lnTo>
                      <a:pt x="8870" y="2710"/>
                    </a:lnTo>
                    <a:lnTo>
                      <a:pt x="8863" y="2706"/>
                    </a:lnTo>
                    <a:lnTo>
                      <a:pt x="8857" y="2704"/>
                    </a:lnTo>
                    <a:lnTo>
                      <a:pt x="8850" y="2703"/>
                    </a:lnTo>
                    <a:lnTo>
                      <a:pt x="8844" y="2703"/>
                    </a:lnTo>
                    <a:lnTo>
                      <a:pt x="8831" y="2701"/>
                    </a:lnTo>
                    <a:lnTo>
                      <a:pt x="8818" y="2701"/>
                    </a:lnTo>
                    <a:lnTo>
                      <a:pt x="8805" y="2701"/>
                    </a:lnTo>
                    <a:lnTo>
                      <a:pt x="8792" y="2701"/>
                    </a:lnTo>
                    <a:lnTo>
                      <a:pt x="8784" y="2699"/>
                    </a:lnTo>
                    <a:lnTo>
                      <a:pt x="8779" y="2697"/>
                    </a:lnTo>
                    <a:lnTo>
                      <a:pt x="8772" y="2696"/>
                    </a:lnTo>
                    <a:lnTo>
                      <a:pt x="8766" y="2694"/>
                    </a:lnTo>
                    <a:lnTo>
                      <a:pt x="8761" y="2686"/>
                    </a:lnTo>
                    <a:lnTo>
                      <a:pt x="8756" y="2681"/>
                    </a:lnTo>
                    <a:lnTo>
                      <a:pt x="8751" y="2673"/>
                    </a:lnTo>
                    <a:lnTo>
                      <a:pt x="8750" y="2670"/>
                    </a:lnTo>
                    <a:lnTo>
                      <a:pt x="8746" y="2664"/>
                    </a:lnTo>
                    <a:lnTo>
                      <a:pt x="8743" y="2662"/>
                    </a:lnTo>
                    <a:lnTo>
                      <a:pt x="8737" y="2658"/>
                    </a:lnTo>
                    <a:lnTo>
                      <a:pt x="8731" y="2658"/>
                    </a:lnTo>
                    <a:lnTo>
                      <a:pt x="8731" y="2655"/>
                    </a:lnTo>
                    <a:lnTo>
                      <a:pt x="8733" y="2651"/>
                    </a:lnTo>
                    <a:lnTo>
                      <a:pt x="8735" y="2650"/>
                    </a:lnTo>
                    <a:lnTo>
                      <a:pt x="8737" y="2645"/>
                    </a:lnTo>
                    <a:lnTo>
                      <a:pt x="8741" y="2640"/>
                    </a:lnTo>
                    <a:lnTo>
                      <a:pt x="8744" y="2635"/>
                    </a:lnTo>
                    <a:lnTo>
                      <a:pt x="8746" y="2633"/>
                    </a:lnTo>
                    <a:lnTo>
                      <a:pt x="8746" y="2630"/>
                    </a:lnTo>
                    <a:lnTo>
                      <a:pt x="8746" y="2629"/>
                    </a:lnTo>
                    <a:lnTo>
                      <a:pt x="8746" y="2627"/>
                    </a:lnTo>
                    <a:lnTo>
                      <a:pt x="8744" y="2625"/>
                    </a:lnTo>
                    <a:lnTo>
                      <a:pt x="8741" y="2625"/>
                    </a:lnTo>
                    <a:lnTo>
                      <a:pt x="8737" y="2625"/>
                    </a:lnTo>
                    <a:lnTo>
                      <a:pt x="8731" y="2625"/>
                    </a:lnTo>
                    <a:lnTo>
                      <a:pt x="8737" y="2623"/>
                    </a:lnTo>
                    <a:lnTo>
                      <a:pt x="8743" y="2623"/>
                    </a:lnTo>
                    <a:lnTo>
                      <a:pt x="8748" y="2622"/>
                    </a:lnTo>
                    <a:lnTo>
                      <a:pt x="8751" y="2618"/>
                    </a:lnTo>
                    <a:lnTo>
                      <a:pt x="8756" y="2616"/>
                    </a:lnTo>
                    <a:lnTo>
                      <a:pt x="8759" y="2612"/>
                    </a:lnTo>
                    <a:lnTo>
                      <a:pt x="8764" y="2605"/>
                    </a:lnTo>
                    <a:lnTo>
                      <a:pt x="8768" y="2596"/>
                    </a:lnTo>
                    <a:lnTo>
                      <a:pt x="8774" y="2589"/>
                    </a:lnTo>
                    <a:lnTo>
                      <a:pt x="8778" y="2579"/>
                    </a:lnTo>
                    <a:lnTo>
                      <a:pt x="8783" y="2574"/>
                    </a:lnTo>
                    <a:lnTo>
                      <a:pt x="8791" y="2571"/>
                    </a:lnTo>
                    <a:lnTo>
                      <a:pt x="8796" y="2569"/>
                    </a:lnTo>
                    <a:lnTo>
                      <a:pt x="8804" y="2568"/>
                    </a:lnTo>
                    <a:lnTo>
                      <a:pt x="8811" y="2564"/>
                    </a:lnTo>
                    <a:lnTo>
                      <a:pt x="8820" y="2561"/>
                    </a:lnTo>
                    <a:lnTo>
                      <a:pt x="8829" y="2559"/>
                    </a:lnTo>
                    <a:lnTo>
                      <a:pt x="8840" y="2555"/>
                    </a:lnTo>
                    <a:lnTo>
                      <a:pt x="8853" y="2555"/>
                    </a:lnTo>
                    <a:lnTo>
                      <a:pt x="8855" y="2555"/>
                    </a:lnTo>
                    <a:lnTo>
                      <a:pt x="8857" y="2555"/>
                    </a:lnTo>
                    <a:lnTo>
                      <a:pt x="8863" y="2555"/>
                    </a:lnTo>
                    <a:lnTo>
                      <a:pt x="8870" y="2553"/>
                    </a:lnTo>
                    <a:lnTo>
                      <a:pt x="8875" y="2551"/>
                    </a:lnTo>
                    <a:lnTo>
                      <a:pt x="8881" y="2548"/>
                    </a:lnTo>
                    <a:lnTo>
                      <a:pt x="8883" y="2546"/>
                    </a:lnTo>
                    <a:lnTo>
                      <a:pt x="8885" y="2544"/>
                    </a:lnTo>
                    <a:lnTo>
                      <a:pt x="8886" y="2543"/>
                    </a:lnTo>
                    <a:lnTo>
                      <a:pt x="8886" y="2538"/>
                    </a:lnTo>
                    <a:lnTo>
                      <a:pt x="8890" y="2538"/>
                    </a:lnTo>
                    <a:lnTo>
                      <a:pt x="8891" y="2536"/>
                    </a:lnTo>
                    <a:lnTo>
                      <a:pt x="8894" y="2535"/>
                    </a:lnTo>
                    <a:lnTo>
                      <a:pt x="8898" y="2533"/>
                    </a:lnTo>
                    <a:lnTo>
                      <a:pt x="8901" y="2529"/>
                    </a:lnTo>
                    <a:lnTo>
                      <a:pt x="8903" y="2523"/>
                    </a:lnTo>
                    <a:lnTo>
                      <a:pt x="8905" y="2520"/>
                    </a:lnTo>
                    <a:lnTo>
                      <a:pt x="8906" y="2518"/>
                    </a:lnTo>
                    <a:lnTo>
                      <a:pt x="8909" y="2518"/>
                    </a:lnTo>
                    <a:lnTo>
                      <a:pt x="8911" y="2516"/>
                    </a:lnTo>
                    <a:lnTo>
                      <a:pt x="8912" y="2516"/>
                    </a:lnTo>
                    <a:lnTo>
                      <a:pt x="8916" y="2516"/>
                    </a:lnTo>
                    <a:lnTo>
                      <a:pt x="8918" y="2518"/>
                    </a:lnTo>
                    <a:lnTo>
                      <a:pt x="8921" y="2522"/>
                    </a:lnTo>
                    <a:lnTo>
                      <a:pt x="8921" y="2518"/>
                    </a:lnTo>
                    <a:lnTo>
                      <a:pt x="8921" y="2515"/>
                    </a:lnTo>
                    <a:lnTo>
                      <a:pt x="8924" y="2513"/>
                    </a:lnTo>
                    <a:lnTo>
                      <a:pt x="8925" y="2510"/>
                    </a:lnTo>
                    <a:lnTo>
                      <a:pt x="8929" y="2508"/>
                    </a:lnTo>
                    <a:lnTo>
                      <a:pt x="8932" y="2508"/>
                    </a:lnTo>
                    <a:lnTo>
                      <a:pt x="8940" y="2507"/>
                    </a:lnTo>
                    <a:lnTo>
                      <a:pt x="8949" y="2505"/>
                    </a:lnTo>
                    <a:lnTo>
                      <a:pt x="8960" y="2505"/>
                    </a:lnTo>
                    <a:lnTo>
                      <a:pt x="8972" y="2507"/>
                    </a:lnTo>
                    <a:lnTo>
                      <a:pt x="8982" y="2508"/>
                    </a:lnTo>
                    <a:lnTo>
                      <a:pt x="8995" y="2510"/>
                    </a:lnTo>
                    <a:lnTo>
                      <a:pt x="9006" y="2513"/>
                    </a:lnTo>
                    <a:lnTo>
                      <a:pt x="9019" y="2515"/>
                    </a:lnTo>
                    <a:lnTo>
                      <a:pt x="9031" y="2516"/>
                    </a:lnTo>
                    <a:lnTo>
                      <a:pt x="9039" y="2518"/>
                    </a:lnTo>
                    <a:lnTo>
                      <a:pt x="9047" y="2520"/>
                    </a:lnTo>
                    <a:lnTo>
                      <a:pt x="9051" y="2520"/>
                    </a:lnTo>
                    <a:lnTo>
                      <a:pt x="9054" y="2520"/>
                    </a:lnTo>
                    <a:lnTo>
                      <a:pt x="9056" y="2520"/>
                    </a:lnTo>
                    <a:lnTo>
                      <a:pt x="9058" y="2522"/>
                    </a:lnTo>
                    <a:lnTo>
                      <a:pt x="9062" y="2523"/>
                    </a:lnTo>
                    <a:lnTo>
                      <a:pt x="9066" y="2528"/>
                    </a:lnTo>
                    <a:lnTo>
                      <a:pt x="9071" y="2529"/>
                    </a:lnTo>
                    <a:lnTo>
                      <a:pt x="9077" y="2531"/>
                    </a:lnTo>
                    <a:lnTo>
                      <a:pt x="9087" y="2536"/>
                    </a:lnTo>
                    <a:lnTo>
                      <a:pt x="9093" y="2538"/>
                    </a:lnTo>
                    <a:lnTo>
                      <a:pt x="9097" y="2535"/>
                    </a:lnTo>
                    <a:lnTo>
                      <a:pt x="9100" y="2533"/>
                    </a:lnTo>
                    <a:lnTo>
                      <a:pt x="9104" y="2531"/>
                    </a:lnTo>
                    <a:lnTo>
                      <a:pt x="9108" y="2531"/>
                    </a:lnTo>
                    <a:lnTo>
                      <a:pt x="9113" y="2531"/>
                    </a:lnTo>
                    <a:lnTo>
                      <a:pt x="9117" y="2531"/>
                    </a:lnTo>
                    <a:lnTo>
                      <a:pt x="9128" y="2531"/>
                    </a:lnTo>
                    <a:lnTo>
                      <a:pt x="9138" y="2535"/>
                    </a:lnTo>
                    <a:lnTo>
                      <a:pt x="9146" y="2536"/>
                    </a:lnTo>
                    <a:lnTo>
                      <a:pt x="9154" y="2538"/>
                    </a:lnTo>
                    <a:lnTo>
                      <a:pt x="9161" y="2538"/>
                    </a:lnTo>
                    <a:lnTo>
                      <a:pt x="9166" y="2538"/>
                    </a:lnTo>
                    <a:lnTo>
                      <a:pt x="9173" y="2538"/>
                    </a:lnTo>
                    <a:lnTo>
                      <a:pt x="9178" y="2536"/>
                    </a:lnTo>
                    <a:lnTo>
                      <a:pt x="9181" y="2536"/>
                    </a:lnTo>
                    <a:lnTo>
                      <a:pt x="9186" y="2535"/>
                    </a:lnTo>
                    <a:lnTo>
                      <a:pt x="9189" y="2533"/>
                    </a:lnTo>
                    <a:lnTo>
                      <a:pt x="9194" y="2529"/>
                    </a:lnTo>
                    <a:lnTo>
                      <a:pt x="9199" y="2528"/>
                    </a:lnTo>
                    <a:lnTo>
                      <a:pt x="9204" y="2523"/>
                    </a:lnTo>
                    <a:lnTo>
                      <a:pt x="9207" y="2522"/>
                    </a:lnTo>
                    <a:lnTo>
                      <a:pt x="9214" y="2522"/>
                    </a:lnTo>
                    <a:lnTo>
                      <a:pt x="9215" y="2522"/>
                    </a:lnTo>
                    <a:lnTo>
                      <a:pt x="9219" y="2522"/>
                    </a:lnTo>
                    <a:lnTo>
                      <a:pt x="9220" y="2522"/>
                    </a:lnTo>
                    <a:lnTo>
                      <a:pt x="9226" y="2522"/>
                    </a:lnTo>
                    <a:lnTo>
                      <a:pt x="9230" y="2522"/>
                    </a:lnTo>
                    <a:lnTo>
                      <a:pt x="9239" y="2522"/>
                    </a:lnTo>
                    <a:lnTo>
                      <a:pt x="9248" y="2522"/>
                    </a:lnTo>
                    <a:lnTo>
                      <a:pt x="9253" y="2522"/>
                    </a:lnTo>
                    <a:lnTo>
                      <a:pt x="9257" y="2522"/>
                    </a:lnTo>
                    <a:lnTo>
                      <a:pt x="9260" y="2522"/>
                    </a:lnTo>
                    <a:lnTo>
                      <a:pt x="9263" y="2522"/>
                    </a:lnTo>
                    <a:lnTo>
                      <a:pt x="9265" y="2522"/>
                    </a:lnTo>
                    <a:lnTo>
                      <a:pt x="9278" y="2515"/>
                    </a:lnTo>
                    <a:lnTo>
                      <a:pt x="9286" y="2510"/>
                    </a:lnTo>
                    <a:lnTo>
                      <a:pt x="9298" y="2507"/>
                    </a:lnTo>
                    <a:lnTo>
                      <a:pt x="9306" y="2503"/>
                    </a:lnTo>
                    <a:lnTo>
                      <a:pt x="9313" y="2500"/>
                    </a:lnTo>
                    <a:lnTo>
                      <a:pt x="9321" y="2495"/>
                    </a:lnTo>
                    <a:lnTo>
                      <a:pt x="9327" y="2492"/>
                    </a:lnTo>
                    <a:lnTo>
                      <a:pt x="9334" y="2487"/>
                    </a:lnTo>
                    <a:lnTo>
                      <a:pt x="9340" y="2487"/>
                    </a:lnTo>
                    <a:lnTo>
                      <a:pt x="9347" y="2489"/>
                    </a:lnTo>
                    <a:lnTo>
                      <a:pt x="9364" y="2490"/>
                    </a:lnTo>
                    <a:lnTo>
                      <a:pt x="9381" y="2494"/>
                    </a:lnTo>
                    <a:lnTo>
                      <a:pt x="9388" y="2494"/>
                    </a:lnTo>
                    <a:lnTo>
                      <a:pt x="9395" y="2495"/>
                    </a:lnTo>
                    <a:lnTo>
                      <a:pt x="9403" y="2494"/>
                    </a:lnTo>
                    <a:lnTo>
                      <a:pt x="9408" y="2494"/>
                    </a:lnTo>
                    <a:lnTo>
                      <a:pt x="9414" y="2490"/>
                    </a:lnTo>
                    <a:lnTo>
                      <a:pt x="9418" y="2487"/>
                    </a:lnTo>
                    <a:lnTo>
                      <a:pt x="9421" y="2482"/>
                    </a:lnTo>
                    <a:lnTo>
                      <a:pt x="9421" y="2477"/>
                    </a:lnTo>
                    <a:lnTo>
                      <a:pt x="9421" y="2474"/>
                    </a:lnTo>
                    <a:lnTo>
                      <a:pt x="9421" y="2469"/>
                    </a:lnTo>
                    <a:lnTo>
                      <a:pt x="9421" y="2462"/>
                    </a:lnTo>
                    <a:lnTo>
                      <a:pt x="9421" y="2457"/>
                    </a:lnTo>
                    <a:lnTo>
                      <a:pt x="9420" y="2452"/>
                    </a:lnTo>
                    <a:lnTo>
                      <a:pt x="9413" y="2446"/>
                    </a:lnTo>
                    <a:lnTo>
                      <a:pt x="9405" y="2439"/>
                    </a:lnTo>
                    <a:lnTo>
                      <a:pt x="9395" y="2433"/>
                    </a:lnTo>
                    <a:lnTo>
                      <a:pt x="9387" y="2426"/>
                    </a:lnTo>
                    <a:lnTo>
                      <a:pt x="9379" y="2421"/>
                    </a:lnTo>
                    <a:lnTo>
                      <a:pt x="9377" y="2416"/>
                    </a:lnTo>
                    <a:lnTo>
                      <a:pt x="9374" y="2413"/>
                    </a:lnTo>
                    <a:lnTo>
                      <a:pt x="9372" y="2411"/>
                    </a:lnTo>
                    <a:lnTo>
                      <a:pt x="9370" y="2408"/>
                    </a:lnTo>
                    <a:lnTo>
                      <a:pt x="9368" y="2403"/>
                    </a:lnTo>
                    <a:lnTo>
                      <a:pt x="9368" y="2401"/>
                    </a:lnTo>
                    <a:lnTo>
                      <a:pt x="9368" y="2398"/>
                    </a:lnTo>
                    <a:lnTo>
                      <a:pt x="9370" y="2395"/>
                    </a:lnTo>
                    <a:lnTo>
                      <a:pt x="9374" y="2391"/>
                    </a:lnTo>
                    <a:lnTo>
                      <a:pt x="9377" y="2387"/>
                    </a:lnTo>
                    <a:lnTo>
                      <a:pt x="9383" y="2383"/>
                    </a:lnTo>
                    <a:lnTo>
                      <a:pt x="9388" y="2378"/>
                    </a:lnTo>
                    <a:lnTo>
                      <a:pt x="9395" y="2375"/>
                    </a:lnTo>
                    <a:lnTo>
                      <a:pt x="9403" y="2370"/>
                    </a:lnTo>
                    <a:lnTo>
                      <a:pt x="9413" y="2365"/>
                    </a:lnTo>
                    <a:lnTo>
                      <a:pt x="9421" y="2362"/>
                    </a:lnTo>
                    <a:lnTo>
                      <a:pt x="9431" y="2357"/>
                    </a:lnTo>
                    <a:lnTo>
                      <a:pt x="9442" y="2352"/>
                    </a:lnTo>
                    <a:lnTo>
                      <a:pt x="9464" y="2345"/>
                    </a:lnTo>
                    <a:lnTo>
                      <a:pt x="9486" y="2335"/>
                    </a:lnTo>
                    <a:lnTo>
                      <a:pt x="9510" y="2327"/>
                    </a:lnTo>
                    <a:lnTo>
                      <a:pt x="9535" y="2321"/>
                    </a:lnTo>
                    <a:lnTo>
                      <a:pt x="9556" y="2315"/>
                    </a:lnTo>
                    <a:lnTo>
                      <a:pt x="9579" y="2309"/>
                    </a:lnTo>
                    <a:lnTo>
                      <a:pt x="9589" y="2306"/>
                    </a:lnTo>
                    <a:lnTo>
                      <a:pt x="9599" y="2304"/>
                    </a:lnTo>
                    <a:lnTo>
                      <a:pt x="9608" y="2302"/>
                    </a:lnTo>
                    <a:lnTo>
                      <a:pt x="9617" y="2301"/>
                    </a:lnTo>
                    <a:lnTo>
                      <a:pt x="9625" y="2298"/>
                    </a:lnTo>
                    <a:lnTo>
                      <a:pt x="9632" y="2298"/>
                    </a:lnTo>
                    <a:lnTo>
                      <a:pt x="9637" y="2298"/>
                    </a:lnTo>
                    <a:lnTo>
                      <a:pt x="9643" y="2298"/>
                    </a:lnTo>
                    <a:lnTo>
                      <a:pt x="9656" y="2298"/>
                    </a:lnTo>
                    <a:lnTo>
                      <a:pt x="9673" y="2298"/>
                    </a:lnTo>
                    <a:lnTo>
                      <a:pt x="9675" y="2298"/>
                    </a:lnTo>
                    <a:lnTo>
                      <a:pt x="9668" y="2296"/>
                    </a:lnTo>
                    <a:lnTo>
                      <a:pt x="9665" y="2296"/>
                    </a:lnTo>
                    <a:lnTo>
                      <a:pt x="9660" y="2296"/>
                    </a:lnTo>
                    <a:lnTo>
                      <a:pt x="9650" y="2296"/>
                    </a:lnTo>
                    <a:lnTo>
                      <a:pt x="9645" y="2294"/>
                    </a:lnTo>
                    <a:lnTo>
                      <a:pt x="9642" y="2293"/>
                    </a:lnTo>
                    <a:lnTo>
                      <a:pt x="9637" y="2291"/>
                    </a:lnTo>
                    <a:lnTo>
                      <a:pt x="9634" y="2289"/>
                    </a:lnTo>
                    <a:lnTo>
                      <a:pt x="9632" y="2288"/>
                    </a:lnTo>
                    <a:lnTo>
                      <a:pt x="9632" y="2284"/>
                    </a:lnTo>
                    <a:lnTo>
                      <a:pt x="9632" y="2280"/>
                    </a:lnTo>
                    <a:lnTo>
                      <a:pt x="9634" y="2274"/>
                    </a:lnTo>
                    <a:lnTo>
                      <a:pt x="9637" y="2269"/>
                    </a:lnTo>
                    <a:lnTo>
                      <a:pt x="9640" y="2267"/>
                    </a:lnTo>
                    <a:lnTo>
                      <a:pt x="9643" y="2263"/>
                    </a:lnTo>
                    <a:lnTo>
                      <a:pt x="9650" y="2258"/>
                    </a:lnTo>
                    <a:lnTo>
                      <a:pt x="9656" y="2254"/>
                    </a:lnTo>
                    <a:lnTo>
                      <a:pt x="9663" y="2250"/>
                    </a:lnTo>
                    <a:lnTo>
                      <a:pt x="9668" y="2248"/>
                    </a:lnTo>
                    <a:lnTo>
                      <a:pt x="9675" y="2247"/>
                    </a:lnTo>
                    <a:lnTo>
                      <a:pt x="9682" y="2247"/>
                    </a:lnTo>
                    <a:lnTo>
                      <a:pt x="9695" y="2247"/>
                    </a:lnTo>
                    <a:lnTo>
                      <a:pt x="9708" y="2240"/>
                    </a:lnTo>
                    <a:lnTo>
                      <a:pt x="9717" y="2233"/>
                    </a:lnTo>
                    <a:lnTo>
                      <a:pt x="9726" y="2227"/>
                    </a:lnTo>
                    <a:lnTo>
                      <a:pt x="9736" y="2222"/>
                    </a:lnTo>
                    <a:lnTo>
                      <a:pt x="9742" y="2217"/>
                    </a:lnTo>
                    <a:lnTo>
                      <a:pt x="9750" y="2215"/>
                    </a:lnTo>
                    <a:lnTo>
                      <a:pt x="9757" y="2212"/>
                    </a:lnTo>
                    <a:lnTo>
                      <a:pt x="9763" y="2212"/>
                    </a:lnTo>
                    <a:lnTo>
                      <a:pt x="9762" y="2204"/>
                    </a:lnTo>
                    <a:lnTo>
                      <a:pt x="9759" y="2199"/>
                    </a:lnTo>
                    <a:lnTo>
                      <a:pt x="9757" y="2191"/>
                    </a:lnTo>
                    <a:lnTo>
                      <a:pt x="9757" y="2184"/>
                    </a:lnTo>
                    <a:lnTo>
                      <a:pt x="9759" y="2176"/>
                    </a:lnTo>
                    <a:lnTo>
                      <a:pt x="9759" y="2167"/>
                    </a:lnTo>
                    <a:lnTo>
                      <a:pt x="9762" y="2153"/>
                    </a:lnTo>
                    <a:lnTo>
                      <a:pt x="9762" y="2146"/>
                    </a:lnTo>
                    <a:lnTo>
                      <a:pt x="9763" y="2140"/>
                    </a:lnTo>
                    <a:lnTo>
                      <a:pt x="9762" y="2133"/>
                    </a:lnTo>
                    <a:lnTo>
                      <a:pt x="9762" y="2126"/>
                    </a:lnTo>
                    <a:lnTo>
                      <a:pt x="9759" y="2121"/>
                    </a:lnTo>
                    <a:lnTo>
                      <a:pt x="9755" y="2115"/>
                    </a:lnTo>
                    <a:lnTo>
                      <a:pt x="9752" y="2112"/>
                    </a:lnTo>
                    <a:lnTo>
                      <a:pt x="9747" y="2108"/>
                    </a:lnTo>
                    <a:lnTo>
                      <a:pt x="9752" y="2100"/>
                    </a:lnTo>
                    <a:lnTo>
                      <a:pt x="9755" y="2095"/>
                    </a:lnTo>
                    <a:lnTo>
                      <a:pt x="9759" y="2088"/>
                    </a:lnTo>
                    <a:lnTo>
                      <a:pt x="9763" y="2082"/>
                    </a:lnTo>
                    <a:lnTo>
                      <a:pt x="9767" y="2077"/>
                    </a:lnTo>
                    <a:lnTo>
                      <a:pt x="9770" y="2069"/>
                    </a:lnTo>
                    <a:lnTo>
                      <a:pt x="9774" y="2064"/>
                    </a:lnTo>
                    <a:lnTo>
                      <a:pt x="9782" y="2057"/>
                    </a:lnTo>
                    <a:lnTo>
                      <a:pt x="9774" y="2057"/>
                    </a:lnTo>
                    <a:lnTo>
                      <a:pt x="9767" y="2054"/>
                    </a:lnTo>
                    <a:lnTo>
                      <a:pt x="9762" y="2052"/>
                    </a:lnTo>
                    <a:lnTo>
                      <a:pt x="9755" y="2049"/>
                    </a:lnTo>
                    <a:lnTo>
                      <a:pt x="9749" y="2049"/>
                    </a:lnTo>
                    <a:lnTo>
                      <a:pt x="9744" y="2049"/>
                    </a:lnTo>
                    <a:lnTo>
                      <a:pt x="9742" y="2049"/>
                    </a:lnTo>
                    <a:lnTo>
                      <a:pt x="9739" y="2049"/>
                    </a:lnTo>
                    <a:lnTo>
                      <a:pt x="9736" y="2051"/>
                    </a:lnTo>
                    <a:lnTo>
                      <a:pt x="9739" y="2047"/>
                    </a:lnTo>
                    <a:lnTo>
                      <a:pt x="9742" y="2044"/>
                    </a:lnTo>
                    <a:lnTo>
                      <a:pt x="9747" y="2042"/>
                    </a:lnTo>
                    <a:lnTo>
                      <a:pt x="9750" y="2039"/>
                    </a:lnTo>
                    <a:lnTo>
                      <a:pt x="9744" y="2039"/>
                    </a:lnTo>
                    <a:lnTo>
                      <a:pt x="9737" y="2042"/>
                    </a:lnTo>
                    <a:lnTo>
                      <a:pt x="9732" y="2044"/>
                    </a:lnTo>
                    <a:lnTo>
                      <a:pt x="9724" y="2047"/>
                    </a:lnTo>
                    <a:lnTo>
                      <a:pt x="9719" y="2051"/>
                    </a:lnTo>
                    <a:lnTo>
                      <a:pt x="9713" y="2057"/>
                    </a:lnTo>
                    <a:lnTo>
                      <a:pt x="9711" y="2052"/>
                    </a:lnTo>
                    <a:lnTo>
                      <a:pt x="9711" y="2051"/>
                    </a:lnTo>
                    <a:lnTo>
                      <a:pt x="9709" y="2049"/>
                    </a:lnTo>
                    <a:lnTo>
                      <a:pt x="9708" y="2049"/>
                    </a:lnTo>
                    <a:lnTo>
                      <a:pt x="9702" y="2047"/>
                    </a:lnTo>
                    <a:lnTo>
                      <a:pt x="9696" y="2046"/>
                    </a:lnTo>
                    <a:lnTo>
                      <a:pt x="9695" y="2046"/>
                    </a:lnTo>
                    <a:lnTo>
                      <a:pt x="9693" y="2044"/>
                    </a:lnTo>
                    <a:lnTo>
                      <a:pt x="9691" y="2042"/>
                    </a:lnTo>
                    <a:lnTo>
                      <a:pt x="9689" y="2039"/>
                    </a:lnTo>
                    <a:lnTo>
                      <a:pt x="9689" y="2036"/>
                    </a:lnTo>
                    <a:lnTo>
                      <a:pt x="9691" y="2033"/>
                    </a:lnTo>
                    <a:lnTo>
                      <a:pt x="9693" y="2029"/>
                    </a:lnTo>
                    <a:lnTo>
                      <a:pt x="9695" y="2023"/>
                    </a:lnTo>
                    <a:lnTo>
                      <a:pt x="9708" y="2011"/>
                    </a:lnTo>
                    <a:lnTo>
                      <a:pt x="9715" y="2003"/>
                    </a:lnTo>
                    <a:lnTo>
                      <a:pt x="9721" y="1999"/>
                    </a:lnTo>
                    <a:lnTo>
                      <a:pt x="9726" y="1993"/>
                    </a:lnTo>
                    <a:lnTo>
                      <a:pt x="9734" y="1992"/>
                    </a:lnTo>
                    <a:lnTo>
                      <a:pt x="9739" y="1988"/>
                    </a:lnTo>
                    <a:lnTo>
                      <a:pt x="9721" y="1988"/>
                    </a:lnTo>
                    <a:lnTo>
                      <a:pt x="9695" y="1988"/>
                    </a:lnTo>
                    <a:lnTo>
                      <a:pt x="9698" y="1990"/>
                    </a:lnTo>
                    <a:lnTo>
                      <a:pt x="9701" y="1992"/>
                    </a:lnTo>
                    <a:lnTo>
                      <a:pt x="9704" y="1993"/>
                    </a:lnTo>
                    <a:lnTo>
                      <a:pt x="9706" y="1998"/>
                    </a:lnTo>
                    <a:lnTo>
                      <a:pt x="9706" y="2001"/>
                    </a:lnTo>
                    <a:lnTo>
                      <a:pt x="9706" y="2003"/>
                    </a:lnTo>
                    <a:lnTo>
                      <a:pt x="9704" y="2005"/>
                    </a:lnTo>
                    <a:lnTo>
                      <a:pt x="9701" y="2006"/>
                    </a:lnTo>
                    <a:lnTo>
                      <a:pt x="9696" y="2008"/>
                    </a:lnTo>
                    <a:lnTo>
                      <a:pt x="9693" y="2011"/>
                    </a:lnTo>
                    <a:lnTo>
                      <a:pt x="9688" y="2013"/>
                    </a:lnTo>
                    <a:lnTo>
                      <a:pt x="9683" y="2013"/>
                    </a:lnTo>
                    <a:lnTo>
                      <a:pt x="9678" y="2013"/>
                    </a:lnTo>
                    <a:lnTo>
                      <a:pt x="9673" y="2011"/>
                    </a:lnTo>
                    <a:lnTo>
                      <a:pt x="9668" y="2011"/>
                    </a:lnTo>
                    <a:lnTo>
                      <a:pt x="9663" y="2008"/>
                    </a:lnTo>
                    <a:lnTo>
                      <a:pt x="9662" y="2005"/>
                    </a:lnTo>
                    <a:lnTo>
                      <a:pt x="9658" y="2005"/>
                    </a:lnTo>
                    <a:lnTo>
                      <a:pt x="9654" y="2003"/>
                    </a:lnTo>
                    <a:lnTo>
                      <a:pt x="9650" y="2001"/>
                    </a:lnTo>
                    <a:lnTo>
                      <a:pt x="9648" y="1999"/>
                    </a:lnTo>
                    <a:lnTo>
                      <a:pt x="9643" y="1993"/>
                    </a:lnTo>
                    <a:lnTo>
                      <a:pt x="9640" y="1988"/>
                    </a:lnTo>
                    <a:lnTo>
                      <a:pt x="9637" y="1985"/>
                    </a:lnTo>
                    <a:lnTo>
                      <a:pt x="9635" y="1981"/>
                    </a:lnTo>
                    <a:lnTo>
                      <a:pt x="9635" y="1978"/>
                    </a:lnTo>
                    <a:lnTo>
                      <a:pt x="9635" y="1975"/>
                    </a:lnTo>
                    <a:lnTo>
                      <a:pt x="9637" y="1973"/>
                    </a:lnTo>
                    <a:lnTo>
                      <a:pt x="9637" y="1972"/>
                    </a:lnTo>
                    <a:lnTo>
                      <a:pt x="9632" y="1972"/>
                    </a:lnTo>
                    <a:lnTo>
                      <a:pt x="9627" y="1972"/>
                    </a:lnTo>
                    <a:lnTo>
                      <a:pt x="9621" y="1972"/>
                    </a:lnTo>
                    <a:lnTo>
                      <a:pt x="9610" y="1972"/>
                    </a:lnTo>
                    <a:lnTo>
                      <a:pt x="9615" y="1970"/>
                    </a:lnTo>
                    <a:lnTo>
                      <a:pt x="9621" y="1968"/>
                    </a:lnTo>
                    <a:lnTo>
                      <a:pt x="9627" y="1966"/>
                    </a:lnTo>
                    <a:lnTo>
                      <a:pt x="9632" y="1962"/>
                    </a:lnTo>
                    <a:lnTo>
                      <a:pt x="9637" y="1959"/>
                    </a:lnTo>
                    <a:lnTo>
                      <a:pt x="9640" y="1957"/>
                    </a:lnTo>
                    <a:lnTo>
                      <a:pt x="9643" y="1953"/>
                    </a:lnTo>
                    <a:lnTo>
                      <a:pt x="9642" y="1953"/>
                    </a:lnTo>
                    <a:lnTo>
                      <a:pt x="9640" y="1953"/>
                    </a:lnTo>
                    <a:lnTo>
                      <a:pt x="9635" y="1953"/>
                    </a:lnTo>
                    <a:lnTo>
                      <a:pt x="9629" y="1953"/>
                    </a:lnTo>
                    <a:lnTo>
                      <a:pt x="9627" y="1953"/>
                    </a:lnTo>
                    <a:lnTo>
                      <a:pt x="9622" y="1953"/>
                    </a:lnTo>
                    <a:lnTo>
                      <a:pt x="9621" y="1953"/>
                    </a:lnTo>
                    <a:lnTo>
                      <a:pt x="9619" y="1953"/>
                    </a:lnTo>
                    <a:lnTo>
                      <a:pt x="9617" y="1953"/>
                    </a:lnTo>
                    <a:lnTo>
                      <a:pt x="9617" y="1952"/>
                    </a:lnTo>
                    <a:lnTo>
                      <a:pt x="9619" y="1949"/>
                    </a:lnTo>
                    <a:lnTo>
                      <a:pt x="9615" y="1952"/>
                    </a:lnTo>
                    <a:lnTo>
                      <a:pt x="9612" y="1953"/>
                    </a:lnTo>
                    <a:lnTo>
                      <a:pt x="9610" y="1953"/>
                    </a:lnTo>
                    <a:lnTo>
                      <a:pt x="9606" y="1953"/>
                    </a:lnTo>
                    <a:lnTo>
                      <a:pt x="9602" y="1952"/>
                    </a:lnTo>
                    <a:lnTo>
                      <a:pt x="9599" y="1949"/>
                    </a:lnTo>
                    <a:lnTo>
                      <a:pt x="9595" y="1947"/>
                    </a:lnTo>
                    <a:lnTo>
                      <a:pt x="9589" y="1944"/>
                    </a:lnTo>
                    <a:lnTo>
                      <a:pt x="9584" y="1939"/>
                    </a:lnTo>
                    <a:lnTo>
                      <a:pt x="9576" y="1935"/>
                    </a:lnTo>
                    <a:lnTo>
                      <a:pt x="9573" y="1932"/>
                    </a:lnTo>
                    <a:lnTo>
                      <a:pt x="9571" y="1931"/>
                    </a:lnTo>
                    <a:lnTo>
                      <a:pt x="9568" y="1931"/>
                    </a:lnTo>
                    <a:lnTo>
                      <a:pt x="9564" y="1932"/>
                    </a:lnTo>
                    <a:lnTo>
                      <a:pt x="9560" y="1935"/>
                    </a:lnTo>
                    <a:lnTo>
                      <a:pt x="9558" y="1937"/>
                    </a:lnTo>
                    <a:lnTo>
                      <a:pt x="9551" y="1942"/>
                    </a:lnTo>
                    <a:lnTo>
                      <a:pt x="9541" y="1949"/>
                    </a:lnTo>
                    <a:lnTo>
                      <a:pt x="9532" y="1953"/>
                    </a:lnTo>
                    <a:lnTo>
                      <a:pt x="9523" y="1959"/>
                    </a:lnTo>
                    <a:lnTo>
                      <a:pt x="9514" y="1964"/>
                    </a:lnTo>
                    <a:lnTo>
                      <a:pt x="9503" y="1968"/>
                    </a:lnTo>
                    <a:lnTo>
                      <a:pt x="9481" y="1975"/>
                    </a:lnTo>
                    <a:lnTo>
                      <a:pt x="9456" y="1981"/>
                    </a:lnTo>
                    <a:lnTo>
                      <a:pt x="9446" y="1983"/>
                    </a:lnTo>
                    <a:lnTo>
                      <a:pt x="9436" y="1985"/>
                    </a:lnTo>
                    <a:lnTo>
                      <a:pt x="9428" y="1986"/>
                    </a:lnTo>
                    <a:lnTo>
                      <a:pt x="9418" y="1988"/>
                    </a:lnTo>
                    <a:lnTo>
                      <a:pt x="9408" y="1988"/>
                    </a:lnTo>
                    <a:lnTo>
                      <a:pt x="9403" y="1988"/>
                    </a:lnTo>
                    <a:lnTo>
                      <a:pt x="9403" y="1983"/>
                    </a:lnTo>
                    <a:lnTo>
                      <a:pt x="9405" y="1977"/>
                    </a:lnTo>
                    <a:lnTo>
                      <a:pt x="9408" y="1973"/>
                    </a:lnTo>
                    <a:lnTo>
                      <a:pt x="9410" y="1972"/>
                    </a:lnTo>
                    <a:lnTo>
                      <a:pt x="9414" y="1968"/>
                    </a:lnTo>
                    <a:lnTo>
                      <a:pt x="9418" y="1964"/>
                    </a:lnTo>
                    <a:lnTo>
                      <a:pt x="9420" y="1959"/>
                    </a:lnTo>
                    <a:lnTo>
                      <a:pt x="9420" y="1953"/>
                    </a:lnTo>
                    <a:lnTo>
                      <a:pt x="9425" y="1947"/>
                    </a:lnTo>
                    <a:lnTo>
                      <a:pt x="9433" y="1944"/>
                    </a:lnTo>
                    <a:lnTo>
                      <a:pt x="9438" y="1940"/>
                    </a:lnTo>
                    <a:lnTo>
                      <a:pt x="9446" y="1939"/>
                    </a:lnTo>
                    <a:lnTo>
                      <a:pt x="9451" y="1937"/>
                    </a:lnTo>
                    <a:lnTo>
                      <a:pt x="9459" y="1937"/>
                    </a:lnTo>
                    <a:lnTo>
                      <a:pt x="9471" y="1937"/>
                    </a:lnTo>
                    <a:lnTo>
                      <a:pt x="9475" y="1937"/>
                    </a:lnTo>
                    <a:lnTo>
                      <a:pt x="9481" y="1937"/>
                    </a:lnTo>
                    <a:lnTo>
                      <a:pt x="9488" y="1937"/>
                    </a:lnTo>
                    <a:lnTo>
                      <a:pt x="9495" y="1937"/>
                    </a:lnTo>
                    <a:lnTo>
                      <a:pt x="9503" y="1935"/>
                    </a:lnTo>
                    <a:lnTo>
                      <a:pt x="9512" y="1935"/>
                    </a:lnTo>
                    <a:lnTo>
                      <a:pt x="9528" y="1932"/>
                    </a:lnTo>
                    <a:lnTo>
                      <a:pt x="9538" y="1931"/>
                    </a:lnTo>
                    <a:lnTo>
                      <a:pt x="9547" y="1927"/>
                    </a:lnTo>
                    <a:lnTo>
                      <a:pt x="9555" y="1925"/>
                    </a:lnTo>
                    <a:lnTo>
                      <a:pt x="9561" y="1922"/>
                    </a:lnTo>
                    <a:lnTo>
                      <a:pt x="9568" y="1918"/>
                    </a:lnTo>
                    <a:lnTo>
                      <a:pt x="9571" y="1912"/>
                    </a:lnTo>
                    <a:lnTo>
                      <a:pt x="9573" y="1907"/>
                    </a:lnTo>
                    <a:lnTo>
                      <a:pt x="9575" y="1906"/>
                    </a:lnTo>
                    <a:lnTo>
                      <a:pt x="9575" y="1901"/>
                    </a:lnTo>
                    <a:lnTo>
                      <a:pt x="9575" y="1899"/>
                    </a:lnTo>
                    <a:lnTo>
                      <a:pt x="9573" y="1898"/>
                    </a:lnTo>
                    <a:lnTo>
                      <a:pt x="9571" y="1896"/>
                    </a:lnTo>
                    <a:lnTo>
                      <a:pt x="9568" y="1892"/>
                    </a:lnTo>
                    <a:lnTo>
                      <a:pt x="9561" y="1888"/>
                    </a:lnTo>
                    <a:lnTo>
                      <a:pt x="9555" y="1885"/>
                    </a:lnTo>
                    <a:lnTo>
                      <a:pt x="9549" y="1883"/>
                    </a:lnTo>
                    <a:lnTo>
                      <a:pt x="9535" y="1876"/>
                    </a:lnTo>
                    <a:lnTo>
                      <a:pt x="9527" y="1873"/>
                    </a:lnTo>
                    <a:lnTo>
                      <a:pt x="9520" y="1870"/>
                    </a:lnTo>
                    <a:lnTo>
                      <a:pt x="9514" y="1866"/>
                    </a:lnTo>
                    <a:lnTo>
                      <a:pt x="9508" y="1863"/>
                    </a:lnTo>
                    <a:lnTo>
                      <a:pt x="9505" y="1861"/>
                    </a:lnTo>
                    <a:lnTo>
                      <a:pt x="9505" y="1858"/>
                    </a:lnTo>
                    <a:lnTo>
                      <a:pt x="9503" y="1857"/>
                    </a:lnTo>
                    <a:lnTo>
                      <a:pt x="9503" y="1855"/>
                    </a:lnTo>
                    <a:lnTo>
                      <a:pt x="9503" y="1853"/>
                    </a:lnTo>
                    <a:lnTo>
                      <a:pt x="9505" y="1851"/>
                    </a:lnTo>
                    <a:lnTo>
                      <a:pt x="9507" y="1851"/>
                    </a:lnTo>
                    <a:lnTo>
                      <a:pt x="9508" y="1848"/>
                    </a:lnTo>
                    <a:lnTo>
                      <a:pt x="9512" y="1846"/>
                    </a:lnTo>
                    <a:lnTo>
                      <a:pt x="9515" y="1845"/>
                    </a:lnTo>
                    <a:lnTo>
                      <a:pt x="9518" y="1844"/>
                    </a:lnTo>
                    <a:lnTo>
                      <a:pt x="9507" y="1846"/>
                    </a:lnTo>
                    <a:lnTo>
                      <a:pt x="9497" y="1848"/>
                    </a:lnTo>
                    <a:lnTo>
                      <a:pt x="9490" y="1848"/>
                    </a:lnTo>
                    <a:lnTo>
                      <a:pt x="9482" y="1848"/>
                    </a:lnTo>
                    <a:lnTo>
                      <a:pt x="9475" y="1848"/>
                    </a:lnTo>
                    <a:lnTo>
                      <a:pt x="9467" y="1846"/>
                    </a:lnTo>
                    <a:lnTo>
                      <a:pt x="9462" y="1842"/>
                    </a:lnTo>
                    <a:lnTo>
                      <a:pt x="9459" y="1838"/>
                    </a:lnTo>
                    <a:lnTo>
                      <a:pt x="9454" y="1833"/>
                    </a:lnTo>
                    <a:lnTo>
                      <a:pt x="9461" y="1833"/>
                    </a:lnTo>
                    <a:lnTo>
                      <a:pt x="9469" y="1833"/>
                    </a:lnTo>
                    <a:lnTo>
                      <a:pt x="9479" y="1833"/>
                    </a:lnTo>
                    <a:lnTo>
                      <a:pt x="9486" y="1832"/>
                    </a:lnTo>
                    <a:lnTo>
                      <a:pt x="9494" y="1830"/>
                    </a:lnTo>
                    <a:lnTo>
                      <a:pt x="9497" y="1827"/>
                    </a:lnTo>
                    <a:lnTo>
                      <a:pt x="9499" y="1825"/>
                    </a:lnTo>
                    <a:lnTo>
                      <a:pt x="9503" y="1824"/>
                    </a:lnTo>
                    <a:lnTo>
                      <a:pt x="9505" y="1822"/>
                    </a:lnTo>
                    <a:lnTo>
                      <a:pt x="9505" y="1818"/>
                    </a:lnTo>
                    <a:lnTo>
                      <a:pt x="9507" y="1817"/>
                    </a:lnTo>
                    <a:lnTo>
                      <a:pt x="9503" y="1812"/>
                    </a:lnTo>
                    <a:lnTo>
                      <a:pt x="9499" y="1811"/>
                    </a:lnTo>
                    <a:lnTo>
                      <a:pt x="9495" y="1809"/>
                    </a:lnTo>
                    <a:lnTo>
                      <a:pt x="9492" y="1809"/>
                    </a:lnTo>
                    <a:lnTo>
                      <a:pt x="9486" y="1807"/>
                    </a:lnTo>
                    <a:lnTo>
                      <a:pt x="9481" y="1807"/>
                    </a:lnTo>
                    <a:lnTo>
                      <a:pt x="9474" y="1807"/>
                    </a:lnTo>
                    <a:lnTo>
                      <a:pt x="9467" y="1805"/>
                    </a:lnTo>
                    <a:lnTo>
                      <a:pt x="9464" y="1805"/>
                    </a:lnTo>
                    <a:lnTo>
                      <a:pt x="9463" y="1805"/>
                    </a:lnTo>
                    <a:lnTo>
                      <a:pt x="9454" y="1807"/>
                    </a:lnTo>
                    <a:lnTo>
                      <a:pt x="9440" y="1811"/>
                    </a:lnTo>
                    <a:lnTo>
                      <a:pt x="9428" y="1812"/>
                    </a:lnTo>
                    <a:lnTo>
                      <a:pt x="9414" y="1815"/>
                    </a:lnTo>
                    <a:lnTo>
                      <a:pt x="9403" y="1817"/>
                    </a:lnTo>
                    <a:lnTo>
                      <a:pt x="9407" y="1812"/>
                    </a:lnTo>
                    <a:lnTo>
                      <a:pt x="9410" y="1807"/>
                    </a:lnTo>
                    <a:lnTo>
                      <a:pt x="9414" y="1804"/>
                    </a:lnTo>
                    <a:lnTo>
                      <a:pt x="9420" y="1797"/>
                    </a:lnTo>
                    <a:lnTo>
                      <a:pt x="9429" y="1787"/>
                    </a:lnTo>
                    <a:lnTo>
                      <a:pt x="9433" y="1781"/>
                    </a:lnTo>
                    <a:lnTo>
                      <a:pt x="9436" y="1776"/>
                    </a:lnTo>
                    <a:lnTo>
                      <a:pt x="9440" y="1771"/>
                    </a:lnTo>
                    <a:lnTo>
                      <a:pt x="9442" y="1764"/>
                    </a:lnTo>
                    <a:lnTo>
                      <a:pt x="9442" y="1759"/>
                    </a:lnTo>
                    <a:lnTo>
                      <a:pt x="9442" y="1756"/>
                    </a:lnTo>
                    <a:lnTo>
                      <a:pt x="9438" y="1751"/>
                    </a:lnTo>
                    <a:lnTo>
                      <a:pt x="9436" y="1750"/>
                    </a:lnTo>
                    <a:lnTo>
                      <a:pt x="9434" y="1750"/>
                    </a:lnTo>
                    <a:lnTo>
                      <a:pt x="9431" y="1748"/>
                    </a:lnTo>
                    <a:lnTo>
                      <a:pt x="9429" y="1748"/>
                    </a:lnTo>
                    <a:lnTo>
                      <a:pt x="9423" y="1748"/>
                    </a:lnTo>
                    <a:lnTo>
                      <a:pt x="9420" y="1748"/>
                    </a:lnTo>
                    <a:lnTo>
                      <a:pt x="9413" y="1748"/>
                    </a:lnTo>
                    <a:lnTo>
                      <a:pt x="9405" y="1750"/>
                    </a:lnTo>
                    <a:lnTo>
                      <a:pt x="9395" y="1750"/>
                    </a:lnTo>
                    <a:lnTo>
                      <a:pt x="9387" y="1751"/>
                    </a:lnTo>
                    <a:lnTo>
                      <a:pt x="9383" y="1751"/>
                    </a:lnTo>
                    <a:lnTo>
                      <a:pt x="9379" y="1750"/>
                    </a:lnTo>
                    <a:lnTo>
                      <a:pt x="9377" y="1748"/>
                    </a:lnTo>
                    <a:lnTo>
                      <a:pt x="9374" y="1746"/>
                    </a:lnTo>
                    <a:lnTo>
                      <a:pt x="9372" y="1744"/>
                    </a:lnTo>
                    <a:lnTo>
                      <a:pt x="9370" y="1741"/>
                    </a:lnTo>
                    <a:lnTo>
                      <a:pt x="9368" y="1735"/>
                    </a:lnTo>
                    <a:lnTo>
                      <a:pt x="9368" y="1730"/>
                    </a:lnTo>
                    <a:lnTo>
                      <a:pt x="9364" y="1730"/>
                    </a:lnTo>
                    <a:lnTo>
                      <a:pt x="9362" y="1730"/>
                    </a:lnTo>
                    <a:lnTo>
                      <a:pt x="9360" y="1728"/>
                    </a:lnTo>
                    <a:lnTo>
                      <a:pt x="9359" y="1724"/>
                    </a:lnTo>
                    <a:lnTo>
                      <a:pt x="9359" y="1723"/>
                    </a:lnTo>
                    <a:lnTo>
                      <a:pt x="9359" y="1718"/>
                    </a:lnTo>
                    <a:lnTo>
                      <a:pt x="9359" y="1715"/>
                    </a:lnTo>
                    <a:lnTo>
                      <a:pt x="9357" y="1715"/>
                    </a:lnTo>
                    <a:lnTo>
                      <a:pt x="9355" y="1713"/>
                    </a:lnTo>
                    <a:lnTo>
                      <a:pt x="9354" y="1713"/>
                    </a:lnTo>
                    <a:lnTo>
                      <a:pt x="9352" y="1713"/>
                    </a:lnTo>
                    <a:lnTo>
                      <a:pt x="9346" y="1713"/>
                    </a:lnTo>
                    <a:lnTo>
                      <a:pt x="9340" y="1713"/>
                    </a:lnTo>
                    <a:lnTo>
                      <a:pt x="9339" y="1713"/>
                    </a:lnTo>
                    <a:lnTo>
                      <a:pt x="9337" y="1711"/>
                    </a:lnTo>
                    <a:lnTo>
                      <a:pt x="9334" y="1710"/>
                    </a:lnTo>
                    <a:lnTo>
                      <a:pt x="9334" y="1705"/>
                    </a:lnTo>
                    <a:lnTo>
                      <a:pt x="9334" y="1702"/>
                    </a:lnTo>
                    <a:lnTo>
                      <a:pt x="9334" y="1697"/>
                    </a:lnTo>
                    <a:lnTo>
                      <a:pt x="9340" y="1697"/>
                    </a:lnTo>
                    <a:lnTo>
                      <a:pt x="9344" y="1697"/>
                    </a:lnTo>
                    <a:lnTo>
                      <a:pt x="9347" y="1697"/>
                    </a:lnTo>
                    <a:lnTo>
                      <a:pt x="9352" y="1697"/>
                    </a:lnTo>
                    <a:lnTo>
                      <a:pt x="9354" y="1697"/>
                    </a:lnTo>
                    <a:lnTo>
                      <a:pt x="9357" y="1697"/>
                    </a:lnTo>
                    <a:lnTo>
                      <a:pt x="9362" y="1697"/>
                    </a:lnTo>
                    <a:lnTo>
                      <a:pt x="9368" y="1697"/>
                    </a:lnTo>
                    <a:lnTo>
                      <a:pt x="9364" y="1693"/>
                    </a:lnTo>
                    <a:lnTo>
                      <a:pt x="9360" y="1690"/>
                    </a:lnTo>
                    <a:lnTo>
                      <a:pt x="9357" y="1689"/>
                    </a:lnTo>
                    <a:lnTo>
                      <a:pt x="9354" y="1689"/>
                    </a:lnTo>
                    <a:lnTo>
                      <a:pt x="9347" y="1689"/>
                    </a:lnTo>
                    <a:lnTo>
                      <a:pt x="9344" y="1689"/>
                    </a:lnTo>
                    <a:lnTo>
                      <a:pt x="9340" y="1689"/>
                    </a:lnTo>
                    <a:lnTo>
                      <a:pt x="9334" y="1690"/>
                    </a:lnTo>
                    <a:lnTo>
                      <a:pt x="9327" y="1695"/>
                    </a:lnTo>
                    <a:lnTo>
                      <a:pt x="9326" y="1698"/>
                    </a:lnTo>
                    <a:lnTo>
                      <a:pt x="9322" y="1700"/>
                    </a:lnTo>
                    <a:lnTo>
                      <a:pt x="9321" y="1704"/>
                    </a:lnTo>
                    <a:lnTo>
                      <a:pt x="9318" y="1705"/>
                    </a:lnTo>
                    <a:lnTo>
                      <a:pt x="9316" y="1710"/>
                    </a:lnTo>
                    <a:lnTo>
                      <a:pt x="9316" y="1713"/>
                    </a:lnTo>
                    <a:lnTo>
                      <a:pt x="9313" y="1717"/>
                    </a:lnTo>
                    <a:lnTo>
                      <a:pt x="9311" y="1718"/>
                    </a:lnTo>
                    <a:lnTo>
                      <a:pt x="9309" y="1718"/>
                    </a:lnTo>
                    <a:lnTo>
                      <a:pt x="9306" y="1720"/>
                    </a:lnTo>
                    <a:lnTo>
                      <a:pt x="9303" y="1720"/>
                    </a:lnTo>
                    <a:lnTo>
                      <a:pt x="9301" y="1720"/>
                    </a:lnTo>
                    <a:lnTo>
                      <a:pt x="9300" y="1718"/>
                    </a:lnTo>
                    <a:lnTo>
                      <a:pt x="9296" y="1717"/>
                    </a:lnTo>
                    <a:lnTo>
                      <a:pt x="9293" y="1715"/>
                    </a:lnTo>
                    <a:lnTo>
                      <a:pt x="9288" y="1713"/>
                    </a:lnTo>
                    <a:lnTo>
                      <a:pt x="9283" y="1713"/>
                    </a:lnTo>
                    <a:lnTo>
                      <a:pt x="9281" y="1713"/>
                    </a:lnTo>
                    <a:lnTo>
                      <a:pt x="9280" y="1713"/>
                    </a:lnTo>
                    <a:lnTo>
                      <a:pt x="9278" y="1713"/>
                    </a:lnTo>
                    <a:lnTo>
                      <a:pt x="9273" y="1715"/>
                    </a:lnTo>
                    <a:lnTo>
                      <a:pt x="9270" y="1717"/>
                    </a:lnTo>
                    <a:lnTo>
                      <a:pt x="9268" y="1720"/>
                    </a:lnTo>
                    <a:lnTo>
                      <a:pt x="9265" y="1724"/>
                    </a:lnTo>
                    <a:lnTo>
                      <a:pt x="9265" y="1730"/>
                    </a:lnTo>
                    <a:lnTo>
                      <a:pt x="9267" y="1730"/>
                    </a:lnTo>
                    <a:lnTo>
                      <a:pt x="9270" y="1730"/>
                    </a:lnTo>
                    <a:lnTo>
                      <a:pt x="9272" y="1730"/>
                    </a:lnTo>
                    <a:lnTo>
                      <a:pt x="9278" y="1730"/>
                    </a:lnTo>
                    <a:lnTo>
                      <a:pt x="9281" y="1731"/>
                    </a:lnTo>
                    <a:lnTo>
                      <a:pt x="9291" y="1731"/>
                    </a:lnTo>
                    <a:lnTo>
                      <a:pt x="9300" y="1733"/>
                    </a:lnTo>
                    <a:lnTo>
                      <a:pt x="9306" y="1735"/>
                    </a:lnTo>
                    <a:lnTo>
                      <a:pt x="9309" y="1738"/>
                    </a:lnTo>
                    <a:lnTo>
                      <a:pt x="9311" y="1739"/>
                    </a:lnTo>
                    <a:lnTo>
                      <a:pt x="9314" y="1741"/>
                    </a:lnTo>
                    <a:lnTo>
                      <a:pt x="9316" y="1744"/>
                    </a:lnTo>
                    <a:lnTo>
                      <a:pt x="9316" y="1748"/>
                    </a:lnTo>
                    <a:lnTo>
                      <a:pt x="9321" y="1750"/>
                    </a:lnTo>
                    <a:lnTo>
                      <a:pt x="9322" y="1754"/>
                    </a:lnTo>
                    <a:lnTo>
                      <a:pt x="9322" y="1758"/>
                    </a:lnTo>
                    <a:lnTo>
                      <a:pt x="9324" y="1763"/>
                    </a:lnTo>
                    <a:lnTo>
                      <a:pt x="9324" y="1766"/>
                    </a:lnTo>
                    <a:lnTo>
                      <a:pt x="9322" y="1771"/>
                    </a:lnTo>
                    <a:lnTo>
                      <a:pt x="9321" y="1776"/>
                    </a:lnTo>
                    <a:lnTo>
                      <a:pt x="9318" y="1779"/>
                    </a:lnTo>
                    <a:lnTo>
                      <a:pt x="9316" y="1784"/>
                    </a:lnTo>
                    <a:lnTo>
                      <a:pt x="9313" y="1787"/>
                    </a:lnTo>
                    <a:lnTo>
                      <a:pt x="9309" y="1791"/>
                    </a:lnTo>
                    <a:lnTo>
                      <a:pt x="9306" y="1792"/>
                    </a:lnTo>
                    <a:lnTo>
                      <a:pt x="9300" y="1796"/>
                    </a:lnTo>
                    <a:lnTo>
                      <a:pt x="9294" y="1797"/>
                    </a:lnTo>
                    <a:lnTo>
                      <a:pt x="9288" y="1797"/>
                    </a:lnTo>
                    <a:lnTo>
                      <a:pt x="9283" y="1800"/>
                    </a:lnTo>
                    <a:lnTo>
                      <a:pt x="9280" y="1800"/>
                    </a:lnTo>
                    <a:lnTo>
                      <a:pt x="9278" y="1800"/>
                    </a:lnTo>
                    <a:lnTo>
                      <a:pt x="9272" y="1800"/>
                    </a:lnTo>
                    <a:lnTo>
                      <a:pt x="9265" y="1800"/>
                    </a:lnTo>
                    <a:lnTo>
                      <a:pt x="9255" y="1802"/>
                    </a:lnTo>
                    <a:lnTo>
                      <a:pt x="9247" y="1802"/>
                    </a:lnTo>
                    <a:lnTo>
                      <a:pt x="9237" y="1802"/>
                    </a:lnTo>
                    <a:lnTo>
                      <a:pt x="9215" y="1804"/>
                    </a:lnTo>
                    <a:lnTo>
                      <a:pt x="9206" y="1804"/>
                    </a:lnTo>
                    <a:lnTo>
                      <a:pt x="9194" y="1802"/>
                    </a:lnTo>
                    <a:lnTo>
                      <a:pt x="9186" y="1800"/>
                    </a:lnTo>
                    <a:lnTo>
                      <a:pt x="9178" y="1797"/>
                    </a:lnTo>
                    <a:lnTo>
                      <a:pt x="9171" y="1796"/>
                    </a:lnTo>
                    <a:lnTo>
                      <a:pt x="9169" y="1794"/>
                    </a:lnTo>
                    <a:lnTo>
                      <a:pt x="9165" y="1792"/>
                    </a:lnTo>
                    <a:lnTo>
                      <a:pt x="9163" y="1791"/>
                    </a:lnTo>
                    <a:lnTo>
                      <a:pt x="9163" y="1787"/>
                    </a:lnTo>
                    <a:lnTo>
                      <a:pt x="9161" y="1785"/>
                    </a:lnTo>
                    <a:lnTo>
                      <a:pt x="9161" y="1781"/>
                    </a:lnTo>
                    <a:lnTo>
                      <a:pt x="9156" y="1785"/>
                    </a:lnTo>
                    <a:lnTo>
                      <a:pt x="9153" y="1787"/>
                    </a:lnTo>
                    <a:lnTo>
                      <a:pt x="9146" y="1789"/>
                    </a:lnTo>
                    <a:lnTo>
                      <a:pt x="9141" y="1789"/>
                    </a:lnTo>
                    <a:lnTo>
                      <a:pt x="9135" y="1789"/>
                    </a:lnTo>
                    <a:lnTo>
                      <a:pt x="9130" y="1789"/>
                    </a:lnTo>
                    <a:lnTo>
                      <a:pt x="9117" y="1789"/>
                    </a:lnTo>
                    <a:lnTo>
                      <a:pt x="9104" y="1787"/>
                    </a:lnTo>
                    <a:lnTo>
                      <a:pt x="9093" y="1784"/>
                    </a:lnTo>
                    <a:lnTo>
                      <a:pt x="9080" y="1779"/>
                    </a:lnTo>
                    <a:lnTo>
                      <a:pt x="9067" y="1774"/>
                    </a:lnTo>
                    <a:lnTo>
                      <a:pt x="9054" y="1771"/>
                    </a:lnTo>
                    <a:lnTo>
                      <a:pt x="9041" y="1769"/>
                    </a:lnTo>
                    <a:lnTo>
                      <a:pt x="9028" y="1764"/>
                    </a:lnTo>
                    <a:lnTo>
                      <a:pt x="9016" y="1764"/>
                    </a:lnTo>
                    <a:lnTo>
                      <a:pt x="9010" y="1764"/>
                    </a:lnTo>
                    <a:lnTo>
                      <a:pt x="9005" y="1764"/>
                    </a:lnTo>
                    <a:lnTo>
                      <a:pt x="8998" y="1766"/>
                    </a:lnTo>
                    <a:lnTo>
                      <a:pt x="8993" y="1769"/>
                    </a:lnTo>
                    <a:lnTo>
                      <a:pt x="8988" y="1771"/>
                    </a:lnTo>
                    <a:lnTo>
                      <a:pt x="8982" y="1774"/>
                    </a:lnTo>
                    <a:lnTo>
                      <a:pt x="8977" y="1778"/>
                    </a:lnTo>
                    <a:lnTo>
                      <a:pt x="8973" y="1781"/>
                    </a:lnTo>
                    <a:lnTo>
                      <a:pt x="8979" y="1781"/>
                    </a:lnTo>
                    <a:lnTo>
                      <a:pt x="8982" y="1781"/>
                    </a:lnTo>
                    <a:lnTo>
                      <a:pt x="8986" y="1781"/>
                    </a:lnTo>
                    <a:lnTo>
                      <a:pt x="8990" y="1781"/>
                    </a:lnTo>
                    <a:lnTo>
                      <a:pt x="8993" y="1781"/>
                    </a:lnTo>
                    <a:lnTo>
                      <a:pt x="8997" y="1781"/>
                    </a:lnTo>
                    <a:lnTo>
                      <a:pt x="9001" y="1781"/>
                    </a:lnTo>
                    <a:lnTo>
                      <a:pt x="9008" y="1781"/>
                    </a:lnTo>
                    <a:lnTo>
                      <a:pt x="9012" y="1781"/>
                    </a:lnTo>
                    <a:lnTo>
                      <a:pt x="9018" y="1785"/>
                    </a:lnTo>
                    <a:lnTo>
                      <a:pt x="9019" y="1787"/>
                    </a:lnTo>
                    <a:lnTo>
                      <a:pt x="9021" y="1791"/>
                    </a:lnTo>
                    <a:lnTo>
                      <a:pt x="9023" y="1794"/>
                    </a:lnTo>
                    <a:lnTo>
                      <a:pt x="9023" y="1796"/>
                    </a:lnTo>
                    <a:lnTo>
                      <a:pt x="9025" y="1797"/>
                    </a:lnTo>
                    <a:lnTo>
                      <a:pt x="9025" y="1800"/>
                    </a:lnTo>
                    <a:lnTo>
                      <a:pt x="9026" y="1802"/>
                    </a:lnTo>
                    <a:lnTo>
                      <a:pt x="9028" y="1805"/>
                    </a:lnTo>
                    <a:lnTo>
                      <a:pt x="9028" y="1809"/>
                    </a:lnTo>
                    <a:lnTo>
                      <a:pt x="9028" y="1811"/>
                    </a:lnTo>
                    <a:lnTo>
                      <a:pt x="9028" y="1815"/>
                    </a:lnTo>
                    <a:lnTo>
                      <a:pt x="9026" y="1817"/>
                    </a:lnTo>
                    <a:lnTo>
                      <a:pt x="9023" y="1820"/>
                    </a:lnTo>
                    <a:lnTo>
                      <a:pt x="9019" y="1822"/>
                    </a:lnTo>
                    <a:lnTo>
                      <a:pt x="9018" y="1822"/>
                    </a:lnTo>
                    <a:lnTo>
                      <a:pt x="9016" y="1822"/>
                    </a:lnTo>
                    <a:lnTo>
                      <a:pt x="9012" y="1822"/>
                    </a:lnTo>
                    <a:lnTo>
                      <a:pt x="9010" y="1822"/>
                    </a:lnTo>
                    <a:lnTo>
                      <a:pt x="9008" y="1820"/>
                    </a:lnTo>
                    <a:lnTo>
                      <a:pt x="9008" y="1818"/>
                    </a:lnTo>
                    <a:lnTo>
                      <a:pt x="9008" y="1817"/>
                    </a:lnTo>
                    <a:lnTo>
                      <a:pt x="8988" y="1804"/>
                    </a:lnTo>
                    <a:lnTo>
                      <a:pt x="8970" y="1791"/>
                    </a:lnTo>
                    <a:lnTo>
                      <a:pt x="8949" y="1779"/>
                    </a:lnTo>
                    <a:lnTo>
                      <a:pt x="8931" y="1769"/>
                    </a:lnTo>
                    <a:lnTo>
                      <a:pt x="8919" y="1764"/>
                    </a:lnTo>
                    <a:lnTo>
                      <a:pt x="8911" y="1759"/>
                    </a:lnTo>
                    <a:lnTo>
                      <a:pt x="8901" y="1756"/>
                    </a:lnTo>
                    <a:lnTo>
                      <a:pt x="8891" y="1754"/>
                    </a:lnTo>
                    <a:lnTo>
                      <a:pt x="8881" y="1750"/>
                    </a:lnTo>
                    <a:lnTo>
                      <a:pt x="8871" y="1748"/>
                    </a:lnTo>
                    <a:lnTo>
                      <a:pt x="8863" y="1748"/>
                    </a:lnTo>
                    <a:lnTo>
                      <a:pt x="8858" y="1748"/>
                    </a:lnTo>
                    <a:lnTo>
                      <a:pt x="8865" y="1750"/>
                    </a:lnTo>
                    <a:lnTo>
                      <a:pt x="8871" y="1751"/>
                    </a:lnTo>
                    <a:lnTo>
                      <a:pt x="8878" y="1756"/>
                    </a:lnTo>
                    <a:lnTo>
                      <a:pt x="8885" y="1759"/>
                    </a:lnTo>
                    <a:lnTo>
                      <a:pt x="8890" y="1761"/>
                    </a:lnTo>
                    <a:lnTo>
                      <a:pt x="8898" y="1763"/>
                    </a:lnTo>
                    <a:lnTo>
                      <a:pt x="8905" y="1764"/>
                    </a:lnTo>
                    <a:lnTo>
                      <a:pt x="8916" y="1776"/>
                    </a:lnTo>
                    <a:lnTo>
                      <a:pt x="8921" y="1784"/>
                    </a:lnTo>
                    <a:lnTo>
                      <a:pt x="8927" y="1789"/>
                    </a:lnTo>
                    <a:lnTo>
                      <a:pt x="8932" y="1792"/>
                    </a:lnTo>
                    <a:lnTo>
                      <a:pt x="8934" y="1796"/>
                    </a:lnTo>
                    <a:lnTo>
                      <a:pt x="8939" y="1797"/>
                    </a:lnTo>
                    <a:lnTo>
                      <a:pt x="8939" y="1800"/>
                    </a:lnTo>
                    <a:lnTo>
                      <a:pt x="8936" y="1800"/>
                    </a:lnTo>
                    <a:lnTo>
                      <a:pt x="8934" y="1800"/>
                    </a:lnTo>
                    <a:lnTo>
                      <a:pt x="8932" y="1802"/>
                    </a:lnTo>
                    <a:lnTo>
                      <a:pt x="8929" y="1804"/>
                    </a:lnTo>
                    <a:lnTo>
                      <a:pt x="8927" y="1804"/>
                    </a:lnTo>
                    <a:lnTo>
                      <a:pt x="8919" y="1807"/>
                    </a:lnTo>
                    <a:lnTo>
                      <a:pt x="8911" y="1811"/>
                    </a:lnTo>
                    <a:lnTo>
                      <a:pt x="8901" y="1812"/>
                    </a:lnTo>
                    <a:lnTo>
                      <a:pt x="8894" y="1815"/>
                    </a:lnTo>
                    <a:lnTo>
                      <a:pt x="8886" y="1817"/>
                    </a:lnTo>
                    <a:lnTo>
                      <a:pt x="8886" y="1815"/>
                    </a:lnTo>
                    <a:lnTo>
                      <a:pt x="8885" y="1815"/>
                    </a:lnTo>
                    <a:lnTo>
                      <a:pt x="8883" y="1812"/>
                    </a:lnTo>
                    <a:lnTo>
                      <a:pt x="8881" y="1812"/>
                    </a:lnTo>
                    <a:lnTo>
                      <a:pt x="8879" y="1811"/>
                    </a:lnTo>
                    <a:lnTo>
                      <a:pt x="8875" y="1811"/>
                    </a:lnTo>
                    <a:lnTo>
                      <a:pt x="8871" y="1809"/>
                    </a:lnTo>
                    <a:lnTo>
                      <a:pt x="8868" y="1807"/>
                    </a:lnTo>
                    <a:lnTo>
                      <a:pt x="8865" y="1804"/>
                    </a:lnTo>
                    <a:lnTo>
                      <a:pt x="8858" y="1802"/>
                    </a:lnTo>
                    <a:lnTo>
                      <a:pt x="8853" y="1800"/>
                    </a:lnTo>
                    <a:lnTo>
                      <a:pt x="8840" y="1797"/>
                    </a:lnTo>
                    <a:lnTo>
                      <a:pt x="8833" y="1797"/>
                    </a:lnTo>
                    <a:lnTo>
                      <a:pt x="8829" y="1796"/>
                    </a:lnTo>
                    <a:lnTo>
                      <a:pt x="8824" y="1794"/>
                    </a:lnTo>
                    <a:lnTo>
                      <a:pt x="8822" y="1792"/>
                    </a:lnTo>
                    <a:lnTo>
                      <a:pt x="8818" y="1787"/>
                    </a:lnTo>
                    <a:lnTo>
                      <a:pt x="8818" y="1781"/>
                    </a:lnTo>
                    <a:lnTo>
                      <a:pt x="8766" y="1781"/>
                    </a:lnTo>
                    <a:lnTo>
                      <a:pt x="8715" y="1781"/>
                    </a:lnTo>
                    <a:lnTo>
                      <a:pt x="8702" y="1781"/>
                    </a:lnTo>
                    <a:lnTo>
                      <a:pt x="8687" y="1784"/>
                    </a:lnTo>
                    <a:lnTo>
                      <a:pt x="8672" y="1787"/>
                    </a:lnTo>
                    <a:lnTo>
                      <a:pt x="8657" y="1789"/>
                    </a:lnTo>
                    <a:lnTo>
                      <a:pt x="8643" y="1789"/>
                    </a:lnTo>
                    <a:lnTo>
                      <a:pt x="8636" y="1789"/>
                    </a:lnTo>
                    <a:lnTo>
                      <a:pt x="8630" y="1789"/>
                    </a:lnTo>
                    <a:lnTo>
                      <a:pt x="8624" y="1789"/>
                    </a:lnTo>
                    <a:lnTo>
                      <a:pt x="8619" y="1787"/>
                    </a:lnTo>
                    <a:lnTo>
                      <a:pt x="8615" y="1785"/>
                    </a:lnTo>
                    <a:lnTo>
                      <a:pt x="8611" y="1781"/>
                    </a:lnTo>
                    <a:lnTo>
                      <a:pt x="8608" y="1778"/>
                    </a:lnTo>
                    <a:lnTo>
                      <a:pt x="8604" y="1776"/>
                    </a:lnTo>
                    <a:lnTo>
                      <a:pt x="8602" y="1774"/>
                    </a:lnTo>
                    <a:lnTo>
                      <a:pt x="8598" y="1774"/>
                    </a:lnTo>
                    <a:lnTo>
                      <a:pt x="8591" y="1772"/>
                    </a:lnTo>
                    <a:lnTo>
                      <a:pt x="8585" y="1772"/>
                    </a:lnTo>
                    <a:lnTo>
                      <a:pt x="8580" y="1772"/>
                    </a:lnTo>
                    <a:lnTo>
                      <a:pt x="8572" y="1772"/>
                    </a:lnTo>
                    <a:lnTo>
                      <a:pt x="8569" y="1771"/>
                    </a:lnTo>
                    <a:lnTo>
                      <a:pt x="8567" y="1769"/>
                    </a:lnTo>
                    <a:lnTo>
                      <a:pt x="8563" y="1766"/>
                    </a:lnTo>
                    <a:lnTo>
                      <a:pt x="8560" y="1764"/>
                    </a:lnTo>
                    <a:lnTo>
                      <a:pt x="8552" y="1764"/>
                    </a:lnTo>
                    <a:lnTo>
                      <a:pt x="8544" y="1764"/>
                    </a:lnTo>
                    <a:lnTo>
                      <a:pt x="8536" y="1764"/>
                    </a:lnTo>
                    <a:lnTo>
                      <a:pt x="8524" y="1766"/>
                    </a:lnTo>
                    <a:lnTo>
                      <a:pt x="8516" y="1769"/>
                    </a:lnTo>
                    <a:lnTo>
                      <a:pt x="8506" y="1772"/>
                    </a:lnTo>
                    <a:lnTo>
                      <a:pt x="8503" y="1774"/>
                    </a:lnTo>
                    <a:lnTo>
                      <a:pt x="8504" y="1774"/>
                    </a:lnTo>
                    <a:lnTo>
                      <a:pt x="8508" y="1774"/>
                    </a:lnTo>
                    <a:lnTo>
                      <a:pt x="8509" y="1774"/>
                    </a:lnTo>
                    <a:lnTo>
                      <a:pt x="8517" y="1774"/>
                    </a:lnTo>
                    <a:lnTo>
                      <a:pt x="8523" y="1778"/>
                    </a:lnTo>
                    <a:lnTo>
                      <a:pt x="8530" y="1779"/>
                    </a:lnTo>
                    <a:lnTo>
                      <a:pt x="8536" y="1781"/>
                    </a:lnTo>
                    <a:lnTo>
                      <a:pt x="8529" y="1781"/>
                    </a:lnTo>
                    <a:lnTo>
                      <a:pt x="8519" y="1781"/>
                    </a:lnTo>
                    <a:lnTo>
                      <a:pt x="8511" y="1781"/>
                    </a:lnTo>
                    <a:lnTo>
                      <a:pt x="8493" y="1779"/>
                    </a:lnTo>
                    <a:lnTo>
                      <a:pt x="8493" y="1779"/>
                    </a:lnTo>
                    <a:lnTo>
                      <a:pt x="8493" y="1779"/>
                    </a:lnTo>
                    <a:lnTo>
                      <a:pt x="8493" y="1779"/>
                    </a:lnTo>
                    <a:lnTo>
                      <a:pt x="8493" y="1779"/>
                    </a:lnTo>
                    <a:lnTo>
                      <a:pt x="8491" y="1781"/>
                    </a:lnTo>
                    <a:lnTo>
                      <a:pt x="8493" y="1779"/>
                    </a:lnTo>
                    <a:lnTo>
                      <a:pt x="8476" y="1778"/>
                    </a:lnTo>
                    <a:lnTo>
                      <a:pt x="8468" y="1776"/>
                    </a:lnTo>
                    <a:lnTo>
                      <a:pt x="8458" y="1774"/>
                    </a:lnTo>
                    <a:lnTo>
                      <a:pt x="8450" y="1771"/>
                    </a:lnTo>
                    <a:lnTo>
                      <a:pt x="8443" y="1766"/>
                    </a:lnTo>
                    <a:lnTo>
                      <a:pt x="8437" y="1763"/>
                    </a:lnTo>
                    <a:lnTo>
                      <a:pt x="8430" y="1759"/>
                    </a:lnTo>
                    <a:lnTo>
                      <a:pt x="8427" y="1754"/>
                    </a:lnTo>
                    <a:lnTo>
                      <a:pt x="8423" y="1748"/>
                    </a:lnTo>
                    <a:lnTo>
                      <a:pt x="8423" y="1744"/>
                    </a:lnTo>
                    <a:lnTo>
                      <a:pt x="8425" y="1741"/>
                    </a:lnTo>
                    <a:lnTo>
                      <a:pt x="8427" y="1738"/>
                    </a:lnTo>
                    <a:lnTo>
                      <a:pt x="8430" y="1735"/>
                    </a:lnTo>
                    <a:lnTo>
                      <a:pt x="8434" y="1731"/>
                    </a:lnTo>
                    <a:lnTo>
                      <a:pt x="8437" y="1729"/>
                    </a:lnTo>
                    <a:lnTo>
                      <a:pt x="8430" y="1731"/>
                    </a:lnTo>
                    <a:lnTo>
                      <a:pt x="8425" y="1733"/>
                    </a:lnTo>
                    <a:lnTo>
                      <a:pt x="8422" y="1735"/>
                    </a:lnTo>
                    <a:lnTo>
                      <a:pt x="8416" y="1735"/>
                    </a:lnTo>
                    <a:lnTo>
                      <a:pt x="8412" y="1733"/>
                    </a:lnTo>
                    <a:lnTo>
                      <a:pt x="8409" y="1731"/>
                    </a:lnTo>
                    <a:lnTo>
                      <a:pt x="8404" y="1730"/>
                    </a:lnTo>
                    <a:lnTo>
                      <a:pt x="8407" y="1730"/>
                    </a:lnTo>
                    <a:lnTo>
                      <a:pt x="8409" y="1730"/>
                    </a:lnTo>
                    <a:lnTo>
                      <a:pt x="8410" y="1728"/>
                    </a:lnTo>
                    <a:lnTo>
                      <a:pt x="8409" y="1728"/>
                    </a:lnTo>
                    <a:lnTo>
                      <a:pt x="8409" y="1726"/>
                    </a:lnTo>
                    <a:lnTo>
                      <a:pt x="8407" y="1726"/>
                    </a:lnTo>
                    <a:lnTo>
                      <a:pt x="8404" y="1724"/>
                    </a:lnTo>
                    <a:lnTo>
                      <a:pt x="8401" y="1724"/>
                    </a:lnTo>
                    <a:lnTo>
                      <a:pt x="8394" y="1723"/>
                    </a:lnTo>
                    <a:lnTo>
                      <a:pt x="8389" y="1723"/>
                    </a:lnTo>
                    <a:lnTo>
                      <a:pt x="8386" y="1723"/>
                    </a:lnTo>
                    <a:lnTo>
                      <a:pt x="8383" y="1724"/>
                    </a:lnTo>
                    <a:lnTo>
                      <a:pt x="8377" y="1724"/>
                    </a:lnTo>
                    <a:lnTo>
                      <a:pt x="8373" y="1728"/>
                    </a:lnTo>
                    <a:lnTo>
                      <a:pt x="8371" y="1730"/>
                    </a:lnTo>
                    <a:lnTo>
                      <a:pt x="8373" y="1730"/>
                    </a:lnTo>
                    <a:lnTo>
                      <a:pt x="8376" y="1730"/>
                    </a:lnTo>
                    <a:lnTo>
                      <a:pt x="8379" y="1730"/>
                    </a:lnTo>
                    <a:lnTo>
                      <a:pt x="8383" y="1730"/>
                    </a:lnTo>
                    <a:lnTo>
                      <a:pt x="8388" y="1730"/>
                    </a:lnTo>
                    <a:lnTo>
                      <a:pt x="8381" y="1733"/>
                    </a:lnTo>
                    <a:lnTo>
                      <a:pt x="8376" y="1735"/>
                    </a:lnTo>
                    <a:lnTo>
                      <a:pt x="8368" y="1738"/>
                    </a:lnTo>
                    <a:lnTo>
                      <a:pt x="8363" y="1738"/>
                    </a:lnTo>
                    <a:lnTo>
                      <a:pt x="8355" y="1738"/>
                    </a:lnTo>
                    <a:lnTo>
                      <a:pt x="8349" y="1738"/>
                    </a:lnTo>
                    <a:lnTo>
                      <a:pt x="8336" y="1738"/>
                    </a:lnTo>
                    <a:lnTo>
                      <a:pt x="8323" y="1735"/>
                    </a:lnTo>
                    <a:lnTo>
                      <a:pt x="8310" y="1731"/>
                    </a:lnTo>
                    <a:lnTo>
                      <a:pt x="8297" y="1730"/>
                    </a:lnTo>
                    <a:lnTo>
                      <a:pt x="8285" y="1730"/>
                    </a:lnTo>
                    <a:lnTo>
                      <a:pt x="8289" y="1731"/>
                    </a:lnTo>
                    <a:lnTo>
                      <a:pt x="8290" y="1733"/>
                    </a:lnTo>
                    <a:lnTo>
                      <a:pt x="8292" y="1733"/>
                    </a:lnTo>
                    <a:lnTo>
                      <a:pt x="8294" y="1735"/>
                    </a:lnTo>
                    <a:lnTo>
                      <a:pt x="8294" y="1738"/>
                    </a:lnTo>
                    <a:lnTo>
                      <a:pt x="8292" y="1738"/>
                    </a:lnTo>
                    <a:lnTo>
                      <a:pt x="8289" y="1738"/>
                    </a:lnTo>
                    <a:lnTo>
                      <a:pt x="8282" y="1738"/>
                    </a:lnTo>
                    <a:lnTo>
                      <a:pt x="8279" y="1738"/>
                    </a:lnTo>
                    <a:lnTo>
                      <a:pt x="8272" y="1735"/>
                    </a:lnTo>
                    <a:lnTo>
                      <a:pt x="8266" y="1735"/>
                    </a:lnTo>
                    <a:lnTo>
                      <a:pt x="8254" y="1731"/>
                    </a:lnTo>
                    <a:lnTo>
                      <a:pt x="8248" y="1731"/>
                    </a:lnTo>
                    <a:lnTo>
                      <a:pt x="8242" y="1730"/>
                    </a:lnTo>
                    <a:lnTo>
                      <a:pt x="8246" y="1730"/>
                    </a:lnTo>
                    <a:lnTo>
                      <a:pt x="8251" y="1730"/>
                    </a:lnTo>
                    <a:lnTo>
                      <a:pt x="8257" y="1730"/>
                    </a:lnTo>
                    <a:lnTo>
                      <a:pt x="8261" y="1730"/>
                    </a:lnTo>
                    <a:lnTo>
                      <a:pt x="8264" y="1730"/>
                    </a:lnTo>
                    <a:lnTo>
                      <a:pt x="8266" y="1730"/>
                    </a:lnTo>
                    <a:lnTo>
                      <a:pt x="8269" y="1730"/>
                    </a:lnTo>
                    <a:lnTo>
                      <a:pt x="8264" y="1726"/>
                    </a:lnTo>
                    <a:lnTo>
                      <a:pt x="8259" y="1724"/>
                    </a:lnTo>
                    <a:lnTo>
                      <a:pt x="8254" y="1723"/>
                    </a:lnTo>
                    <a:lnTo>
                      <a:pt x="8248" y="1720"/>
                    </a:lnTo>
                    <a:lnTo>
                      <a:pt x="8233" y="1717"/>
                    </a:lnTo>
                    <a:lnTo>
                      <a:pt x="8220" y="1713"/>
                    </a:lnTo>
                    <a:lnTo>
                      <a:pt x="8215" y="1711"/>
                    </a:lnTo>
                    <a:lnTo>
                      <a:pt x="8209" y="1710"/>
                    </a:lnTo>
                    <a:lnTo>
                      <a:pt x="8203" y="1708"/>
                    </a:lnTo>
                    <a:lnTo>
                      <a:pt x="8200" y="1705"/>
                    </a:lnTo>
                    <a:lnTo>
                      <a:pt x="8198" y="1704"/>
                    </a:lnTo>
                    <a:lnTo>
                      <a:pt x="8196" y="1702"/>
                    </a:lnTo>
                    <a:lnTo>
                      <a:pt x="8196" y="1698"/>
                    </a:lnTo>
                    <a:lnTo>
                      <a:pt x="8198" y="1697"/>
                    </a:lnTo>
                    <a:lnTo>
                      <a:pt x="8200" y="1697"/>
                    </a:lnTo>
                    <a:lnTo>
                      <a:pt x="8198" y="1693"/>
                    </a:lnTo>
                    <a:lnTo>
                      <a:pt x="8198" y="1689"/>
                    </a:lnTo>
                    <a:lnTo>
                      <a:pt x="8196" y="1685"/>
                    </a:lnTo>
                    <a:lnTo>
                      <a:pt x="8195" y="1684"/>
                    </a:lnTo>
                    <a:lnTo>
                      <a:pt x="8188" y="1676"/>
                    </a:lnTo>
                    <a:lnTo>
                      <a:pt x="8183" y="1672"/>
                    </a:lnTo>
                    <a:lnTo>
                      <a:pt x="8182" y="1669"/>
                    </a:lnTo>
                    <a:lnTo>
                      <a:pt x="8180" y="1667"/>
                    </a:lnTo>
                    <a:lnTo>
                      <a:pt x="8178" y="1665"/>
                    </a:lnTo>
                    <a:lnTo>
                      <a:pt x="8175" y="1665"/>
                    </a:lnTo>
                    <a:lnTo>
                      <a:pt x="8175" y="1664"/>
                    </a:lnTo>
                    <a:lnTo>
                      <a:pt x="8178" y="1662"/>
                    </a:lnTo>
                    <a:lnTo>
                      <a:pt x="8180" y="1662"/>
                    </a:lnTo>
                    <a:lnTo>
                      <a:pt x="8182" y="1662"/>
                    </a:lnTo>
                    <a:lnTo>
                      <a:pt x="8182" y="1656"/>
                    </a:lnTo>
                    <a:lnTo>
                      <a:pt x="8185" y="1650"/>
                    </a:lnTo>
                    <a:lnTo>
                      <a:pt x="8188" y="1647"/>
                    </a:lnTo>
                    <a:lnTo>
                      <a:pt x="8193" y="1644"/>
                    </a:lnTo>
                    <a:lnTo>
                      <a:pt x="8198" y="1641"/>
                    </a:lnTo>
                    <a:lnTo>
                      <a:pt x="8203" y="1637"/>
                    </a:lnTo>
                    <a:lnTo>
                      <a:pt x="8209" y="1632"/>
                    </a:lnTo>
                    <a:lnTo>
                      <a:pt x="8216" y="1626"/>
                    </a:lnTo>
                    <a:lnTo>
                      <a:pt x="8215" y="1626"/>
                    </a:lnTo>
                    <a:lnTo>
                      <a:pt x="8213" y="1624"/>
                    </a:lnTo>
                    <a:lnTo>
                      <a:pt x="8211" y="1623"/>
                    </a:lnTo>
                    <a:lnTo>
                      <a:pt x="8209" y="1619"/>
                    </a:lnTo>
                    <a:lnTo>
                      <a:pt x="8203" y="1615"/>
                    </a:lnTo>
                    <a:lnTo>
                      <a:pt x="8200" y="1610"/>
                    </a:lnTo>
                    <a:lnTo>
                      <a:pt x="8213" y="1610"/>
                    </a:lnTo>
                    <a:lnTo>
                      <a:pt x="8228" y="1613"/>
                    </a:lnTo>
                    <a:lnTo>
                      <a:pt x="8242" y="1615"/>
                    </a:lnTo>
                    <a:lnTo>
                      <a:pt x="8259" y="1621"/>
                    </a:lnTo>
                    <a:lnTo>
                      <a:pt x="8275" y="1624"/>
                    </a:lnTo>
                    <a:lnTo>
                      <a:pt x="8290" y="1632"/>
                    </a:lnTo>
                    <a:lnTo>
                      <a:pt x="8305" y="1637"/>
                    </a:lnTo>
                    <a:lnTo>
                      <a:pt x="8320" y="1644"/>
                    </a:lnTo>
                    <a:lnTo>
                      <a:pt x="8338" y="1643"/>
                    </a:lnTo>
                    <a:lnTo>
                      <a:pt x="8358" y="1641"/>
                    </a:lnTo>
                    <a:lnTo>
                      <a:pt x="8377" y="1639"/>
                    </a:lnTo>
                    <a:lnTo>
                      <a:pt x="8397" y="1636"/>
                    </a:lnTo>
                    <a:lnTo>
                      <a:pt x="8416" y="1632"/>
                    </a:lnTo>
                    <a:lnTo>
                      <a:pt x="8437" y="1630"/>
                    </a:lnTo>
                    <a:lnTo>
                      <a:pt x="8455" y="1626"/>
                    </a:lnTo>
                    <a:lnTo>
                      <a:pt x="8465" y="1626"/>
                    </a:lnTo>
                    <a:lnTo>
                      <a:pt x="8460" y="1624"/>
                    </a:lnTo>
                    <a:lnTo>
                      <a:pt x="8455" y="1623"/>
                    </a:lnTo>
                    <a:lnTo>
                      <a:pt x="8442" y="1621"/>
                    </a:lnTo>
                    <a:lnTo>
                      <a:pt x="8434" y="1619"/>
                    </a:lnTo>
                    <a:lnTo>
                      <a:pt x="8429" y="1615"/>
                    </a:lnTo>
                    <a:lnTo>
                      <a:pt x="8423" y="1613"/>
                    </a:lnTo>
                    <a:lnTo>
                      <a:pt x="8419" y="1611"/>
                    </a:lnTo>
                    <a:lnTo>
                      <a:pt x="8416" y="1608"/>
                    </a:lnTo>
                    <a:lnTo>
                      <a:pt x="8414" y="1604"/>
                    </a:lnTo>
                    <a:lnTo>
                      <a:pt x="8412" y="1603"/>
                    </a:lnTo>
                    <a:lnTo>
                      <a:pt x="8414" y="1600"/>
                    </a:lnTo>
                    <a:lnTo>
                      <a:pt x="8414" y="1598"/>
                    </a:lnTo>
                    <a:lnTo>
                      <a:pt x="8416" y="1596"/>
                    </a:lnTo>
                    <a:lnTo>
                      <a:pt x="8417" y="1595"/>
                    </a:lnTo>
                    <a:lnTo>
                      <a:pt x="8419" y="1593"/>
                    </a:lnTo>
                    <a:lnTo>
                      <a:pt x="8416" y="1593"/>
                    </a:lnTo>
                    <a:lnTo>
                      <a:pt x="8412" y="1593"/>
                    </a:lnTo>
                    <a:lnTo>
                      <a:pt x="8407" y="1591"/>
                    </a:lnTo>
                    <a:lnTo>
                      <a:pt x="8401" y="1591"/>
                    </a:lnTo>
                    <a:lnTo>
                      <a:pt x="8394" y="1591"/>
                    </a:lnTo>
                    <a:lnTo>
                      <a:pt x="8386" y="1591"/>
                    </a:lnTo>
                    <a:lnTo>
                      <a:pt x="8377" y="1591"/>
                    </a:lnTo>
                    <a:lnTo>
                      <a:pt x="8368" y="1591"/>
                    </a:lnTo>
                    <a:lnTo>
                      <a:pt x="8358" y="1591"/>
                    </a:lnTo>
                    <a:lnTo>
                      <a:pt x="8340" y="1591"/>
                    </a:lnTo>
                    <a:lnTo>
                      <a:pt x="8318" y="1590"/>
                    </a:lnTo>
                    <a:lnTo>
                      <a:pt x="8297" y="1588"/>
                    </a:lnTo>
                    <a:lnTo>
                      <a:pt x="8277" y="1585"/>
                    </a:lnTo>
                    <a:lnTo>
                      <a:pt x="8257" y="1583"/>
                    </a:lnTo>
                    <a:lnTo>
                      <a:pt x="8248" y="1582"/>
                    </a:lnTo>
                    <a:lnTo>
                      <a:pt x="8239" y="1582"/>
                    </a:lnTo>
                    <a:lnTo>
                      <a:pt x="8231" y="1580"/>
                    </a:lnTo>
                    <a:lnTo>
                      <a:pt x="8224" y="1578"/>
                    </a:lnTo>
                    <a:lnTo>
                      <a:pt x="8216" y="1577"/>
                    </a:lnTo>
                    <a:lnTo>
                      <a:pt x="8211" y="1575"/>
                    </a:lnTo>
                    <a:lnTo>
                      <a:pt x="8208" y="1571"/>
                    </a:lnTo>
                    <a:lnTo>
                      <a:pt x="8203" y="1569"/>
                    </a:lnTo>
                    <a:lnTo>
                      <a:pt x="8200" y="1567"/>
                    </a:lnTo>
                    <a:lnTo>
                      <a:pt x="8198" y="1563"/>
                    </a:lnTo>
                    <a:lnTo>
                      <a:pt x="8198" y="1562"/>
                    </a:lnTo>
                    <a:lnTo>
                      <a:pt x="8200" y="1558"/>
                    </a:lnTo>
                    <a:lnTo>
                      <a:pt x="8224" y="1532"/>
                    </a:lnTo>
                    <a:lnTo>
                      <a:pt x="8251" y="1506"/>
                    </a:lnTo>
                    <a:lnTo>
                      <a:pt x="8254" y="1501"/>
                    </a:lnTo>
                    <a:lnTo>
                      <a:pt x="8257" y="1496"/>
                    </a:lnTo>
                    <a:lnTo>
                      <a:pt x="8262" y="1489"/>
                    </a:lnTo>
                    <a:lnTo>
                      <a:pt x="8266" y="1486"/>
                    </a:lnTo>
                    <a:lnTo>
                      <a:pt x="8272" y="1483"/>
                    </a:lnTo>
                    <a:lnTo>
                      <a:pt x="8275" y="1481"/>
                    </a:lnTo>
                    <a:lnTo>
                      <a:pt x="8287" y="1476"/>
                    </a:lnTo>
                    <a:lnTo>
                      <a:pt x="8300" y="1471"/>
                    </a:lnTo>
                    <a:lnTo>
                      <a:pt x="8310" y="1468"/>
                    </a:lnTo>
                    <a:lnTo>
                      <a:pt x="8323" y="1462"/>
                    </a:lnTo>
                    <a:lnTo>
                      <a:pt x="8336" y="1456"/>
                    </a:lnTo>
                    <a:lnTo>
                      <a:pt x="8333" y="1456"/>
                    </a:lnTo>
                    <a:lnTo>
                      <a:pt x="8328" y="1456"/>
                    </a:lnTo>
                    <a:lnTo>
                      <a:pt x="8325" y="1456"/>
                    </a:lnTo>
                    <a:lnTo>
                      <a:pt x="8322" y="1455"/>
                    </a:lnTo>
                    <a:lnTo>
                      <a:pt x="8320" y="1455"/>
                    </a:lnTo>
                    <a:lnTo>
                      <a:pt x="8318" y="1453"/>
                    </a:lnTo>
                    <a:lnTo>
                      <a:pt x="8318" y="1451"/>
                    </a:lnTo>
                    <a:lnTo>
                      <a:pt x="8318" y="1447"/>
                    </a:lnTo>
                    <a:lnTo>
                      <a:pt x="8320" y="1445"/>
                    </a:lnTo>
                    <a:lnTo>
                      <a:pt x="8322" y="1442"/>
                    </a:lnTo>
                    <a:lnTo>
                      <a:pt x="8325" y="1438"/>
                    </a:lnTo>
                    <a:lnTo>
                      <a:pt x="8328" y="1432"/>
                    </a:lnTo>
                    <a:lnTo>
                      <a:pt x="8335" y="1429"/>
                    </a:lnTo>
                    <a:lnTo>
                      <a:pt x="8338" y="1425"/>
                    </a:lnTo>
                    <a:lnTo>
                      <a:pt x="8343" y="1420"/>
                    </a:lnTo>
                    <a:lnTo>
                      <a:pt x="8348" y="1415"/>
                    </a:lnTo>
                    <a:lnTo>
                      <a:pt x="8349" y="1412"/>
                    </a:lnTo>
                    <a:lnTo>
                      <a:pt x="8353" y="1409"/>
                    </a:lnTo>
                    <a:lnTo>
                      <a:pt x="8353" y="1405"/>
                    </a:lnTo>
                    <a:lnTo>
                      <a:pt x="8366" y="1405"/>
                    </a:lnTo>
                    <a:lnTo>
                      <a:pt x="8377" y="1401"/>
                    </a:lnTo>
                    <a:lnTo>
                      <a:pt x="8386" y="1399"/>
                    </a:lnTo>
                    <a:lnTo>
                      <a:pt x="8394" y="1394"/>
                    </a:lnTo>
                    <a:lnTo>
                      <a:pt x="8401" y="1390"/>
                    </a:lnTo>
                    <a:lnTo>
                      <a:pt x="8409" y="1382"/>
                    </a:lnTo>
                    <a:lnTo>
                      <a:pt x="8423" y="1369"/>
                    </a:lnTo>
                    <a:lnTo>
                      <a:pt x="8429" y="1368"/>
                    </a:lnTo>
                    <a:lnTo>
                      <a:pt x="8434" y="1366"/>
                    </a:lnTo>
                    <a:lnTo>
                      <a:pt x="8438" y="1364"/>
                    </a:lnTo>
                    <a:lnTo>
                      <a:pt x="8442" y="1362"/>
                    </a:lnTo>
                    <a:lnTo>
                      <a:pt x="8445" y="1362"/>
                    </a:lnTo>
                    <a:lnTo>
                      <a:pt x="8449" y="1362"/>
                    </a:lnTo>
                    <a:lnTo>
                      <a:pt x="8455" y="1362"/>
                    </a:lnTo>
                    <a:lnTo>
                      <a:pt x="8458" y="1362"/>
                    </a:lnTo>
                    <a:lnTo>
                      <a:pt x="8463" y="1361"/>
                    </a:lnTo>
                    <a:lnTo>
                      <a:pt x="8465" y="1361"/>
                    </a:lnTo>
                    <a:lnTo>
                      <a:pt x="8468" y="1359"/>
                    </a:lnTo>
                    <a:lnTo>
                      <a:pt x="8471" y="1356"/>
                    </a:lnTo>
                    <a:lnTo>
                      <a:pt x="8475" y="1353"/>
                    </a:lnTo>
                    <a:lnTo>
                      <a:pt x="8476" y="1348"/>
                    </a:lnTo>
                    <a:lnTo>
                      <a:pt x="8480" y="1341"/>
                    </a:lnTo>
                    <a:lnTo>
                      <a:pt x="8486" y="1336"/>
                    </a:lnTo>
                    <a:lnTo>
                      <a:pt x="8490" y="1333"/>
                    </a:lnTo>
                    <a:lnTo>
                      <a:pt x="8493" y="1329"/>
                    </a:lnTo>
                    <a:lnTo>
                      <a:pt x="8499" y="1327"/>
                    </a:lnTo>
                    <a:lnTo>
                      <a:pt x="8508" y="1322"/>
                    </a:lnTo>
                    <a:lnTo>
                      <a:pt x="8517" y="1316"/>
                    </a:lnTo>
                    <a:lnTo>
                      <a:pt x="8526" y="1313"/>
                    </a:lnTo>
                    <a:lnTo>
                      <a:pt x="8536" y="1307"/>
                    </a:lnTo>
                    <a:lnTo>
                      <a:pt x="8544" y="1302"/>
                    </a:lnTo>
                    <a:lnTo>
                      <a:pt x="8608" y="1275"/>
                    </a:lnTo>
                    <a:lnTo>
                      <a:pt x="8639" y="1264"/>
                    </a:lnTo>
                    <a:lnTo>
                      <a:pt x="8672" y="1251"/>
                    </a:lnTo>
                    <a:lnTo>
                      <a:pt x="8704" y="1242"/>
                    </a:lnTo>
                    <a:lnTo>
                      <a:pt x="8737" y="1231"/>
                    </a:lnTo>
                    <a:lnTo>
                      <a:pt x="8768" y="1222"/>
                    </a:lnTo>
                    <a:lnTo>
                      <a:pt x="8802" y="1214"/>
                    </a:lnTo>
                    <a:lnTo>
                      <a:pt x="9058" y="1214"/>
                    </a:lnTo>
                    <a:lnTo>
                      <a:pt x="9066" y="1216"/>
                    </a:lnTo>
                    <a:lnTo>
                      <a:pt x="9072" y="1218"/>
                    </a:lnTo>
                    <a:lnTo>
                      <a:pt x="9080" y="1220"/>
                    </a:lnTo>
                    <a:lnTo>
                      <a:pt x="9084" y="1222"/>
                    </a:lnTo>
                    <a:lnTo>
                      <a:pt x="9086" y="1224"/>
                    </a:lnTo>
                    <a:lnTo>
                      <a:pt x="9087" y="1226"/>
                    </a:lnTo>
                    <a:lnTo>
                      <a:pt x="9089" y="1228"/>
                    </a:lnTo>
                    <a:lnTo>
                      <a:pt x="9089" y="1229"/>
                    </a:lnTo>
                    <a:lnTo>
                      <a:pt x="9087" y="1231"/>
                    </a:lnTo>
                    <a:lnTo>
                      <a:pt x="9086" y="1233"/>
                    </a:lnTo>
                    <a:lnTo>
                      <a:pt x="9082" y="1233"/>
                    </a:lnTo>
                    <a:lnTo>
                      <a:pt x="9077" y="1233"/>
                    </a:lnTo>
                    <a:lnTo>
                      <a:pt x="9056" y="1239"/>
                    </a:lnTo>
                    <a:lnTo>
                      <a:pt x="9039" y="1244"/>
                    </a:lnTo>
                    <a:lnTo>
                      <a:pt x="9025" y="1248"/>
                    </a:lnTo>
                    <a:lnTo>
                      <a:pt x="9008" y="1249"/>
                    </a:lnTo>
                    <a:lnTo>
                      <a:pt x="8995" y="1254"/>
                    </a:lnTo>
                    <a:lnTo>
                      <a:pt x="8982" y="1257"/>
                    </a:lnTo>
                    <a:lnTo>
                      <a:pt x="8967" y="1261"/>
                    </a:lnTo>
                    <a:lnTo>
                      <a:pt x="8957" y="1266"/>
                    </a:lnTo>
                    <a:lnTo>
                      <a:pt x="8936" y="1274"/>
                    </a:lnTo>
                    <a:lnTo>
                      <a:pt x="8919" y="1281"/>
                    </a:lnTo>
                    <a:lnTo>
                      <a:pt x="8903" y="1287"/>
                    </a:lnTo>
                    <a:lnTo>
                      <a:pt x="8888" y="1294"/>
                    </a:lnTo>
                    <a:lnTo>
                      <a:pt x="8873" y="1300"/>
                    </a:lnTo>
                    <a:lnTo>
                      <a:pt x="8860" y="1307"/>
                    </a:lnTo>
                    <a:lnTo>
                      <a:pt x="8835" y="1318"/>
                    </a:lnTo>
                    <a:lnTo>
                      <a:pt x="8827" y="1325"/>
                    </a:lnTo>
                    <a:lnTo>
                      <a:pt x="8820" y="1333"/>
                    </a:lnTo>
                    <a:lnTo>
                      <a:pt x="8809" y="1338"/>
                    </a:lnTo>
                    <a:lnTo>
                      <a:pt x="8798" y="1344"/>
                    </a:lnTo>
                    <a:lnTo>
                      <a:pt x="8787" y="1351"/>
                    </a:lnTo>
                    <a:lnTo>
                      <a:pt x="8774" y="1356"/>
                    </a:lnTo>
                    <a:lnTo>
                      <a:pt x="8750" y="1369"/>
                    </a:lnTo>
                    <a:lnTo>
                      <a:pt x="8746" y="1374"/>
                    </a:lnTo>
                    <a:lnTo>
                      <a:pt x="8746" y="1377"/>
                    </a:lnTo>
                    <a:lnTo>
                      <a:pt x="8746" y="1381"/>
                    </a:lnTo>
                    <a:lnTo>
                      <a:pt x="8746" y="1384"/>
                    </a:lnTo>
                    <a:lnTo>
                      <a:pt x="8748" y="1386"/>
                    </a:lnTo>
                    <a:lnTo>
                      <a:pt x="8751" y="1390"/>
                    </a:lnTo>
                    <a:lnTo>
                      <a:pt x="8758" y="1395"/>
                    </a:lnTo>
                    <a:lnTo>
                      <a:pt x="8763" y="1402"/>
                    </a:lnTo>
                    <a:lnTo>
                      <a:pt x="8766" y="1407"/>
                    </a:lnTo>
                    <a:lnTo>
                      <a:pt x="8768" y="1409"/>
                    </a:lnTo>
                    <a:lnTo>
                      <a:pt x="8770" y="1412"/>
                    </a:lnTo>
                    <a:lnTo>
                      <a:pt x="8770" y="1415"/>
                    </a:lnTo>
                    <a:lnTo>
                      <a:pt x="8768" y="1420"/>
                    </a:lnTo>
                    <a:lnTo>
                      <a:pt x="8766" y="1422"/>
                    </a:lnTo>
                    <a:lnTo>
                      <a:pt x="8759" y="1429"/>
                    </a:lnTo>
                    <a:lnTo>
                      <a:pt x="8750" y="1432"/>
                    </a:lnTo>
                    <a:lnTo>
                      <a:pt x="8741" y="1436"/>
                    </a:lnTo>
                    <a:lnTo>
                      <a:pt x="8731" y="1440"/>
                    </a:lnTo>
                    <a:lnTo>
                      <a:pt x="8722" y="1443"/>
                    </a:lnTo>
                    <a:lnTo>
                      <a:pt x="8713" y="1447"/>
                    </a:lnTo>
                    <a:lnTo>
                      <a:pt x="8704" y="1451"/>
                    </a:lnTo>
                    <a:lnTo>
                      <a:pt x="8698" y="1456"/>
                    </a:lnTo>
                    <a:lnTo>
                      <a:pt x="8692" y="1462"/>
                    </a:lnTo>
                    <a:lnTo>
                      <a:pt x="8689" y="1469"/>
                    </a:lnTo>
                    <a:lnTo>
                      <a:pt x="8687" y="1475"/>
                    </a:lnTo>
                    <a:lnTo>
                      <a:pt x="8685" y="1478"/>
                    </a:lnTo>
                    <a:lnTo>
                      <a:pt x="8685" y="1484"/>
                    </a:lnTo>
                    <a:lnTo>
                      <a:pt x="8685" y="1489"/>
                    </a:lnTo>
                    <a:lnTo>
                      <a:pt x="8687" y="1496"/>
                    </a:lnTo>
                    <a:lnTo>
                      <a:pt x="8689" y="1501"/>
                    </a:lnTo>
                    <a:lnTo>
                      <a:pt x="8690" y="1504"/>
                    </a:lnTo>
                    <a:lnTo>
                      <a:pt x="8694" y="1509"/>
                    </a:lnTo>
                    <a:lnTo>
                      <a:pt x="8697" y="1514"/>
                    </a:lnTo>
                    <a:lnTo>
                      <a:pt x="8700" y="1519"/>
                    </a:lnTo>
                    <a:lnTo>
                      <a:pt x="8709" y="1527"/>
                    </a:lnTo>
                    <a:lnTo>
                      <a:pt x="8718" y="1534"/>
                    </a:lnTo>
                    <a:lnTo>
                      <a:pt x="8728" y="1542"/>
                    </a:lnTo>
                    <a:lnTo>
                      <a:pt x="8738" y="1549"/>
                    </a:lnTo>
                    <a:lnTo>
                      <a:pt x="8748" y="1554"/>
                    </a:lnTo>
                    <a:lnTo>
                      <a:pt x="8756" y="1560"/>
                    </a:lnTo>
                    <a:lnTo>
                      <a:pt x="8759" y="1562"/>
                    </a:lnTo>
                    <a:lnTo>
                      <a:pt x="8763" y="1563"/>
                    </a:lnTo>
                    <a:lnTo>
                      <a:pt x="8764" y="1565"/>
                    </a:lnTo>
                    <a:lnTo>
                      <a:pt x="8766" y="1569"/>
                    </a:lnTo>
                    <a:lnTo>
                      <a:pt x="8768" y="1571"/>
                    </a:lnTo>
                    <a:lnTo>
                      <a:pt x="8768" y="1573"/>
                    </a:lnTo>
                    <a:lnTo>
                      <a:pt x="8768" y="1575"/>
                    </a:lnTo>
                    <a:lnTo>
                      <a:pt x="8766" y="1577"/>
                    </a:lnTo>
                    <a:lnTo>
                      <a:pt x="8766" y="1578"/>
                    </a:lnTo>
                    <a:lnTo>
                      <a:pt x="8764" y="1580"/>
                    </a:lnTo>
                    <a:lnTo>
                      <a:pt x="8763" y="1583"/>
                    </a:lnTo>
                    <a:lnTo>
                      <a:pt x="8761" y="1585"/>
                    </a:lnTo>
                    <a:lnTo>
                      <a:pt x="8758" y="1588"/>
                    </a:lnTo>
                    <a:lnTo>
                      <a:pt x="8756" y="1588"/>
                    </a:lnTo>
                    <a:lnTo>
                      <a:pt x="8746" y="1590"/>
                    </a:lnTo>
                    <a:lnTo>
                      <a:pt x="8738" y="1591"/>
                    </a:lnTo>
                    <a:lnTo>
                      <a:pt x="8730" y="1591"/>
                    </a:lnTo>
                    <a:lnTo>
                      <a:pt x="8722" y="1593"/>
                    </a:lnTo>
                    <a:lnTo>
                      <a:pt x="8715" y="1593"/>
                    </a:lnTo>
                    <a:lnTo>
                      <a:pt x="8707" y="1593"/>
                    </a:lnTo>
                    <a:lnTo>
                      <a:pt x="8698" y="1593"/>
                    </a:lnTo>
                    <a:lnTo>
                      <a:pt x="8689" y="1593"/>
                    </a:lnTo>
                    <a:lnTo>
                      <a:pt x="8680" y="1593"/>
                    </a:lnTo>
                    <a:lnTo>
                      <a:pt x="8671" y="1593"/>
                    </a:lnTo>
                    <a:lnTo>
                      <a:pt x="8661" y="1593"/>
                    </a:lnTo>
                    <a:lnTo>
                      <a:pt x="8652" y="1593"/>
                    </a:lnTo>
                    <a:lnTo>
                      <a:pt x="8646" y="1593"/>
                    </a:lnTo>
                    <a:lnTo>
                      <a:pt x="8633" y="1593"/>
                    </a:lnTo>
                    <a:lnTo>
                      <a:pt x="8623" y="1595"/>
                    </a:lnTo>
                    <a:lnTo>
                      <a:pt x="8613" y="1598"/>
                    </a:lnTo>
                    <a:lnTo>
                      <a:pt x="8604" y="1603"/>
                    </a:lnTo>
                    <a:lnTo>
                      <a:pt x="8597" y="1608"/>
                    </a:lnTo>
                    <a:lnTo>
                      <a:pt x="8594" y="1609"/>
                    </a:lnTo>
                    <a:lnTo>
                      <a:pt x="8602" y="1608"/>
                    </a:lnTo>
                    <a:lnTo>
                      <a:pt x="8621" y="1606"/>
                    </a:lnTo>
                    <a:lnTo>
                      <a:pt x="8637" y="1603"/>
                    </a:lnTo>
                    <a:lnTo>
                      <a:pt x="8654" y="1600"/>
                    </a:lnTo>
                    <a:lnTo>
                      <a:pt x="8671" y="1598"/>
                    </a:lnTo>
                    <a:lnTo>
                      <a:pt x="8687" y="1598"/>
                    </a:lnTo>
                    <a:lnTo>
                      <a:pt x="8702" y="1598"/>
                    </a:lnTo>
                    <a:lnTo>
                      <a:pt x="8707" y="1598"/>
                    </a:lnTo>
                    <a:lnTo>
                      <a:pt x="8713" y="1600"/>
                    </a:lnTo>
                    <a:lnTo>
                      <a:pt x="8718" y="1603"/>
                    </a:lnTo>
                    <a:lnTo>
                      <a:pt x="8724" y="1604"/>
                    </a:lnTo>
                    <a:lnTo>
                      <a:pt x="8728" y="1606"/>
                    </a:lnTo>
                    <a:lnTo>
                      <a:pt x="8731" y="1610"/>
                    </a:lnTo>
                    <a:lnTo>
                      <a:pt x="8728" y="1610"/>
                    </a:lnTo>
                    <a:lnTo>
                      <a:pt x="8726" y="1610"/>
                    </a:lnTo>
                    <a:lnTo>
                      <a:pt x="8720" y="1610"/>
                    </a:lnTo>
                    <a:lnTo>
                      <a:pt x="8717" y="1610"/>
                    </a:lnTo>
                    <a:lnTo>
                      <a:pt x="8709" y="1610"/>
                    </a:lnTo>
                    <a:lnTo>
                      <a:pt x="8698" y="1610"/>
                    </a:lnTo>
                    <a:lnTo>
                      <a:pt x="8704" y="1615"/>
                    </a:lnTo>
                    <a:lnTo>
                      <a:pt x="8707" y="1619"/>
                    </a:lnTo>
                    <a:lnTo>
                      <a:pt x="8709" y="1623"/>
                    </a:lnTo>
                    <a:lnTo>
                      <a:pt x="8711" y="1626"/>
                    </a:lnTo>
                    <a:lnTo>
                      <a:pt x="8709" y="1630"/>
                    </a:lnTo>
                    <a:lnTo>
                      <a:pt x="8707" y="1634"/>
                    </a:lnTo>
                    <a:lnTo>
                      <a:pt x="8704" y="1637"/>
                    </a:lnTo>
                    <a:lnTo>
                      <a:pt x="8698" y="1644"/>
                    </a:lnTo>
                    <a:lnTo>
                      <a:pt x="8704" y="1643"/>
                    </a:lnTo>
                    <a:lnTo>
                      <a:pt x="8709" y="1643"/>
                    </a:lnTo>
                    <a:lnTo>
                      <a:pt x="8717" y="1641"/>
                    </a:lnTo>
                    <a:lnTo>
                      <a:pt x="8722" y="1637"/>
                    </a:lnTo>
                    <a:lnTo>
                      <a:pt x="8728" y="1636"/>
                    </a:lnTo>
                    <a:lnTo>
                      <a:pt x="8735" y="1632"/>
                    </a:lnTo>
                    <a:lnTo>
                      <a:pt x="8744" y="1624"/>
                    </a:lnTo>
                    <a:lnTo>
                      <a:pt x="8750" y="1621"/>
                    </a:lnTo>
                    <a:lnTo>
                      <a:pt x="8753" y="1617"/>
                    </a:lnTo>
                    <a:lnTo>
                      <a:pt x="8758" y="1611"/>
                    </a:lnTo>
                    <a:lnTo>
                      <a:pt x="8761" y="1608"/>
                    </a:lnTo>
                    <a:lnTo>
                      <a:pt x="8763" y="1604"/>
                    </a:lnTo>
                    <a:lnTo>
                      <a:pt x="8764" y="1598"/>
                    </a:lnTo>
                    <a:lnTo>
                      <a:pt x="8766" y="1595"/>
                    </a:lnTo>
                    <a:lnTo>
                      <a:pt x="8766" y="1593"/>
                    </a:lnTo>
                    <a:lnTo>
                      <a:pt x="8772" y="1585"/>
                    </a:lnTo>
                    <a:lnTo>
                      <a:pt x="8779" y="1580"/>
                    </a:lnTo>
                    <a:lnTo>
                      <a:pt x="8784" y="1577"/>
                    </a:lnTo>
                    <a:lnTo>
                      <a:pt x="8789" y="1573"/>
                    </a:lnTo>
                    <a:lnTo>
                      <a:pt x="8798" y="1565"/>
                    </a:lnTo>
                    <a:lnTo>
                      <a:pt x="8807" y="1558"/>
                    </a:lnTo>
                    <a:lnTo>
                      <a:pt x="8814" y="1550"/>
                    </a:lnTo>
                    <a:lnTo>
                      <a:pt x="8822" y="1545"/>
                    </a:lnTo>
                    <a:lnTo>
                      <a:pt x="8825" y="1539"/>
                    </a:lnTo>
                    <a:lnTo>
                      <a:pt x="8829" y="1536"/>
                    </a:lnTo>
                    <a:lnTo>
                      <a:pt x="8831" y="1530"/>
                    </a:lnTo>
                    <a:lnTo>
                      <a:pt x="8835" y="1524"/>
                    </a:lnTo>
                    <a:lnTo>
                      <a:pt x="8822" y="1529"/>
                    </a:lnTo>
                    <a:lnTo>
                      <a:pt x="8817" y="1532"/>
                    </a:lnTo>
                    <a:lnTo>
                      <a:pt x="8809" y="1532"/>
                    </a:lnTo>
                    <a:lnTo>
                      <a:pt x="8804" y="1534"/>
                    </a:lnTo>
                    <a:lnTo>
                      <a:pt x="8798" y="1534"/>
                    </a:lnTo>
                    <a:lnTo>
                      <a:pt x="8791" y="1534"/>
                    </a:lnTo>
                    <a:lnTo>
                      <a:pt x="8784" y="1534"/>
                    </a:lnTo>
                    <a:lnTo>
                      <a:pt x="8779" y="1532"/>
                    </a:lnTo>
                    <a:lnTo>
                      <a:pt x="8776" y="1532"/>
                    </a:lnTo>
                    <a:lnTo>
                      <a:pt x="8770" y="1529"/>
                    </a:lnTo>
                    <a:lnTo>
                      <a:pt x="8764" y="1527"/>
                    </a:lnTo>
                    <a:lnTo>
                      <a:pt x="8761" y="1522"/>
                    </a:lnTo>
                    <a:lnTo>
                      <a:pt x="8756" y="1517"/>
                    </a:lnTo>
                    <a:lnTo>
                      <a:pt x="8751" y="1512"/>
                    </a:lnTo>
                    <a:lnTo>
                      <a:pt x="8750" y="1506"/>
                    </a:lnTo>
                    <a:lnTo>
                      <a:pt x="8751" y="1506"/>
                    </a:lnTo>
                    <a:lnTo>
                      <a:pt x="8753" y="1506"/>
                    </a:lnTo>
                    <a:lnTo>
                      <a:pt x="8758" y="1506"/>
                    </a:lnTo>
                    <a:lnTo>
                      <a:pt x="8761" y="1506"/>
                    </a:lnTo>
                    <a:lnTo>
                      <a:pt x="8766" y="1506"/>
                    </a:lnTo>
                    <a:lnTo>
                      <a:pt x="8764" y="1504"/>
                    </a:lnTo>
                    <a:lnTo>
                      <a:pt x="8763" y="1503"/>
                    </a:lnTo>
                    <a:lnTo>
                      <a:pt x="8761" y="1501"/>
                    </a:lnTo>
                    <a:lnTo>
                      <a:pt x="8756" y="1496"/>
                    </a:lnTo>
                    <a:lnTo>
                      <a:pt x="8750" y="1489"/>
                    </a:lnTo>
                    <a:lnTo>
                      <a:pt x="8743" y="1483"/>
                    </a:lnTo>
                    <a:lnTo>
                      <a:pt x="8737" y="1476"/>
                    </a:lnTo>
                    <a:lnTo>
                      <a:pt x="8735" y="1476"/>
                    </a:lnTo>
                    <a:lnTo>
                      <a:pt x="8733" y="1475"/>
                    </a:lnTo>
                    <a:lnTo>
                      <a:pt x="8731" y="1475"/>
                    </a:lnTo>
                    <a:lnTo>
                      <a:pt x="8731" y="1473"/>
                    </a:lnTo>
                    <a:lnTo>
                      <a:pt x="8744" y="1473"/>
                    </a:lnTo>
                    <a:lnTo>
                      <a:pt x="8756" y="1473"/>
                    </a:lnTo>
                    <a:lnTo>
                      <a:pt x="8764" y="1473"/>
                    </a:lnTo>
                    <a:lnTo>
                      <a:pt x="8776" y="1471"/>
                    </a:lnTo>
                    <a:lnTo>
                      <a:pt x="8784" y="1469"/>
                    </a:lnTo>
                    <a:lnTo>
                      <a:pt x="8794" y="1466"/>
                    </a:lnTo>
                    <a:lnTo>
                      <a:pt x="8805" y="1462"/>
                    </a:lnTo>
                    <a:lnTo>
                      <a:pt x="8818" y="1456"/>
                    </a:lnTo>
                    <a:lnTo>
                      <a:pt x="8818" y="1451"/>
                    </a:lnTo>
                    <a:lnTo>
                      <a:pt x="8822" y="1447"/>
                    </a:lnTo>
                    <a:lnTo>
                      <a:pt x="8824" y="1443"/>
                    </a:lnTo>
                    <a:lnTo>
                      <a:pt x="8829" y="1442"/>
                    </a:lnTo>
                    <a:lnTo>
                      <a:pt x="8833" y="1440"/>
                    </a:lnTo>
                    <a:lnTo>
                      <a:pt x="8840" y="1440"/>
                    </a:lnTo>
                    <a:lnTo>
                      <a:pt x="8853" y="1440"/>
                    </a:lnTo>
                    <a:lnTo>
                      <a:pt x="8865" y="1440"/>
                    </a:lnTo>
                    <a:lnTo>
                      <a:pt x="8878" y="1443"/>
                    </a:lnTo>
                    <a:lnTo>
                      <a:pt x="8890" y="1447"/>
                    </a:lnTo>
                    <a:lnTo>
                      <a:pt x="8901" y="1453"/>
                    </a:lnTo>
                    <a:lnTo>
                      <a:pt x="8912" y="1460"/>
                    </a:lnTo>
                    <a:lnTo>
                      <a:pt x="8921" y="1468"/>
                    </a:lnTo>
                    <a:lnTo>
                      <a:pt x="8931" y="1476"/>
                    </a:lnTo>
                    <a:lnTo>
                      <a:pt x="8939" y="1489"/>
                    </a:lnTo>
                    <a:lnTo>
                      <a:pt x="8940" y="1486"/>
                    </a:lnTo>
                    <a:lnTo>
                      <a:pt x="8940" y="1483"/>
                    </a:lnTo>
                    <a:lnTo>
                      <a:pt x="8940" y="1481"/>
                    </a:lnTo>
                    <a:lnTo>
                      <a:pt x="8940" y="1476"/>
                    </a:lnTo>
                    <a:lnTo>
                      <a:pt x="8939" y="1475"/>
                    </a:lnTo>
                    <a:lnTo>
                      <a:pt x="8939" y="1473"/>
                    </a:lnTo>
                    <a:lnTo>
                      <a:pt x="8934" y="1468"/>
                    </a:lnTo>
                    <a:lnTo>
                      <a:pt x="8929" y="1463"/>
                    </a:lnTo>
                    <a:lnTo>
                      <a:pt x="8924" y="1458"/>
                    </a:lnTo>
                    <a:lnTo>
                      <a:pt x="8919" y="1455"/>
                    </a:lnTo>
                    <a:lnTo>
                      <a:pt x="8914" y="1451"/>
                    </a:lnTo>
                    <a:lnTo>
                      <a:pt x="8911" y="1445"/>
                    </a:lnTo>
                    <a:lnTo>
                      <a:pt x="8911" y="1443"/>
                    </a:lnTo>
                    <a:lnTo>
                      <a:pt x="8909" y="1442"/>
                    </a:lnTo>
                    <a:lnTo>
                      <a:pt x="8909" y="1440"/>
                    </a:lnTo>
                    <a:lnTo>
                      <a:pt x="8911" y="1438"/>
                    </a:lnTo>
                    <a:lnTo>
                      <a:pt x="8912" y="1436"/>
                    </a:lnTo>
                    <a:lnTo>
                      <a:pt x="8914" y="1435"/>
                    </a:lnTo>
                    <a:lnTo>
                      <a:pt x="8918" y="1432"/>
                    </a:lnTo>
                    <a:lnTo>
                      <a:pt x="8921" y="1430"/>
                    </a:lnTo>
                    <a:lnTo>
                      <a:pt x="8925" y="1429"/>
                    </a:lnTo>
                    <a:lnTo>
                      <a:pt x="8932" y="1427"/>
                    </a:lnTo>
                    <a:lnTo>
                      <a:pt x="8939" y="1425"/>
                    </a:lnTo>
                    <a:lnTo>
                      <a:pt x="8947" y="1423"/>
                    </a:lnTo>
                    <a:lnTo>
                      <a:pt x="8957" y="1422"/>
                    </a:lnTo>
                    <a:lnTo>
                      <a:pt x="8952" y="1422"/>
                    </a:lnTo>
                    <a:lnTo>
                      <a:pt x="8947" y="1422"/>
                    </a:lnTo>
                    <a:lnTo>
                      <a:pt x="8939" y="1422"/>
                    </a:lnTo>
                    <a:lnTo>
                      <a:pt x="8929" y="1422"/>
                    </a:lnTo>
                    <a:lnTo>
                      <a:pt x="8925" y="1422"/>
                    </a:lnTo>
                    <a:lnTo>
                      <a:pt x="8921" y="1420"/>
                    </a:lnTo>
                    <a:lnTo>
                      <a:pt x="8918" y="1420"/>
                    </a:lnTo>
                    <a:lnTo>
                      <a:pt x="8916" y="1417"/>
                    </a:lnTo>
                    <a:lnTo>
                      <a:pt x="8911" y="1420"/>
                    </a:lnTo>
                    <a:lnTo>
                      <a:pt x="8905" y="1422"/>
                    </a:lnTo>
                    <a:lnTo>
                      <a:pt x="8899" y="1423"/>
                    </a:lnTo>
                    <a:lnTo>
                      <a:pt x="8896" y="1425"/>
                    </a:lnTo>
                    <a:lnTo>
                      <a:pt x="8890" y="1425"/>
                    </a:lnTo>
                    <a:lnTo>
                      <a:pt x="8885" y="1425"/>
                    </a:lnTo>
                    <a:lnTo>
                      <a:pt x="8881" y="1423"/>
                    </a:lnTo>
                    <a:lnTo>
                      <a:pt x="8875" y="1422"/>
                    </a:lnTo>
                    <a:lnTo>
                      <a:pt x="8870" y="1420"/>
                    </a:lnTo>
                    <a:lnTo>
                      <a:pt x="8865" y="1415"/>
                    </a:lnTo>
                    <a:lnTo>
                      <a:pt x="8858" y="1410"/>
                    </a:lnTo>
                    <a:lnTo>
                      <a:pt x="8853" y="1405"/>
                    </a:lnTo>
                    <a:lnTo>
                      <a:pt x="8853" y="1402"/>
                    </a:lnTo>
                    <a:lnTo>
                      <a:pt x="8853" y="1399"/>
                    </a:lnTo>
                    <a:lnTo>
                      <a:pt x="8855" y="1395"/>
                    </a:lnTo>
                    <a:lnTo>
                      <a:pt x="8857" y="1394"/>
                    </a:lnTo>
                    <a:lnTo>
                      <a:pt x="8858" y="1390"/>
                    </a:lnTo>
                    <a:lnTo>
                      <a:pt x="8865" y="1389"/>
                    </a:lnTo>
                    <a:lnTo>
                      <a:pt x="8863" y="1386"/>
                    </a:lnTo>
                    <a:lnTo>
                      <a:pt x="8860" y="1386"/>
                    </a:lnTo>
                    <a:lnTo>
                      <a:pt x="8860" y="1384"/>
                    </a:lnTo>
                    <a:lnTo>
                      <a:pt x="8860" y="1382"/>
                    </a:lnTo>
                    <a:lnTo>
                      <a:pt x="8863" y="1382"/>
                    </a:lnTo>
                    <a:lnTo>
                      <a:pt x="8863" y="1381"/>
                    </a:lnTo>
                    <a:lnTo>
                      <a:pt x="8866" y="1376"/>
                    </a:lnTo>
                    <a:lnTo>
                      <a:pt x="8871" y="1371"/>
                    </a:lnTo>
                    <a:lnTo>
                      <a:pt x="8878" y="1368"/>
                    </a:lnTo>
                    <a:lnTo>
                      <a:pt x="8885" y="1362"/>
                    </a:lnTo>
                    <a:lnTo>
                      <a:pt x="8891" y="1356"/>
                    </a:lnTo>
                    <a:lnTo>
                      <a:pt x="8899" y="1353"/>
                    </a:lnTo>
                    <a:lnTo>
                      <a:pt x="8906" y="1348"/>
                    </a:lnTo>
                    <a:lnTo>
                      <a:pt x="8916" y="1344"/>
                    </a:lnTo>
                    <a:lnTo>
                      <a:pt x="8921" y="1341"/>
                    </a:lnTo>
                    <a:lnTo>
                      <a:pt x="8929" y="1338"/>
                    </a:lnTo>
                    <a:lnTo>
                      <a:pt x="8934" y="1336"/>
                    </a:lnTo>
                    <a:lnTo>
                      <a:pt x="8939" y="1336"/>
                    </a:lnTo>
                    <a:lnTo>
                      <a:pt x="8947" y="1336"/>
                    </a:lnTo>
                    <a:lnTo>
                      <a:pt x="8957" y="1338"/>
                    </a:lnTo>
                    <a:lnTo>
                      <a:pt x="8965" y="1340"/>
                    </a:lnTo>
                    <a:lnTo>
                      <a:pt x="8973" y="1341"/>
                    </a:lnTo>
                    <a:lnTo>
                      <a:pt x="8990" y="1348"/>
                    </a:lnTo>
                    <a:lnTo>
                      <a:pt x="8995" y="1350"/>
                    </a:lnTo>
                    <a:lnTo>
                      <a:pt x="8982" y="1344"/>
                    </a:lnTo>
                    <a:lnTo>
                      <a:pt x="8965" y="1335"/>
                    </a:lnTo>
                    <a:lnTo>
                      <a:pt x="8951" y="1325"/>
                    </a:lnTo>
                    <a:lnTo>
                      <a:pt x="8939" y="1318"/>
                    </a:lnTo>
                    <a:lnTo>
                      <a:pt x="8942" y="1316"/>
                    </a:lnTo>
                    <a:lnTo>
                      <a:pt x="8945" y="1315"/>
                    </a:lnTo>
                    <a:lnTo>
                      <a:pt x="8949" y="1313"/>
                    </a:lnTo>
                    <a:lnTo>
                      <a:pt x="8955" y="1313"/>
                    </a:lnTo>
                    <a:lnTo>
                      <a:pt x="8959" y="1310"/>
                    </a:lnTo>
                    <a:lnTo>
                      <a:pt x="8964" y="1313"/>
                    </a:lnTo>
                    <a:lnTo>
                      <a:pt x="8973" y="1313"/>
                    </a:lnTo>
                    <a:lnTo>
                      <a:pt x="8982" y="1315"/>
                    </a:lnTo>
                    <a:lnTo>
                      <a:pt x="8992" y="1316"/>
                    </a:lnTo>
                    <a:lnTo>
                      <a:pt x="9001" y="1318"/>
                    </a:lnTo>
                    <a:lnTo>
                      <a:pt x="9008" y="1318"/>
                    </a:lnTo>
                    <a:lnTo>
                      <a:pt x="9013" y="1322"/>
                    </a:lnTo>
                    <a:lnTo>
                      <a:pt x="9021" y="1323"/>
                    </a:lnTo>
                    <a:lnTo>
                      <a:pt x="9028" y="1325"/>
                    </a:lnTo>
                    <a:lnTo>
                      <a:pt x="9036" y="1327"/>
                    </a:lnTo>
                    <a:lnTo>
                      <a:pt x="9051" y="1327"/>
                    </a:lnTo>
                    <a:lnTo>
                      <a:pt x="9067" y="1327"/>
                    </a:lnTo>
                    <a:lnTo>
                      <a:pt x="9084" y="1327"/>
                    </a:lnTo>
                    <a:lnTo>
                      <a:pt x="9099" y="1329"/>
                    </a:lnTo>
                    <a:lnTo>
                      <a:pt x="9105" y="1329"/>
                    </a:lnTo>
                    <a:lnTo>
                      <a:pt x="9113" y="1331"/>
                    </a:lnTo>
                    <a:lnTo>
                      <a:pt x="9120" y="1333"/>
                    </a:lnTo>
                    <a:lnTo>
                      <a:pt x="9128" y="1336"/>
                    </a:lnTo>
                    <a:lnTo>
                      <a:pt x="9120" y="1331"/>
                    </a:lnTo>
                    <a:lnTo>
                      <a:pt x="9113" y="1325"/>
                    </a:lnTo>
                    <a:lnTo>
                      <a:pt x="9105" y="1322"/>
                    </a:lnTo>
                    <a:lnTo>
                      <a:pt x="9099" y="1320"/>
                    </a:lnTo>
                    <a:lnTo>
                      <a:pt x="9092" y="1316"/>
                    </a:lnTo>
                    <a:lnTo>
                      <a:pt x="9084" y="1315"/>
                    </a:lnTo>
                    <a:lnTo>
                      <a:pt x="9067" y="1313"/>
                    </a:lnTo>
                    <a:lnTo>
                      <a:pt x="9051" y="1310"/>
                    </a:lnTo>
                    <a:lnTo>
                      <a:pt x="9036" y="1310"/>
                    </a:lnTo>
                    <a:lnTo>
                      <a:pt x="9028" y="1308"/>
                    </a:lnTo>
                    <a:lnTo>
                      <a:pt x="9021" y="1307"/>
                    </a:lnTo>
                    <a:lnTo>
                      <a:pt x="9013" y="1305"/>
                    </a:lnTo>
                    <a:lnTo>
                      <a:pt x="9008" y="1302"/>
                    </a:lnTo>
                    <a:lnTo>
                      <a:pt x="9008" y="1300"/>
                    </a:lnTo>
                    <a:lnTo>
                      <a:pt x="9008" y="1295"/>
                    </a:lnTo>
                    <a:lnTo>
                      <a:pt x="9010" y="1292"/>
                    </a:lnTo>
                    <a:lnTo>
                      <a:pt x="9013" y="1290"/>
                    </a:lnTo>
                    <a:lnTo>
                      <a:pt x="9016" y="1287"/>
                    </a:lnTo>
                    <a:lnTo>
                      <a:pt x="9019" y="1285"/>
                    </a:lnTo>
                    <a:lnTo>
                      <a:pt x="9026" y="1281"/>
                    </a:lnTo>
                    <a:lnTo>
                      <a:pt x="9031" y="1279"/>
                    </a:lnTo>
                    <a:lnTo>
                      <a:pt x="9034" y="1277"/>
                    </a:lnTo>
                    <a:lnTo>
                      <a:pt x="9039" y="1277"/>
                    </a:lnTo>
                    <a:lnTo>
                      <a:pt x="9043" y="1277"/>
                    </a:lnTo>
                    <a:lnTo>
                      <a:pt x="9047" y="1279"/>
                    </a:lnTo>
                    <a:lnTo>
                      <a:pt x="9051" y="1279"/>
                    </a:lnTo>
                    <a:lnTo>
                      <a:pt x="9054" y="1281"/>
                    </a:lnTo>
                    <a:lnTo>
                      <a:pt x="9058" y="1285"/>
                    </a:lnTo>
                    <a:lnTo>
                      <a:pt x="9062" y="1287"/>
                    </a:lnTo>
                    <a:lnTo>
                      <a:pt x="9064" y="1288"/>
                    </a:lnTo>
                    <a:lnTo>
                      <a:pt x="9066" y="1290"/>
                    </a:lnTo>
                    <a:lnTo>
                      <a:pt x="9069" y="1290"/>
                    </a:lnTo>
                    <a:lnTo>
                      <a:pt x="9071" y="1288"/>
                    </a:lnTo>
                    <a:lnTo>
                      <a:pt x="9072" y="1287"/>
                    </a:lnTo>
                    <a:lnTo>
                      <a:pt x="9074" y="1285"/>
                    </a:lnTo>
                    <a:lnTo>
                      <a:pt x="9077" y="1283"/>
                    </a:lnTo>
                    <a:lnTo>
                      <a:pt x="9079" y="1277"/>
                    </a:lnTo>
                    <a:lnTo>
                      <a:pt x="9082" y="1272"/>
                    </a:lnTo>
                    <a:lnTo>
                      <a:pt x="9086" y="1270"/>
                    </a:lnTo>
                    <a:lnTo>
                      <a:pt x="9087" y="1268"/>
                    </a:lnTo>
                    <a:lnTo>
                      <a:pt x="9089" y="1268"/>
                    </a:lnTo>
                    <a:lnTo>
                      <a:pt x="9093" y="1266"/>
                    </a:lnTo>
                    <a:lnTo>
                      <a:pt x="9097" y="1266"/>
                    </a:lnTo>
                    <a:lnTo>
                      <a:pt x="9100" y="1266"/>
                    </a:lnTo>
                    <a:lnTo>
                      <a:pt x="9105" y="1266"/>
                    </a:lnTo>
                    <a:lnTo>
                      <a:pt x="9112" y="1264"/>
                    </a:lnTo>
                    <a:lnTo>
                      <a:pt x="9117" y="1264"/>
                    </a:lnTo>
                    <a:lnTo>
                      <a:pt x="9125" y="1264"/>
                    </a:lnTo>
                    <a:lnTo>
                      <a:pt x="9138" y="1262"/>
                    </a:lnTo>
                    <a:lnTo>
                      <a:pt x="9145" y="1262"/>
                    </a:lnTo>
                    <a:lnTo>
                      <a:pt x="9153" y="1264"/>
                    </a:lnTo>
                    <a:lnTo>
                      <a:pt x="9159" y="1266"/>
                    </a:lnTo>
                    <a:lnTo>
                      <a:pt x="9169" y="1268"/>
                    </a:lnTo>
                    <a:lnTo>
                      <a:pt x="9176" y="1270"/>
                    </a:lnTo>
                    <a:lnTo>
                      <a:pt x="9184" y="1274"/>
                    </a:lnTo>
                    <a:lnTo>
                      <a:pt x="9189" y="1279"/>
                    </a:lnTo>
                    <a:lnTo>
                      <a:pt x="9196" y="1285"/>
                    </a:lnTo>
                    <a:lnTo>
                      <a:pt x="9196" y="1272"/>
                    </a:lnTo>
                    <a:lnTo>
                      <a:pt x="9196" y="1266"/>
                    </a:lnTo>
                    <a:lnTo>
                      <a:pt x="9194" y="1261"/>
                    </a:lnTo>
                    <a:lnTo>
                      <a:pt x="9193" y="1257"/>
                    </a:lnTo>
                    <a:lnTo>
                      <a:pt x="9189" y="1254"/>
                    </a:lnTo>
                    <a:lnTo>
                      <a:pt x="9186" y="1251"/>
                    </a:lnTo>
                    <a:lnTo>
                      <a:pt x="9179" y="1249"/>
                    </a:lnTo>
                    <a:lnTo>
                      <a:pt x="9191" y="1249"/>
                    </a:lnTo>
                    <a:lnTo>
                      <a:pt x="9206" y="1248"/>
                    </a:lnTo>
                    <a:lnTo>
                      <a:pt x="9219" y="1244"/>
                    </a:lnTo>
                    <a:lnTo>
                      <a:pt x="9232" y="1242"/>
                    </a:lnTo>
                    <a:lnTo>
                      <a:pt x="9248" y="1239"/>
                    </a:lnTo>
                    <a:lnTo>
                      <a:pt x="9263" y="1234"/>
                    </a:lnTo>
                    <a:lnTo>
                      <a:pt x="9280" y="1233"/>
                    </a:lnTo>
                    <a:lnTo>
                      <a:pt x="9300" y="1233"/>
                    </a:lnTo>
                    <a:lnTo>
                      <a:pt x="9306" y="1229"/>
                    </a:lnTo>
                    <a:lnTo>
                      <a:pt x="9313" y="1228"/>
                    </a:lnTo>
                    <a:lnTo>
                      <a:pt x="9318" y="1226"/>
                    </a:lnTo>
                    <a:lnTo>
                      <a:pt x="9326" y="1226"/>
                    </a:lnTo>
                    <a:lnTo>
                      <a:pt x="9339" y="1224"/>
                    </a:lnTo>
                    <a:lnTo>
                      <a:pt x="9352" y="1224"/>
                    </a:lnTo>
                    <a:lnTo>
                      <a:pt x="9364" y="1224"/>
                    </a:lnTo>
                    <a:lnTo>
                      <a:pt x="9377" y="1224"/>
                    </a:lnTo>
                    <a:lnTo>
                      <a:pt x="9383" y="1222"/>
                    </a:lnTo>
                    <a:lnTo>
                      <a:pt x="9390" y="1220"/>
                    </a:lnTo>
                    <a:lnTo>
                      <a:pt x="9395" y="1218"/>
                    </a:lnTo>
                    <a:lnTo>
                      <a:pt x="9403" y="1214"/>
                    </a:lnTo>
                    <a:lnTo>
                      <a:pt x="9414" y="1216"/>
                    </a:lnTo>
                    <a:lnTo>
                      <a:pt x="9428" y="1216"/>
                    </a:lnTo>
                    <a:lnTo>
                      <a:pt x="9436" y="1218"/>
                    </a:lnTo>
                    <a:lnTo>
                      <a:pt x="9448" y="1220"/>
                    </a:lnTo>
                    <a:lnTo>
                      <a:pt x="9454" y="1222"/>
                    </a:lnTo>
                    <a:lnTo>
                      <a:pt x="9462" y="1224"/>
                    </a:lnTo>
                    <a:lnTo>
                      <a:pt x="9469" y="1228"/>
                    </a:lnTo>
                    <a:lnTo>
                      <a:pt x="9474" y="1233"/>
                    </a:lnTo>
                    <a:lnTo>
                      <a:pt x="9477" y="1239"/>
                    </a:lnTo>
                    <a:lnTo>
                      <a:pt x="9479" y="1244"/>
                    </a:lnTo>
                    <a:lnTo>
                      <a:pt x="9479" y="1251"/>
                    </a:lnTo>
                    <a:lnTo>
                      <a:pt x="9477" y="1259"/>
                    </a:lnTo>
                    <a:lnTo>
                      <a:pt x="9475" y="1268"/>
                    </a:lnTo>
                    <a:lnTo>
                      <a:pt x="9471" y="1274"/>
                    </a:lnTo>
                    <a:lnTo>
                      <a:pt x="9469" y="1279"/>
                    </a:lnTo>
                    <a:lnTo>
                      <a:pt x="9466" y="1285"/>
                    </a:lnTo>
                    <a:lnTo>
                      <a:pt x="9462" y="1290"/>
                    </a:lnTo>
                    <a:lnTo>
                      <a:pt x="9459" y="1295"/>
                    </a:lnTo>
                    <a:lnTo>
                      <a:pt x="9454" y="1302"/>
                    </a:lnTo>
                    <a:lnTo>
                      <a:pt x="9467" y="1303"/>
                    </a:lnTo>
                    <a:lnTo>
                      <a:pt x="9474" y="1303"/>
                    </a:lnTo>
                    <a:lnTo>
                      <a:pt x="9481" y="1305"/>
                    </a:lnTo>
                    <a:lnTo>
                      <a:pt x="9486" y="1307"/>
                    </a:lnTo>
                    <a:lnTo>
                      <a:pt x="9492" y="1308"/>
                    </a:lnTo>
                    <a:lnTo>
                      <a:pt x="9499" y="1315"/>
                    </a:lnTo>
                    <a:lnTo>
                      <a:pt x="9507" y="1318"/>
                    </a:lnTo>
                    <a:lnTo>
                      <a:pt x="9499" y="1325"/>
                    </a:lnTo>
                    <a:lnTo>
                      <a:pt x="9490" y="1333"/>
                    </a:lnTo>
                    <a:lnTo>
                      <a:pt x="9482" y="1338"/>
                    </a:lnTo>
                    <a:lnTo>
                      <a:pt x="9481" y="1341"/>
                    </a:lnTo>
                    <a:lnTo>
                      <a:pt x="9477" y="1344"/>
                    </a:lnTo>
                    <a:lnTo>
                      <a:pt x="9475" y="1348"/>
                    </a:lnTo>
                    <a:lnTo>
                      <a:pt x="9474" y="1351"/>
                    </a:lnTo>
                    <a:lnTo>
                      <a:pt x="9474" y="1355"/>
                    </a:lnTo>
                    <a:lnTo>
                      <a:pt x="9474" y="1356"/>
                    </a:lnTo>
                    <a:lnTo>
                      <a:pt x="9475" y="1361"/>
                    </a:lnTo>
                    <a:lnTo>
                      <a:pt x="9479" y="1364"/>
                    </a:lnTo>
                    <a:lnTo>
                      <a:pt x="9482" y="1368"/>
                    </a:lnTo>
                    <a:lnTo>
                      <a:pt x="9488" y="1369"/>
                    </a:lnTo>
                    <a:lnTo>
                      <a:pt x="9464" y="1377"/>
                    </a:lnTo>
                    <a:lnTo>
                      <a:pt x="9440" y="1386"/>
                    </a:lnTo>
                    <a:lnTo>
                      <a:pt x="9416" y="1395"/>
                    </a:lnTo>
                    <a:lnTo>
                      <a:pt x="9394" y="1405"/>
                    </a:lnTo>
                    <a:lnTo>
                      <a:pt x="9377" y="1412"/>
                    </a:lnTo>
                    <a:lnTo>
                      <a:pt x="9383" y="1410"/>
                    </a:lnTo>
                    <a:lnTo>
                      <a:pt x="9392" y="1410"/>
                    </a:lnTo>
                    <a:lnTo>
                      <a:pt x="9400" y="1410"/>
                    </a:lnTo>
                    <a:lnTo>
                      <a:pt x="9407" y="1414"/>
                    </a:lnTo>
                    <a:lnTo>
                      <a:pt x="9413" y="1417"/>
                    </a:lnTo>
                    <a:lnTo>
                      <a:pt x="9416" y="1420"/>
                    </a:lnTo>
                    <a:lnTo>
                      <a:pt x="9420" y="1422"/>
                    </a:lnTo>
                    <a:lnTo>
                      <a:pt x="9416" y="1423"/>
                    </a:lnTo>
                    <a:lnTo>
                      <a:pt x="9410" y="1423"/>
                    </a:lnTo>
                    <a:lnTo>
                      <a:pt x="9405" y="1425"/>
                    </a:lnTo>
                    <a:lnTo>
                      <a:pt x="9398" y="1429"/>
                    </a:lnTo>
                    <a:lnTo>
                      <a:pt x="9390" y="1430"/>
                    </a:lnTo>
                    <a:lnTo>
                      <a:pt x="9383" y="1435"/>
                    </a:lnTo>
                    <a:lnTo>
                      <a:pt x="9375" y="1438"/>
                    </a:lnTo>
                    <a:lnTo>
                      <a:pt x="9368" y="1442"/>
                    </a:lnTo>
                    <a:lnTo>
                      <a:pt x="9362" y="1445"/>
                    </a:lnTo>
                    <a:lnTo>
                      <a:pt x="9357" y="1450"/>
                    </a:lnTo>
                    <a:lnTo>
                      <a:pt x="9354" y="1455"/>
                    </a:lnTo>
                    <a:lnTo>
                      <a:pt x="9354" y="1456"/>
                    </a:lnTo>
                    <a:lnTo>
                      <a:pt x="9352" y="1458"/>
                    </a:lnTo>
                    <a:lnTo>
                      <a:pt x="9352" y="1460"/>
                    </a:lnTo>
                    <a:lnTo>
                      <a:pt x="9352" y="1462"/>
                    </a:lnTo>
                    <a:lnTo>
                      <a:pt x="9354" y="1463"/>
                    </a:lnTo>
                    <a:lnTo>
                      <a:pt x="9355" y="1468"/>
                    </a:lnTo>
                    <a:lnTo>
                      <a:pt x="9357" y="1469"/>
                    </a:lnTo>
                    <a:lnTo>
                      <a:pt x="9360" y="1471"/>
                    </a:lnTo>
                    <a:lnTo>
                      <a:pt x="9364" y="1473"/>
                    </a:lnTo>
                    <a:lnTo>
                      <a:pt x="9355" y="1473"/>
                    </a:lnTo>
                    <a:lnTo>
                      <a:pt x="9346" y="1471"/>
                    </a:lnTo>
                    <a:lnTo>
                      <a:pt x="9337" y="1469"/>
                    </a:lnTo>
                    <a:lnTo>
                      <a:pt x="9327" y="1468"/>
                    </a:lnTo>
                    <a:lnTo>
                      <a:pt x="9321" y="1466"/>
                    </a:lnTo>
                    <a:lnTo>
                      <a:pt x="9316" y="1466"/>
                    </a:lnTo>
                    <a:lnTo>
                      <a:pt x="9313" y="1466"/>
                    </a:lnTo>
                    <a:lnTo>
                      <a:pt x="9309" y="1468"/>
                    </a:lnTo>
                    <a:lnTo>
                      <a:pt x="9306" y="1469"/>
                    </a:lnTo>
                    <a:lnTo>
                      <a:pt x="9301" y="1471"/>
                    </a:lnTo>
                    <a:lnTo>
                      <a:pt x="9300" y="1473"/>
                    </a:lnTo>
                    <a:lnTo>
                      <a:pt x="9300" y="1475"/>
                    </a:lnTo>
                    <a:lnTo>
                      <a:pt x="9301" y="1476"/>
                    </a:lnTo>
                    <a:lnTo>
                      <a:pt x="9303" y="1476"/>
                    </a:lnTo>
                    <a:lnTo>
                      <a:pt x="9307" y="1478"/>
                    </a:lnTo>
                    <a:lnTo>
                      <a:pt x="9311" y="1484"/>
                    </a:lnTo>
                    <a:lnTo>
                      <a:pt x="9314" y="1488"/>
                    </a:lnTo>
                    <a:lnTo>
                      <a:pt x="9314" y="1488"/>
                    </a:lnTo>
                    <a:lnTo>
                      <a:pt x="9314" y="1488"/>
                    </a:lnTo>
                    <a:lnTo>
                      <a:pt x="9314" y="1488"/>
                    </a:lnTo>
                    <a:lnTo>
                      <a:pt x="9314" y="1488"/>
                    </a:lnTo>
                    <a:lnTo>
                      <a:pt x="9326" y="1486"/>
                    </a:lnTo>
                    <a:lnTo>
                      <a:pt x="9339" y="1483"/>
                    </a:lnTo>
                    <a:lnTo>
                      <a:pt x="9352" y="1478"/>
                    </a:lnTo>
                    <a:lnTo>
                      <a:pt x="9364" y="1475"/>
                    </a:lnTo>
                    <a:lnTo>
                      <a:pt x="9377" y="1469"/>
                    </a:lnTo>
                    <a:lnTo>
                      <a:pt x="9403" y="1456"/>
                    </a:lnTo>
                    <a:lnTo>
                      <a:pt x="9408" y="1451"/>
                    </a:lnTo>
                    <a:lnTo>
                      <a:pt x="9414" y="1447"/>
                    </a:lnTo>
                    <a:lnTo>
                      <a:pt x="9418" y="1443"/>
                    </a:lnTo>
                    <a:lnTo>
                      <a:pt x="9421" y="1442"/>
                    </a:lnTo>
                    <a:lnTo>
                      <a:pt x="9425" y="1442"/>
                    </a:lnTo>
                    <a:lnTo>
                      <a:pt x="9429" y="1442"/>
                    </a:lnTo>
                    <a:lnTo>
                      <a:pt x="9433" y="1442"/>
                    </a:lnTo>
                    <a:lnTo>
                      <a:pt x="9434" y="1443"/>
                    </a:lnTo>
                    <a:lnTo>
                      <a:pt x="9438" y="1447"/>
                    </a:lnTo>
                    <a:lnTo>
                      <a:pt x="9438" y="1445"/>
                    </a:lnTo>
                    <a:lnTo>
                      <a:pt x="9438" y="1443"/>
                    </a:lnTo>
                    <a:lnTo>
                      <a:pt x="9438" y="1442"/>
                    </a:lnTo>
                    <a:lnTo>
                      <a:pt x="9438" y="1440"/>
                    </a:lnTo>
                    <a:lnTo>
                      <a:pt x="9440" y="1436"/>
                    </a:lnTo>
                    <a:lnTo>
                      <a:pt x="9444" y="1432"/>
                    </a:lnTo>
                    <a:lnTo>
                      <a:pt x="9448" y="1429"/>
                    </a:lnTo>
                    <a:lnTo>
                      <a:pt x="9453" y="1425"/>
                    </a:lnTo>
                    <a:lnTo>
                      <a:pt x="9461" y="1420"/>
                    </a:lnTo>
                    <a:lnTo>
                      <a:pt x="9467" y="1415"/>
                    </a:lnTo>
                    <a:lnTo>
                      <a:pt x="9475" y="1414"/>
                    </a:lnTo>
                    <a:lnTo>
                      <a:pt x="9482" y="1410"/>
                    </a:lnTo>
                    <a:lnTo>
                      <a:pt x="9490" y="1409"/>
                    </a:lnTo>
                    <a:lnTo>
                      <a:pt x="9495" y="1407"/>
                    </a:lnTo>
                    <a:lnTo>
                      <a:pt x="9501" y="1405"/>
                    </a:lnTo>
                    <a:lnTo>
                      <a:pt x="9507" y="1405"/>
                    </a:lnTo>
                    <a:lnTo>
                      <a:pt x="9505" y="1412"/>
                    </a:lnTo>
                    <a:lnTo>
                      <a:pt x="9503" y="1417"/>
                    </a:lnTo>
                    <a:lnTo>
                      <a:pt x="9499" y="1425"/>
                    </a:lnTo>
                    <a:lnTo>
                      <a:pt x="9495" y="1430"/>
                    </a:lnTo>
                    <a:lnTo>
                      <a:pt x="9490" y="1438"/>
                    </a:lnTo>
                    <a:lnTo>
                      <a:pt x="9484" y="1443"/>
                    </a:lnTo>
                    <a:lnTo>
                      <a:pt x="9471" y="1456"/>
                    </a:lnTo>
                    <a:lnTo>
                      <a:pt x="9484" y="1450"/>
                    </a:lnTo>
                    <a:lnTo>
                      <a:pt x="9497" y="1442"/>
                    </a:lnTo>
                    <a:lnTo>
                      <a:pt x="9510" y="1435"/>
                    </a:lnTo>
                    <a:lnTo>
                      <a:pt x="9515" y="1430"/>
                    </a:lnTo>
                    <a:lnTo>
                      <a:pt x="9523" y="1429"/>
                    </a:lnTo>
                    <a:lnTo>
                      <a:pt x="9528" y="1427"/>
                    </a:lnTo>
                    <a:lnTo>
                      <a:pt x="9536" y="1425"/>
                    </a:lnTo>
                    <a:lnTo>
                      <a:pt x="9541" y="1425"/>
                    </a:lnTo>
                    <a:lnTo>
                      <a:pt x="9549" y="1425"/>
                    </a:lnTo>
                    <a:lnTo>
                      <a:pt x="9555" y="1427"/>
                    </a:lnTo>
                    <a:lnTo>
                      <a:pt x="9561" y="1430"/>
                    </a:lnTo>
                    <a:lnTo>
                      <a:pt x="9568" y="1435"/>
                    </a:lnTo>
                    <a:lnTo>
                      <a:pt x="9575" y="1440"/>
                    </a:lnTo>
                    <a:lnTo>
                      <a:pt x="9568" y="1445"/>
                    </a:lnTo>
                    <a:lnTo>
                      <a:pt x="9558" y="1453"/>
                    </a:lnTo>
                    <a:lnTo>
                      <a:pt x="9549" y="1458"/>
                    </a:lnTo>
                    <a:lnTo>
                      <a:pt x="9540" y="1466"/>
                    </a:lnTo>
                    <a:lnTo>
                      <a:pt x="9530" y="1471"/>
                    </a:lnTo>
                    <a:lnTo>
                      <a:pt x="9521" y="1476"/>
                    </a:lnTo>
                    <a:lnTo>
                      <a:pt x="9512" y="1483"/>
                    </a:lnTo>
                    <a:lnTo>
                      <a:pt x="9510" y="1485"/>
                    </a:lnTo>
                    <a:lnTo>
                      <a:pt x="9510" y="1485"/>
                    </a:lnTo>
                    <a:lnTo>
                      <a:pt x="9510" y="1485"/>
                    </a:lnTo>
                    <a:lnTo>
                      <a:pt x="9510" y="1485"/>
                    </a:lnTo>
                    <a:lnTo>
                      <a:pt x="9510" y="1485"/>
                    </a:lnTo>
                    <a:lnTo>
                      <a:pt x="9512" y="1484"/>
                    </a:lnTo>
                    <a:lnTo>
                      <a:pt x="9515" y="1483"/>
                    </a:lnTo>
                    <a:lnTo>
                      <a:pt x="9520" y="1483"/>
                    </a:lnTo>
                    <a:lnTo>
                      <a:pt x="9521" y="1483"/>
                    </a:lnTo>
                    <a:lnTo>
                      <a:pt x="9525" y="1483"/>
                    </a:lnTo>
                    <a:lnTo>
                      <a:pt x="9532" y="1483"/>
                    </a:lnTo>
                    <a:lnTo>
                      <a:pt x="9538" y="1484"/>
                    </a:lnTo>
                    <a:lnTo>
                      <a:pt x="9543" y="1486"/>
                    </a:lnTo>
                    <a:lnTo>
                      <a:pt x="9551" y="1488"/>
                    </a:lnTo>
                    <a:lnTo>
                      <a:pt x="9558" y="1489"/>
                    </a:lnTo>
                    <a:lnTo>
                      <a:pt x="9556" y="1488"/>
                    </a:lnTo>
                    <a:lnTo>
                      <a:pt x="9555" y="1486"/>
                    </a:lnTo>
                    <a:lnTo>
                      <a:pt x="9553" y="1484"/>
                    </a:lnTo>
                    <a:lnTo>
                      <a:pt x="9551" y="1483"/>
                    </a:lnTo>
                    <a:lnTo>
                      <a:pt x="9545" y="1476"/>
                    </a:lnTo>
                    <a:lnTo>
                      <a:pt x="9540" y="1473"/>
                    </a:lnTo>
                    <a:lnTo>
                      <a:pt x="9545" y="1469"/>
                    </a:lnTo>
                    <a:lnTo>
                      <a:pt x="9551" y="1466"/>
                    </a:lnTo>
                    <a:lnTo>
                      <a:pt x="9556" y="1462"/>
                    </a:lnTo>
                    <a:lnTo>
                      <a:pt x="9561" y="1460"/>
                    </a:lnTo>
                    <a:lnTo>
                      <a:pt x="9566" y="1458"/>
                    </a:lnTo>
                    <a:lnTo>
                      <a:pt x="9569" y="1458"/>
                    </a:lnTo>
                    <a:lnTo>
                      <a:pt x="9573" y="1458"/>
                    </a:lnTo>
                    <a:lnTo>
                      <a:pt x="9575" y="1458"/>
                    </a:lnTo>
                    <a:lnTo>
                      <a:pt x="9579" y="1458"/>
                    </a:lnTo>
                    <a:lnTo>
                      <a:pt x="9581" y="1458"/>
                    </a:lnTo>
                    <a:lnTo>
                      <a:pt x="9584" y="1462"/>
                    </a:lnTo>
                    <a:lnTo>
                      <a:pt x="9588" y="1466"/>
                    </a:lnTo>
                    <a:lnTo>
                      <a:pt x="9589" y="1471"/>
                    </a:lnTo>
                    <a:lnTo>
                      <a:pt x="9591" y="1476"/>
                    </a:lnTo>
                    <a:lnTo>
                      <a:pt x="9595" y="1483"/>
                    </a:lnTo>
                    <a:lnTo>
                      <a:pt x="9597" y="1488"/>
                    </a:lnTo>
                    <a:lnTo>
                      <a:pt x="9601" y="1493"/>
                    </a:lnTo>
                    <a:lnTo>
                      <a:pt x="9604" y="1499"/>
                    </a:lnTo>
                    <a:lnTo>
                      <a:pt x="9610" y="1503"/>
                    </a:lnTo>
                    <a:lnTo>
                      <a:pt x="9617" y="1506"/>
                    </a:lnTo>
                    <a:lnTo>
                      <a:pt x="9621" y="1506"/>
                    </a:lnTo>
                    <a:lnTo>
                      <a:pt x="9615" y="1504"/>
                    </a:lnTo>
                    <a:lnTo>
                      <a:pt x="9614" y="1501"/>
                    </a:lnTo>
                    <a:lnTo>
                      <a:pt x="9612" y="1497"/>
                    </a:lnTo>
                    <a:lnTo>
                      <a:pt x="9610" y="1496"/>
                    </a:lnTo>
                    <a:lnTo>
                      <a:pt x="9610" y="1491"/>
                    </a:lnTo>
                    <a:lnTo>
                      <a:pt x="9610" y="1489"/>
                    </a:lnTo>
                    <a:lnTo>
                      <a:pt x="9615" y="1489"/>
                    </a:lnTo>
                    <a:lnTo>
                      <a:pt x="9619" y="1491"/>
                    </a:lnTo>
                    <a:lnTo>
                      <a:pt x="9622" y="1496"/>
                    </a:lnTo>
                    <a:lnTo>
                      <a:pt x="9627" y="1497"/>
                    </a:lnTo>
                    <a:lnTo>
                      <a:pt x="9629" y="1501"/>
                    </a:lnTo>
                    <a:lnTo>
                      <a:pt x="9632" y="1504"/>
                    </a:lnTo>
                    <a:lnTo>
                      <a:pt x="9637" y="1506"/>
                    </a:lnTo>
                    <a:lnTo>
                      <a:pt x="9643" y="1506"/>
                    </a:lnTo>
                    <a:lnTo>
                      <a:pt x="9642" y="1504"/>
                    </a:lnTo>
                    <a:lnTo>
                      <a:pt x="9637" y="1501"/>
                    </a:lnTo>
                    <a:lnTo>
                      <a:pt x="9635" y="1499"/>
                    </a:lnTo>
                    <a:lnTo>
                      <a:pt x="9632" y="1493"/>
                    </a:lnTo>
                    <a:lnTo>
                      <a:pt x="9627" y="1489"/>
                    </a:lnTo>
                    <a:lnTo>
                      <a:pt x="9617" y="1478"/>
                    </a:lnTo>
                    <a:lnTo>
                      <a:pt x="9608" y="1469"/>
                    </a:lnTo>
                    <a:lnTo>
                      <a:pt x="9604" y="1463"/>
                    </a:lnTo>
                    <a:lnTo>
                      <a:pt x="9599" y="1458"/>
                    </a:lnTo>
                    <a:lnTo>
                      <a:pt x="9597" y="1453"/>
                    </a:lnTo>
                    <a:lnTo>
                      <a:pt x="9593" y="1447"/>
                    </a:lnTo>
                    <a:lnTo>
                      <a:pt x="9591" y="1443"/>
                    </a:lnTo>
                    <a:lnTo>
                      <a:pt x="9591" y="1440"/>
                    </a:lnTo>
                    <a:lnTo>
                      <a:pt x="9591" y="1436"/>
                    </a:lnTo>
                    <a:lnTo>
                      <a:pt x="9593" y="1435"/>
                    </a:lnTo>
                    <a:lnTo>
                      <a:pt x="9595" y="1432"/>
                    </a:lnTo>
                    <a:lnTo>
                      <a:pt x="9597" y="1430"/>
                    </a:lnTo>
                    <a:lnTo>
                      <a:pt x="9599" y="1429"/>
                    </a:lnTo>
                    <a:lnTo>
                      <a:pt x="9602" y="1429"/>
                    </a:lnTo>
                    <a:lnTo>
                      <a:pt x="9606" y="1429"/>
                    </a:lnTo>
                    <a:lnTo>
                      <a:pt x="9608" y="1429"/>
                    </a:lnTo>
                    <a:lnTo>
                      <a:pt x="9612" y="1430"/>
                    </a:lnTo>
                    <a:lnTo>
                      <a:pt x="9615" y="1430"/>
                    </a:lnTo>
                    <a:lnTo>
                      <a:pt x="9617" y="1435"/>
                    </a:lnTo>
                    <a:lnTo>
                      <a:pt x="9621" y="1436"/>
                    </a:lnTo>
                    <a:lnTo>
                      <a:pt x="9622" y="1440"/>
                    </a:lnTo>
                    <a:lnTo>
                      <a:pt x="9625" y="1445"/>
                    </a:lnTo>
                    <a:lnTo>
                      <a:pt x="9625" y="1451"/>
                    </a:lnTo>
                    <a:lnTo>
                      <a:pt x="9627" y="1456"/>
                    </a:lnTo>
                    <a:lnTo>
                      <a:pt x="9627" y="1451"/>
                    </a:lnTo>
                    <a:lnTo>
                      <a:pt x="9629" y="1445"/>
                    </a:lnTo>
                    <a:lnTo>
                      <a:pt x="9632" y="1442"/>
                    </a:lnTo>
                    <a:lnTo>
                      <a:pt x="9637" y="1440"/>
                    </a:lnTo>
                    <a:lnTo>
                      <a:pt x="9643" y="1438"/>
                    </a:lnTo>
                    <a:lnTo>
                      <a:pt x="9648" y="1436"/>
                    </a:lnTo>
                    <a:lnTo>
                      <a:pt x="9656" y="1436"/>
                    </a:lnTo>
                    <a:lnTo>
                      <a:pt x="9662" y="1438"/>
                    </a:lnTo>
                    <a:lnTo>
                      <a:pt x="9663" y="1438"/>
                    </a:lnTo>
                    <a:lnTo>
                      <a:pt x="9660" y="1436"/>
                    </a:lnTo>
                    <a:lnTo>
                      <a:pt x="9652" y="1432"/>
                    </a:lnTo>
                    <a:lnTo>
                      <a:pt x="9647" y="1429"/>
                    </a:lnTo>
                    <a:lnTo>
                      <a:pt x="9643" y="1422"/>
                    </a:lnTo>
                    <a:lnTo>
                      <a:pt x="9643" y="1420"/>
                    </a:lnTo>
                    <a:lnTo>
                      <a:pt x="9645" y="1415"/>
                    </a:lnTo>
                    <a:lnTo>
                      <a:pt x="9647" y="1412"/>
                    </a:lnTo>
                    <a:lnTo>
                      <a:pt x="9648" y="1410"/>
                    </a:lnTo>
                    <a:lnTo>
                      <a:pt x="9652" y="1407"/>
                    </a:lnTo>
                    <a:lnTo>
                      <a:pt x="9654" y="1402"/>
                    </a:lnTo>
                    <a:lnTo>
                      <a:pt x="9662" y="1399"/>
                    </a:lnTo>
                    <a:lnTo>
                      <a:pt x="9671" y="1394"/>
                    </a:lnTo>
                    <a:lnTo>
                      <a:pt x="9680" y="1392"/>
                    </a:lnTo>
                    <a:lnTo>
                      <a:pt x="9688" y="1389"/>
                    </a:lnTo>
                    <a:lnTo>
                      <a:pt x="9695" y="1389"/>
                    </a:lnTo>
                    <a:lnTo>
                      <a:pt x="9708" y="1382"/>
                    </a:lnTo>
                    <a:lnTo>
                      <a:pt x="9721" y="1377"/>
                    </a:lnTo>
                    <a:lnTo>
                      <a:pt x="9734" y="1376"/>
                    </a:lnTo>
                    <a:lnTo>
                      <a:pt x="9749" y="1374"/>
                    </a:lnTo>
                    <a:lnTo>
                      <a:pt x="9763" y="1371"/>
                    </a:lnTo>
                    <a:lnTo>
                      <a:pt x="9780" y="1371"/>
                    </a:lnTo>
                    <a:lnTo>
                      <a:pt x="9796" y="1369"/>
                    </a:lnTo>
                    <a:lnTo>
                      <a:pt x="9815" y="1369"/>
                    </a:lnTo>
                    <a:lnTo>
                      <a:pt x="9816" y="1371"/>
                    </a:lnTo>
                    <a:lnTo>
                      <a:pt x="9818" y="1371"/>
                    </a:lnTo>
                    <a:lnTo>
                      <a:pt x="9826" y="1371"/>
                    </a:lnTo>
                    <a:lnTo>
                      <a:pt x="9833" y="1371"/>
                    </a:lnTo>
                    <a:lnTo>
                      <a:pt x="9841" y="1374"/>
                    </a:lnTo>
                    <a:lnTo>
                      <a:pt x="9849" y="1376"/>
                    </a:lnTo>
                    <a:lnTo>
                      <a:pt x="9859" y="1377"/>
                    </a:lnTo>
                    <a:lnTo>
                      <a:pt x="9879" y="1381"/>
                    </a:lnTo>
                    <a:lnTo>
                      <a:pt x="9889" y="1384"/>
                    </a:lnTo>
                    <a:lnTo>
                      <a:pt x="9897" y="1386"/>
                    </a:lnTo>
                    <a:lnTo>
                      <a:pt x="9905" y="1390"/>
                    </a:lnTo>
                    <a:lnTo>
                      <a:pt x="9912" y="1392"/>
                    </a:lnTo>
                    <a:lnTo>
                      <a:pt x="9915" y="1394"/>
                    </a:lnTo>
                    <a:lnTo>
                      <a:pt x="9917" y="1395"/>
                    </a:lnTo>
                    <a:lnTo>
                      <a:pt x="9918" y="1397"/>
                    </a:lnTo>
                    <a:lnTo>
                      <a:pt x="9920" y="1399"/>
                    </a:lnTo>
                    <a:lnTo>
                      <a:pt x="9920" y="1401"/>
                    </a:lnTo>
                    <a:lnTo>
                      <a:pt x="9920" y="1402"/>
                    </a:lnTo>
                    <a:lnTo>
                      <a:pt x="9918" y="1405"/>
                    </a:lnTo>
                    <a:lnTo>
                      <a:pt x="9925" y="1399"/>
                    </a:lnTo>
                    <a:lnTo>
                      <a:pt x="9933" y="1395"/>
                    </a:lnTo>
                    <a:lnTo>
                      <a:pt x="9943" y="1392"/>
                    </a:lnTo>
                    <a:lnTo>
                      <a:pt x="9953" y="1390"/>
                    </a:lnTo>
                    <a:lnTo>
                      <a:pt x="9964" y="1390"/>
                    </a:lnTo>
                    <a:lnTo>
                      <a:pt x="9973" y="1392"/>
                    </a:lnTo>
                    <a:lnTo>
                      <a:pt x="9984" y="1394"/>
                    </a:lnTo>
                    <a:lnTo>
                      <a:pt x="9994" y="1395"/>
                    </a:lnTo>
                    <a:lnTo>
                      <a:pt x="10001" y="1399"/>
                    </a:lnTo>
                    <a:lnTo>
                      <a:pt x="10009" y="1405"/>
                    </a:lnTo>
                    <a:lnTo>
                      <a:pt x="10012" y="1407"/>
                    </a:lnTo>
                    <a:lnTo>
                      <a:pt x="10014" y="1409"/>
                    </a:lnTo>
                    <a:lnTo>
                      <a:pt x="10016" y="1412"/>
                    </a:lnTo>
                    <a:lnTo>
                      <a:pt x="10017" y="1414"/>
                    </a:lnTo>
                    <a:lnTo>
                      <a:pt x="10017" y="1417"/>
                    </a:lnTo>
                    <a:lnTo>
                      <a:pt x="10017" y="1422"/>
                    </a:lnTo>
                    <a:lnTo>
                      <a:pt x="10017" y="1423"/>
                    </a:lnTo>
                    <a:lnTo>
                      <a:pt x="10016" y="1427"/>
                    </a:lnTo>
                    <a:lnTo>
                      <a:pt x="10014" y="1430"/>
                    </a:lnTo>
                    <a:lnTo>
                      <a:pt x="10012" y="1432"/>
                    </a:lnTo>
                    <a:lnTo>
                      <a:pt x="10009" y="1436"/>
                    </a:lnTo>
                    <a:lnTo>
                      <a:pt x="10004" y="1440"/>
                    </a:lnTo>
                    <a:lnTo>
                      <a:pt x="10001" y="1445"/>
                    </a:lnTo>
                    <a:lnTo>
                      <a:pt x="9997" y="1451"/>
                    </a:lnTo>
                    <a:lnTo>
                      <a:pt x="9992" y="1455"/>
                    </a:lnTo>
                    <a:lnTo>
                      <a:pt x="9988" y="1456"/>
                    </a:lnTo>
                    <a:lnTo>
                      <a:pt x="9983" y="1458"/>
                    </a:lnTo>
                    <a:lnTo>
                      <a:pt x="9979" y="1460"/>
                    </a:lnTo>
                    <a:lnTo>
                      <a:pt x="9973" y="1460"/>
                    </a:lnTo>
                    <a:lnTo>
                      <a:pt x="9968" y="1460"/>
                    </a:lnTo>
                    <a:lnTo>
                      <a:pt x="9955" y="1460"/>
                    </a:lnTo>
                    <a:lnTo>
                      <a:pt x="9943" y="1458"/>
                    </a:lnTo>
                    <a:lnTo>
                      <a:pt x="9931" y="1456"/>
                    </a:lnTo>
                    <a:lnTo>
                      <a:pt x="9918" y="1456"/>
                    </a:lnTo>
                    <a:lnTo>
                      <a:pt x="9905" y="1456"/>
                    </a:lnTo>
                    <a:lnTo>
                      <a:pt x="9892" y="1460"/>
                    </a:lnTo>
                    <a:lnTo>
                      <a:pt x="9879" y="1462"/>
                    </a:lnTo>
                    <a:lnTo>
                      <a:pt x="9866" y="1468"/>
                    </a:lnTo>
                    <a:lnTo>
                      <a:pt x="9854" y="1473"/>
                    </a:lnTo>
                    <a:lnTo>
                      <a:pt x="9841" y="1476"/>
                    </a:lnTo>
                    <a:lnTo>
                      <a:pt x="9815" y="1489"/>
                    </a:lnTo>
                    <a:lnTo>
                      <a:pt x="9824" y="1488"/>
                    </a:lnTo>
                    <a:lnTo>
                      <a:pt x="9835" y="1488"/>
                    </a:lnTo>
                    <a:lnTo>
                      <a:pt x="9844" y="1486"/>
                    </a:lnTo>
                    <a:lnTo>
                      <a:pt x="9854" y="1484"/>
                    </a:lnTo>
                    <a:lnTo>
                      <a:pt x="9874" y="1478"/>
                    </a:lnTo>
                    <a:lnTo>
                      <a:pt x="9892" y="1475"/>
                    </a:lnTo>
                    <a:lnTo>
                      <a:pt x="9912" y="1471"/>
                    </a:lnTo>
                    <a:lnTo>
                      <a:pt x="9922" y="1469"/>
                    </a:lnTo>
                    <a:lnTo>
                      <a:pt x="9931" y="1469"/>
                    </a:lnTo>
                    <a:lnTo>
                      <a:pt x="9940" y="1469"/>
                    </a:lnTo>
                    <a:lnTo>
                      <a:pt x="9951" y="1469"/>
                    </a:lnTo>
                    <a:lnTo>
                      <a:pt x="9961" y="1471"/>
                    </a:lnTo>
                    <a:lnTo>
                      <a:pt x="9970" y="1473"/>
                    </a:lnTo>
                    <a:lnTo>
                      <a:pt x="9968" y="1474"/>
                    </a:lnTo>
                    <a:lnTo>
                      <a:pt x="9981" y="1469"/>
                    </a:lnTo>
                    <a:lnTo>
                      <a:pt x="9991" y="1466"/>
                    </a:lnTo>
                    <a:lnTo>
                      <a:pt x="9999" y="1463"/>
                    </a:lnTo>
                    <a:lnTo>
                      <a:pt x="10009" y="1462"/>
                    </a:lnTo>
                    <a:lnTo>
                      <a:pt x="10017" y="1460"/>
                    </a:lnTo>
                    <a:lnTo>
                      <a:pt x="10027" y="1460"/>
                    </a:lnTo>
                    <a:lnTo>
                      <a:pt x="10037" y="1460"/>
                    </a:lnTo>
                    <a:lnTo>
                      <a:pt x="10044" y="1460"/>
                    </a:lnTo>
                    <a:lnTo>
                      <a:pt x="10053" y="1462"/>
                    </a:lnTo>
                    <a:lnTo>
                      <a:pt x="10060" y="1463"/>
                    </a:lnTo>
                    <a:lnTo>
                      <a:pt x="10068" y="1468"/>
                    </a:lnTo>
                    <a:lnTo>
                      <a:pt x="10073" y="1471"/>
                    </a:lnTo>
                    <a:lnTo>
                      <a:pt x="10080" y="1476"/>
                    </a:lnTo>
                    <a:lnTo>
                      <a:pt x="10086" y="1481"/>
                    </a:lnTo>
                    <a:lnTo>
                      <a:pt x="10091" y="1489"/>
                    </a:lnTo>
                    <a:lnTo>
                      <a:pt x="10078" y="1489"/>
                    </a:lnTo>
                    <a:lnTo>
                      <a:pt x="10068" y="1491"/>
                    </a:lnTo>
                    <a:lnTo>
                      <a:pt x="10057" y="1496"/>
                    </a:lnTo>
                    <a:lnTo>
                      <a:pt x="10047" y="1497"/>
                    </a:lnTo>
                    <a:lnTo>
                      <a:pt x="10038" y="1501"/>
                    </a:lnTo>
                    <a:lnTo>
                      <a:pt x="10027" y="1504"/>
                    </a:lnTo>
                    <a:lnTo>
                      <a:pt x="10016" y="1506"/>
                    </a:lnTo>
                    <a:lnTo>
                      <a:pt x="10004" y="1506"/>
                    </a:lnTo>
                    <a:lnTo>
                      <a:pt x="9992" y="1512"/>
                    </a:lnTo>
                    <a:lnTo>
                      <a:pt x="9979" y="1517"/>
                    </a:lnTo>
                    <a:lnTo>
                      <a:pt x="9966" y="1519"/>
                    </a:lnTo>
                    <a:lnTo>
                      <a:pt x="9953" y="1521"/>
                    </a:lnTo>
                    <a:lnTo>
                      <a:pt x="9940" y="1522"/>
                    </a:lnTo>
                    <a:lnTo>
                      <a:pt x="9927" y="1522"/>
                    </a:lnTo>
                    <a:lnTo>
                      <a:pt x="9902" y="1524"/>
                    </a:lnTo>
                    <a:lnTo>
                      <a:pt x="9927" y="1524"/>
                    </a:lnTo>
                    <a:lnTo>
                      <a:pt x="9953" y="1524"/>
                    </a:lnTo>
                    <a:lnTo>
                      <a:pt x="9946" y="1530"/>
                    </a:lnTo>
                    <a:lnTo>
                      <a:pt x="9936" y="1534"/>
                    </a:lnTo>
                    <a:lnTo>
                      <a:pt x="9927" y="1537"/>
                    </a:lnTo>
                    <a:lnTo>
                      <a:pt x="9927" y="1537"/>
                    </a:lnTo>
                    <a:lnTo>
                      <a:pt x="9933" y="1536"/>
                    </a:lnTo>
                    <a:lnTo>
                      <a:pt x="9938" y="1536"/>
                    </a:lnTo>
                    <a:lnTo>
                      <a:pt x="9943" y="1534"/>
                    </a:lnTo>
                    <a:lnTo>
                      <a:pt x="9950" y="1534"/>
                    </a:lnTo>
                    <a:lnTo>
                      <a:pt x="9953" y="1534"/>
                    </a:lnTo>
                    <a:lnTo>
                      <a:pt x="9958" y="1534"/>
                    </a:lnTo>
                    <a:lnTo>
                      <a:pt x="9963" y="1536"/>
                    </a:lnTo>
                    <a:lnTo>
                      <a:pt x="9966" y="1537"/>
                    </a:lnTo>
                    <a:lnTo>
                      <a:pt x="9970" y="1542"/>
                    </a:lnTo>
                    <a:lnTo>
                      <a:pt x="9977" y="1534"/>
                    </a:lnTo>
                    <a:lnTo>
                      <a:pt x="9986" y="1529"/>
                    </a:lnTo>
                    <a:lnTo>
                      <a:pt x="9996" y="1522"/>
                    </a:lnTo>
                    <a:lnTo>
                      <a:pt x="10004" y="1519"/>
                    </a:lnTo>
                    <a:lnTo>
                      <a:pt x="10009" y="1517"/>
                    </a:lnTo>
                    <a:lnTo>
                      <a:pt x="10014" y="1517"/>
                    </a:lnTo>
                    <a:lnTo>
                      <a:pt x="10019" y="1517"/>
                    </a:lnTo>
                    <a:lnTo>
                      <a:pt x="10024" y="1517"/>
                    </a:lnTo>
                    <a:lnTo>
                      <a:pt x="10027" y="1517"/>
                    </a:lnTo>
                    <a:lnTo>
                      <a:pt x="10032" y="1519"/>
                    </a:lnTo>
                    <a:lnTo>
                      <a:pt x="10037" y="1521"/>
                    </a:lnTo>
                    <a:lnTo>
                      <a:pt x="10040" y="1524"/>
                    </a:lnTo>
                    <a:lnTo>
                      <a:pt x="10038" y="1524"/>
                    </a:lnTo>
                    <a:lnTo>
                      <a:pt x="10037" y="1527"/>
                    </a:lnTo>
                    <a:lnTo>
                      <a:pt x="10034" y="1529"/>
                    </a:lnTo>
                    <a:lnTo>
                      <a:pt x="10030" y="1532"/>
                    </a:lnTo>
                    <a:lnTo>
                      <a:pt x="10029" y="1534"/>
                    </a:lnTo>
                    <a:lnTo>
                      <a:pt x="10027" y="1536"/>
                    </a:lnTo>
                    <a:lnTo>
                      <a:pt x="10025" y="1537"/>
                    </a:lnTo>
                    <a:lnTo>
                      <a:pt x="10022" y="1539"/>
                    </a:lnTo>
                    <a:lnTo>
                      <a:pt x="10022" y="1542"/>
                    </a:lnTo>
                    <a:lnTo>
                      <a:pt x="10029" y="1534"/>
                    </a:lnTo>
                    <a:lnTo>
                      <a:pt x="10038" y="1529"/>
                    </a:lnTo>
                    <a:lnTo>
                      <a:pt x="10047" y="1522"/>
                    </a:lnTo>
                    <a:lnTo>
                      <a:pt x="10058" y="1519"/>
                    </a:lnTo>
                    <a:lnTo>
                      <a:pt x="10063" y="1517"/>
                    </a:lnTo>
                    <a:lnTo>
                      <a:pt x="10070" y="1517"/>
                    </a:lnTo>
                    <a:lnTo>
                      <a:pt x="10075" y="1517"/>
                    </a:lnTo>
                    <a:lnTo>
                      <a:pt x="10083" y="1517"/>
                    </a:lnTo>
                    <a:lnTo>
                      <a:pt x="10088" y="1517"/>
                    </a:lnTo>
                    <a:lnTo>
                      <a:pt x="10095" y="1519"/>
                    </a:lnTo>
                    <a:lnTo>
                      <a:pt x="10101" y="1521"/>
                    </a:lnTo>
                    <a:lnTo>
                      <a:pt x="10108" y="1524"/>
                    </a:lnTo>
                    <a:lnTo>
                      <a:pt x="10101" y="1524"/>
                    </a:lnTo>
                    <a:lnTo>
                      <a:pt x="10095" y="1524"/>
                    </a:lnTo>
                    <a:lnTo>
                      <a:pt x="10088" y="1527"/>
                    </a:lnTo>
                    <a:lnTo>
                      <a:pt x="10080" y="1530"/>
                    </a:lnTo>
                    <a:lnTo>
                      <a:pt x="10075" y="1532"/>
                    </a:lnTo>
                    <a:lnTo>
                      <a:pt x="10068" y="1536"/>
                    </a:lnTo>
                    <a:lnTo>
                      <a:pt x="10055" y="1543"/>
                    </a:lnTo>
                    <a:lnTo>
                      <a:pt x="10040" y="1550"/>
                    </a:lnTo>
                    <a:lnTo>
                      <a:pt x="10024" y="1560"/>
                    </a:lnTo>
                    <a:lnTo>
                      <a:pt x="10022" y="1561"/>
                    </a:lnTo>
                    <a:lnTo>
                      <a:pt x="10022" y="1565"/>
                    </a:lnTo>
                    <a:lnTo>
                      <a:pt x="10021" y="1566"/>
                    </a:lnTo>
                    <a:lnTo>
                      <a:pt x="10030" y="1560"/>
                    </a:lnTo>
                    <a:lnTo>
                      <a:pt x="10038" y="1554"/>
                    </a:lnTo>
                    <a:lnTo>
                      <a:pt x="10045" y="1549"/>
                    </a:lnTo>
                    <a:lnTo>
                      <a:pt x="10055" y="1545"/>
                    </a:lnTo>
                    <a:lnTo>
                      <a:pt x="10062" y="1542"/>
                    </a:lnTo>
                    <a:lnTo>
                      <a:pt x="10070" y="1539"/>
                    </a:lnTo>
                    <a:lnTo>
                      <a:pt x="10077" y="1537"/>
                    </a:lnTo>
                    <a:lnTo>
                      <a:pt x="10084" y="1537"/>
                    </a:lnTo>
                    <a:lnTo>
                      <a:pt x="10088" y="1539"/>
                    </a:lnTo>
                    <a:lnTo>
                      <a:pt x="10091" y="1542"/>
                    </a:lnTo>
                    <a:lnTo>
                      <a:pt x="10090" y="1543"/>
                    </a:lnTo>
                    <a:lnTo>
                      <a:pt x="10090" y="1547"/>
                    </a:lnTo>
                    <a:lnTo>
                      <a:pt x="10088" y="1552"/>
                    </a:lnTo>
                    <a:lnTo>
                      <a:pt x="10086" y="1557"/>
                    </a:lnTo>
                    <a:lnTo>
                      <a:pt x="10083" y="1563"/>
                    </a:lnTo>
                    <a:lnTo>
                      <a:pt x="10077" y="1571"/>
                    </a:lnTo>
                    <a:lnTo>
                      <a:pt x="10077" y="1575"/>
                    </a:lnTo>
                    <a:lnTo>
                      <a:pt x="10075" y="1577"/>
                    </a:lnTo>
                    <a:lnTo>
                      <a:pt x="10075" y="1578"/>
                    </a:lnTo>
                    <a:lnTo>
                      <a:pt x="10077" y="1580"/>
                    </a:lnTo>
                    <a:lnTo>
                      <a:pt x="10080" y="1580"/>
                    </a:lnTo>
                    <a:lnTo>
                      <a:pt x="10084" y="1578"/>
                    </a:lnTo>
                    <a:lnTo>
                      <a:pt x="10091" y="1577"/>
                    </a:lnTo>
                    <a:lnTo>
                      <a:pt x="10078" y="1582"/>
                    </a:lnTo>
                    <a:lnTo>
                      <a:pt x="10068" y="1588"/>
                    </a:lnTo>
                    <a:lnTo>
                      <a:pt x="10057" y="1595"/>
                    </a:lnTo>
                    <a:lnTo>
                      <a:pt x="10047" y="1600"/>
                    </a:lnTo>
                    <a:lnTo>
                      <a:pt x="10038" y="1608"/>
                    </a:lnTo>
                    <a:lnTo>
                      <a:pt x="10027" y="1613"/>
                    </a:lnTo>
                    <a:lnTo>
                      <a:pt x="10016" y="1621"/>
                    </a:lnTo>
                    <a:lnTo>
                      <a:pt x="10004" y="1626"/>
                    </a:lnTo>
                    <a:lnTo>
                      <a:pt x="10014" y="1626"/>
                    </a:lnTo>
                    <a:lnTo>
                      <a:pt x="10022" y="1623"/>
                    </a:lnTo>
                    <a:lnTo>
                      <a:pt x="10030" y="1621"/>
                    </a:lnTo>
                    <a:lnTo>
                      <a:pt x="10038" y="1617"/>
                    </a:lnTo>
                    <a:lnTo>
                      <a:pt x="10044" y="1611"/>
                    </a:lnTo>
                    <a:lnTo>
                      <a:pt x="10050" y="1606"/>
                    </a:lnTo>
                    <a:lnTo>
                      <a:pt x="10063" y="1596"/>
                    </a:lnTo>
                    <a:lnTo>
                      <a:pt x="10071" y="1591"/>
                    </a:lnTo>
                    <a:lnTo>
                      <a:pt x="10077" y="1588"/>
                    </a:lnTo>
                    <a:lnTo>
                      <a:pt x="10084" y="1585"/>
                    </a:lnTo>
                    <a:lnTo>
                      <a:pt x="10091" y="1583"/>
                    </a:lnTo>
                    <a:lnTo>
                      <a:pt x="10099" y="1582"/>
                    </a:lnTo>
                    <a:lnTo>
                      <a:pt x="10103" y="1583"/>
                    </a:lnTo>
                    <a:lnTo>
                      <a:pt x="10106" y="1583"/>
                    </a:lnTo>
                    <a:lnTo>
                      <a:pt x="10111" y="1585"/>
                    </a:lnTo>
                    <a:lnTo>
                      <a:pt x="10116" y="1588"/>
                    </a:lnTo>
                    <a:lnTo>
                      <a:pt x="10119" y="1590"/>
                    </a:lnTo>
                    <a:lnTo>
                      <a:pt x="10114" y="1585"/>
                    </a:lnTo>
                    <a:lnTo>
                      <a:pt x="10111" y="1582"/>
                    </a:lnTo>
                    <a:lnTo>
                      <a:pt x="10110" y="1578"/>
                    </a:lnTo>
                    <a:lnTo>
                      <a:pt x="10110" y="1575"/>
                    </a:lnTo>
                    <a:lnTo>
                      <a:pt x="10110" y="1571"/>
                    </a:lnTo>
                    <a:lnTo>
                      <a:pt x="10111" y="1567"/>
                    </a:lnTo>
                    <a:lnTo>
                      <a:pt x="10114" y="1565"/>
                    </a:lnTo>
                    <a:lnTo>
                      <a:pt x="10116" y="1562"/>
                    </a:lnTo>
                    <a:lnTo>
                      <a:pt x="10119" y="1558"/>
                    </a:lnTo>
                    <a:lnTo>
                      <a:pt x="10126" y="1552"/>
                    </a:lnTo>
                    <a:lnTo>
                      <a:pt x="10132" y="1550"/>
                    </a:lnTo>
                    <a:lnTo>
                      <a:pt x="10136" y="1549"/>
                    </a:lnTo>
                    <a:lnTo>
                      <a:pt x="10139" y="1549"/>
                    </a:lnTo>
                    <a:lnTo>
                      <a:pt x="10141" y="1549"/>
                    </a:lnTo>
                    <a:lnTo>
                      <a:pt x="10141" y="1550"/>
                    </a:lnTo>
                    <a:lnTo>
                      <a:pt x="10137" y="1550"/>
                    </a:lnTo>
                    <a:lnTo>
                      <a:pt x="10136" y="1554"/>
                    </a:lnTo>
                    <a:lnTo>
                      <a:pt x="10131" y="1558"/>
                    </a:lnTo>
                    <a:lnTo>
                      <a:pt x="10124" y="1563"/>
                    </a:lnTo>
                    <a:lnTo>
                      <a:pt x="10137" y="1563"/>
                    </a:lnTo>
                    <a:lnTo>
                      <a:pt x="10144" y="1563"/>
                    </a:lnTo>
                    <a:lnTo>
                      <a:pt x="10149" y="1563"/>
                    </a:lnTo>
                    <a:lnTo>
                      <a:pt x="10154" y="1563"/>
                    </a:lnTo>
                    <a:lnTo>
                      <a:pt x="10151" y="1565"/>
                    </a:lnTo>
                    <a:lnTo>
                      <a:pt x="10147" y="1567"/>
                    </a:lnTo>
                    <a:lnTo>
                      <a:pt x="10144" y="1573"/>
                    </a:lnTo>
                    <a:lnTo>
                      <a:pt x="10139" y="1577"/>
                    </a:lnTo>
                    <a:lnTo>
                      <a:pt x="10136" y="1582"/>
                    </a:lnTo>
                    <a:lnTo>
                      <a:pt x="10131" y="1588"/>
                    </a:lnTo>
                    <a:lnTo>
                      <a:pt x="10124" y="1593"/>
                    </a:lnTo>
                    <a:lnTo>
                      <a:pt x="10111" y="1593"/>
                    </a:lnTo>
                    <a:lnTo>
                      <a:pt x="10103" y="1595"/>
                    </a:lnTo>
                    <a:lnTo>
                      <a:pt x="10093" y="1598"/>
                    </a:lnTo>
                    <a:lnTo>
                      <a:pt x="10084" y="1603"/>
                    </a:lnTo>
                    <a:lnTo>
                      <a:pt x="10077" y="1608"/>
                    </a:lnTo>
                    <a:lnTo>
                      <a:pt x="10070" y="1613"/>
                    </a:lnTo>
                    <a:lnTo>
                      <a:pt x="10057" y="1626"/>
                    </a:lnTo>
                    <a:lnTo>
                      <a:pt x="10068" y="1623"/>
                    </a:lnTo>
                    <a:lnTo>
                      <a:pt x="10080" y="1619"/>
                    </a:lnTo>
                    <a:lnTo>
                      <a:pt x="10091" y="1613"/>
                    </a:lnTo>
                    <a:lnTo>
                      <a:pt x="10103" y="1608"/>
                    </a:lnTo>
                    <a:lnTo>
                      <a:pt x="10123" y="1596"/>
                    </a:lnTo>
                    <a:lnTo>
                      <a:pt x="10141" y="1583"/>
                    </a:lnTo>
                    <a:lnTo>
                      <a:pt x="10162" y="1571"/>
                    </a:lnTo>
                    <a:lnTo>
                      <a:pt x="10182" y="1560"/>
                    </a:lnTo>
                    <a:lnTo>
                      <a:pt x="10193" y="1554"/>
                    </a:lnTo>
                    <a:lnTo>
                      <a:pt x="10205" y="1549"/>
                    </a:lnTo>
                    <a:lnTo>
                      <a:pt x="10215" y="1545"/>
                    </a:lnTo>
                    <a:lnTo>
                      <a:pt x="10228" y="1542"/>
                    </a:lnTo>
                    <a:lnTo>
                      <a:pt x="10230" y="1542"/>
                    </a:lnTo>
                    <a:lnTo>
                      <a:pt x="10231" y="1542"/>
                    </a:lnTo>
                    <a:lnTo>
                      <a:pt x="10238" y="1542"/>
                    </a:lnTo>
                    <a:lnTo>
                      <a:pt x="10244" y="1542"/>
                    </a:lnTo>
                    <a:lnTo>
                      <a:pt x="10254" y="1542"/>
                    </a:lnTo>
                    <a:lnTo>
                      <a:pt x="10263" y="1542"/>
                    </a:lnTo>
                    <a:lnTo>
                      <a:pt x="10272" y="1543"/>
                    </a:lnTo>
                    <a:lnTo>
                      <a:pt x="10292" y="1545"/>
                    </a:lnTo>
                    <a:lnTo>
                      <a:pt x="10302" y="1547"/>
                    </a:lnTo>
                    <a:lnTo>
                      <a:pt x="10312" y="1549"/>
                    </a:lnTo>
                    <a:lnTo>
                      <a:pt x="10318" y="1552"/>
                    </a:lnTo>
                    <a:lnTo>
                      <a:pt x="10324" y="1557"/>
                    </a:lnTo>
                    <a:lnTo>
                      <a:pt x="10328" y="1558"/>
                    </a:lnTo>
                    <a:lnTo>
                      <a:pt x="10330" y="1560"/>
                    </a:lnTo>
                    <a:lnTo>
                      <a:pt x="10332" y="1562"/>
                    </a:lnTo>
                    <a:lnTo>
                      <a:pt x="10332" y="1563"/>
                    </a:lnTo>
                    <a:lnTo>
                      <a:pt x="10333" y="1567"/>
                    </a:lnTo>
                    <a:lnTo>
                      <a:pt x="10333" y="1569"/>
                    </a:lnTo>
                    <a:lnTo>
                      <a:pt x="10332" y="1573"/>
                    </a:lnTo>
                    <a:lnTo>
                      <a:pt x="10332" y="1577"/>
                    </a:lnTo>
                    <a:lnTo>
                      <a:pt x="10330" y="1582"/>
                    </a:lnTo>
                    <a:lnTo>
                      <a:pt x="10328" y="1588"/>
                    </a:lnTo>
                    <a:lnTo>
                      <a:pt x="10326" y="1593"/>
                    </a:lnTo>
                    <a:lnTo>
                      <a:pt x="10322" y="1596"/>
                    </a:lnTo>
                    <a:lnTo>
                      <a:pt x="10318" y="1603"/>
                    </a:lnTo>
                    <a:lnTo>
                      <a:pt x="10313" y="1606"/>
                    </a:lnTo>
                    <a:lnTo>
                      <a:pt x="10307" y="1610"/>
                    </a:lnTo>
                    <a:lnTo>
                      <a:pt x="10300" y="1611"/>
                    </a:lnTo>
                    <a:lnTo>
                      <a:pt x="10294" y="1613"/>
                    </a:lnTo>
                    <a:lnTo>
                      <a:pt x="10287" y="1615"/>
                    </a:lnTo>
                    <a:lnTo>
                      <a:pt x="10280" y="1615"/>
                    </a:lnTo>
                    <a:lnTo>
                      <a:pt x="10272" y="1617"/>
                    </a:lnTo>
                    <a:lnTo>
                      <a:pt x="10265" y="1615"/>
                    </a:lnTo>
                    <a:lnTo>
                      <a:pt x="10258" y="1615"/>
                    </a:lnTo>
                    <a:lnTo>
                      <a:pt x="10252" y="1611"/>
                    </a:lnTo>
                    <a:lnTo>
                      <a:pt x="10244" y="1610"/>
                    </a:lnTo>
                    <a:lnTo>
                      <a:pt x="10238" y="1610"/>
                    </a:lnTo>
                    <a:lnTo>
                      <a:pt x="10231" y="1611"/>
                    </a:lnTo>
                    <a:lnTo>
                      <a:pt x="10225" y="1613"/>
                    </a:lnTo>
                    <a:lnTo>
                      <a:pt x="10217" y="1615"/>
                    </a:lnTo>
                    <a:lnTo>
                      <a:pt x="10208" y="1619"/>
                    </a:lnTo>
                    <a:lnTo>
                      <a:pt x="10200" y="1621"/>
                    </a:lnTo>
                    <a:lnTo>
                      <a:pt x="10182" y="1628"/>
                    </a:lnTo>
                    <a:lnTo>
                      <a:pt x="10165" y="1637"/>
                    </a:lnTo>
                    <a:lnTo>
                      <a:pt x="10145" y="1647"/>
                    </a:lnTo>
                    <a:lnTo>
                      <a:pt x="10126" y="1654"/>
                    </a:lnTo>
                    <a:lnTo>
                      <a:pt x="10108" y="1662"/>
                    </a:lnTo>
                    <a:lnTo>
                      <a:pt x="10114" y="1662"/>
                    </a:lnTo>
                    <a:lnTo>
                      <a:pt x="10121" y="1659"/>
                    </a:lnTo>
                    <a:lnTo>
                      <a:pt x="10126" y="1657"/>
                    </a:lnTo>
                    <a:lnTo>
                      <a:pt x="10134" y="1654"/>
                    </a:lnTo>
                    <a:lnTo>
                      <a:pt x="10139" y="1654"/>
                    </a:lnTo>
                    <a:lnTo>
                      <a:pt x="10144" y="1654"/>
                    </a:lnTo>
                    <a:lnTo>
                      <a:pt x="10145" y="1654"/>
                    </a:lnTo>
                    <a:lnTo>
                      <a:pt x="10149" y="1654"/>
                    </a:lnTo>
                    <a:lnTo>
                      <a:pt x="10152" y="1656"/>
                    </a:lnTo>
                    <a:lnTo>
                      <a:pt x="10156" y="1657"/>
                    </a:lnTo>
                    <a:lnTo>
                      <a:pt x="10160" y="1662"/>
                    </a:lnTo>
                    <a:lnTo>
                      <a:pt x="10152" y="1662"/>
                    </a:lnTo>
                    <a:lnTo>
                      <a:pt x="10145" y="1664"/>
                    </a:lnTo>
                    <a:lnTo>
                      <a:pt x="10139" y="1667"/>
                    </a:lnTo>
                    <a:lnTo>
                      <a:pt x="10131" y="1670"/>
                    </a:lnTo>
                    <a:lnTo>
                      <a:pt x="10123" y="1672"/>
                    </a:lnTo>
                    <a:lnTo>
                      <a:pt x="10114" y="1676"/>
                    </a:lnTo>
                    <a:lnTo>
                      <a:pt x="10103" y="1678"/>
                    </a:lnTo>
                    <a:lnTo>
                      <a:pt x="10091" y="1678"/>
                    </a:lnTo>
                    <a:lnTo>
                      <a:pt x="10098" y="1680"/>
                    </a:lnTo>
                    <a:lnTo>
                      <a:pt x="10103" y="1682"/>
                    </a:lnTo>
                    <a:lnTo>
                      <a:pt x="10110" y="1684"/>
                    </a:lnTo>
                    <a:lnTo>
                      <a:pt x="10116" y="1684"/>
                    </a:lnTo>
                    <a:lnTo>
                      <a:pt x="10123" y="1682"/>
                    </a:lnTo>
                    <a:lnTo>
                      <a:pt x="10129" y="1680"/>
                    </a:lnTo>
                    <a:lnTo>
                      <a:pt x="10141" y="1676"/>
                    </a:lnTo>
                    <a:lnTo>
                      <a:pt x="10154" y="1670"/>
                    </a:lnTo>
                    <a:lnTo>
                      <a:pt x="10167" y="1667"/>
                    </a:lnTo>
                    <a:lnTo>
                      <a:pt x="10175" y="1665"/>
                    </a:lnTo>
                    <a:lnTo>
                      <a:pt x="10180" y="1664"/>
                    </a:lnTo>
                    <a:lnTo>
                      <a:pt x="10187" y="1662"/>
                    </a:lnTo>
                    <a:lnTo>
                      <a:pt x="10193" y="1662"/>
                    </a:lnTo>
                    <a:lnTo>
                      <a:pt x="10200" y="1662"/>
                    </a:lnTo>
                    <a:lnTo>
                      <a:pt x="10210" y="1659"/>
                    </a:lnTo>
                    <a:lnTo>
                      <a:pt x="10214" y="1657"/>
                    </a:lnTo>
                    <a:lnTo>
                      <a:pt x="10211" y="1657"/>
                    </a:lnTo>
                    <a:lnTo>
                      <a:pt x="10202" y="1657"/>
                    </a:lnTo>
                    <a:lnTo>
                      <a:pt x="10195" y="1656"/>
                    </a:lnTo>
                    <a:lnTo>
                      <a:pt x="10190" y="1654"/>
                    </a:lnTo>
                    <a:lnTo>
                      <a:pt x="10184" y="1652"/>
                    </a:lnTo>
                    <a:lnTo>
                      <a:pt x="10182" y="1650"/>
                    </a:lnTo>
                    <a:lnTo>
                      <a:pt x="10180" y="1650"/>
                    </a:lnTo>
                    <a:lnTo>
                      <a:pt x="10180" y="1649"/>
                    </a:lnTo>
                    <a:lnTo>
                      <a:pt x="10180" y="1647"/>
                    </a:lnTo>
                    <a:lnTo>
                      <a:pt x="10182" y="1647"/>
                    </a:lnTo>
                    <a:lnTo>
                      <a:pt x="10185" y="1644"/>
                    </a:lnTo>
                    <a:lnTo>
                      <a:pt x="10190" y="1643"/>
                    </a:lnTo>
                    <a:lnTo>
                      <a:pt x="10191" y="1641"/>
                    </a:lnTo>
                    <a:lnTo>
                      <a:pt x="10198" y="1636"/>
                    </a:lnTo>
                    <a:lnTo>
                      <a:pt x="10206" y="1630"/>
                    </a:lnTo>
                    <a:lnTo>
                      <a:pt x="10210" y="1628"/>
                    </a:lnTo>
                    <a:lnTo>
                      <a:pt x="10215" y="1626"/>
                    </a:lnTo>
                    <a:lnTo>
                      <a:pt x="10218" y="1624"/>
                    </a:lnTo>
                    <a:lnTo>
                      <a:pt x="10225" y="1624"/>
                    </a:lnTo>
                    <a:lnTo>
                      <a:pt x="10228" y="1624"/>
                    </a:lnTo>
                    <a:lnTo>
                      <a:pt x="10233" y="1624"/>
                    </a:lnTo>
                    <a:lnTo>
                      <a:pt x="10239" y="1626"/>
                    </a:lnTo>
                    <a:lnTo>
                      <a:pt x="10246" y="1628"/>
                    </a:lnTo>
                    <a:lnTo>
                      <a:pt x="10248" y="1628"/>
                    </a:lnTo>
                    <a:lnTo>
                      <a:pt x="10252" y="1628"/>
                    </a:lnTo>
                    <a:lnTo>
                      <a:pt x="10256" y="1628"/>
                    </a:lnTo>
                    <a:lnTo>
                      <a:pt x="10261" y="1628"/>
                    </a:lnTo>
                    <a:lnTo>
                      <a:pt x="10267" y="1628"/>
                    </a:lnTo>
                    <a:lnTo>
                      <a:pt x="10280" y="1628"/>
                    </a:lnTo>
                    <a:lnTo>
                      <a:pt x="10278" y="1632"/>
                    </a:lnTo>
                    <a:lnTo>
                      <a:pt x="10278" y="1636"/>
                    </a:lnTo>
                    <a:lnTo>
                      <a:pt x="10276" y="1637"/>
                    </a:lnTo>
                    <a:lnTo>
                      <a:pt x="10274" y="1641"/>
                    </a:lnTo>
                    <a:lnTo>
                      <a:pt x="10271" y="1644"/>
                    </a:lnTo>
                    <a:lnTo>
                      <a:pt x="10280" y="1644"/>
                    </a:lnTo>
                    <a:lnTo>
                      <a:pt x="10280" y="1643"/>
                    </a:lnTo>
                    <a:lnTo>
                      <a:pt x="10282" y="1643"/>
                    </a:lnTo>
                    <a:lnTo>
                      <a:pt x="10284" y="1643"/>
                    </a:lnTo>
                    <a:lnTo>
                      <a:pt x="10285" y="1641"/>
                    </a:lnTo>
                    <a:lnTo>
                      <a:pt x="10287" y="1641"/>
                    </a:lnTo>
                    <a:lnTo>
                      <a:pt x="10291" y="1639"/>
                    </a:lnTo>
                    <a:lnTo>
                      <a:pt x="10298" y="1636"/>
                    </a:lnTo>
                    <a:lnTo>
                      <a:pt x="10307" y="1634"/>
                    </a:lnTo>
                    <a:lnTo>
                      <a:pt x="10317" y="1630"/>
                    </a:lnTo>
                    <a:lnTo>
                      <a:pt x="10328" y="1626"/>
                    </a:lnTo>
                    <a:lnTo>
                      <a:pt x="10337" y="1623"/>
                    </a:lnTo>
                    <a:lnTo>
                      <a:pt x="10348" y="1619"/>
                    </a:lnTo>
                    <a:lnTo>
                      <a:pt x="10358" y="1617"/>
                    </a:lnTo>
                    <a:lnTo>
                      <a:pt x="10366" y="1615"/>
                    </a:lnTo>
                    <a:lnTo>
                      <a:pt x="10374" y="1615"/>
                    </a:lnTo>
                    <a:lnTo>
                      <a:pt x="10378" y="1615"/>
                    </a:lnTo>
                    <a:lnTo>
                      <a:pt x="10379" y="1615"/>
                    </a:lnTo>
                    <a:lnTo>
                      <a:pt x="10381" y="1615"/>
                    </a:lnTo>
                    <a:lnTo>
                      <a:pt x="10383" y="1617"/>
                    </a:lnTo>
                    <a:lnTo>
                      <a:pt x="10383" y="1619"/>
                    </a:lnTo>
                    <a:lnTo>
                      <a:pt x="10383" y="1621"/>
                    </a:lnTo>
                    <a:lnTo>
                      <a:pt x="10383" y="1623"/>
                    </a:lnTo>
                    <a:lnTo>
                      <a:pt x="10383" y="1626"/>
                    </a:lnTo>
                    <a:lnTo>
                      <a:pt x="10379" y="1632"/>
                    </a:lnTo>
                    <a:lnTo>
                      <a:pt x="10374" y="1637"/>
                    </a:lnTo>
                    <a:lnTo>
                      <a:pt x="10370" y="1643"/>
                    </a:lnTo>
                    <a:lnTo>
                      <a:pt x="10365" y="1647"/>
                    </a:lnTo>
                    <a:lnTo>
                      <a:pt x="10358" y="1650"/>
                    </a:lnTo>
                    <a:lnTo>
                      <a:pt x="10351" y="1654"/>
                    </a:lnTo>
                    <a:lnTo>
                      <a:pt x="10337" y="1659"/>
                    </a:lnTo>
                    <a:lnTo>
                      <a:pt x="10322" y="1664"/>
                    </a:lnTo>
                    <a:lnTo>
                      <a:pt x="10307" y="1669"/>
                    </a:lnTo>
                    <a:lnTo>
                      <a:pt x="10292" y="1672"/>
                    </a:lnTo>
                    <a:lnTo>
                      <a:pt x="10280" y="1678"/>
                    </a:lnTo>
                    <a:lnTo>
                      <a:pt x="10272" y="1678"/>
                    </a:lnTo>
                    <a:lnTo>
                      <a:pt x="10267" y="1682"/>
                    </a:lnTo>
                    <a:lnTo>
                      <a:pt x="10259" y="1684"/>
                    </a:lnTo>
                    <a:lnTo>
                      <a:pt x="10254" y="1687"/>
                    </a:lnTo>
                    <a:lnTo>
                      <a:pt x="10246" y="1690"/>
                    </a:lnTo>
                    <a:lnTo>
                      <a:pt x="10241" y="1693"/>
                    </a:lnTo>
                    <a:lnTo>
                      <a:pt x="10240" y="1693"/>
                    </a:lnTo>
                    <a:lnTo>
                      <a:pt x="10244" y="1697"/>
                    </a:lnTo>
                    <a:lnTo>
                      <a:pt x="10231" y="1708"/>
                    </a:lnTo>
                    <a:lnTo>
                      <a:pt x="10223" y="1718"/>
                    </a:lnTo>
                    <a:lnTo>
                      <a:pt x="10211" y="1728"/>
                    </a:lnTo>
                    <a:lnTo>
                      <a:pt x="10202" y="1739"/>
                    </a:lnTo>
                    <a:lnTo>
                      <a:pt x="10191" y="1748"/>
                    </a:lnTo>
                    <a:lnTo>
                      <a:pt x="10182" y="1759"/>
                    </a:lnTo>
                    <a:lnTo>
                      <a:pt x="10170" y="1769"/>
                    </a:lnTo>
                    <a:lnTo>
                      <a:pt x="10160" y="1781"/>
                    </a:lnTo>
                    <a:lnTo>
                      <a:pt x="10178" y="1769"/>
                    </a:lnTo>
                    <a:lnTo>
                      <a:pt x="10195" y="1754"/>
                    </a:lnTo>
                    <a:lnTo>
                      <a:pt x="10213" y="1739"/>
                    </a:lnTo>
                    <a:lnTo>
                      <a:pt x="10230" y="1724"/>
                    </a:lnTo>
                    <a:lnTo>
                      <a:pt x="10248" y="1710"/>
                    </a:lnTo>
                    <a:lnTo>
                      <a:pt x="10258" y="1702"/>
                    </a:lnTo>
                    <a:lnTo>
                      <a:pt x="10269" y="1697"/>
                    </a:lnTo>
                    <a:lnTo>
                      <a:pt x="10278" y="1690"/>
                    </a:lnTo>
                    <a:lnTo>
                      <a:pt x="10289" y="1685"/>
                    </a:lnTo>
                    <a:lnTo>
                      <a:pt x="10302" y="1682"/>
                    </a:lnTo>
                    <a:lnTo>
                      <a:pt x="10315" y="1678"/>
                    </a:lnTo>
                    <a:lnTo>
                      <a:pt x="10320" y="1674"/>
                    </a:lnTo>
                    <a:lnTo>
                      <a:pt x="10328" y="1672"/>
                    </a:lnTo>
                    <a:lnTo>
                      <a:pt x="10337" y="1669"/>
                    </a:lnTo>
                    <a:lnTo>
                      <a:pt x="10345" y="1665"/>
                    </a:lnTo>
                    <a:lnTo>
                      <a:pt x="10363" y="1662"/>
                    </a:lnTo>
                    <a:lnTo>
                      <a:pt x="10381" y="1657"/>
                    </a:lnTo>
                    <a:lnTo>
                      <a:pt x="10389" y="1656"/>
                    </a:lnTo>
                    <a:lnTo>
                      <a:pt x="10398" y="1654"/>
                    </a:lnTo>
                    <a:lnTo>
                      <a:pt x="10406" y="1654"/>
                    </a:lnTo>
                    <a:lnTo>
                      <a:pt x="10412" y="1654"/>
                    </a:lnTo>
                    <a:lnTo>
                      <a:pt x="10420" y="1656"/>
                    </a:lnTo>
                    <a:lnTo>
                      <a:pt x="10425" y="1656"/>
                    </a:lnTo>
                    <a:lnTo>
                      <a:pt x="10431" y="1657"/>
                    </a:lnTo>
                    <a:lnTo>
                      <a:pt x="10435" y="1662"/>
                    </a:lnTo>
                    <a:lnTo>
                      <a:pt x="10431" y="1665"/>
                    </a:lnTo>
                    <a:lnTo>
                      <a:pt x="10425" y="1667"/>
                    </a:lnTo>
                    <a:lnTo>
                      <a:pt x="10420" y="1669"/>
                    </a:lnTo>
                    <a:lnTo>
                      <a:pt x="10412" y="1672"/>
                    </a:lnTo>
                    <a:lnTo>
                      <a:pt x="10406" y="1674"/>
                    </a:lnTo>
                    <a:lnTo>
                      <a:pt x="10398" y="1676"/>
                    </a:lnTo>
                    <a:lnTo>
                      <a:pt x="10383" y="1680"/>
                    </a:lnTo>
                    <a:lnTo>
                      <a:pt x="10366" y="1685"/>
                    </a:lnTo>
                    <a:lnTo>
                      <a:pt x="10359" y="1689"/>
                    </a:lnTo>
                    <a:lnTo>
                      <a:pt x="10351" y="1693"/>
                    </a:lnTo>
                    <a:lnTo>
                      <a:pt x="10345" y="1697"/>
                    </a:lnTo>
                    <a:lnTo>
                      <a:pt x="10338" y="1702"/>
                    </a:lnTo>
                    <a:lnTo>
                      <a:pt x="10335" y="1708"/>
                    </a:lnTo>
                    <a:lnTo>
                      <a:pt x="10332" y="1713"/>
                    </a:lnTo>
                    <a:lnTo>
                      <a:pt x="10337" y="1713"/>
                    </a:lnTo>
                    <a:lnTo>
                      <a:pt x="10341" y="1711"/>
                    </a:lnTo>
                    <a:lnTo>
                      <a:pt x="10345" y="1708"/>
                    </a:lnTo>
                    <a:lnTo>
                      <a:pt x="10346" y="1704"/>
                    </a:lnTo>
                    <a:lnTo>
                      <a:pt x="10348" y="1702"/>
                    </a:lnTo>
                    <a:lnTo>
                      <a:pt x="10348" y="1698"/>
                    </a:lnTo>
                    <a:lnTo>
                      <a:pt x="10348" y="1697"/>
                    </a:lnTo>
                    <a:lnTo>
                      <a:pt x="10353" y="1695"/>
                    </a:lnTo>
                    <a:lnTo>
                      <a:pt x="10359" y="1693"/>
                    </a:lnTo>
                    <a:lnTo>
                      <a:pt x="10363" y="1690"/>
                    </a:lnTo>
                    <a:lnTo>
                      <a:pt x="10365" y="1689"/>
                    </a:lnTo>
                    <a:lnTo>
                      <a:pt x="10368" y="1687"/>
                    </a:lnTo>
                    <a:lnTo>
                      <a:pt x="10370" y="1687"/>
                    </a:lnTo>
                    <a:lnTo>
                      <a:pt x="10372" y="1689"/>
                    </a:lnTo>
                    <a:lnTo>
                      <a:pt x="10374" y="1689"/>
                    </a:lnTo>
                    <a:lnTo>
                      <a:pt x="10378" y="1690"/>
                    </a:lnTo>
                    <a:lnTo>
                      <a:pt x="10379" y="1693"/>
                    </a:lnTo>
                    <a:lnTo>
                      <a:pt x="10383" y="1697"/>
                    </a:lnTo>
                    <a:lnTo>
                      <a:pt x="10394" y="1689"/>
                    </a:lnTo>
                    <a:lnTo>
                      <a:pt x="10406" y="1685"/>
                    </a:lnTo>
                    <a:lnTo>
                      <a:pt x="10416" y="1682"/>
                    </a:lnTo>
                    <a:lnTo>
                      <a:pt x="10425" y="1678"/>
                    </a:lnTo>
                    <a:lnTo>
                      <a:pt x="10435" y="1674"/>
                    </a:lnTo>
                    <a:lnTo>
                      <a:pt x="10445" y="1670"/>
                    </a:lnTo>
                    <a:lnTo>
                      <a:pt x="10457" y="1667"/>
                    </a:lnTo>
                    <a:lnTo>
                      <a:pt x="10470" y="1662"/>
                    </a:lnTo>
                    <a:lnTo>
                      <a:pt x="10473" y="1662"/>
                    </a:lnTo>
                    <a:lnTo>
                      <a:pt x="10477" y="1662"/>
                    </a:lnTo>
                    <a:lnTo>
                      <a:pt x="10483" y="1664"/>
                    </a:lnTo>
                    <a:lnTo>
                      <a:pt x="10490" y="1665"/>
                    </a:lnTo>
                    <a:lnTo>
                      <a:pt x="10498" y="1665"/>
                    </a:lnTo>
                    <a:lnTo>
                      <a:pt x="10505" y="1667"/>
                    </a:lnTo>
                    <a:lnTo>
                      <a:pt x="10519" y="1672"/>
                    </a:lnTo>
                    <a:lnTo>
                      <a:pt x="10536" y="1676"/>
                    </a:lnTo>
                    <a:lnTo>
                      <a:pt x="10544" y="1680"/>
                    </a:lnTo>
                    <a:lnTo>
                      <a:pt x="10551" y="1684"/>
                    </a:lnTo>
                    <a:lnTo>
                      <a:pt x="10557" y="1685"/>
                    </a:lnTo>
                    <a:lnTo>
                      <a:pt x="10562" y="1689"/>
                    </a:lnTo>
                    <a:lnTo>
                      <a:pt x="10567" y="1693"/>
                    </a:lnTo>
                    <a:lnTo>
                      <a:pt x="10572" y="1697"/>
                    </a:lnTo>
                    <a:lnTo>
                      <a:pt x="10573" y="1698"/>
                    </a:lnTo>
                    <a:lnTo>
                      <a:pt x="10575" y="1702"/>
                    </a:lnTo>
                    <a:lnTo>
                      <a:pt x="10577" y="1704"/>
                    </a:lnTo>
                    <a:lnTo>
                      <a:pt x="10577" y="1705"/>
                    </a:lnTo>
                    <a:lnTo>
                      <a:pt x="10575" y="1708"/>
                    </a:lnTo>
                    <a:lnTo>
                      <a:pt x="10573" y="1710"/>
                    </a:lnTo>
                    <a:lnTo>
                      <a:pt x="10570" y="1711"/>
                    </a:lnTo>
                    <a:lnTo>
                      <a:pt x="10564" y="1713"/>
                    </a:lnTo>
                    <a:lnTo>
                      <a:pt x="10560" y="1713"/>
                    </a:lnTo>
                    <a:lnTo>
                      <a:pt x="10559" y="1713"/>
                    </a:lnTo>
                    <a:lnTo>
                      <a:pt x="10557" y="1713"/>
                    </a:lnTo>
                    <a:lnTo>
                      <a:pt x="10555" y="1713"/>
                    </a:lnTo>
                    <a:lnTo>
                      <a:pt x="10547" y="1713"/>
                    </a:lnTo>
                    <a:lnTo>
                      <a:pt x="10542" y="1715"/>
                    </a:lnTo>
                    <a:lnTo>
                      <a:pt x="10534" y="1718"/>
                    </a:lnTo>
                    <a:lnTo>
                      <a:pt x="10527" y="1723"/>
                    </a:lnTo>
                    <a:lnTo>
                      <a:pt x="10518" y="1724"/>
                    </a:lnTo>
                    <a:lnTo>
                      <a:pt x="10509" y="1728"/>
                    </a:lnTo>
                    <a:lnTo>
                      <a:pt x="10498" y="1730"/>
                    </a:lnTo>
                    <a:lnTo>
                      <a:pt x="10486" y="1730"/>
                    </a:lnTo>
                    <a:lnTo>
                      <a:pt x="10466" y="1735"/>
                    </a:lnTo>
                    <a:lnTo>
                      <a:pt x="10444" y="1741"/>
                    </a:lnTo>
                    <a:lnTo>
                      <a:pt x="10422" y="1744"/>
                    </a:lnTo>
                    <a:lnTo>
                      <a:pt x="10399" y="1750"/>
                    </a:lnTo>
                    <a:lnTo>
                      <a:pt x="10378" y="1756"/>
                    </a:lnTo>
                    <a:lnTo>
                      <a:pt x="10366" y="1758"/>
                    </a:lnTo>
                    <a:lnTo>
                      <a:pt x="10355" y="1761"/>
                    </a:lnTo>
                    <a:lnTo>
                      <a:pt x="10345" y="1764"/>
                    </a:lnTo>
                    <a:lnTo>
                      <a:pt x="10337" y="1769"/>
                    </a:lnTo>
                    <a:lnTo>
                      <a:pt x="10337" y="1769"/>
                    </a:lnTo>
                    <a:lnTo>
                      <a:pt x="10343" y="1769"/>
                    </a:lnTo>
                    <a:lnTo>
                      <a:pt x="10345" y="1772"/>
                    </a:lnTo>
                    <a:lnTo>
                      <a:pt x="10348" y="1776"/>
                    </a:lnTo>
                    <a:lnTo>
                      <a:pt x="10348" y="1781"/>
                    </a:lnTo>
                    <a:lnTo>
                      <a:pt x="10335" y="1781"/>
                    </a:lnTo>
                    <a:lnTo>
                      <a:pt x="10332" y="1782"/>
                    </a:lnTo>
                    <a:lnTo>
                      <a:pt x="10333" y="1784"/>
                    </a:lnTo>
                    <a:lnTo>
                      <a:pt x="10337" y="1785"/>
                    </a:lnTo>
                    <a:lnTo>
                      <a:pt x="10341" y="1787"/>
                    </a:lnTo>
                    <a:lnTo>
                      <a:pt x="10345" y="1787"/>
                    </a:lnTo>
                    <a:lnTo>
                      <a:pt x="10346" y="1785"/>
                    </a:lnTo>
                    <a:lnTo>
                      <a:pt x="10350" y="1784"/>
                    </a:lnTo>
                    <a:lnTo>
                      <a:pt x="10353" y="1781"/>
                    </a:lnTo>
                    <a:lnTo>
                      <a:pt x="10358" y="1779"/>
                    </a:lnTo>
                    <a:lnTo>
                      <a:pt x="10363" y="1774"/>
                    </a:lnTo>
                    <a:lnTo>
                      <a:pt x="10370" y="1769"/>
                    </a:lnTo>
                    <a:lnTo>
                      <a:pt x="10372" y="1766"/>
                    </a:lnTo>
                    <a:lnTo>
                      <a:pt x="10376" y="1764"/>
                    </a:lnTo>
                    <a:lnTo>
                      <a:pt x="10379" y="1764"/>
                    </a:lnTo>
                    <a:lnTo>
                      <a:pt x="10383" y="1764"/>
                    </a:lnTo>
                    <a:lnTo>
                      <a:pt x="10396" y="1758"/>
                    </a:lnTo>
                    <a:lnTo>
                      <a:pt x="10411" y="1751"/>
                    </a:lnTo>
                    <a:lnTo>
                      <a:pt x="10427" y="1748"/>
                    </a:lnTo>
                    <a:lnTo>
                      <a:pt x="10435" y="1746"/>
                    </a:lnTo>
                    <a:lnTo>
                      <a:pt x="10442" y="1744"/>
                    </a:lnTo>
                    <a:lnTo>
                      <a:pt x="10452" y="1744"/>
                    </a:lnTo>
                    <a:lnTo>
                      <a:pt x="10459" y="1744"/>
                    </a:lnTo>
                    <a:lnTo>
                      <a:pt x="10466" y="1746"/>
                    </a:lnTo>
                    <a:lnTo>
                      <a:pt x="10475" y="1746"/>
                    </a:lnTo>
                    <a:lnTo>
                      <a:pt x="10483" y="1750"/>
                    </a:lnTo>
                    <a:lnTo>
                      <a:pt x="10490" y="1754"/>
                    </a:lnTo>
                    <a:lnTo>
                      <a:pt x="10496" y="1758"/>
                    </a:lnTo>
                    <a:lnTo>
                      <a:pt x="10503" y="1764"/>
                    </a:lnTo>
                    <a:lnTo>
                      <a:pt x="10496" y="1769"/>
                    </a:lnTo>
                    <a:lnTo>
                      <a:pt x="10490" y="1772"/>
                    </a:lnTo>
                    <a:lnTo>
                      <a:pt x="10475" y="1779"/>
                    </a:lnTo>
                    <a:lnTo>
                      <a:pt x="10460" y="1785"/>
                    </a:lnTo>
                    <a:lnTo>
                      <a:pt x="10445" y="1789"/>
                    </a:lnTo>
                    <a:lnTo>
                      <a:pt x="10431" y="1792"/>
                    </a:lnTo>
                    <a:lnTo>
                      <a:pt x="10416" y="1794"/>
                    </a:lnTo>
                    <a:lnTo>
                      <a:pt x="10399" y="1796"/>
                    </a:lnTo>
                    <a:lnTo>
                      <a:pt x="10385" y="1797"/>
                    </a:lnTo>
                    <a:lnTo>
                      <a:pt x="10370" y="1800"/>
                    </a:lnTo>
                    <a:lnTo>
                      <a:pt x="10355" y="1802"/>
                    </a:lnTo>
                    <a:lnTo>
                      <a:pt x="10341" y="1805"/>
                    </a:lnTo>
                    <a:lnTo>
                      <a:pt x="10326" y="1807"/>
                    </a:lnTo>
                    <a:lnTo>
                      <a:pt x="10313" y="1812"/>
                    </a:lnTo>
                    <a:lnTo>
                      <a:pt x="10302" y="1818"/>
                    </a:lnTo>
                    <a:lnTo>
                      <a:pt x="10289" y="1824"/>
                    </a:lnTo>
                    <a:lnTo>
                      <a:pt x="10285" y="1830"/>
                    </a:lnTo>
                    <a:lnTo>
                      <a:pt x="10280" y="1833"/>
                    </a:lnTo>
                    <a:lnTo>
                      <a:pt x="10292" y="1833"/>
                    </a:lnTo>
                    <a:lnTo>
                      <a:pt x="10302" y="1832"/>
                    </a:lnTo>
                    <a:lnTo>
                      <a:pt x="10312" y="1827"/>
                    </a:lnTo>
                    <a:lnTo>
                      <a:pt x="10320" y="1824"/>
                    </a:lnTo>
                    <a:lnTo>
                      <a:pt x="10328" y="1822"/>
                    </a:lnTo>
                    <a:lnTo>
                      <a:pt x="10335" y="1818"/>
                    </a:lnTo>
                    <a:lnTo>
                      <a:pt x="10341" y="1817"/>
                    </a:lnTo>
                    <a:lnTo>
                      <a:pt x="10348" y="1817"/>
                    </a:lnTo>
                    <a:lnTo>
                      <a:pt x="10374" y="1817"/>
                    </a:lnTo>
                    <a:lnTo>
                      <a:pt x="10399" y="1817"/>
                    </a:lnTo>
                    <a:lnTo>
                      <a:pt x="10412" y="1811"/>
                    </a:lnTo>
                    <a:lnTo>
                      <a:pt x="10425" y="1805"/>
                    </a:lnTo>
                    <a:lnTo>
                      <a:pt x="10437" y="1802"/>
                    </a:lnTo>
                    <a:lnTo>
                      <a:pt x="10450" y="1797"/>
                    </a:lnTo>
                    <a:lnTo>
                      <a:pt x="10460" y="1796"/>
                    </a:lnTo>
                    <a:lnTo>
                      <a:pt x="10470" y="1792"/>
                    </a:lnTo>
                    <a:lnTo>
                      <a:pt x="10479" y="1787"/>
                    </a:lnTo>
                    <a:lnTo>
                      <a:pt x="10486" y="1781"/>
                    </a:lnTo>
                    <a:lnTo>
                      <a:pt x="10498" y="1774"/>
                    </a:lnTo>
                    <a:lnTo>
                      <a:pt x="10513" y="1766"/>
                    </a:lnTo>
                    <a:lnTo>
                      <a:pt x="10526" y="1758"/>
                    </a:lnTo>
                    <a:lnTo>
                      <a:pt x="10540" y="1751"/>
                    </a:lnTo>
                    <a:lnTo>
                      <a:pt x="10547" y="1748"/>
                    </a:lnTo>
                    <a:lnTo>
                      <a:pt x="10555" y="1746"/>
                    </a:lnTo>
                    <a:lnTo>
                      <a:pt x="10562" y="1744"/>
                    </a:lnTo>
                    <a:lnTo>
                      <a:pt x="10572" y="1743"/>
                    </a:lnTo>
                    <a:lnTo>
                      <a:pt x="10579" y="1743"/>
                    </a:lnTo>
                    <a:lnTo>
                      <a:pt x="10588" y="1743"/>
                    </a:lnTo>
                    <a:lnTo>
                      <a:pt x="10597" y="1744"/>
                    </a:lnTo>
                    <a:lnTo>
                      <a:pt x="10606" y="1748"/>
                    </a:lnTo>
                    <a:lnTo>
                      <a:pt x="10610" y="1748"/>
                    </a:lnTo>
                    <a:lnTo>
                      <a:pt x="10612" y="1748"/>
                    </a:lnTo>
                    <a:lnTo>
                      <a:pt x="10616" y="1750"/>
                    </a:lnTo>
                    <a:lnTo>
                      <a:pt x="10620" y="1754"/>
                    </a:lnTo>
                    <a:lnTo>
                      <a:pt x="10621" y="1756"/>
                    </a:lnTo>
                    <a:lnTo>
                      <a:pt x="10625" y="1759"/>
                    </a:lnTo>
                    <a:lnTo>
                      <a:pt x="10631" y="1766"/>
                    </a:lnTo>
                    <a:lnTo>
                      <a:pt x="10634" y="1774"/>
                    </a:lnTo>
                    <a:lnTo>
                      <a:pt x="10638" y="1784"/>
                    </a:lnTo>
                    <a:lnTo>
                      <a:pt x="10640" y="1792"/>
                    </a:lnTo>
                    <a:lnTo>
                      <a:pt x="10641" y="1800"/>
                    </a:lnTo>
                    <a:lnTo>
                      <a:pt x="10640" y="1802"/>
                    </a:lnTo>
                    <a:lnTo>
                      <a:pt x="10640" y="1805"/>
                    </a:lnTo>
                    <a:lnTo>
                      <a:pt x="10638" y="1807"/>
                    </a:lnTo>
                    <a:lnTo>
                      <a:pt x="10636" y="1809"/>
                    </a:lnTo>
                    <a:lnTo>
                      <a:pt x="10634" y="1811"/>
                    </a:lnTo>
                    <a:lnTo>
                      <a:pt x="10631" y="1812"/>
                    </a:lnTo>
                    <a:lnTo>
                      <a:pt x="10625" y="1817"/>
                    </a:lnTo>
                    <a:lnTo>
                      <a:pt x="10616" y="1818"/>
                    </a:lnTo>
                    <a:lnTo>
                      <a:pt x="10606" y="1818"/>
                    </a:lnTo>
                    <a:lnTo>
                      <a:pt x="10597" y="1820"/>
                    </a:lnTo>
                    <a:lnTo>
                      <a:pt x="10587" y="1820"/>
                    </a:lnTo>
                    <a:lnTo>
                      <a:pt x="10566" y="1820"/>
                    </a:lnTo>
                    <a:lnTo>
                      <a:pt x="10555" y="1818"/>
                    </a:lnTo>
                    <a:lnTo>
                      <a:pt x="10546" y="1818"/>
                    </a:lnTo>
                    <a:lnTo>
                      <a:pt x="10538" y="1817"/>
                    </a:lnTo>
                    <a:lnTo>
                      <a:pt x="10531" y="1817"/>
                    </a:lnTo>
                    <a:lnTo>
                      <a:pt x="10524" y="1817"/>
                    </a:lnTo>
                    <a:lnTo>
                      <a:pt x="10521" y="1817"/>
                    </a:lnTo>
                    <a:lnTo>
                      <a:pt x="10519" y="1817"/>
                    </a:lnTo>
                    <a:lnTo>
                      <a:pt x="10506" y="1822"/>
                    </a:lnTo>
                    <a:lnTo>
                      <a:pt x="10492" y="1827"/>
                    </a:lnTo>
                    <a:lnTo>
                      <a:pt x="10475" y="1835"/>
                    </a:lnTo>
                    <a:lnTo>
                      <a:pt x="10460" y="1840"/>
                    </a:lnTo>
                    <a:lnTo>
                      <a:pt x="10444" y="1845"/>
                    </a:lnTo>
                    <a:lnTo>
                      <a:pt x="10427" y="1848"/>
                    </a:lnTo>
                    <a:lnTo>
                      <a:pt x="10412" y="1850"/>
                    </a:lnTo>
                    <a:lnTo>
                      <a:pt x="10399" y="1851"/>
                    </a:lnTo>
                    <a:lnTo>
                      <a:pt x="10381" y="1851"/>
                    </a:lnTo>
                    <a:lnTo>
                      <a:pt x="10365" y="1851"/>
                    </a:lnTo>
                    <a:lnTo>
                      <a:pt x="10348" y="1851"/>
                    </a:lnTo>
                    <a:lnTo>
                      <a:pt x="10333" y="1851"/>
                    </a:lnTo>
                    <a:lnTo>
                      <a:pt x="10318" y="1851"/>
                    </a:lnTo>
                    <a:lnTo>
                      <a:pt x="10305" y="1851"/>
                    </a:lnTo>
                    <a:lnTo>
                      <a:pt x="10292" y="1851"/>
                    </a:lnTo>
                    <a:lnTo>
                      <a:pt x="10305" y="1853"/>
                    </a:lnTo>
                    <a:lnTo>
                      <a:pt x="10318" y="1855"/>
                    </a:lnTo>
                    <a:lnTo>
                      <a:pt x="10333" y="1857"/>
                    </a:lnTo>
                    <a:lnTo>
                      <a:pt x="10348" y="1857"/>
                    </a:lnTo>
                    <a:lnTo>
                      <a:pt x="10355" y="1858"/>
                    </a:lnTo>
                    <a:lnTo>
                      <a:pt x="10365" y="1857"/>
                    </a:lnTo>
                    <a:lnTo>
                      <a:pt x="10372" y="1857"/>
                    </a:lnTo>
                    <a:lnTo>
                      <a:pt x="10381" y="1855"/>
                    </a:lnTo>
                    <a:lnTo>
                      <a:pt x="10391" y="1853"/>
                    </a:lnTo>
                    <a:lnTo>
                      <a:pt x="10399" y="1851"/>
                    </a:lnTo>
                    <a:lnTo>
                      <a:pt x="10407" y="1851"/>
                    </a:lnTo>
                    <a:lnTo>
                      <a:pt x="10416" y="1851"/>
                    </a:lnTo>
                    <a:lnTo>
                      <a:pt x="10425" y="1851"/>
                    </a:lnTo>
                    <a:lnTo>
                      <a:pt x="10435" y="1851"/>
                    </a:lnTo>
                    <a:lnTo>
                      <a:pt x="10444" y="1851"/>
                    </a:lnTo>
                    <a:lnTo>
                      <a:pt x="10453" y="1851"/>
                    </a:lnTo>
                    <a:lnTo>
                      <a:pt x="10463" y="1851"/>
                    </a:lnTo>
                    <a:lnTo>
                      <a:pt x="10470" y="1851"/>
                    </a:lnTo>
                    <a:lnTo>
                      <a:pt x="10479" y="1853"/>
                    </a:lnTo>
                    <a:lnTo>
                      <a:pt x="10489" y="1855"/>
                    </a:lnTo>
                    <a:lnTo>
                      <a:pt x="10486" y="1853"/>
                    </a:lnTo>
                    <a:lnTo>
                      <a:pt x="10488" y="1850"/>
                    </a:lnTo>
                    <a:lnTo>
                      <a:pt x="10494" y="1848"/>
                    </a:lnTo>
                    <a:lnTo>
                      <a:pt x="10498" y="1846"/>
                    </a:lnTo>
                    <a:lnTo>
                      <a:pt x="10501" y="1846"/>
                    </a:lnTo>
                    <a:lnTo>
                      <a:pt x="10513" y="1845"/>
                    </a:lnTo>
                    <a:lnTo>
                      <a:pt x="10521" y="1845"/>
                    </a:lnTo>
                    <a:lnTo>
                      <a:pt x="10531" y="1845"/>
                    </a:lnTo>
                    <a:lnTo>
                      <a:pt x="10542" y="1845"/>
                    </a:lnTo>
                    <a:lnTo>
                      <a:pt x="10546" y="1842"/>
                    </a:lnTo>
                    <a:lnTo>
                      <a:pt x="10549" y="1840"/>
                    </a:lnTo>
                    <a:lnTo>
                      <a:pt x="10555" y="1838"/>
                    </a:lnTo>
                    <a:lnTo>
                      <a:pt x="10559" y="1837"/>
                    </a:lnTo>
                    <a:lnTo>
                      <a:pt x="10551" y="1842"/>
                    </a:lnTo>
                    <a:lnTo>
                      <a:pt x="10544" y="1848"/>
                    </a:lnTo>
                    <a:lnTo>
                      <a:pt x="10536" y="1853"/>
                    </a:lnTo>
                    <a:lnTo>
                      <a:pt x="10529" y="1857"/>
                    </a:lnTo>
                    <a:lnTo>
                      <a:pt x="10524" y="1858"/>
                    </a:lnTo>
                    <a:lnTo>
                      <a:pt x="10536" y="1858"/>
                    </a:lnTo>
                    <a:lnTo>
                      <a:pt x="10560" y="1861"/>
                    </a:lnTo>
                    <a:lnTo>
                      <a:pt x="10564" y="1858"/>
                    </a:lnTo>
                    <a:lnTo>
                      <a:pt x="10570" y="1857"/>
                    </a:lnTo>
                    <a:lnTo>
                      <a:pt x="10575" y="1855"/>
                    </a:lnTo>
                    <a:lnTo>
                      <a:pt x="10579" y="1855"/>
                    </a:lnTo>
                    <a:lnTo>
                      <a:pt x="10577" y="1857"/>
                    </a:lnTo>
                    <a:lnTo>
                      <a:pt x="10573" y="1858"/>
                    </a:lnTo>
                    <a:lnTo>
                      <a:pt x="10567" y="1861"/>
                    </a:lnTo>
                    <a:lnTo>
                      <a:pt x="10567" y="1862"/>
                    </a:lnTo>
                    <a:lnTo>
                      <a:pt x="10585" y="1863"/>
                    </a:lnTo>
                    <a:lnTo>
                      <a:pt x="10595" y="1865"/>
                    </a:lnTo>
                    <a:lnTo>
                      <a:pt x="10606" y="1868"/>
                    </a:lnTo>
                    <a:lnTo>
                      <a:pt x="10616" y="1870"/>
                    </a:lnTo>
                    <a:lnTo>
                      <a:pt x="10625" y="1873"/>
                    </a:lnTo>
                    <a:lnTo>
                      <a:pt x="10634" y="1879"/>
                    </a:lnTo>
                    <a:lnTo>
                      <a:pt x="10641" y="1885"/>
                    </a:lnTo>
                    <a:lnTo>
                      <a:pt x="10641" y="1888"/>
                    </a:lnTo>
                    <a:lnTo>
                      <a:pt x="10643" y="1891"/>
                    </a:lnTo>
                    <a:lnTo>
                      <a:pt x="10643" y="1896"/>
                    </a:lnTo>
                    <a:lnTo>
                      <a:pt x="10641" y="1899"/>
                    </a:lnTo>
                    <a:lnTo>
                      <a:pt x="10640" y="1901"/>
                    </a:lnTo>
                    <a:lnTo>
                      <a:pt x="10636" y="1903"/>
                    </a:lnTo>
                    <a:lnTo>
                      <a:pt x="10631" y="1906"/>
                    </a:lnTo>
                    <a:lnTo>
                      <a:pt x="10625" y="1906"/>
                    </a:lnTo>
                    <a:lnTo>
                      <a:pt x="10620" y="1906"/>
                    </a:lnTo>
                    <a:lnTo>
                      <a:pt x="10606" y="1906"/>
                    </a:lnTo>
                    <a:lnTo>
                      <a:pt x="10592" y="1903"/>
                    </a:lnTo>
                    <a:lnTo>
                      <a:pt x="10587" y="1903"/>
                    </a:lnTo>
                    <a:lnTo>
                      <a:pt x="10580" y="1901"/>
                    </a:lnTo>
                    <a:lnTo>
                      <a:pt x="10575" y="1901"/>
                    </a:lnTo>
                    <a:lnTo>
                      <a:pt x="10572" y="1901"/>
                    </a:lnTo>
                    <a:lnTo>
                      <a:pt x="10559" y="1907"/>
                    </a:lnTo>
                    <a:lnTo>
                      <a:pt x="10549" y="1911"/>
                    </a:lnTo>
                    <a:lnTo>
                      <a:pt x="10538" y="1914"/>
                    </a:lnTo>
                    <a:lnTo>
                      <a:pt x="10529" y="1914"/>
                    </a:lnTo>
                    <a:lnTo>
                      <a:pt x="10518" y="1914"/>
                    </a:lnTo>
                    <a:lnTo>
                      <a:pt x="10509" y="1911"/>
                    </a:lnTo>
                    <a:lnTo>
                      <a:pt x="10498" y="1907"/>
                    </a:lnTo>
                    <a:lnTo>
                      <a:pt x="10486" y="1901"/>
                    </a:lnTo>
                    <a:lnTo>
                      <a:pt x="10479" y="1898"/>
                    </a:lnTo>
                    <a:lnTo>
                      <a:pt x="10472" y="1896"/>
                    </a:lnTo>
                    <a:lnTo>
                      <a:pt x="10463" y="1892"/>
                    </a:lnTo>
                    <a:lnTo>
                      <a:pt x="10455" y="1888"/>
                    </a:lnTo>
                    <a:lnTo>
                      <a:pt x="10437" y="1885"/>
                    </a:lnTo>
                    <a:lnTo>
                      <a:pt x="10416" y="1881"/>
                    </a:lnTo>
                    <a:lnTo>
                      <a:pt x="10407" y="1879"/>
                    </a:lnTo>
                    <a:lnTo>
                      <a:pt x="10398" y="1878"/>
                    </a:lnTo>
                    <a:lnTo>
                      <a:pt x="10389" y="1878"/>
                    </a:lnTo>
                    <a:lnTo>
                      <a:pt x="10379" y="1878"/>
                    </a:lnTo>
                    <a:lnTo>
                      <a:pt x="10370" y="1879"/>
                    </a:lnTo>
                    <a:lnTo>
                      <a:pt x="10363" y="1879"/>
                    </a:lnTo>
                    <a:lnTo>
                      <a:pt x="10355" y="1881"/>
                    </a:lnTo>
                    <a:lnTo>
                      <a:pt x="10348" y="1885"/>
                    </a:lnTo>
                    <a:lnTo>
                      <a:pt x="10361" y="1885"/>
                    </a:lnTo>
                    <a:lnTo>
                      <a:pt x="10376" y="1885"/>
                    </a:lnTo>
                    <a:lnTo>
                      <a:pt x="10392" y="1885"/>
                    </a:lnTo>
                    <a:lnTo>
                      <a:pt x="10409" y="1886"/>
                    </a:lnTo>
                    <a:lnTo>
                      <a:pt x="10424" y="1888"/>
                    </a:lnTo>
                    <a:lnTo>
                      <a:pt x="10440" y="1892"/>
                    </a:lnTo>
                    <a:lnTo>
                      <a:pt x="10455" y="1896"/>
                    </a:lnTo>
                    <a:lnTo>
                      <a:pt x="10470" y="1901"/>
                    </a:lnTo>
                    <a:lnTo>
                      <a:pt x="10442" y="1901"/>
                    </a:lnTo>
                    <a:lnTo>
                      <a:pt x="10431" y="1901"/>
                    </a:lnTo>
                    <a:lnTo>
                      <a:pt x="10419" y="1901"/>
                    </a:lnTo>
                    <a:lnTo>
                      <a:pt x="10409" y="1901"/>
                    </a:lnTo>
                    <a:lnTo>
                      <a:pt x="10399" y="1901"/>
                    </a:lnTo>
                    <a:lnTo>
                      <a:pt x="10392" y="1907"/>
                    </a:lnTo>
                    <a:lnTo>
                      <a:pt x="10387" y="1912"/>
                    </a:lnTo>
                    <a:lnTo>
                      <a:pt x="10379" y="1914"/>
                    </a:lnTo>
                    <a:lnTo>
                      <a:pt x="10374" y="1916"/>
                    </a:lnTo>
                    <a:lnTo>
                      <a:pt x="10368" y="1918"/>
                    </a:lnTo>
                    <a:lnTo>
                      <a:pt x="10361" y="1918"/>
                    </a:lnTo>
                    <a:lnTo>
                      <a:pt x="10348" y="1920"/>
                    </a:lnTo>
                    <a:lnTo>
                      <a:pt x="10353" y="1920"/>
                    </a:lnTo>
                    <a:lnTo>
                      <a:pt x="10358" y="1920"/>
                    </a:lnTo>
                    <a:lnTo>
                      <a:pt x="10361" y="1920"/>
                    </a:lnTo>
                    <a:lnTo>
                      <a:pt x="10361" y="1922"/>
                    </a:lnTo>
                    <a:lnTo>
                      <a:pt x="10361" y="1924"/>
                    </a:lnTo>
                    <a:lnTo>
                      <a:pt x="10358" y="1927"/>
                    </a:lnTo>
                    <a:lnTo>
                      <a:pt x="10353" y="1931"/>
                    </a:lnTo>
                    <a:lnTo>
                      <a:pt x="10348" y="1937"/>
                    </a:lnTo>
                    <a:lnTo>
                      <a:pt x="10355" y="1931"/>
                    </a:lnTo>
                    <a:lnTo>
                      <a:pt x="10363" y="1925"/>
                    </a:lnTo>
                    <a:lnTo>
                      <a:pt x="10370" y="1920"/>
                    </a:lnTo>
                    <a:lnTo>
                      <a:pt x="10379" y="1916"/>
                    </a:lnTo>
                    <a:lnTo>
                      <a:pt x="10389" y="1914"/>
                    </a:lnTo>
                    <a:lnTo>
                      <a:pt x="10398" y="1912"/>
                    </a:lnTo>
                    <a:lnTo>
                      <a:pt x="10407" y="1911"/>
                    </a:lnTo>
                    <a:lnTo>
                      <a:pt x="10416" y="1911"/>
                    </a:lnTo>
                    <a:lnTo>
                      <a:pt x="10427" y="1911"/>
                    </a:lnTo>
                    <a:lnTo>
                      <a:pt x="10437" y="1912"/>
                    </a:lnTo>
                    <a:lnTo>
                      <a:pt x="10445" y="1914"/>
                    </a:lnTo>
                    <a:lnTo>
                      <a:pt x="10455" y="1916"/>
                    </a:lnTo>
                    <a:lnTo>
                      <a:pt x="10463" y="1920"/>
                    </a:lnTo>
                    <a:lnTo>
                      <a:pt x="10472" y="1925"/>
                    </a:lnTo>
                    <a:lnTo>
                      <a:pt x="10479" y="1931"/>
                    </a:lnTo>
                    <a:lnTo>
                      <a:pt x="10486" y="1937"/>
                    </a:lnTo>
                    <a:lnTo>
                      <a:pt x="10479" y="1937"/>
                    </a:lnTo>
                    <a:lnTo>
                      <a:pt x="10470" y="1937"/>
                    </a:lnTo>
                    <a:lnTo>
                      <a:pt x="10460" y="1937"/>
                    </a:lnTo>
                    <a:lnTo>
                      <a:pt x="10450" y="1937"/>
                    </a:lnTo>
                    <a:lnTo>
                      <a:pt x="10437" y="1937"/>
                    </a:lnTo>
                    <a:lnTo>
                      <a:pt x="10425" y="1937"/>
                    </a:lnTo>
                    <a:lnTo>
                      <a:pt x="10420" y="1937"/>
                    </a:lnTo>
                    <a:lnTo>
                      <a:pt x="10425" y="1939"/>
                    </a:lnTo>
                    <a:lnTo>
                      <a:pt x="10431" y="1940"/>
                    </a:lnTo>
                    <a:lnTo>
                      <a:pt x="10439" y="1944"/>
                    </a:lnTo>
                    <a:lnTo>
                      <a:pt x="10444" y="1947"/>
                    </a:lnTo>
                    <a:lnTo>
                      <a:pt x="10452" y="1953"/>
                    </a:lnTo>
                    <a:lnTo>
                      <a:pt x="10425" y="1953"/>
                    </a:lnTo>
                    <a:lnTo>
                      <a:pt x="10407" y="1953"/>
                    </a:lnTo>
                    <a:lnTo>
                      <a:pt x="10412" y="1957"/>
                    </a:lnTo>
                    <a:lnTo>
                      <a:pt x="10420" y="1959"/>
                    </a:lnTo>
                    <a:lnTo>
                      <a:pt x="10425" y="1962"/>
                    </a:lnTo>
                    <a:lnTo>
                      <a:pt x="10431" y="1966"/>
                    </a:lnTo>
                    <a:lnTo>
                      <a:pt x="10439" y="1968"/>
                    </a:lnTo>
                    <a:lnTo>
                      <a:pt x="10444" y="1970"/>
                    </a:lnTo>
                    <a:lnTo>
                      <a:pt x="10452" y="1972"/>
                    </a:lnTo>
                    <a:lnTo>
                      <a:pt x="10444" y="1977"/>
                    </a:lnTo>
                    <a:lnTo>
                      <a:pt x="10437" y="1981"/>
                    </a:lnTo>
                    <a:lnTo>
                      <a:pt x="10427" y="1985"/>
                    </a:lnTo>
                    <a:lnTo>
                      <a:pt x="10419" y="1985"/>
                    </a:lnTo>
                    <a:lnTo>
                      <a:pt x="10414" y="1985"/>
                    </a:lnTo>
                    <a:lnTo>
                      <a:pt x="10419" y="1988"/>
                    </a:lnTo>
                    <a:lnTo>
                      <a:pt x="10391" y="1988"/>
                    </a:lnTo>
                    <a:lnTo>
                      <a:pt x="10378" y="1988"/>
                    </a:lnTo>
                    <a:lnTo>
                      <a:pt x="10365" y="1990"/>
                    </a:lnTo>
                    <a:lnTo>
                      <a:pt x="10351" y="1992"/>
                    </a:lnTo>
                    <a:lnTo>
                      <a:pt x="10338" y="1996"/>
                    </a:lnTo>
                    <a:lnTo>
                      <a:pt x="10326" y="1999"/>
                    </a:lnTo>
                    <a:lnTo>
                      <a:pt x="10315" y="2005"/>
                    </a:lnTo>
                    <a:lnTo>
                      <a:pt x="10317" y="2005"/>
                    </a:lnTo>
                    <a:lnTo>
                      <a:pt x="10318" y="2005"/>
                    </a:lnTo>
                    <a:lnTo>
                      <a:pt x="10322" y="2005"/>
                    </a:lnTo>
                    <a:lnTo>
                      <a:pt x="10328" y="2005"/>
                    </a:lnTo>
                    <a:lnTo>
                      <a:pt x="10332" y="2005"/>
                    </a:lnTo>
                    <a:lnTo>
                      <a:pt x="10333" y="2005"/>
                    </a:lnTo>
                    <a:lnTo>
                      <a:pt x="10335" y="2005"/>
                    </a:lnTo>
                    <a:lnTo>
                      <a:pt x="10337" y="2005"/>
                    </a:lnTo>
                    <a:lnTo>
                      <a:pt x="10338" y="2005"/>
                    </a:lnTo>
                    <a:lnTo>
                      <a:pt x="10341" y="2005"/>
                    </a:lnTo>
                    <a:lnTo>
                      <a:pt x="10343" y="2005"/>
                    </a:lnTo>
                    <a:lnTo>
                      <a:pt x="10353" y="2005"/>
                    </a:lnTo>
                    <a:lnTo>
                      <a:pt x="10365" y="2006"/>
                    </a:lnTo>
                    <a:lnTo>
                      <a:pt x="10374" y="2006"/>
                    </a:lnTo>
                    <a:lnTo>
                      <a:pt x="10383" y="2008"/>
                    </a:lnTo>
                    <a:lnTo>
                      <a:pt x="10394" y="2013"/>
                    </a:lnTo>
                    <a:lnTo>
                      <a:pt x="10406" y="2016"/>
                    </a:lnTo>
                    <a:lnTo>
                      <a:pt x="10418" y="2023"/>
                    </a:lnTo>
                    <a:lnTo>
                      <a:pt x="10420" y="2021"/>
                    </a:lnTo>
                    <a:lnTo>
                      <a:pt x="10427" y="2018"/>
                    </a:lnTo>
                    <a:lnTo>
                      <a:pt x="10431" y="2016"/>
                    </a:lnTo>
                    <a:lnTo>
                      <a:pt x="10437" y="2016"/>
                    </a:lnTo>
                    <a:lnTo>
                      <a:pt x="10440" y="2016"/>
                    </a:lnTo>
                    <a:lnTo>
                      <a:pt x="10445" y="2016"/>
                    </a:lnTo>
                    <a:lnTo>
                      <a:pt x="10448" y="2016"/>
                    </a:lnTo>
                    <a:lnTo>
                      <a:pt x="10444" y="2018"/>
                    </a:lnTo>
                    <a:lnTo>
                      <a:pt x="10440" y="2021"/>
                    </a:lnTo>
                    <a:lnTo>
                      <a:pt x="10437" y="2027"/>
                    </a:lnTo>
                    <a:lnTo>
                      <a:pt x="10435" y="2033"/>
                    </a:lnTo>
                    <a:lnTo>
                      <a:pt x="10429" y="2033"/>
                    </a:lnTo>
                    <a:lnTo>
                      <a:pt x="10420" y="2034"/>
                    </a:lnTo>
                    <a:lnTo>
                      <a:pt x="10409" y="2036"/>
                    </a:lnTo>
                    <a:lnTo>
                      <a:pt x="10399" y="2039"/>
                    </a:lnTo>
                    <a:lnTo>
                      <a:pt x="10407" y="2033"/>
                    </a:lnTo>
                    <a:lnTo>
                      <a:pt x="10412" y="2027"/>
                    </a:lnTo>
                    <a:lnTo>
                      <a:pt x="10418" y="2023"/>
                    </a:lnTo>
                    <a:lnTo>
                      <a:pt x="10416" y="2023"/>
                    </a:lnTo>
                    <a:lnTo>
                      <a:pt x="10414" y="2025"/>
                    </a:lnTo>
                    <a:lnTo>
                      <a:pt x="10412" y="2027"/>
                    </a:lnTo>
                    <a:lnTo>
                      <a:pt x="10411" y="2029"/>
                    </a:lnTo>
                    <a:lnTo>
                      <a:pt x="10406" y="2034"/>
                    </a:lnTo>
                    <a:lnTo>
                      <a:pt x="10399" y="2039"/>
                    </a:lnTo>
                    <a:lnTo>
                      <a:pt x="10404" y="2039"/>
                    </a:lnTo>
                    <a:lnTo>
                      <a:pt x="10407" y="2039"/>
                    </a:lnTo>
                    <a:lnTo>
                      <a:pt x="10416" y="2039"/>
                    </a:lnTo>
                    <a:lnTo>
                      <a:pt x="10427" y="2039"/>
                    </a:lnTo>
                    <a:lnTo>
                      <a:pt x="10431" y="2039"/>
                    </a:lnTo>
                    <a:lnTo>
                      <a:pt x="10435" y="2042"/>
                    </a:lnTo>
                    <a:lnTo>
                      <a:pt x="10437" y="2042"/>
                    </a:lnTo>
                    <a:lnTo>
                      <a:pt x="10439" y="2044"/>
                    </a:lnTo>
                    <a:lnTo>
                      <a:pt x="10440" y="2045"/>
                    </a:lnTo>
                    <a:lnTo>
                      <a:pt x="10442" y="2044"/>
                    </a:lnTo>
                    <a:lnTo>
                      <a:pt x="10452" y="2042"/>
                    </a:lnTo>
                    <a:lnTo>
                      <a:pt x="10460" y="2039"/>
                    </a:lnTo>
                    <a:lnTo>
                      <a:pt x="10470" y="2039"/>
                    </a:lnTo>
                    <a:lnTo>
                      <a:pt x="10479" y="2039"/>
                    </a:lnTo>
                    <a:lnTo>
                      <a:pt x="10486" y="2039"/>
                    </a:lnTo>
                    <a:lnTo>
                      <a:pt x="10473" y="2051"/>
                    </a:lnTo>
                    <a:lnTo>
                      <a:pt x="10472" y="2052"/>
                    </a:lnTo>
                    <a:lnTo>
                      <a:pt x="10475" y="2051"/>
                    </a:lnTo>
                    <a:lnTo>
                      <a:pt x="10479" y="2049"/>
                    </a:lnTo>
                    <a:lnTo>
                      <a:pt x="10481" y="2049"/>
                    </a:lnTo>
                    <a:lnTo>
                      <a:pt x="10485" y="2049"/>
                    </a:lnTo>
                    <a:lnTo>
                      <a:pt x="10488" y="2049"/>
                    </a:lnTo>
                    <a:lnTo>
                      <a:pt x="10494" y="2049"/>
                    </a:lnTo>
                    <a:lnTo>
                      <a:pt x="10501" y="2052"/>
                    </a:lnTo>
                    <a:lnTo>
                      <a:pt x="10506" y="2054"/>
                    </a:lnTo>
                    <a:lnTo>
                      <a:pt x="10514" y="2057"/>
                    </a:lnTo>
                    <a:lnTo>
                      <a:pt x="10519" y="2057"/>
                    </a:lnTo>
                    <a:lnTo>
                      <a:pt x="10514" y="2062"/>
                    </a:lnTo>
                    <a:lnTo>
                      <a:pt x="10511" y="2067"/>
                    </a:lnTo>
                    <a:lnTo>
                      <a:pt x="10506" y="2072"/>
                    </a:lnTo>
                    <a:lnTo>
                      <a:pt x="10503" y="2073"/>
                    </a:lnTo>
                    <a:lnTo>
                      <a:pt x="10499" y="2077"/>
                    </a:lnTo>
                    <a:lnTo>
                      <a:pt x="10496" y="2080"/>
                    </a:lnTo>
                    <a:lnTo>
                      <a:pt x="10494" y="2083"/>
                    </a:lnTo>
                    <a:lnTo>
                      <a:pt x="10501" y="2079"/>
                    </a:lnTo>
                    <a:lnTo>
                      <a:pt x="10509" y="2075"/>
                    </a:lnTo>
                    <a:lnTo>
                      <a:pt x="10513" y="2073"/>
                    </a:lnTo>
                    <a:lnTo>
                      <a:pt x="10516" y="2072"/>
                    </a:lnTo>
                    <a:lnTo>
                      <a:pt x="10519" y="2072"/>
                    </a:lnTo>
                    <a:lnTo>
                      <a:pt x="10521" y="2072"/>
                    </a:lnTo>
                    <a:lnTo>
                      <a:pt x="10524" y="2073"/>
                    </a:lnTo>
                    <a:lnTo>
                      <a:pt x="10526" y="2077"/>
                    </a:lnTo>
                    <a:lnTo>
                      <a:pt x="10524" y="2080"/>
                    </a:lnTo>
                    <a:lnTo>
                      <a:pt x="10527" y="2079"/>
                    </a:lnTo>
                    <a:lnTo>
                      <a:pt x="10531" y="2077"/>
                    </a:lnTo>
                    <a:lnTo>
                      <a:pt x="10536" y="2075"/>
                    </a:lnTo>
                    <a:lnTo>
                      <a:pt x="10542" y="2075"/>
                    </a:lnTo>
                    <a:lnTo>
                      <a:pt x="10544" y="2075"/>
                    </a:lnTo>
                    <a:lnTo>
                      <a:pt x="10546" y="2073"/>
                    </a:lnTo>
                    <a:lnTo>
                      <a:pt x="10552" y="2069"/>
                    </a:lnTo>
                    <a:lnTo>
                      <a:pt x="10559" y="2066"/>
                    </a:lnTo>
                    <a:lnTo>
                      <a:pt x="10564" y="2064"/>
                    </a:lnTo>
                    <a:lnTo>
                      <a:pt x="10570" y="2062"/>
                    </a:lnTo>
                    <a:lnTo>
                      <a:pt x="10573" y="2062"/>
                    </a:lnTo>
                    <a:lnTo>
                      <a:pt x="10575" y="2062"/>
                    </a:lnTo>
                    <a:lnTo>
                      <a:pt x="10577" y="2062"/>
                    </a:lnTo>
                    <a:lnTo>
                      <a:pt x="10577" y="2064"/>
                    </a:lnTo>
                    <a:lnTo>
                      <a:pt x="10577" y="2067"/>
                    </a:lnTo>
                    <a:lnTo>
                      <a:pt x="10577" y="2072"/>
                    </a:lnTo>
                    <a:lnTo>
                      <a:pt x="10577" y="2073"/>
                    </a:lnTo>
                    <a:lnTo>
                      <a:pt x="10577" y="2077"/>
                    </a:lnTo>
                    <a:lnTo>
                      <a:pt x="10577" y="2079"/>
                    </a:lnTo>
                    <a:lnTo>
                      <a:pt x="10577" y="2080"/>
                    </a:lnTo>
                    <a:lnTo>
                      <a:pt x="10562" y="2080"/>
                    </a:lnTo>
                    <a:lnTo>
                      <a:pt x="10557" y="2080"/>
                    </a:lnTo>
                    <a:lnTo>
                      <a:pt x="10551" y="2080"/>
                    </a:lnTo>
                    <a:lnTo>
                      <a:pt x="10547" y="2080"/>
                    </a:lnTo>
                    <a:lnTo>
                      <a:pt x="10547" y="2082"/>
                    </a:lnTo>
                    <a:lnTo>
                      <a:pt x="10551" y="2087"/>
                    </a:lnTo>
                    <a:lnTo>
                      <a:pt x="10552" y="2088"/>
                    </a:lnTo>
                    <a:lnTo>
                      <a:pt x="10555" y="2090"/>
                    </a:lnTo>
                    <a:lnTo>
                      <a:pt x="10555" y="2092"/>
                    </a:lnTo>
                    <a:lnTo>
                      <a:pt x="10542" y="2103"/>
                    </a:lnTo>
                    <a:lnTo>
                      <a:pt x="10534" y="2110"/>
                    </a:lnTo>
                    <a:lnTo>
                      <a:pt x="10529" y="2115"/>
                    </a:lnTo>
                    <a:lnTo>
                      <a:pt x="10521" y="2120"/>
                    </a:lnTo>
                    <a:lnTo>
                      <a:pt x="10516" y="2123"/>
                    </a:lnTo>
                    <a:lnTo>
                      <a:pt x="10509" y="2125"/>
                    </a:lnTo>
                    <a:lnTo>
                      <a:pt x="10513" y="2125"/>
                    </a:lnTo>
                    <a:lnTo>
                      <a:pt x="10519" y="2123"/>
                    </a:lnTo>
                    <a:lnTo>
                      <a:pt x="10527" y="2120"/>
                    </a:lnTo>
                    <a:lnTo>
                      <a:pt x="10534" y="2118"/>
                    </a:lnTo>
                    <a:lnTo>
                      <a:pt x="10544" y="2113"/>
                    </a:lnTo>
                    <a:lnTo>
                      <a:pt x="10564" y="2106"/>
                    </a:lnTo>
                    <a:lnTo>
                      <a:pt x="10582" y="2097"/>
                    </a:lnTo>
                    <a:lnTo>
                      <a:pt x="10592" y="2093"/>
                    </a:lnTo>
                    <a:lnTo>
                      <a:pt x="10599" y="2090"/>
                    </a:lnTo>
                    <a:lnTo>
                      <a:pt x="10606" y="2084"/>
                    </a:lnTo>
                    <a:lnTo>
                      <a:pt x="10613" y="2080"/>
                    </a:lnTo>
                    <a:lnTo>
                      <a:pt x="10620" y="2077"/>
                    </a:lnTo>
                    <a:lnTo>
                      <a:pt x="10616" y="2080"/>
                    </a:lnTo>
                    <a:lnTo>
                      <a:pt x="10610" y="2087"/>
                    </a:lnTo>
                    <a:lnTo>
                      <a:pt x="10605" y="2090"/>
                    </a:lnTo>
                    <a:lnTo>
                      <a:pt x="10593" y="2099"/>
                    </a:lnTo>
                    <a:lnTo>
                      <a:pt x="10582" y="2108"/>
                    </a:lnTo>
                    <a:lnTo>
                      <a:pt x="10572" y="2118"/>
                    </a:lnTo>
                    <a:lnTo>
                      <a:pt x="10567" y="2123"/>
                    </a:lnTo>
                    <a:lnTo>
                      <a:pt x="10564" y="2126"/>
                    </a:lnTo>
                    <a:lnTo>
                      <a:pt x="10560" y="2133"/>
                    </a:lnTo>
                    <a:lnTo>
                      <a:pt x="10557" y="2136"/>
                    </a:lnTo>
                    <a:lnTo>
                      <a:pt x="10555" y="2140"/>
                    </a:lnTo>
                    <a:lnTo>
                      <a:pt x="10555" y="2143"/>
                    </a:lnTo>
                    <a:lnTo>
                      <a:pt x="10559" y="2141"/>
                    </a:lnTo>
                    <a:lnTo>
                      <a:pt x="10562" y="2140"/>
                    </a:lnTo>
                    <a:lnTo>
                      <a:pt x="10567" y="2136"/>
                    </a:lnTo>
                    <a:lnTo>
                      <a:pt x="10573" y="2133"/>
                    </a:lnTo>
                    <a:lnTo>
                      <a:pt x="10579" y="2128"/>
                    </a:lnTo>
                    <a:lnTo>
                      <a:pt x="10585" y="2123"/>
                    </a:lnTo>
                    <a:lnTo>
                      <a:pt x="10597" y="2112"/>
                    </a:lnTo>
                    <a:lnTo>
                      <a:pt x="10605" y="2108"/>
                    </a:lnTo>
                    <a:lnTo>
                      <a:pt x="10610" y="2105"/>
                    </a:lnTo>
                    <a:lnTo>
                      <a:pt x="10616" y="2100"/>
                    </a:lnTo>
                    <a:lnTo>
                      <a:pt x="10623" y="2099"/>
                    </a:lnTo>
                    <a:lnTo>
                      <a:pt x="10626" y="2099"/>
                    </a:lnTo>
                    <a:lnTo>
                      <a:pt x="10631" y="2099"/>
                    </a:lnTo>
                    <a:lnTo>
                      <a:pt x="10633" y="2100"/>
                    </a:lnTo>
                    <a:lnTo>
                      <a:pt x="10634" y="2100"/>
                    </a:lnTo>
                    <a:lnTo>
                      <a:pt x="10638" y="2103"/>
                    </a:lnTo>
                    <a:lnTo>
                      <a:pt x="10640" y="2105"/>
                    </a:lnTo>
                    <a:lnTo>
                      <a:pt x="10641" y="2108"/>
                    </a:lnTo>
                    <a:lnTo>
                      <a:pt x="10634" y="2115"/>
                    </a:lnTo>
                    <a:lnTo>
                      <a:pt x="10628" y="2121"/>
                    </a:lnTo>
                    <a:lnTo>
                      <a:pt x="10623" y="2128"/>
                    </a:lnTo>
                    <a:lnTo>
                      <a:pt x="10623" y="2130"/>
                    </a:lnTo>
                    <a:lnTo>
                      <a:pt x="10621" y="2134"/>
                    </a:lnTo>
                    <a:lnTo>
                      <a:pt x="10621" y="2138"/>
                    </a:lnTo>
                    <a:lnTo>
                      <a:pt x="10621" y="2140"/>
                    </a:lnTo>
                    <a:lnTo>
                      <a:pt x="10621" y="2143"/>
                    </a:lnTo>
                    <a:lnTo>
                      <a:pt x="10623" y="2146"/>
                    </a:lnTo>
                    <a:lnTo>
                      <a:pt x="10626" y="2151"/>
                    </a:lnTo>
                    <a:lnTo>
                      <a:pt x="10631" y="2153"/>
                    </a:lnTo>
                    <a:lnTo>
                      <a:pt x="10634" y="2156"/>
                    </a:lnTo>
                    <a:lnTo>
                      <a:pt x="10641" y="2160"/>
                    </a:lnTo>
                    <a:lnTo>
                      <a:pt x="10640" y="2154"/>
                    </a:lnTo>
                    <a:lnTo>
                      <a:pt x="10638" y="2151"/>
                    </a:lnTo>
                    <a:lnTo>
                      <a:pt x="10638" y="2145"/>
                    </a:lnTo>
                    <a:lnTo>
                      <a:pt x="10638" y="2141"/>
                    </a:lnTo>
                    <a:lnTo>
                      <a:pt x="10640" y="2136"/>
                    </a:lnTo>
                    <a:lnTo>
                      <a:pt x="10640" y="2133"/>
                    </a:lnTo>
                    <a:lnTo>
                      <a:pt x="10643" y="2123"/>
                    </a:lnTo>
                    <a:lnTo>
                      <a:pt x="10649" y="2113"/>
                    </a:lnTo>
                    <a:lnTo>
                      <a:pt x="10656" y="2106"/>
                    </a:lnTo>
                    <a:lnTo>
                      <a:pt x="10662" y="2100"/>
                    </a:lnTo>
                    <a:lnTo>
                      <a:pt x="10671" y="2095"/>
                    </a:lnTo>
                    <a:lnTo>
                      <a:pt x="10679" y="2092"/>
                    </a:lnTo>
                    <a:lnTo>
                      <a:pt x="10687" y="2088"/>
                    </a:lnTo>
                    <a:lnTo>
                      <a:pt x="10695" y="2087"/>
                    </a:lnTo>
                    <a:lnTo>
                      <a:pt x="10702" y="2088"/>
                    </a:lnTo>
                    <a:lnTo>
                      <a:pt x="10707" y="2088"/>
                    </a:lnTo>
                    <a:lnTo>
                      <a:pt x="10710" y="2090"/>
                    </a:lnTo>
                    <a:lnTo>
                      <a:pt x="10713" y="2092"/>
                    </a:lnTo>
                    <a:lnTo>
                      <a:pt x="10717" y="2093"/>
                    </a:lnTo>
                    <a:lnTo>
                      <a:pt x="10719" y="2097"/>
                    </a:lnTo>
                    <a:lnTo>
                      <a:pt x="10723" y="2099"/>
                    </a:lnTo>
                    <a:lnTo>
                      <a:pt x="10725" y="2105"/>
                    </a:lnTo>
                    <a:lnTo>
                      <a:pt x="10727" y="2108"/>
                    </a:lnTo>
                    <a:lnTo>
                      <a:pt x="10723" y="2108"/>
                    </a:lnTo>
                    <a:lnTo>
                      <a:pt x="10719" y="2108"/>
                    </a:lnTo>
                    <a:lnTo>
                      <a:pt x="10713" y="2110"/>
                    </a:lnTo>
                    <a:lnTo>
                      <a:pt x="10708" y="2112"/>
                    </a:lnTo>
                    <a:lnTo>
                      <a:pt x="10697" y="2115"/>
                    </a:lnTo>
                    <a:lnTo>
                      <a:pt x="10686" y="2120"/>
                    </a:lnTo>
                    <a:lnTo>
                      <a:pt x="10674" y="2125"/>
                    </a:lnTo>
                    <a:lnTo>
                      <a:pt x="10671" y="2126"/>
                    </a:lnTo>
                    <a:lnTo>
                      <a:pt x="10666" y="2130"/>
                    </a:lnTo>
                    <a:lnTo>
                      <a:pt x="10664" y="2133"/>
                    </a:lnTo>
                    <a:lnTo>
                      <a:pt x="10659" y="2136"/>
                    </a:lnTo>
                    <a:lnTo>
                      <a:pt x="10658" y="2140"/>
                    </a:lnTo>
                    <a:lnTo>
                      <a:pt x="10658" y="2143"/>
                    </a:lnTo>
                    <a:lnTo>
                      <a:pt x="10662" y="2141"/>
                    </a:lnTo>
                    <a:lnTo>
                      <a:pt x="10666" y="2141"/>
                    </a:lnTo>
                    <a:lnTo>
                      <a:pt x="10669" y="2140"/>
                    </a:lnTo>
                    <a:lnTo>
                      <a:pt x="10673" y="2138"/>
                    </a:lnTo>
                    <a:lnTo>
                      <a:pt x="10682" y="2134"/>
                    </a:lnTo>
                    <a:lnTo>
                      <a:pt x="10689" y="2130"/>
                    </a:lnTo>
                    <a:lnTo>
                      <a:pt x="10694" y="2128"/>
                    </a:lnTo>
                    <a:lnTo>
                      <a:pt x="10697" y="2126"/>
                    </a:lnTo>
                    <a:lnTo>
                      <a:pt x="10700" y="2126"/>
                    </a:lnTo>
                    <a:lnTo>
                      <a:pt x="10702" y="2128"/>
                    </a:lnTo>
                    <a:lnTo>
                      <a:pt x="10707" y="2130"/>
                    </a:lnTo>
                    <a:lnTo>
                      <a:pt x="10708" y="2133"/>
                    </a:lnTo>
                    <a:lnTo>
                      <a:pt x="10708" y="2136"/>
                    </a:lnTo>
                    <a:lnTo>
                      <a:pt x="10710" y="2143"/>
                    </a:lnTo>
                    <a:lnTo>
                      <a:pt x="10710" y="2140"/>
                    </a:lnTo>
                    <a:lnTo>
                      <a:pt x="10712" y="2136"/>
                    </a:lnTo>
                    <a:lnTo>
                      <a:pt x="10713" y="2134"/>
                    </a:lnTo>
                    <a:lnTo>
                      <a:pt x="10717" y="2130"/>
                    </a:lnTo>
                    <a:lnTo>
                      <a:pt x="10720" y="2128"/>
                    </a:lnTo>
                    <a:lnTo>
                      <a:pt x="10725" y="2126"/>
                    </a:lnTo>
                    <a:lnTo>
                      <a:pt x="10728" y="2125"/>
                    </a:lnTo>
                    <a:lnTo>
                      <a:pt x="10732" y="2123"/>
                    </a:lnTo>
                    <a:lnTo>
                      <a:pt x="10738" y="2123"/>
                    </a:lnTo>
                    <a:lnTo>
                      <a:pt x="10740" y="2123"/>
                    </a:lnTo>
                    <a:lnTo>
                      <a:pt x="10743" y="2125"/>
                    </a:lnTo>
                    <a:lnTo>
                      <a:pt x="10745" y="2125"/>
                    </a:lnTo>
                    <a:lnTo>
                      <a:pt x="10747" y="2128"/>
                    </a:lnTo>
                    <a:lnTo>
                      <a:pt x="10747" y="2133"/>
                    </a:lnTo>
                    <a:lnTo>
                      <a:pt x="10747" y="2136"/>
                    </a:lnTo>
                    <a:lnTo>
                      <a:pt x="10745" y="2143"/>
                    </a:lnTo>
                    <a:lnTo>
                      <a:pt x="10747" y="2143"/>
                    </a:lnTo>
                    <a:lnTo>
                      <a:pt x="10750" y="2143"/>
                    </a:lnTo>
                    <a:lnTo>
                      <a:pt x="10756" y="2143"/>
                    </a:lnTo>
                    <a:lnTo>
                      <a:pt x="10761" y="2143"/>
                    </a:lnTo>
                    <a:lnTo>
                      <a:pt x="10761" y="2149"/>
                    </a:lnTo>
                    <a:lnTo>
                      <a:pt x="10761" y="2153"/>
                    </a:lnTo>
                    <a:lnTo>
                      <a:pt x="10761" y="2156"/>
                    </a:lnTo>
                    <a:lnTo>
                      <a:pt x="10763" y="2158"/>
                    </a:lnTo>
                    <a:lnTo>
                      <a:pt x="10765" y="2160"/>
                    </a:lnTo>
                    <a:lnTo>
                      <a:pt x="10769" y="2160"/>
                    </a:lnTo>
                    <a:lnTo>
                      <a:pt x="10773" y="2160"/>
                    </a:lnTo>
                    <a:lnTo>
                      <a:pt x="10778" y="2160"/>
                    </a:lnTo>
                    <a:lnTo>
                      <a:pt x="10778" y="2166"/>
                    </a:lnTo>
                    <a:lnTo>
                      <a:pt x="10774" y="2169"/>
                    </a:lnTo>
                    <a:lnTo>
                      <a:pt x="10773" y="2173"/>
                    </a:lnTo>
                    <a:lnTo>
                      <a:pt x="10766" y="2174"/>
                    </a:lnTo>
                    <a:lnTo>
                      <a:pt x="10761" y="2176"/>
                    </a:lnTo>
                    <a:lnTo>
                      <a:pt x="10756" y="2176"/>
                    </a:lnTo>
                    <a:lnTo>
                      <a:pt x="10750" y="2176"/>
                    </a:lnTo>
                    <a:lnTo>
                      <a:pt x="10756" y="2179"/>
                    </a:lnTo>
                    <a:lnTo>
                      <a:pt x="10760" y="2180"/>
                    </a:lnTo>
                    <a:lnTo>
                      <a:pt x="10763" y="2182"/>
                    </a:lnTo>
                    <a:lnTo>
                      <a:pt x="10765" y="2184"/>
                    </a:lnTo>
                    <a:lnTo>
                      <a:pt x="10769" y="2187"/>
                    </a:lnTo>
                    <a:lnTo>
                      <a:pt x="10769" y="2191"/>
                    </a:lnTo>
                    <a:lnTo>
                      <a:pt x="10769" y="2195"/>
                    </a:lnTo>
                    <a:lnTo>
                      <a:pt x="10769" y="2197"/>
                    </a:lnTo>
                    <a:lnTo>
                      <a:pt x="10769" y="2200"/>
                    </a:lnTo>
                    <a:lnTo>
                      <a:pt x="10765" y="2204"/>
                    </a:lnTo>
                    <a:lnTo>
                      <a:pt x="10763" y="2206"/>
                    </a:lnTo>
                    <a:lnTo>
                      <a:pt x="10760" y="2207"/>
                    </a:lnTo>
                    <a:lnTo>
                      <a:pt x="10757" y="2210"/>
                    </a:lnTo>
                    <a:lnTo>
                      <a:pt x="10761" y="2212"/>
                    </a:lnTo>
                    <a:lnTo>
                      <a:pt x="10754" y="2215"/>
                    </a:lnTo>
                    <a:lnTo>
                      <a:pt x="10747" y="2217"/>
                    </a:lnTo>
                    <a:lnTo>
                      <a:pt x="10738" y="2217"/>
                    </a:lnTo>
                    <a:lnTo>
                      <a:pt x="10730" y="2219"/>
                    </a:lnTo>
                    <a:lnTo>
                      <a:pt x="10712" y="2220"/>
                    </a:lnTo>
                    <a:lnTo>
                      <a:pt x="10695" y="2222"/>
                    </a:lnTo>
                    <a:lnTo>
                      <a:pt x="10677" y="2225"/>
                    </a:lnTo>
                    <a:lnTo>
                      <a:pt x="10669" y="2227"/>
                    </a:lnTo>
                    <a:lnTo>
                      <a:pt x="10662" y="2228"/>
                    </a:lnTo>
                    <a:lnTo>
                      <a:pt x="10654" y="2232"/>
                    </a:lnTo>
                    <a:lnTo>
                      <a:pt x="10649" y="2235"/>
                    </a:lnTo>
                    <a:lnTo>
                      <a:pt x="10646" y="2240"/>
                    </a:lnTo>
                    <a:lnTo>
                      <a:pt x="10641" y="2247"/>
                    </a:lnTo>
                    <a:lnTo>
                      <a:pt x="10651" y="2245"/>
                    </a:lnTo>
                    <a:lnTo>
                      <a:pt x="10662" y="2243"/>
                    </a:lnTo>
                    <a:lnTo>
                      <a:pt x="10673" y="2241"/>
                    </a:lnTo>
                    <a:lnTo>
                      <a:pt x="10684" y="2237"/>
                    </a:lnTo>
                    <a:lnTo>
                      <a:pt x="10708" y="2232"/>
                    </a:lnTo>
                    <a:lnTo>
                      <a:pt x="10733" y="2225"/>
                    </a:lnTo>
                    <a:lnTo>
                      <a:pt x="10745" y="2220"/>
                    </a:lnTo>
                    <a:lnTo>
                      <a:pt x="10756" y="2219"/>
                    </a:lnTo>
                    <a:lnTo>
                      <a:pt x="10766" y="2217"/>
                    </a:lnTo>
                    <a:lnTo>
                      <a:pt x="10778" y="2217"/>
                    </a:lnTo>
                    <a:lnTo>
                      <a:pt x="10787" y="2217"/>
                    </a:lnTo>
                    <a:lnTo>
                      <a:pt x="10796" y="2219"/>
                    </a:lnTo>
                    <a:lnTo>
                      <a:pt x="10806" y="2222"/>
                    </a:lnTo>
                    <a:lnTo>
                      <a:pt x="10809" y="2225"/>
                    </a:lnTo>
                    <a:lnTo>
                      <a:pt x="10811" y="2227"/>
                    </a:lnTo>
                    <a:lnTo>
                      <a:pt x="10821" y="2222"/>
                    </a:lnTo>
                    <a:lnTo>
                      <a:pt x="10830" y="2219"/>
                    </a:lnTo>
                    <a:lnTo>
                      <a:pt x="10837" y="2215"/>
                    </a:lnTo>
                    <a:lnTo>
                      <a:pt x="10845" y="2212"/>
                    </a:lnTo>
                    <a:lnTo>
                      <a:pt x="10852" y="2210"/>
                    </a:lnTo>
                    <a:lnTo>
                      <a:pt x="10861" y="2207"/>
                    </a:lnTo>
                    <a:lnTo>
                      <a:pt x="10868" y="2207"/>
                    </a:lnTo>
                    <a:lnTo>
                      <a:pt x="10875" y="2210"/>
                    </a:lnTo>
                    <a:lnTo>
                      <a:pt x="10881" y="2212"/>
                    </a:lnTo>
                    <a:lnTo>
                      <a:pt x="10876" y="2217"/>
                    </a:lnTo>
                    <a:lnTo>
                      <a:pt x="10870" y="2220"/>
                    </a:lnTo>
                    <a:lnTo>
                      <a:pt x="10867" y="2225"/>
                    </a:lnTo>
                    <a:lnTo>
                      <a:pt x="10865" y="2227"/>
                    </a:lnTo>
                    <a:lnTo>
                      <a:pt x="10861" y="2228"/>
                    </a:lnTo>
                    <a:lnTo>
                      <a:pt x="10857" y="2228"/>
                    </a:lnTo>
                    <a:lnTo>
                      <a:pt x="10852" y="2228"/>
                    </a:lnTo>
                    <a:lnTo>
                      <a:pt x="10847" y="2228"/>
                    </a:lnTo>
                    <a:lnTo>
                      <a:pt x="10840" y="2228"/>
                    </a:lnTo>
                    <a:lnTo>
                      <a:pt x="10837" y="2232"/>
                    </a:lnTo>
                    <a:lnTo>
                      <a:pt x="10834" y="2235"/>
                    </a:lnTo>
                    <a:lnTo>
                      <a:pt x="10830" y="2240"/>
                    </a:lnTo>
                    <a:lnTo>
                      <a:pt x="10826" y="2245"/>
                    </a:lnTo>
                    <a:lnTo>
                      <a:pt x="10822" y="2250"/>
                    </a:lnTo>
                    <a:lnTo>
                      <a:pt x="10819" y="2256"/>
                    </a:lnTo>
                    <a:lnTo>
                      <a:pt x="10814" y="2263"/>
                    </a:lnTo>
                    <a:lnTo>
                      <a:pt x="10806" y="2263"/>
                    </a:lnTo>
                    <a:lnTo>
                      <a:pt x="10796" y="2265"/>
                    </a:lnTo>
                    <a:lnTo>
                      <a:pt x="10787" y="2269"/>
                    </a:lnTo>
                    <a:lnTo>
                      <a:pt x="10778" y="2273"/>
                    </a:lnTo>
                    <a:lnTo>
                      <a:pt x="10769" y="2274"/>
                    </a:lnTo>
                    <a:lnTo>
                      <a:pt x="10760" y="2278"/>
                    </a:lnTo>
                    <a:lnTo>
                      <a:pt x="10766" y="2276"/>
                    </a:lnTo>
                    <a:lnTo>
                      <a:pt x="10774" y="2276"/>
                    </a:lnTo>
                    <a:lnTo>
                      <a:pt x="10776" y="2276"/>
                    </a:lnTo>
                    <a:lnTo>
                      <a:pt x="10780" y="2276"/>
                    </a:lnTo>
                    <a:lnTo>
                      <a:pt x="10781" y="2278"/>
                    </a:lnTo>
                    <a:lnTo>
                      <a:pt x="10781" y="2280"/>
                    </a:lnTo>
                    <a:lnTo>
                      <a:pt x="10784" y="2284"/>
                    </a:lnTo>
                    <a:lnTo>
                      <a:pt x="10781" y="2288"/>
                    </a:lnTo>
                    <a:lnTo>
                      <a:pt x="10780" y="2291"/>
                    </a:lnTo>
                    <a:lnTo>
                      <a:pt x="10778" y="2298"/>
                    </a:lnTo>
                    <a:lnTo>
                      <a:pt x="10786" y="2291"/>
                    </a:lnTo>
                    <a:lnTo>
                      <a:pt x="10794" y="2286"/>
                    </a:lnTo>
                    <a:lnTo>
                      <a:pt x="10804" y="2278"/>
                    </a:lnTo>
                    <a:lnTo>
                      <a:pt x="10815" y="2274"/>
                    </a:lnTo>
                    <a:lnTo>
                      <a:pt x="10826" y="2269"/>
                    </a:lnTo>
                    <a:lnTo>
                      <a:pt x="10839" y="2267"/>
                    </a:lnTo>
                    <a:lnTo>
                      <a:pt x="10852" y="2263"/>
                    </a:lnTo>
                    <a:lnTo>
                      <a:pt x="10865" y="2263"/>
                    </a:lnTo>
                    <a:lnTo>
                      <a:pt x="10863" y="2269"/>
                    </a:lnTo>
                    <a:lnTo>
                      <a:pt x="10861" y="2276"/>
                    </a:lnTo>
                    <a:lnTo>
                      <a:pt x="10857" y="2281"/>
                    </a:lnTo>
                    <a:lnTo>
                      <a:pt x="10854" y="2288"/>
                    </a:lnTo>
                    <a:lnTo>
                      <a:pt x="10848" y="2291"/>
                    </a:lnTo>
                    <a:lnTo>
                      <a:pt x="10842" y="2294"/>
                    </a:lnTo>
                    <a:lnTo>
                      <a:pt x="10835" y="2296"/>
                    </a:lnTo>
                    <a:lnTo>
                      <a:pt x="10830" y="2298"/>
                    </a:lnTo>
                    <a:lnTo>
                      <a:pt x="10835" y="2301"/>
                    </a:lnTo>
                    <a:lnTo>
                      <a:pt x="10840" y="2301"/>
                    </a:lnTo>
                    <a:lnTo>
                      <a:pt x="10847" y="2301"/>
                    </a:lnTo>
                    <a:lnTo>
                      <a:pt x="10850" y="2298"/>
                    </a:lnTo>
                    <a:lnTo>
                      <a:pt x="10854" y="2296"/>
                    </a:lnTo>
                    <a:lnTo>
                      <a:pt x="10857" y="2294"/>
                    </a:lnTo>
                    <a:lnTo>
                      <a:pt x="10860" y="2291"/>
                    </a:lnTo>
                    <a:lnTo>
                      <a:pt x="10861" y="2288"/>
                    </a:lnTo>
                    <a:lnTo>
                      <a:pt x="10867" y="2278"/>
                    </a:lnTo>
                    <a:lnTo>
                      <a:pt x="10868" y="2274"/>
                    </a:lnTo>
                    <a:lnTo>
                      <a:pt x="10870" y="2271"/>
                    </a:lnTo>
                    <a:lnTo>
                      <a:pt x="10872" y="2267"/>
                    </a:lnTo>
                    <a:lnTo>
                      <a:pt x="10876" y="2265"/>
                    </a:lnTo>
                    <a:lnTo>
                      <a:pt x="10878" y="2263"/>
                    </a:lnTo>
                    <a:lnTo>
                      <a:pt x="10881" y="2263"/>
                    </a:lnTo>
                    <a:lnTo>
                      <a:pt x="10887" y="2263"/>
                    </a:lnTo>
                    <a:lnTo>
                      <a:pt x="10891" y="2267"/>
                    </a:lnTo>
                    <a:lnTo>
                      <a:pt x="10894" y="2269"/>
                    </a:lnTo>
                    <a:lnTo>
                      <a:pt x="10898" y="2274"/>
                    </a:lnTo>
                    <a:lnTo>
                      <a:pt x="10901" y="2278"/>
                    </a:lnTo>
                    <a:lnTo>
                      <a:pt x="10906" y="2286"/>
                    </a:lnTo>
                    <a:lnTo>
                      <a:pt x="10909" y="2291"/>
                    </a:lnTo>
                    <a:lnTo>
                      <a:pt x="10916" y="2298"/>
                    </a:lnTo>
                    <a:lnTo>
                      <a:pt x="10913" y="2291"/>
                    </a:lnTo>
                    <a:lnTo>
                      <a:pt x="10911" y="2286"/>
                    </a:lnTo>
                    <a:lnTo>
                      <a:pt x="10911" y="2281"/>
                    </a:lnTo>
                    <a:lnTo>
                      <a:pt x="10911" y="2278"/>
                    </a:lnTo>
                    <a:lnTo>
                      <a:pt x="10913" y="2274"/>
                    </a:lnTo>
                    <a:lnTo>
                      <a:pt x="10913" y="2273"/>
                    </a:lnTo>
                    <a:lnTo>
                      <a:pt x="10914" y="2269"/>
                    </a:lnTo>
                    <a:lnTo>
                      <a:pt x="10918" y="2267"/>
                    </a:lnTo>
                    <a:lnTo>
                      <a:pt x="10924" y="2265"/>
                    </a:lnTo>
                    <a:lnTo>
                      <a:pt x="10928" y="2263"/>
                    </a:lnTo>
                    <a:lnTo>
                      <a:pt x="10929" y="2263"/>
                    </a:lnTo>
                    <a:lnTo>
                      <a:pt x="10931" y="2263"/>
                    </a:lnTo>
                    <a:lnTo>
                      <a:pt x="10933" y="2263"/>
                    </a:lnTo>
                    <a:lnTo>
                      <a:pt x="10939" y="2258"/>
                    </a:lnTo>
                    <a:lnTo>
                      <a:pt x="10946" y="2254"/>
                    </a:lnTo>
                    <a:lnTo>
                      <a:pt x="10952" y="2250"/>
                    </a:lnTo>
                    <a:lnTo>
                      <a:pt x="10957" y="2250"/>
                    </a:lnTo>
                    <a:lnTo>
                      <a:pt x="10961" y="2250"/>
                    </a:lnTo>
                    <a:lnTo>
                      <a:pt x="10964" y="2254"/>
                    </a:lnTo>
                    <a:lnTo>
                      <a:pt x="10967" y="2258"/>
                    </a:lnTo>
                    <a:lnTo>
                      <a:pt x="10968" y="2263"/>
                    </a:lnTo>
                    <a:lnTo>
                      <a:pt x="10970" y="2263"/>
                    </a:lnTo>
                    <a:lnTo>
                      <a:pt x="10974" y="2263"/>
                    </a:lnTo>
                    <a:lnTo>
                      <a:pt x="10975" y="2263"/>
                    </a:lnTo>
                    <a:lnTo>
                      <a:pt x="10979" y="2263"/>
                    </a:lnTo>
                    <a:lnTo>
                      <a:pt x="10975" y="2265"/>
                    </a:lnTo>
                    <a:lnTo>
                      <a:pt x="10974" y="2267"/>
                    </a:lnTo>
                    <a:lnTo>
                      <a:pt x="10970" y="2271"/>
                    </a:lnTo>
                    <a:lnTo>
                      <a:pt x="10968" y="2274"/>
                    </a:lnTo>
                    <a:lnTo>
                      <a:pt x="10968" y="2276"/>
                    </a:lnTo>
                    <a:lnTo>
                      <a:pt x="10970" y="2274"/>
                    </a:lnTo>
                    <a:lnTo>
                      <a:pt x="10974" y="2273"/>
                    </a:lnTo>
                    <a:lnTo>
                      <a:pt x="10977" y="2271"/>
                    </a:lnTo>
                    <a:lnTo>
                      <a:pt x="10982" y="2269"/>
                    </a:lnTo>
                    <a:lnTo>
                      <a:pt x="10987" y="2269"/>
                    </a:lnTo>
                    <a:lnTo>
                      <a:pt x="10990" y="2267"/>
                    </a:lnTo>
                    <a:lnTo>
                      <a:pt x="10995" y="2267"/>
                    </a:lnTo>
                    <a:lnTo>
                      <a:pt x="11000" y="2267"/>
                    </a:lnTo>
                    <a:lnTo>
                      <a:pt x="11002" y="2269"/>
                    </a:lnTo>
                    <a:lnTo>
                      <a:pt x="11003" y="2269"/>
                    </a:lnTo>
                    <a:lnTo>
                      <a:pt x="11003" y="2271"/>
                    </a:lnTo>
                    <a:lnTo>
                      <a:pt x="11002" y="2273"/>
                    </a:lnTo>
                    <a:lnTo>
                      <a:pt x="11000" y="2274"/>
                    </a:lnTo>
                    <a:lnTo>
                      <a:pt x="10995" y="2276"/>
                    </a:lnTo>
                    <a:lnTo>
                      <a:pt x="10992" y="2276"/>
                    </a:lnTo>
                    <a:lnTo>
                      <a:pt x="10988" y="2278"/>
                    </a:lnTo>
                    <a:lnTo>
                      <a:pt x="10985" y="2280"/>
                    </a:lnTo>
                    <a:lnTo>
                      <a:pt x="10990" y="2280"/>
                    </a:lnTo>
                    <a:lnTo>
                      <a:pt x="10995" y="2281"/>
                    </a:lnTo>
                    <a:lnTo>
                      <a:pt x="11002" y="2284"/>
                    </a:lnTo>
                    <a:lnTo>
                      <a:pt x="11007" y="2286"/>
                    </a:lnTo>
                    <a:lnTo>
                      <a:pt x="11010" y="2289"/>
                    </a:lnTo>
                    <a:lnTo>
                      <a:pt x="11015" y="2291"/>
                    </a:lnTo>
                    <a:lnTo>
                      <a:pt x="11016" y="2294"/>
                    </a:lnTo>
                    <a:lnTo>
                      <a:pt x="11018" y="2298"/>
                    </a:lnTo>
                    <a:close/>
                    <a:moveTo>
                      <a:pt x="10774" y="2243"/>
                    </a:moveTo>
                    <a:lnTo>
                      <a:pt x="10781" y="2241"/>
                    </a:lnTo>
                    <a:lnTo>
                      <a:pt x="10789" y="2237"/>
                    </a:lnTo>
                    <a:lnTo>
                      <a:pt x="10796" y="2233"/>
                    </a:lnTo>
                    <a:lnTo>
                      <a:pt x="10806" y="2230"/>
                    </a:lnTo>
                    <a:lnTo>
                      <a:pt x="10809" y="2228"/>
                    </a:lnTo>
                    <a:lnTo>
                      <a:pt x="10806" y="2228"/>
                    </a:lnTo>
                    <a:lnTo>
                      <a:pt x="10801" y="2232"/>
                    </a:lnTo>
                    <a:lnTo>
                      <a:pt x="10793" y="2233"/>
                    </a:lnTo>
                    <a:lnTo>
                      <a:pt x="10787" y="2237"/>
                    </a:lnTo>
                    <a:lnTo>
                      <a:pt x="10780" y="2241"/>
                    </a:lnTo>
                    <a:lnTo>
                      <a:pt x="10774" y="2243"/>
                    </a:lnTo>
                    <a:close/>
                    <a:moveTo>
                      <a:pt x="10682" y="2195"/>
                    </a:moveTo>
                    <a:lnTo>
                      <a:pt x="10687" y="2197"/>
                    </a:lnTo>
                    <a:lnTo>
                      <a:pt x="10695" y="2200"/>
                    </a:lnTo>
                    <a:lnTo>
                      <a:pt x="10700" y="2202"/>
                    </a:lnTo>
                    <a:lnTo>
                      <a:pt x="10707" y="2206"/>
                    </a:lnTo>
                    <a:lnTo>
                      <a:pt x="10710" y="2207"/>
                    </a:lnTo>
                    <a:lnTo>
                      <a:pt x="10710" y="2207"/>
                    </a:lnTo>
                    <a:lnTo>
                      <a:pt x="10715" y="2206"/>
                    </a:lnTo>
                    <a:lnTo>
                      <a:pt x="10717" y="2205"/>
                    </a:lnTo>
                    <a:lnTo>
                      <a:pt x="10710" y="2202"/>
                    </a:lnTo>
                    <a:lnTo>
                      <a:pt x="10700" y="2200"/>
                    </a:lnTo>
                    <a:lnTo>
                      <a:pt x="10692" y="2197"/>
                    </a:lnTo>
                    <a:lnTo>
                      <a:pt x="10682" y="2195"/>
                    </a:lnTo>
                    <a:close/>
                    <a:moveTo>
                      <a:pt x="10658" y="2228"/>
                    </a:moveTo>
                    <a:lnTo>
                      <a:pt x="10671" y="2222"/>
                    </a:lnTo>
                    <a:lnTo>
                      <a:pt x="10684" y="2215"/>
                    </a:lnTo>
                    <a:lnTo>
                      <a:pt x="10688" y="2214"/>
                    </a:lnTo>
                    <a:lnTo>
                      <a:pt x="10682" y="2215"/>
                    </a:lnTo>
                    <a:lnTo>
                      <a:pt x="10673" y="2219"/>
                    </a:lnTo>
                    <a:lnTo>
                      <a:pt x="10666" y="2222"/>
                    </a:lnTo>
                    <a:lnTo>
                      <a:pt x="10658" y="2228"/>
                    </a:lnTo>
                    <a:close/>
                    <a:moveTo>
                      <a:pt x="9368" y="1415"/>
                    </a:moveTo>
                    <a:lnTo>
                      <a:pt x="9372" y="1414"/>
                    </a:lnTo>
                    <a:lnTo>
                      <a:pt x="9368" y="1415"/>
                    </a:lnTo>
                    <a:lnTo>
                      <a:pt x="9366" y="1416"/>
                    </a:lnTo>
                    <a:lnTo>
                      <a:pt x="9368" y="1415"/>
                    </a:lnTo>
                    <a:close/>
                    <a:moveTo>
                      <a:pt x="9300" y="1440"/>
                    </a:moveTo>
                    <a:lnTo>
                      <a:pt x="9306" y="1440"/>
                    </a:lnTo>
                    <a:lnTo>
                      <a:pt x="9313" y="1438"/>
                    </a:lnTo>
                    <a:lnTo>
                      <a:pt x="9321" y="1436"/>
                    </a:lnTo>
                    <a:lnTo>
                      <a:pt x="9327" y="1432"/>
                    </a:lnTo>
                    <a:lnTo>
                      <a:pt x="9344" y="1425"/>
                    </a:lnTo>
                    <a:lnTo>
                      <a:pt x="9347" y="1423"/>
                    </a:lnTo>
                    <a:lnTo>
                      <a:pt x="9347" y="1423"/>
                    </a:lnTo>
                    <a:lnTo>
                      <a:pt x="9324" y="1432"/>
                    </a:lnTo>
                    <a:lnTo>
                      <a:pt x="9300" y="1440"/>
                    </a:lnTo>
                    <a:close/>
                    <a:moveTo>
                      <a:pt x="8939" y="1405"/>
                    </a:moveTo>
                    <a:lnTo>
                      <a:pt x="8932" y="1408"/>
                    </a:lnTo>
                    <a:lnTo>
                      <a:pt x="8934" y="1407"/>
                    </a:lnTo>
                    <a:lnTo>
                      <a:pt x="8939" y="1405"/>
                    </a:lnTo>
                    <a:close/>
                    <a:moveTo>
                      <a:pt x="8458" y="1718"/>
                    </a:moveTo>
                    <a:lnTo>
                      <a:pt x="8449" y="1723"/>
                    </a:lnTo>
                    <a:lnTo>
                      <a:pt x="8442" y="1727"/>
                    </a:lnTo>
                    <a:lnTo>
                      <a:pt x="8449" y="1724"/>
                    </a:lnTo>
                    <a:lnTo>
                      <a:pt x="8458" y="1718"/>
                    </a:lnTo>
                    <a:close/>
                    <a:moveTo>
                      <a:pt x="8471" y="1713"/>
                    </a:moveTo>
                    <a:lnTo>
                      <a:pt x="8468" y="1715"/>
                    </a:lnTo>
                    <a:lnTo>
                      <a:pt x="8462" y="1717"/>
                    </a:lnTo>
                    <a:lnTo>
                      <a:pt x="8465" y="1717"/>
                    </a:lnTo>
                    <a:lnTo>
                      <a:pt x="8470" y="1715"/>
                    </a:lnTo>
                    <a:lnTo>
                      <a:pt x="8471" y="1713"/>
                    </a:lnTo>
                    <a:close/>
                    <a:moveTo>
                      <a:pt x="9033" y="1366"/>
                    </a:moveTo>
                    <a:lnTo>
                      <a:pt x="9036" y="1367"/>
                    </a:lnTo>
                    <a:lnTo>
                      <a:pt x="9031" y="1364"/>
                    </a:lnTo>
                    <a:lnTo>
                      <a:pt x="9025" y="1363"/>
                    </a:lnTo>
                    <a:lnTo>
                      <a:pt x="9033" y="1366"/>
                    </a:lnTo>
                    <a:close/>
                    <a:moveTo>
                      <a:pt x="9454" y="1456"/>
                    </a:moveTo>
                    <a:lnTo>
                      <a:pt x="9449" y="1455"/>
                    </a:lnTo>
                    <a:lnTo>
                      <a:pt x="9446" y="1453"/>
                    </a:lnTo>
                    <a:lnTo>
                      <a:pt x="9448" y="1455"/>
                    </a:lnTo>
                    <a:lnTo>
                      <a:pt x="9451" y="1456"/>
                    </a:lnTo>
                    <a:lnTo>
                      <a:pt x="9454" y="1456"/>
                    </a:lnTo>
                    <a:close/>
                    <a:moveTo>
                      <a:pt x="9558" y="1833"/>
                    </a:moveTo>
                    <a:lnTo>
                      <a:pt x="9553" y="1833"/>
                    </a:lnTo>
                    <a:lnTo>
                      <a:pt x="9549" y="1835"/>
                    </a:lnTo>
                    <a:lnTo>
                      <a:pt x="9543" y="1837"/>
                    </a:lnTo>
                    <a:lnTo>
                      <a:pt x="9536" y="1838"/>
                    </a:lnTo>
                    <a:lnTo>
                      <a:pt x="9528" y="1840"/>
                    </a:lnTo>
                    <a:lnTo>
                      <a:pt x="9521" y="1842"/>
                    </a:lnTo>
                    <a:lnTo>
                      <a:pt x="9525" y="1842"/>
                    </a:lnTo>
                    <a:lnTo>
                      <a:pt x="9532" y="1842"/>
                    </a:lnTo>
                    <a:lnTo>
                      <a:pt x="9538" y="1842"/>
                    </a:lnTo>
                    <a:lnTo>
                      <a:pt x="9543" y="1840"/>
                    </a:lnTo>
                    <a:lnTo>
                      <a:pt x="9547" y="1840"/>
                    </a:lnTo>
                    <a:lnTo>
                      <a:pt x="9551" y="1838"/>
                    </a:lnTo>
                    <a:lnTo>
                      <a:pt x="9555" y="1837"/>
                    </a:lnTo>
                    <a:lnTo>
                      <a:pt x="9558" y="1833"/>
                    </a:lnTo>
                    <a:close/>
                    <a:moveTo>
                      <a:pt x="9662" y="1937"/>
                    </a:moveTo>
                    <a:lnTo>
                      <a:pt x="9658" y="1935"/>
                    </a:lnTo>
                    <a:lnTo>
                      <a:pt x="9654" y="1932"/>
                    </a:lnTo>
                    <a:lnTo>
                      <a:pt x="9650" y="1931"/>
                    </a:lnTo>
                    <a:lnTo>
                      <a:pt x="9647" y="1931"/>
                    </a:lnTo>
                    <a:lnTo>
                      <a:pt x="9645" y="1932"/>
                    </a:lnTo>
                    <a:lnTo>
                      <a:pt x="9642" y="1935"/>
                    </a:lnTo>
                    <a:lnTo>
                      <a:pt x="9634" y="1939"/>
                    </a:lnTo>
                    <a:lnTo>
                      <a:pt x="9629" y="1944"/>
                    </a:lnTo>
                    <a:lnTo>
                      <a:pt x="9621" y="1947"/>
                    </a:lnTo>
                    <a:lnTo>
                      <a:pt x="9627" y="1945"/>
                    </a:lnTo>
                    <a:lnTo>
                      <a:pt x="9630" y="1945"/>
                    </a:lnTo>
                    <a:lnTo>
                      <a:pt x="9642" y="1942"/>
                    </a:lnTo>
                    <a:lnTo>
                      <a:pt x="9645" y="1940"/>
                    </a:lnTo>
                    <a:lnTo>
                      <a:pt x="9650" y="1939"/>
                    </a:lnTo>
                    <a:lnTo>
                      <a:pt x="9654" y="1939"/>
                    </a:lnTo>
                    <a:lnTo>
                      <a:pt x="9658" y="1937"/>
                    </a:lnTo>
                    <a:lnTo>
                      <a:pt x="9660" y="1937"/>
                    </a:lnTo>
                    <a:lnTo>
                      <a:pt x="9662" y="1937"/>
                    </a:lnTo>
                    <a:close/>
                    <a:moveTo>
                      <a:pt x="9763" y="1456"/>
                    </a:moveTo>
                    <a:lnTo>
                      <a:pt x="9759" y="1453"/>
                    </a:lnTo>
                    <a:lnTo>
                      <a:pt x="9754" y="1451"/>
                    </a:lnTo>
                    <a:lnTo>
                      <a:pt x="9747" y="1451"/>
                    </a:lnTo>
                    <a:lnTo>
                      <a:pt x="9739" y="1450"/>
                    </a:lnTo>
                    <a:lnTo>
                      <a:pt x="9732" y="1447"/>
                    </a:lnTo>
                    <a:lnTo>
                      <a:pt x="9722" y="1447"/>
                    </a:lnTo>
                    <a:lnTo>
                      <a:pt x="9704" y="1445"/>
                    </a:lnTo>
                    <a:lnTo>
                      <a:pt x="9688" y="1444"/>
                    </a:lnTo>
                    <a:lnTo>
                      <a:pt x="9691" y="1445"/>
                    </a:lnTo>
                    <a:lnTo>
                      <a:pt x="9698" y="1447"/>
                    </a:lnTo>
                    <a:lnTo>
                      <a:pt x="9704" y="1451"/>
                    </a:lnTo>
                    <a:lnTo>
                      <a:pt x="9708" y="1453"/>
                    </a:lnTo>
                    <a:lnTo>
                      <a:pt x="9712" y="1456"/>
                    </a:lnTo>
                    <a:lnTo>
                      <a:pt x="9715" y="1455"/>
                    </a:lnTo>
                    <a:lnTo>
                      <a:pt x="9721" y="1453"/>
                    </a:lnTo>
                    <a:lnTo>
                      <a:pt x="9724" y="1453"/>
                    </a:lnTo>
                    <a:lnTo>
                      <a:pt x="9729" y="1453"/>
                    </a:lnTo>
                    <a:lnTo>
                      <a:pt x="9739" y="1453"/>
                    </a:lnTo>
                    <a:lnTo>
                      <a:pt x="9749" y="1455"/>
                    </a:lnTo>
                    <a:lnTo>
                      <a:pt x="9755" y="1456"/>
                    </a:lnTo>
                    <a:lnTo>
                      <a:pt x="9763" y="1456"/>
                    </a:lnTo>
                    <a:close/>
                    <a:moveTo>
                      <a:pt x="9093" y="2538"/>
                    </a:moveTo>
                    <a:lnTo>
                      <a:pt x="9099" y="2540"/>
                    </a:lnTo>
                    <a:lnTo>
                      <a:pt x="9105" y="2544"/>
                    </a:lnTo>
                    <a:lnTo>
                      <a:pt x="9105" y="2544"/>
                    </a:lnTo>
                    <a:lnTo>
                      <a:pt x="9102" y="2543"/>
                    </a:lnTo>
                    <a:lnTo>
                      <a:pt x="9099" y="2540"/>
                    </a:lnTo>
                    <a:lnTo>
                      <a:pt x="9097" y="2538"/>
                    </a:lnTo>
                    <a:lnTo>
                      <a:pt x="9093" y="2538"/>
                    </a:lnTo>
                    <a:close/>
                    <a:moveTo>
                      <a:pt x="9145" y="2574"/>
                    </a:moveTo>
                    <a:lnTo>
                      <a:pt x="9141" y="2571"/>
                    </a:lnTo>
                    <a:lnTo>
                      <a:pt x="9138" y="2571"/>
                    </a:lnTo>
                    <a:lnTo>
                      <a:pt x="9135" y="2569"/>
                    </a:lnTo>
                    <a:lnTo>
                      <a:pt x="9132" y="2568"/>
                    </a:lnTo>
                    <a:lnTo>
                      <a:pt x="9125" y="2563"/>
                    </a:lnTo>
                    <a:lnTo>
                      <a:pt x="9126" y="2566"/>
                    </a:lnTo>
                    <a:lnTo>
                      <a:pt x="9128" y="2574"/>
                    </a:lnTo>
                    <a:lnTo>
                      <a:pt x="9126" y="2576"/>
                    </a:lnTo>
                    <a:lnTo>
                      <a:pt x="9126" y="2577"/>
                    </a:lnTo>
                    <a:lnTo>
                      <a:pt x="9125" y="2579"/>
                    </a:lnTo>
                    <a:lnTo>
                      <a:pt x="9123" y="2579"/>
                    </a:lnTo>
                    <a:lnTo>
                      <a:pt x="9117" y="2581"/>
                    </a:lnTo>
                    <a:lnTo>
                      <a:pt x="9110" y="2581"/>
                    </a:lnTo>
                    <a:lnTo>
                      <a:pt x="9104" y="2581"/>
                    </a:lnTo>
                    <a:lnTo>
                      <a:pt x="9099" y="2582"/>
                    </a:lnTo>
                    <a:lnTo>
                      <a:pt x="9097" y="2582"/>
                    </a:lnTo>
                    <a:lnTo>
                      <a:pt x="9095" y="2584"/>
                    </a:lnTo>
                    <a:lnTo>
                      <a:pt x="9093" y="2586"/>
                    </a:lnTo>
                    <a:lnTo>
                      <a:pt x="9093" y="2590"/>
                    </a:lnTo>
                    <a:lnTo>
                      <a:pt x="9093" y="2601"/>
                    </a:lnTo>
                    <a:lnTo>
                      <a:pt x="9093" y="2609"/>
                    </a:lnTo>
                    <a:lnTo>
                      <a:pt x="9095" y="2614"/>
                    </a:lnTo>
                    <a:lnTo>
                      <a:pt x="9097" y="2618"/>
                    </a:lnTo>
                    <a:lnTo>
                      <a:pt x="9100" y="2622"/>
                    </a:lnTo>
                    <a:lnTo>
                      <a:pt x="9104" y="2623"/>
                    </a:lnTo>
                    <a:lnTo>
                      <a:pt x="9110" y="2625"/>
                    </a:lnTo>
                    <a:lnTo>
                      <a:pt x="9110" y="2618"/>
                    </a:lnTo>
                    <a:lnTo>
                      <a:pt x="9110" y="2614"/>
                    </a:lnTo>
                    <a:lnTo>
                      <a:pt x="9110" y="2610"/>
                    </a:lnTo>
                    <a:lnTo>
                      <a:pt x="9108" y="2607"/>
                    </a:lnTo>
                    <a:lnTo>
                      <a:pt x="9105" y="2603"/>
                    </a:lnTo>
                    <a:lnTo>
                      <a:pt x="9102" y="2599"/>
                    </a:lnTo>
                    <a:lnTo>
                      <a:pt x="9099" y="2596"/>
                    </a:lnTo>
                    <a:lnTo>
                      <a:pt x="9093" y="2590"/>
                    </a:lnTo>
                    <a:lnTo>
                      <a:pt x="9097" y="2586"/>
                    </a:lnTo>
                    <a:lnTo>
                      <a:pt x="9100" y="2584"/>
                    </a:lnTo>
                    <a:lnTo>
                      <a:pt x="9104" y="2582"/>
                    </a:lnTo>
                    <a:lnTo>
                      <a:pt x="9108" y="2582"/>
                    </a:lnTo>
                    <a:lnTo>
                      <a:pt x="9117" y="2581"/>
                    </a:lnTo>
                    <a:lnTo>
                      <a:pt x="9125" y="2581"/>
                    </a:lnTo>
                    <a:lnTo>
                      <a:pt x="9133" y="2581"/>
                    </a:lnTo>
                    <a:lnTo>
                      <a:pt x="9135" y="2581"/>
                    </a:lnTo>
                    <a:lnTo>
                      <a:pt x="9140" y="2579"/>
                    </a:lnTo>
                    <a:lnTo>
                      <a:pt x="9141" y="2579"/>
                    </a:lnTo>
                    <a:lnTo>
                      <a:pt x="9143" y="2577"/>
                    </a:lnTo>
                    <a:lnTo>
                      <a:pt x="9145" y="2576"/>
                    </a:lnTo>
                    <a:lnTo>
                      <a:pt x="9145" y="2574"/>
                    </a:lnTo>
                    <a:close/>
                    <a:moveTo>
                      <a:pt x="9352" y="2642"/>
                    </a:moveTo>
                    <a:lnTo>
                      <a:pt x="9347" y="2638"/>
                    </a:lnTo>
                    <a:lnTo>
                      <a:pt x="9346" y="2636"/>
                    </a:lnTo>
                    <a:lnTo>
                      <a:pt x="9342" y="2636"/>
                    </a:lnTo>
                    <a:lnTo>
                      <a:pt x="9340" y="2636"/>
                    </a:lnTo>
                    <a:lnTo>
                      <a:pt x="9339" y="2638"/>
                    </a:lnTo>
                    <a:lnTo>
                      <a:pt x="9337" y="2640"/>
                    </a:lnTo>
                    <a:lnTo>
                      <a:pt x="9333" y="2643"/>
                    </a:lnTo>
                    <a:lnTo>
                      <a:pt x="9331" y="2647"/>
                    </a:lnTo>
                    <a:lnTo>
                      <a:pt x="9333" y="2647"/>
                    </a:lnTo>
                    <a:lnTo>
                      <a:pt x="9339" y="2643"/>
                    </a:lnTo>
                    <a:lnTo>
                      <a:pt x="9344" y="2642"/>
                    </a:lnTo>
                    <a:lnTo>
                      <a:pt x="9352" y="2642"/>
                    </a:lnTo>
                    <a:close/>
                    <a:moveTo>
                      <a:pt x="9931" y="1549"/>
                    </a:moveTo>
                    <a:lnTo>
                      <a:pt x="9925" y="1552"/>
                    </a:lnTo>
                    <a:lnTo>
                      <a:pt x="9924" y="1553"/>
                    </a:lnTo>
                    <a:lnTo>
                      <a:pt x="9925" y="1554"/>
                    </a:lnTo>
                    <a:lnTo>
                      <a:pt x="9927" y="1557"/>
                    </a:lnTo>
                    <a:lnTo>
                      <a:pt x="9931" y="1558"/>
                    </a:lnTo>
                    <a:lnTo>
                      <a:pt x="9933" y="1560"/>
                    </a:lnTo>
                    <a:lnTo>
                      <a:pt x="9936" y="1565"/>
                    </a:lnTo>
                    <a:lnTo>
                      <a:pt x="9938" y="1567"/>
                    </a:lnTo>
                    <a:lnTo>
                      <a:pt x="9940" y="1571"/>
                    </a:lnTo>
                    <a:lnTo>
                      <a:pt x="9940" y="1573"/>
                    </a:lnTo>
                    <a:lnTo>
                      <a:pt x="9940" y="1575"/>
                    </a:lnTo>
                    <a:lnTo>
                      <a:pt x="9938" y="1575"/>
                    </a:lnTo>
                    <a:lnTo>
                      <a:pt x="9936" y="1577"/>
                    </a:lnTo>
                    <a:lnTo>
                      <a:pt x="9930" y="1577"/>
                    </a:lnTo>
                    <a:lnTo>
                      <a:pt x="9922" y="1578"/>
                    </a:lnTo>
                    <a:lnTo>
                      <a:pt x="9917" y="1580"/>
                    </a:lnTo>
                    <a:lnTo>
                      <a:pt x="9910" y="1583"/>
                    </a:lnTo>
                    <a:lnTo>
                      <a:pt x="9903" y="1588"/>
                    </a:lnTo>
                    <a:lnTo>
                      <a:pt x="9897" y="1590"/>
                    </a:lnTo>
                    <a:lnTo>
                      <a:pt x="9890" y="1591"/>
                    </a:lnTo>
                    <a:lnTo>
                      <a:pt x="9885" y="1593"/>
                    </a:lnTo>
                    <a:lnTo>
                      <a:pt x="9890" y="1593"/>
                    </a:lnTo>
                    <a:lnTo>
                      <a:pt x="9900" y="1591"/>
                    </a:lnTo>
                    <a:lnTo>
                      <a:pt x="9909" y="1591"/>
                    </a:lnTo>
                    <a:lnTo>
                      <a:pt x="9918" y="1590"/>
                    </a:lnTo>
                    <a:lnTo>
                      <a:pt x="9927" y="1588"/>
                    </a:lnTo>
                    <a:lnTo>
                      <a:pt x="9936" y="1585"/>
                    </a:lnTo>
                    <a:lnTo>
                      <a:pt x="9946" y="1580"/>
                    </a:lnTo>
                    <a:lnTo>
                      <a:pt x="9953" y="1577"/>
                    </a:lnTo>
                    <a:lnTo>
                      <a:pt x="9953" y="1563"/>
                    </a:lnTo>
                    <a:lnTo>
                      <a:pt x="9953" y="1557"/>
                    </a:lnTo>
                    <a:lnTo>
                      <a:pt x="9955" y="1550"/>
                    </a:lnTo>
                    <a:lnTo>
                      <a:pt x="9956" y="1547"/>
                    </a:lnTo>
                    <a:lnTo>
                      <a:pt x="9961" y="1543"/>
                    </a:lnTo>
                    <a:lnTo>
                      <a:pt x="9964" y="1542"/>
                    </a:lnTo>
                    <a:lnTo>
                      <a:pt x="9956" y="1542"/>
                    </a:lnTo>
                    <a:lnTo>
                      <a:pt x="9950" y="1542"/>
                    </a:lnTo>
                    <a:lnTo>
                      <a:pt x="9943" y="1543"/>
                    </a:lnTo>
                    <a:lnTo>
                      <a:pt x="9938" y="1545"/>
                    </a:lnTo>
                    <a:lnTo>
                      <a:pt x="9931" y="1549"/>
                    </a:lnTo>
                    <a:close/>
                    <a:moveTo>
                      <a:pt x="9900" y="1547"/>
                    </a:moveTo>
                    <a:lnTo>
                      <a:pt x="9890" y="1552"/>
                    </a:lnTo>
                    <a:lnTo>
                      <a:pt x="9885" y="1558"/>
                    </a:lnTo>
                    <a:lnTo>
                      <a:pt x="9896" y="1552"/>
                    </a:lnTo>
                    <a:lnTo>
                      <a:pt x="9909" y="1545"/>
                    </a:lnTo>
                    <a:lnTo>
                      <a:pt x="9917" y="1542"/>
                    </a:lnTo>
                    <a:lnTo>
                      <a:pt x="9909" y="1543"/>
                    </a:lnTo>
                    <a:lnTo>
                      <a:pt x="9900" y="1547"/>
                    </a:lnTo>
                    <a:close/>
                    <a:moveTo>
                      <a:pt x="9881" y="1508"/>
                    </a:moveTo>
                    <a:lnTo>
                      <a:pt x="9879" y="1509"/>
                    </a:lnTo>
                    <a:lnTo>
                      <a:pt x="9887" y="1506"/>
                    </a:lnTo>
                    <a:lnTo>
                      <a:pt x="9905" y="1499"/>
                    </a:lnTo>
                    <a:lnTo>
                      <a:pt x="9923" y="1489"/>
                    </a:lnTo>
                    <a:lnTo>
                      <a:pt x="9942" y="1483"/>
                    </a:lnTo>
                    <a:lnTo>
                      <a:pt x="9955" y="1478"/>
                    </a:lnTo>
                    <a:lnTo>
                      <a:pt x="9953" y="1478"/>
                    </a:lnTo>
                    <a:lnTo>
                      <a:pt x="9946" y="1481"/>
                    </a:lnTo>
                    <a:lnTo>
                      <a:pt x="9935" y="1481"/>
                    </a:lnTo>
                    <a:lnTo>
                      <a:pt x="9925" y="1481"/>
                    </a:lnTo>
                    <a:lnTo>
                      <a:pt x="9917" y="1483"/>
                    </a:lnTo>
                    <a:lnTo>
                      <a:pt x="9912" y="1483"/>
                    </a:lnTo>
                    <a:lnTo>
                      <a:pt x="9909" y="1484"/>
                    </a:lnTo>
                    <a:lnTo>
                      <a:pt x="9905" y="1486"/>
                    </a:lnTo>
                    <a:lnTo>
                      <a:pt x="9902" y="1489"/>
                    </a:lnTo>
                    <a:lnTo>
                      <a:pt x="9889" y="1501"/>
                    </a:lnTo>
                    <a:lnTo>
                      <a:pt x="9881" y="1508"/>
                    </a:lnTo>
                    <a:close/>
                    <a:moveTo>
                      <a:pt x="9706" y="2301"/>
                    </a:moveTo>
                    <a:lnTo>
                      <a:pt x="9696" y="2298"/>
                    </a:lnTo>
                    <a:lnTo>
                      <a:pt x="9688" y="2298"/>
                    </a:lnTo>
                    <a:lnTo>
                      <a:pt x="9706" y="2301"/>
                    </a:lnTo>
                    <a:close/>
                    <a:moveTo>
                      <a:pt x="9767" y="2408"/>
                    </a:moveTo>
                    <a:lnTo>
                      <a:pt x="9762" y="2409"/>
                    </a:lnTo>
                    <a:lnTo>
                      <a:pt x="9755" y="2409"/>
                    </a:lnTo>
                    <a:lnTo>
                      <a:pt x="9749" y="2409"/>
                    </a:lnTo>
                    <a:lnTo>
                      <a:pt x="9742" y="2411"/>
                    </a:lnTo>
                    <a:lnTo>
                      <a:pt x="9739" y="2411"/>
                    </a:lnTo>
                    <a:lnTo>
                      <a:pt x="9736" y="2413"/>
                    </a:lnTo>
                    <a:lnTo>
                      <a:pt x="9732" y="2415"/>
                    </a:lnTo>
                    <a:lnTo>
                      <a:pt x="9729" y="2418"/>
                    </a:lnTo>
                    <a:lnTo>
                      <a:pt x="9736" y="2416"/>
                    </a:lnTo>
                    <a:lnTo>
                      <a:pt x="9741" y="2416"/>
                    </a:lnTo>
                    <a:lnTo>
                      <a:pt x="9749" y="2415"/>
                    </a:lnTo>
                    <a:lnTo>
                      <a:pt x="9754" y="2413"/>
                    </a:lnTo>
                    <a:lnTo>
                      <a:pt x="9767" y="2408"/>
                    </a:lnTo>
                    <a:close/>
                    <a:moveTo>
                      <a:pt x="10040" y="2350"/>
                    </a:moveTo>
                    <a:lnTo>
                      <a:pt x="10037" y="2347"/>
                    </a:lnTo>
                    <a:lnTo>
                      <a:pt x="10032" y="2345"/>
                    </a:lnTo>
                    <a:lnTo>
                      <a:pt x="10029" y="2342"/>
                    </a:lnTo>
                    <a:lnTo>
                      <a:pt x="10025" y="2342"/>
                    </a:lnTo>
                    <a:lnTo>
                      <a:pt x="10024" y="2341"/>
                    </a:lnTo>
                    <a:lnTo>
                      <a:pt x="10019" y="2341"/>
                    </a:lnTo>
                    <a:lnTo>
                      <a:pt x="10012" y="2342"/>
                    </a:lnTo>
                    <a:lnTo>
                      <a:pt x="10007" y="2345"/>
                    </a:lnTo>
                    <a:lnTo>
                      <a:pt x="9999" y="2347"/>
                    </a:lnTo>
                    <a:lnTo>
                      <a:pt x="9994" y="2348"/>
                    </a:lnTo>
                    <a:lnTo>
                      <a:pt x="9988" y="2350"/>
                    </a:lnTo>
                    <a:lnTo>
                      <a:pt x="9994" y="2342"/>
                    </a:lnTo>
                    <a:lnTo>
                      <a:pt x="9999" y="2339"/>
                    </a:lnTo>
                    <a:lnTo>
                      <a:pt x="10007" y="2335"/>
                    </a:lnTo>
                    <a:lnTo>
                      <a:pt x="10012" y="2334"/>
                    </a:lnTo>
                    <a:lnTo>
                      <a:pt x="10019" y="2334"/>
                    </a:lnTo>
                    <a:lnTo>
                      <a:pt x="10025" y="2332"/>
                    </a:lnTo>
                    <a:lnTo>
                      <a:pt x="10022" y="2332"/>
                    </a:lnTo>
                    <a:lnTo>
                      <a:pt x="10017" y="2332"/>
                    </a:lnTo>
                    <a:lnTo>
                      <a:pt x="10014" y="2332"/>
                    </a:lnTo>
                    <a:lnTo>
                      <a:pt x="10010" y="2332"/>
                    </a:lnTo>
                    <a:lnTo>
                      <a:pt x="10004" y="2332"/>
                    </a:lnTo>
                    <a:lnTo>
                      <a:pt x="10007" y="2330"/>
                    </a:lnTo>
                    <a:lnTo>
                      <a:pt x="10009" y="2327"/>
                    </a:lnTo>
                    <a:lnTo>
                      <a:pt x="10010" y="2326"/>
                    </a:lnTo>
                    <a:lnTo>
                      <a:pt x="10010" y="2324"/>
                    </a:lnTo>
                    <a:lnTo>
                      <a:pt x="10010" y="2322"/>
                    </a:lnTo>
                    <a:lnTo>
                      <a:pt x="10009" y="2321"/>
                    </a:lnTo>
                    <a:lnTo>
                      <a:pt x="10009" y="2319"/>
                    </a:lnTo>
                    <a:lnTo>
                      <a:pt x="10004" y="2317"/>
                    </a:lnTo>
                    <a:lnTo>
                      <a:pt x="10003" y="2317"/>
                    </a:lnTo>
                    <a:lnTo>
                      <a:pt x="9997" y="2313"/>
                    </a:lnTo>
                    <a:lnTo>
                      <a:pt x="9991" y="2311"/>
                    </a:lnTo>
                    <a:lnTo>
                      <a:pt x="9981" y="2307"/>
                    </a:lnTo>
                    <a:lnTo>
                      <a:pt x="9971" y="2306"/>
                    </a:lnTo>
                    <a:lnTo>
                      <a:pt x="9963" y="2304"/>
                    </a:lnTo>
                    <a:lnTo>
                      <a:pt x="9953" y="2302"/>
                    </a:lnTo>
                    <a:lnTo>
                      <a:pt x="9943" y="2301"/>
                    </a:lnTo>
                    <a:lnTo>
                      <a:pt x="9935" y="2298"/>
                    </a:lnTo>
                    <a:lnTo>
                      <a:pt x="9930" y="2298"/>
                    </a:lnTo>
                    <a:lnTo>
                      <a:pt x="9922" y="2298"/>
                    </a:lnTo>
                    <a:lnTo>
                      <a:pt x="9920" y="2298"/>
                    </a:lnTo>
                    <a:lnTo>
                      <a:pt x="9918" y="2298"/>
                    </a:lnTo>
                    <a:lnTo>
                      <a:pt x="9912" y="2296"/>
                    </a:lnTo>
                    <a:lnTo>
                      <a:pt x="9909" y="2294"/>
                    </a:lnTo>
                    <a:lnTo>
                      <a:pt x="9907" y="2293"/>
                    </a:lnTo>
                    <a:lnTo>
                      <a:pt x="9905" y="2289"/>
                    </a:lnTo>
                    <a:lnTo>
                      <a:pt x="9907" y="2286"/>
                    </a:lnTo>
                    <a:lnTo>
                      <a:pt x="9909" y="2284"/>
                    </a:lnTo>
                    <a:lnTo>
                      <a:pt x="9912" y="2280"/>
                    </a:lnTo>
                    <a:lnTo>
                      <a:pt x="9918" y="2280"/>
                    </a:lnTo>
                    <a:lnTo>
                      <a:pt x="9918" y="2276"/>
                    </a:lnTo>
                    <a:lnTo>
                      <a:pt x="9917" y="2274"/>
                    </a:lnTo>
                    <a:lnTo>
                      <a:pt x="9915" y="2273"/>
                    </a:lnTo>
                    <a:lnTo>
                      <a:pt x="9910" y="2271"/>
                    </a:lnTo>
                    <a:lnTo>
                      <a:pt x="9905" y="2267"/>
                    </a:lnTo>
                    <a:lnTo>
                      <a:pt x="9902" y="2267"/>
                    </a:lnTo>
                    <a:lnTo>
                      <a:pt x="9900" y="2265"/>
                    </a:lnTo>
                    <a:lnTo>
                      <a:pt x="9896" y="2265"/>
                    </a:lnTo>
                    <a:lnTo>
                      <a:pt x="9896" y="2263"/>
                    </a:lnTo>
                    <a:lnTo>
                      <a:pt x="9900" y="2263"/>
                    </a:lnTo>
                    <a:lnTo>
                      <a:pt x="9902" y="2263"/>
                    </a:lnTo>
                    <a:lnTo>
                      <a:pt x="9903" y="2263"/>
                    </a:lnTo>
                    <a:lnTo>
                      <a:pt x="9907" y="2263"/>
                    </a:lnTo>
                    <a:lnTo>
                      <a:pt x="9909" y="2263"/>
                    </a:lnTo>
                    <a:lnTo>
                      <a:pt x="9915" y="2263"/>
                    </a:lnTo>
                    <a:lnTo>
                      <a:pt x="9918" y="2263"/>
                    </a:lnTo>
                    <a:lnTo>
                      <a:pt x="9907" y="2260"/>
                    </a:lnTo>
                    <a:lnTo>
                      <a:pt x="9896" y="2258"/>
                    </a:lnTo>
                    <a:lnTo>
                      <a:pt x="9887" y="2258"/>
                    </a:lnTo>
                    <a:lnTo>
                      <a:pt x="9877" y="2256"/>
                    </a:lnTo>
                    <a:lnTo>
                      <a:pt x="9870" y="2256"/>
                    </a:lnTo>
                    <a:lnTo>
                      <a:pt x="9864" y="2258"/>
                    </a:lnTo>
                    <a:lnTo>
                      <a:pt x="9859" y="2260"/>
                    </a:lnTo>
                    <a:lnTo>
                      <a:pt x="9854" y="2261"/>
                    </a:lnTo>
                    <a:lnTo>
                      <a:pt x="9849" y="2263"/>
                    </a:lnTo>
                    <a:lnTo>
                      <a:pt x="9844" y="2267"/>
                    </a:lnTo>
                    <a:lnTo>
                      <a:pt x="9841" y="2271"/>
                    </a:lnTo>
                    <a:lnTo>
                      <a:pt x="9836" y="2274"/>
                    </a:lnTo>
                    <a:lnTo>
                      <a:pt x="9831" y="2280"/>
                    </a:lnTo>
                    <a:lnTo>
                      <a:pt x="9826" y="2286"/>
                    </a:lnTo>
                    <a:lnTo>
                      <a:pt x="9820" y="2291"/>
                    </a:lnTo>
                    <a:lnTo>
                      <a:pt x="9815" y="2298"/>
                    </a:lnTo>
                    <a:lnTo>
                      <a:pt x="9808" y="2304"/>
                    </a:lnTo>
                    <a:lnTo>
                      <a:pt x="9802" y="2307"/>
                    </a:lnTo>
                    <a:lnTo>
                      <a:pt x="9795" y="2309"/>
                    </a:lnTo>
                    <a:lnTo>
                      <a:pt x="9787" y="2311"/>
                    </a:lnTo>
                    <a:lnTo>
                      <a:pt x="9778" y="2313"/>
                    </a:lnTo>
                    <a:lnTo>
                      <a:pt x="9774" y="2313"/>
                    </a:lnTo>
                    <a:lnTo>
                      <a:pt x="9782" y="2315"/>
                    </a:lnTo>
                    <a:lnTo>
                      <a:pt x="9787" y="2321"/>
                    </a:lnTo>
                    <a:lnTo>
                      <a:pt x="9790" y="2327"/>
                    </a:lnTo>
                    <a:lnTo>
                      <a:pt x="9793" y="2334"/>
                    </a:lnTo>
                    <a:lnTo>
                      <a:pt x="9795" y="2341"/>
                    </a:lnTo>
                    <a:lnTo>
                      <a:pt x="9793" y="2347"/>
                    </a:lnTo>
                    <a:lnTo>
                      <a:pt x="9790" y="2354"/>
                    </a:lnTo>
                    <a:lnTo>
                      <a:pt x="9787" y="2360"/>
                    </a:lnTo>
                    <a:lnTo>
                      <a:pt x="9782" y="2367"/>
                    </a:lnTo>
                    <a:lnTo>
                      <a:pt x="9780" y="2368"/>
                    </a:lnTo>
                    <a:lnTo>
                      <a:pt x="9780" y="2372"/>
                    </a:lnTo>
                    <a:lnTo>
                      <a:pt x="9778" y="2376"/>
                    </a:lnTo>
                    <a:lnTo>
                      <a:pt x="9775" y="2378"/>
                    </a:lnTo>
                    <a:lnTo>
                      <a:pt x="9772" y="2385"/>
                    </a:lnTo>
                    <a:lnTo>
                      <a:pt x="9769" y="2391"/>
                    </a:lnTo>
                    <a:lnTo>
                      <a:pt x="9767" y="2393"/>
                    </a:lnTo>
                    <a:lnTo>
                      <a:pt x="9765" y="2395"/>
                    </a:lnTo>
                    <a:lnTo>
                      <a:pt x="9765" y="2396"/>
                    </a:lnTo>
                    <a:lnTo>
                      <a:pt x="9767" y="2398"/>
                    </a:lnTo>
                    <a:lnTo>
                      <a:pt x="9769" y="2400"/>
                    </a:lnTo>
                    <a:lnTo>
                      <a:pt x="9770" y="2400"/>
                    </a:lnTo>
                    <a:lnTo>
                      <a:pt x="9774" y="2400"/>
                    </a:lnTo>
                    <a:lnTo>
                      <a:pt x="9779" y="2401"/>
                    </a:lnTo>
                    <a:lnTo>
                      <a:pt x="9779" y="2401"/>
                    </a:lnTo>
                    <a:lnTo>
                      <a:pt x="9779" y="2401"/>
                    </a:lnTo>
                    <a:lnTo>
                      <a:pt x="9779" y="2401"/>
                    </a:lnTo>
                    <a:lnTo>
                      <a:pt x="9779" y="2401"/>
                    </a:lnTo>
                    <a:lnTo>
                      <a:pt x="9782" y="2400"/>
                    </a:lnTo>
                    <a:lnTo>
                      <a:pt x="9795" y="2395"/>
                    </a:lnTo>
                    <a:lnTo>
                      <a:pt x="9808" y="2388"/>
                    </a:lnTo>
                    <a:lnTo>
                      <a:pt x="9813" y="2387"/>
                    </a:lnTo>
                    <a:lnTo>
                      <a:pt x="9820" y="2385"/>
                    </a:lnTo>
                    <a:lnTo>
                      <a:pt x="9826" y="2383"/>
                    </a:lnTo>
                    <a:lnTo>
                      <a:pt x="9833" y="2383"/>
                    </a:lnTo>
                    <a:lnTo>
                      <a:pt x="9839" y="2380"/>
                    </a:lnTo>
                    <a:lnTo>
                      <a:pt x="9844" y="2378"/>
                    </a:lnTo>
                    <a:lnTo>
                      <a:pt x="9849" y="2376"/>
                    </a:lnTo>
                    <a:lnTo>
                      <a:pt x="9856" y="2376"/>
                    </a:lnTo>
                    <a:lnTo>
                      <a:pt x="9861" y="2376"/>
                    </a:lnTo>
                    <a:lnTo>
                      <a:pt x="9864" y="2376"/>
                    </a:lnTo>
                    <a:lnTo>
                      <a:pt x="9874" y="2376"/>
                    </a:lnTo>
                    <a:lnTo>
                      <a:pt x="9881" y="2380"/>
                    </a:lnTo>
                    <a:lnTo>
                      <a:pt x="9889" y="2381"/>
                    </a:lnTo>
                    <a:lnTo>
                      <a:pt x="9894" y="2383"/>
                    </a:lnTo>
                    <a:lnTo>
                      <a:pt x="9902" y="2383"/>
                    </a:lnTo>
                    <a:lnTo>
                      <a:pt x="9907" y="2380"/>
                    </a:lnTo>
                    <a:lnTo>
                      <a:pt x="9915" y="2378"/>
                    </a:lnTo>
                    <a:lnTo>
                      <a:pt x="9920" y="2376"/>
                    </a:lnTo>
                    <a:lnTo>
                      <a:pt x="9923" y="2376"/>
                    </a:lnTo>
                    <a:lnTo>
                      <a:pt x="9930" y="2376"/>
                    </a:lnTo>
                    <a:lnTo>
                      <a:pt x="9935" y="2376"/>
                    </a:lnTo>
                    <a:lnTo>
                      <a:pt x="9943" y="2376"/>
                    </a:lnTo>
                    <a:lnTo>
                      <a:pt x="9953" y="2380"/>
                    </a:lnTo>
                    <a:lnTo>
                      <a:pt x="9964" y="2381"/>
                    </a:lnTo>
                    <a:lnTo>
                      <a:pt x="9976" y="2383"/>
                    </a:lnTo>
                    <a:lnTo>
                      <a:pt x="9988" y="2383"/>
                    </a:lnTo>
                    <a:lnTo>
                      <a:pt x="9999" y="2370"/>
                    </a:lnTo>
                    <a:lnTo>
                      <a:pt x="10007" y="2365"/>
                    </a:lnTo>
                    <a:lnTo>
                      <a:pt x="10012" y="2360"/>
                    </a:lnTo>
                    <a:lnTo>
                      <a:pt x="10019" y="2355"/>
                    </a:lnTo>
                    <a:lnTo>
                      <a:pt x="10025" y="2352"/>
                    </a:lnTo>
                    <a:lnTo>
                      <a:pt x="10032" y="2350"/>
                    </a:lnTo>
                    <a:lnTo>
                      <a:pt x="10040" y="2350"/>
                    </a:lnTo>
                    <a:close/>
                    <a:moveTo>
                      <a:pt x="10280" y="2813"/>
                    </a:moveTo>
                    <a:lnTo>
                      <a:pt x="10274" y="2813"/>
                    </a:lnTo>
                    <a:lnTo>
                      <a:pt x="10269" y="2816"/>
                    </a:lnTo>
                    <a:lnTo>
                      <a:pt x="10265" y="2819"/>
                    </a:lnTo>
                    <a:lnTo>
                      <a:pt x="10280" y="2819"/>
                    </a:lnTo>
                    <a:lnTo>
                      <a:pt x="10280" y="2813"/>
                    </a:lnTo>
                    <a:close/>
                    <a:moveTo>
                      <a:pt x="10263" y="2778"/>
                    </a:moveTo>
                    <a:lnTo>
                      <a:pt x="10265" y="2782"/>
                    </a:lnTo>
                    <a:lnTo>
                      <a:pt x="10269" y="2786"/>
                    </a:lnTo>
                    <a:lnTo>
                      <a:pt x="10271" y="2790"/>
                    </a:lnTo>
                    <a:lnTo>
                      <a:pt x="10274" y="2795"/>
                    </a:lnTo>
                    <a:lnTo>
                      <a:pt x="10278" y="2801"/>
                    </a:lnTo>
                    <a:lnTo>
                      <a:pt x="10280" y="2806"/>
                    </a:lnTo>
                    <a:lnTo>
                      <a:pt x="10280" y="2801"/>
                    </a:lnTo>
                    <a:lnTo>
                      <a:pt x="10280" y="2795"/>
                    </a:lnTo>
                    <a:lnTo>
                      <a:pt x="10278" y="2790"/>
                    </a:lnTo>
                    <a:lnTo>
                      <a:pt x="10276" y="2786"/>
                    </a:lnTo>
                    <a:lnTo>
                      <a:pt x="10272" y="2782"/>
                    </a:lnTo>
                    <a:lnTo>
                      <a:pt x="10269" y="2778"/>
                    </a:lnTo>
                    <a:lnTo>
                      <a:pt x="10263" y="2778"/>
                    </a:lnTo>
                    <a:close/>
                    <a:moveTo>
                      <a:pt x="10141" y="1713"/>
                    </a:moveTo>
                    <a:lnTo>
                      <a:pt x="10149" y="1718"/>
                    </a:lnTo>
                    <a:lnTo>
                      <a:pt x="10154" y="1723"/>
                    </a:lnTo>
                    <a:lnTo>
                      <a:pt x="10156" y="1724"/>
                    </a:lnTo>
                    <a:lnTo>
                      <a:pt x="10157" y="1726"/>
                    </a:lnTo>
                    <a:lnTo>
                      <a:pt x="10160" y="1726"/>
                    </a:lnTo>
                    <a:lnTo>
                      <a:pt x="10161" y="1727"/>
                    </a:lnTo>
                    <a:lnTo>
                      <a:pt x="10167" y="1724"/>
                    </a:lnTo>
                    <a:lnTo>
                      <a:pt x="10175" y="1723"/>
                    </a:lnTo>
                    <a:lnTo>
                      <a:pt x="10182" y="1718"/>
                    </a:lnTo>
                    <a:lnTo>
                      <a:pt x="10187" y="1715"/>
                    </a:lnTo>
                    <a:lnTo>
                      <a:pt x="10200" y="1705"/>
                    </a:lnTo>
                    <a:lnTo>
                      <a:pt x="10206" y="1702"/>
                    </a:lnTo>
                    <a:lnTo>
                      <a:pt x="10211" y="1698"/>
                    </a:lnTo>
                    <a:lnTo>
                      <a:pt x="10215" y="1697"/>
                    </a:lnTo>
                    <a:lnTo>
                      <a:pt x="10221" y="1693"/>
                    </a:lnTo>
                    <a:lnTo>
                      <a:pt x="10223" y="1693"/>
                    </a:lnTo>
                    <a:lnTo>
                      <a:pt x="10215" y="1690"/>
                    </a:lnTo>
                    <a:lnTo>
                      <a:pt x="10210" y="1690"/>
                    </a:lnTo>
                    <a:lnTo>
                      <a:pt x="10205" y="1690"/>
                    </a:lnTo>
                    <a:lnTo>
                      <a:pt x="10200" y="1693"/>
                    </a:lnTo>
                    <a:lnTo>
                      <a:pt x="10195" y="1693"/>
                    </a:lnTo>
                    <a:lnTo>
                      <a:pt x="10190" y="1695"/>
                    </a:lnTo>
                    <a:lnTo>
                      <a:pt x="10185" y="1698"/>
                    </a:lnTo>
                    <a:lnTo>
                      <a:pt x="10175" y="1704"/>
                    </a:lnTo>
                    <a:lnTo>
                      <a:pt x="10165" y="1708"/>
                    </a:lnTo>
                    <a:lnTo>
                      <a:pt x="10160" y="1710"/>
                    </a:lnTo>
                    <a:lnTo>
                      <a:pt x="10154" y="1711"/>
                    </a:lnTo>
                    <a:lnTo>
                      <a:pt x="10147" y="1713"/>
                    </a:lnTo>
                    <a:lnTo>
                      <a:pt x="10141" y="1713"/>
                    </a:lnTo>
                    <a:close/>
                    <a:moveTo>
                      <a:pt x="10324" y="1972"/>
                    </a:moveTo>
                    <a:lnTo>
                      <a:pt x="10332" y="1972"/>
                    </a:lnTo>
                    <a:lnTo>
                      <a:pt x="10341" y="1972"/>
                    </a:lnTo>
                    <a:lnTo>
                      <a:pt x="10348" y="1972"/>
                    </a:lnTo>
                    <a:lnTo>
                      <a:pt x="10351" y="1973"/>
                    </a:lnTo>
                    <a:lnTo>
                      <a:pt x="10355" y="1975"/>
                    </a:lnTo>
                    <a:lnTo>
                      <a:pt x="10359" y="1977"/>
                    </a:lnTo>
                    <a:lnTo>
                      <a:pt x="10365" y="1978"/>
                    </a:lnTo>
                    <a:lnTo>
                      <a:pt x="10374" y="1978"/>
                    </a:lnTo>
                    <a:lnTo>
                      <a:pt x="10383" y="1978"/>
                    </a:lnTo>
                    <a:lnTo>
                      <a:pt x="10392" y="1978"/>
                    </a:lnTo>
                    <a:lnTo>
                      <a:pt x="10398" y="1981"/>
                    </a:lnTo>
                    <a:lnTo>
                      <a:pt x="10392" y="1977"/>
                    </a:lnTo>
                    <a:lnTo>
                      <a:pt x="10387" y="1972"/>
                    </a:lnTo>
                    <a:lnTo>
                      <a:pt x="10381" y="1972"/>
                    </a:lnTo>
                    <a:lnTo>
                      <a:pt x="10372" y="1972"/>
                    </a:lnTo>
                    <a:lnTo>
                      <a:pt x="10366" y="1972"/>
                    </a:lnTo>
                    <a:lnTo>
                      <a:pt x="10353" y="1970"/>
                    </a:lnTo>
                    <a:lnTo>
                      <a:pt x="10343" y="1968"/>
                    </a:lnTo>
                    <a:lnTo>
                      <a:pt x="10332" y="1966"/>
                    </a:lnTo>
                    <a:lnTo>
                      <a:pt x="10322" y="1962"/>
                    </a:lnTo>
                    <a:lnTo>
                      <a:pt x="10313" y="1959"/>
                    </a:lnTo>
                    <a:lnTo>
                      <a:pt x="10302" y="1957"/>
                    </a:lnTo>
                    <a:lnTo>
                      <a:pt x="10292" y="1953"/>
                    </a:lnTo>
                    <a:lnTo>
                      <a:pt x="10280" y="1953"/>
                    </a:lnTo>
                    <a:lnTo>
                      <a:pt x="10285" y="1959"/>
                    </a:lnTo>
                    <a:lnTo>
                      <a:pt x="10289" y="1964"/>
                    </a:lnTo>
                    <a:lnTo>
                      <a:pt x="10291" y="1966"/>
                    </a:lnTo>
                    <a:lnTo>
                      <a:pt x="10292" y="1968"/>
                    </a:lnTo>
                    <a:lnTo>
                      <a:pt x="10291" y="1970"/>
                    </a:lnTo>
                    <a:lnTo>
                      <a:pt x="10289" y="1970"/>
                    </a:lnTo>
                    <a:lnTo>
                      <a:pt x="10285" y="1972"/>
                    </a:lnTo>
                    <a:lnTo>
                      <a:pt x="10287" y="1972"/>
                    </a:lnTo>
                    <a:lnTo>
                      <a:pt x="10294" y="1972"/>
                    </a:lnTo>
                    <a:lnTo>
                      <a:pt x="10304" y="1972"/>
                    </a:lnTo>
                    <a:lnTo>
                      <a:pt x="10313" y="1972"/>
                    </a:lnTo>
                    <a:lnTo>
                      <a:pt x="10324" y="1972"/>
                    </a:lnTo>
                    <a:close/>
                    <a:moveTo>
                      <a:pt x="10472" y="2052"/>
                    </a:moveTo>
                    <a:lnTo>
                      <a:pt x="10470" y="2054"/>
                    </a:lnTo>
                    <a:lnTo>
                      <a:pt x="10468" y="2057"/>
                    </a:lnTo>
                    <a:lnTo>
                      <a:pt x="10470" y="2057"/>
                    </a:lnTo>
                    <a:lnTo>
                      <a:pt x="10472" y="2052"/>
                    </a:lnTo>
                    <a:close/>
                    <a:moveTo>
                      <a:pt x="10527" y="2515"/>
                    </a:moveTo>
                    <a:lnTo>
                      <a:pt x="10527" y="2515"/>
                    </a:lnTo>
                    <a:lnTo>
                      <a:pt x="10526" y="2516"/>
                    </a:lnTo>
                    <a:lnTo>
                      <a:pt x="10527" y="2515"/>
                    </a:lnTo>
                    <a:close/>
                    <a:moveTo>
                      <a:pt x="10437" y="2033"/>
                    </a:moveTo>
                    <a:lnTo>
                      <a:pt x="10435" y="2033"/>
                    </a:lnTo>
                    <a:lnTo>
                      <a:pt x="10435" y="2039"/>
                    </a:lnTo>
                    <a:lnTo>
                      <a:pt x="10437" y="2033"/>
                    </a:lnTo>
                    <a:close/>
                    <a:moveTo>
                      <a:pt x="9897" y="2897"/>
                    </a:moveTo>
                    <a:lnTo>
                      <a:pt x="9894" y="2895"/>
                    </a:lnTo>
                    <a:lnTo>
                      <a:pt x="9892" y="2893"/>
                    </a:lnTo>
                    <a:lnTo>
                      <a:pt x="9889" y="2893"/>
                    </a:lnTo>
                    <a:lnTo>
                      <a:pt x="9885" y="2893"/>
                    </a:lnTo>
                    <a:lnTo>
                      <a:pt x="9882" y="2893"/>
                    </a:lnTo>
                    <a:lnTo>
                      <a:pt x="9902" y="2900"/>
                    </a:lnTo>
                    <a:lnTo>
                      <a:pt x="9897" y="2897"/>
                    </a:lnTo>
                    <a:close/>
                    <a:moveTo>
                      <a:pt x="10459" y="2031"/>
                    </a:moveTo>
                    <a:lnTo>
                      <a:pt x="10477" y="2031"/>
                    </a:lnTo>
                    <a:lnTo>
                      <a:pt x="10498" y="2031"/>
                    </a:lnTo>
                    <a:lnTo>
                      <a:pt x="10502" y="2030"/>
                    </a:lnTo>
                    <a:lnTo>
                      <a:pt x="10502" y="2030"/>
                    </a:lnTo>
                    <a:lnTo>
                      <a:pt x="10502" y="2030"/>
                    </a:lnTo>
                    <a:lnTo>
                      <a:pt x="10499" y="2029"/>
                    </a:lnTo>
                    <a:lnTo>
                      <a:pt x="10496" y="2029"/>
                    </a:lnTo>
                    <a:lnTo>
                      <a:pt x="10492" y="2027"/>
                    </a:lnTo>
                    <a:lnTo>
                      <a:pt x="10488" y="2025"/>
                    </a:lnTo>
                    <a:lnTo>
                      <a:pt x="10486" y="2023"/>
                    </a:lnTo>
                    <a:lnTo>
                      <a:pt x="10479" y="2021"/>
                    </a:lnTo>
                    <a:lnTo>
                      <a:pt x="10473" y="2019"/>
                    </a:lnTo>
                    <a:lnTo>
                      <a:pt x="10466" y="2018"/>
                    </a:lnTo>
                    <a:lnTo>
                      <a:pt x="10463" y="2018"/>
                    </a:lnTo>
                    <a:lnTo>
                      <a:pt x="10466" y="2019"/>
                    </a:lnTo>
                    <a:lnTo>
                      <a:pt x="10470" y="2023"/>
                    </a:lnTo>
                    <a:lnTo>
                      <a:pt x="10463" y="2019"/>
                    </a:lnTo>
                    <a:lnTo>
                      <a:pt x="10457" y="2018"/>
                    </a:lnTo>
                    <a:lnTo>
                      <a:pt x="10453" y="2019"/>
                    </a:lnTo>
                    <a:lnTo>
                      <a:pt x="10450" y="2019"/>
                    </a:lnTo>
                    <a:lnTo>
                      <a:pt x="10448" y="2021"/>
                    </a:lnTo>
                    <a:lnTo>
                      <a:pt x="10444" y="2025"/>
                    </a:lnTo>
                    <a:lnTo>
                      <a:pt x="10440" y="2029"/>
                    </a:lnTo>
                    <a:lnTo>
                      <a:pt x="10437" y="2033"/>
                    </a:lnTo>
                    <a:lnTo>
                      <a:pt x="10439" y="2033"/>
                    </a:lnTo>
                    <a:lnTo>
                      <a:pt x="10459" y="2031"/>
                    </a:lnTo>
                    <a:close/>
                    <a:moveTo>
                      <a:pt x="10463" y="2018"/>
                    </a:moveTo>
                    <a:lnTo>
                      <a:pt x="10459" y="2016"/>
                    </a:lnTo>
                    <a:lnTo>
                      <a:pt x="10457" y="2016"/>
                    </a:lnTo>
                    <a:lnTo>
                      <a:pt x="10453" y="2016"/>
                    </a:lnTo>
                    <a:lnTo>
                      <a:pt x="10452" y="2016"/>
                    </a:lnTo>
                    <a:lnTo>
                      <a:pt x="10457" y="2018"/>
                    </a:lnTo>
                    <a:lnTo>
                      <a:pt x="10460" y="2018"/>
                    </a:lnTo>
                    <a:lnTo>
                      <a:pt x="10463" y="2018"/>
                    </a:lnTo>
                    <a:close/>
                    <a:moveTo>
                      <a:pt x="9729" y="2057"/>
                    </a:moveTo>
                    <a:lnTo>
                      <a:pt x="9736" y="2051"/>
                    </a:lnTo>
                    <a:lnTo>
                      <a:pt x="9732" y="2052"/>
                    </a:lnTo>
                    <a:lnTo>
                      <a:pt x="9729" y="2057"/>
                    </a:lnTo>
                    <a:close/>
                    <a:moveTo>
                      <a:pt x="8246" y="2446"/>
                    </a:moveTo>
                    <a:lnTo>
                      <a:pt x="8248" y="2444"/>
                    </a:lnTo>
                    <a:lnTo>
                      <a:pt x="8249" y="2442"/>
                    </a:lnTo>
                    <a:lnTo>
                      <a:pt x="8251" y="2441"/>
                    </a:lnTo>
                    <a:lnTo>
                      <a:pt x="8248" y="2441"/>
                    </a:lnTo>
                    <a:lnTo>
                      <a:pt x="8242" y="2441"/>
                    </a:lnTo>
                    <a:lnTo>
                      <a:pt x="8241" y="2441"/>
                    </a:lnTo>
                    <a:lnTo>
                      <a:pt x="8239" y="2442"/>
                    </a:lnTo>
                    <a:lnTo>
                      <a:pt x="8236" y="2444"/>
                    </a:lnTo>
                    <a:lnTo>
                      <a:pt x="8236" y="2446"/>
                    </a:lnTo>
                    <a:lnTo>
                      <a:pt x="8236" y="2452"/>
                    </a:lnTo>
                    <a:lnTo>
                      <a:pt x="8236" y="2457"/>
                    </a:lnTo>
                    <a:lnTo>
                      <a:pt x="8241" y="2452"/>
                    </a:lnTo>
                    <a:lnTo>
                      <a:pt x="8246" y="2446"/>
                    </a:lnTo>
                    <a:close/>
                    <a:moveTo>
                      <a:pt x="8325" y="2380"/>
                    </a:moveTo>
                    <a:lnTo>
                      <a:pt x="8328" y="2378"/>
                    </a:lnTo>
                    <a:lnTo>
                      <a:pt x="8333" y="2372"/>
                    </a:lnTo>
                    <a:lnTo>
                      <a:pt x="8333" y="2370"/>
                    </a:lnTo>
                    <a:lnTo>
                      <a:pt x="8335" y="2368"/>
                    </a:lnTo>
                    <a:lnTo>
                      <a:pt x="8333" y="2368"/>
                    </a:lnTo>
                    <a:lnTo>
                      <a:pt x="8331" y="2368"/>
                    </a:lnTo>
                    <a:lnTo>
                      <a:pt x="8328" y="2368"/>
                    </a:lnTo>
                    <a:lnTo>
                      <a:pt x="8327" y="2368"/>
                    </a:lnTo>
                    <a:lnTo>
                      <a:pt x="8325" y="2368"/>
                    </a:lnTo>
                    <a:lnTo>
                      <a:pt x="8323" y="2368"/>
                    </a:lnTo>
                    <a:lnTo>
                      <a:pt x="8322" y="2368"/>
                    </a:lnTo>
                    <a:lnTo>
                      <a:pt x="8318" y="2370"/>
                    </a:lnTo>
                    <a:lnTo>
                      <a:pt x="8318" y="2372"/>
                    </a:lnTo>
                    <a:lnTo>
                      <a:pt x="8318" y="2376"/>
                    </a:lnTo>
                    <a:lnTo>
                      <a:pt x="8318" y="2378"/>
                    </a:lnTo>
                    <a:lnTo>
                      <a:pt x="8320" y="2380"/>
                    </a:lnTo>
                    <a:lnTo>
                      <a:pt x="8322" y="2380"/>
                    </a:lnTo>
                    <a:lnTo>
                      <a:pt x="8325" y="2380"/>
                    </a:lnTo>
                    <a:close/>
                    <a:moveTo>
                      <a:pt x="8532" y="2971"/>
                    </a:moveTo>
                    <a:lnTo>
                      <a:pt x="8529" y="2971"/>
                    </a:lnTo>
                    <a:lnTo>
                      <a:pt x="8526" y="2971"/>
                    </a:lnTo>
                    <a:lnTo>
                      <a:pt x="8524" y="2971"/>
                    </a:lnTo>
                    <a:lnTo>
                      <a:pt x="8524" y="2976"/>
                    </a:lnTo>
                    <a:lnTo>
                      <a:pt x="8524" y="2979"/>
                    </a:lnTo>
                    <a:lnTo>
                      <a:pt x="8524" y="2984"/>
                    </a:lnTo>
                    <a:lnTo>
                      <a:pt x="8526" y="2984"/>
                    </a:lnTo>
                    <a:lnTo>
                      <a:pt x="8529" y="2984"/>
                    </a:lnTo>
                    <a:lnTo>
                      <a:pt x="8532" y="2979"/>
                    </a:lnTo>
                    <a:lnTo>
                      <a:pt x="8536" y="2976"/>
                    </a:lnTo>
                    <a:lnTo>
                      <a:pt x="8544" y="2971"/>
                    </a:lnTo>
                    <a:lnTo>
                      <a:pt x="8536" y="2971"/>
                    </a:lnTo>
                    <a:lnTo>
                      <a:pt x="8532" y="2971"/>
                    </a:lnTo>
                    <a:close/>
                    <a:moveTo>
                      <a:pt x="8567" y="2971"/>
                    </a:moveTo>
                    <a:lnTo>
                      <a:pt x="8563" y="2971"/>
                    </a:lnTo>
                    <a:lnTo>
                      <a:pt x="8562" y="2971"/>
                    </a:lnTo>
                    <a:lnTo>
                      <a:pt x="8560" y="2971"/>
                    </a:lnTo>
                    <a:lnTo>
                      <a:pt x="8556" y="2972"/>
                    </a:lnTo>
                    <a:lnTo>
                      <a:pt x="8554" y="2976"/>
                    </a:lnTo>
                    <a:lnTo>
                      <a:pt x="8554" y="2978"/>
                    </a:lnTo>
                    <a:lnTo>
                      <a:pt x="8552" y="2979"/>
                    </a:lnTo>
                    <a:lnTo>
                      <a:pt x="8552" y="2982"/>
                    </a:lnTo>
                    <a:lnTo>
                      <a:pt x="8552" y="2984"/>
                    </a:lnTo>
                    <a:lnTo>
                      <a:pt x="8554" y="2984"/>
                    </a:lnTo>
                    <a:lnTo>
                      <a:pt x="8556" y="2984"/>
                    </a:lnTo>
                    <a:lnTo>
                      <a:pt x="8560" y="2984"/>
                    </a:lnTo>
                    <a:lnTo>
                      <a:pt x="8565" y="2979"/>
                    </a:lnTo>
                    <a:lnTo>
                      <a:pt x="8570" y="2976"/>
                    </a:lnTo>
                    <a:lnTo>
                      <a:pt x="8578" y="2971"/>
                    </a:lnTo>
                    <a:lnTo>
                      <a:pt x="8570" y="2971"/>
                    </a:lnTo>
                    <a:lnTo>
                      <a:pt x="8567" y="2971"/>
                    </a:lnTo>
                    <a:close/>
                    <a:moveTo>
                      <a:pt x="8583" y="2878"/>
                    </a:moveTo>
                    <a:lnTo>
                      <a:pt x="8591" y="2882"/>
                    </a:lnTo>
                    <a:lnTo>
                      <a:pt x="8597" y="2884"/>
                    </a:lnTo>
                    <a:lnTo>
                      <a:pt x="8604" y="2885"/>
                    </a:lnTo>
                    <a:lnTo>
                      <a:pt x="8611" y="2887"/>
                    </a:lnTo>
                    <a:lnTo>
                      <a:pt x="8619" y="2887"/>
                    </a:lnTo>
                    <a:lnTo>
                      <a:pt x="8628" y="2887"/>
                    </a:lnTo>
                    <a:lnTo>
                      <a:pt x="8636" y="2885"/>
                    </a:lnTo>
                    <a:lnTo>
                      <a:pt x="8643" y="2884"/>
                    </a:lnTo>
                    <a:lnTo>
                      <a:pt x="8648" y="2882"/>
                    </a:lnTo>
                    <a:lnTo>
                      <a:pt x="8654" y="2878"/>
                    </a:lnTo>
                    <a:lnTo>
                      <a:pt x="8657" y="2872"/>
                    </a:lnTo>
                    <a:lnTo>
                      <a:pt x="8661" y="2869"/>
                    </a:lnTo>
                    <a:lnTo>
                      <a:pt x="8663" y="2867"/>
                    </a:lnTo>
                    <a:lnTo>
                      <a:pt x="8665" y="2864"/>
                    </a:lnTo>
                    <a:lnTo>
                      <a:pt x="8667" y="2859"/>
                    </a:lnTo>
                    <a:lnTo>
                      <a:pt x="8669" y="2856"/>
                    </a:lnTo>
                    <a:lnTo>
                      <a:pt x="8669" y="2854"/>
                    </a:lnTo>
                    <a:lnTo>
                      <a:pt x="8669" y="2852"/>
                    </a:lnTo>
                    <a:lnTo>
                      <a:pt x="8669" y="2849"/>
                    </a:lnTo>
                    <a:lnTo>
                      <a:pt x="8667" y="2844"/>
                    </a:lnTo>
                    <a:lnTo>
                      <a:pt x="8663" y="2841"/>
                    </a:lnTo>
                    <a:lnTo>
                      <a:pt x="8657" y="2837"/>
                    </a:lnTo>
                    <a:lnTo>
                      <a:pt x="8652" y="2836"/>
                    </a:lnTo>
                    <a:lnTo>
                      <a:pt x="8646" y="2832"/>
                    </a:lnTo>
                    <a:lnTo>
                      <a:pt x="8633" y="2828"/>
                    </a:lnTo>
                    <a:lnTo>
                      <a:pt x="8628" y="2826"/>
                    </a:lnTo>
                    <a:lnTo>
                      <a:pt x="8623" y="2823"/>
                    </a:lnTo>
                    <a:lnTo>
                      <a:pt x="8617" y="2821"/>
                    </a:lnTo>
                    <a:lnTo>
                      <a:pt x="8613" y="2819"/>
                    </a:lnTo>
                    <a:lnTo>
                      <a:pt x="8606" y="2819"/>
                    </a:lnTo>
                    <a:lnTo>
                      <a:pt x="8598" y="2821"/>
                    </a:lnTo>
                    <a:lnTo>
                      <a:pt x="8593" y="2823"/>
                    </a:lnTo>
                    <a:lnTo>
                      <a:pt x="8585" y="2826"/>
                    </a:lnTo>
                    <a:lnTo>
                      <a:pt x="8578" y="2831"/>
                    </a:lnTo>
                    <a:lnTo>
                      <a:pt x="8572" y="2832"/>
                    </a:lnTo>
                    <a:lnTo>
                      <a:pt x="8565" y="2834"/>
                    </a:lnTo>
                    <a:lnTo>
                      <a:pt x="8560" y="2834"/>
                    </a:lnTo>
                    <a:lnTo>
                      <a:pt x="8560" y="2843"/>
                    </a:lnTo>
                    <a:lnTo>
                      <a:pt x="8562" y="2851"/>
                    </a:lnTo>
                    <a:lnTo>
                      <a:pt x="8563" y="2857"/>
                    </a:lnTo>
                    <a:lnTo>
                      <a:pt x="8567" y="2864"/>
                    </a:lnTo>
                    <a:lnTo>
                      <a:pt x="8572" y="2869"/>
                    </a:lnTo>
                    <a:lnTo>
                      <a:pt x="8578" y="2874"/>
                    </a:lnTo>
                    <a:lnTo>
                      <a:pt x="8583" y="2878"/>
                    </a:lnTo>
                    <a:close/>
                    <a:moveTo>
                      <a:pt x="8720" y="2736"/>
                    </a:moveTo>
                    <a:lnTo>
                      <a:pt x="8715" y="2732"/>
                    </a:lnTo>
                    <a:lnTo>
                      <a:pt x="8709" y="2732"/>
                    </a:lnTo>
                    <a:lnTo>
                      <a:pt x="8704" y="2732"/>
                    </a:lnTo>
                    <a:lnTo>
                      <a:pt x="8698" y="2736"/>
                    </a:lnTo>
                    <a:lnTo>
                      <a:pt x="8692" y="2740"/>
                    </a:lnTo>
                    <a:lnTo>
                      <a:pt x="8687" y="2747"/>
                    </a:lnTo>
                    <a:lnTo>
                      <a:pt x="8731" y="2747"/>
                    </a:lnTo>
                    <a:lnTo>
                      <a:pt x="8726" y="2740"/>
                    </a:lnTo>
                    <a:lnTo>
                      <a:pt x="8720" y="2736"/>
                    </a:lnTo>
                    <a:close/>
                    <a:moveTo>
                      <a:pt x="8799" y="2804"/>
                    </a:moveTo>
                    <a:lnTo>
                      <a:pt x="8794" y="2801"/>
                    </a:lnTo>
                    <a:lnTo>
                      <a:pt x="8787" y="2798"/>
                    </a:lnTo>
                    <a:lnTo>
                      <a:pt x="8779" y="2797"/>
                    </a:lnTo>
                    <a:lnTo>
                      <a:pt x="8772" y="2795"/>
                    </a:lnTo>
                    <a:lnTo>
                      <a:pt x="8763" y="2793"/>
                    </a:lnTo>
                    <a:lnTo>
                      <a:pt x="8753" y="2793"/>
                    </a:lnTo>
                    <a:lnTo>
                      <a:pt x="8744" y="2791"/>
                    </a:lnTo>
                    <a:lnTo>
                      <a:pt x="8737" y="2791"/>
                    </a:lnTo>
                    <a:lnTo>
                      <a:pt x="8730" y="2793"/>
                    </a:lnTo>
                    <a:lnTo>
                      <a:pt x="8722" y="2793"/>
                    </a:lnTo>
                    <a:lnTo>
                      <a:pt x="8717" y="2797"/>
                    </a:lnTo>
                    <a:lnTo>
                      <a:pt x="8713" y="2798"/>
                    </a:lnTo>
                    <a:lnTo>
                      <a:pt x="8717" y="2806"/>
                    </a:lnTo>
                    <a:lnTo>
                      <a:pt x="8720" y="2811"/>
                    </a:lnTo>
                    <a:lnTo>
                      <a:pt x="8724" y="2817"/>
                    </a:lnTo>
                    <a:lnTo>
                      <a:pt x="8730" y="2823"/>
                    </a:lnTo>
                    <a:lnTo>
                      <a:pt x="8733" y="2826"/>
                    </a:lnTo>
                    <a:lnTo>
                      <a:pt x="8738" y="2832"/>
                    </a:lnTo>
                    <a:lnTo>
                      <a:pt x="8744" y="2834"/>
                    </a:lnTo>
                    <a:lnTo>
                      <a:pt x="8750" y="2837"/>
                    </a:lnTo>
                    <a:lnTo>
                      <a:pt x="8758" y="2839"/>
                    </a:lnTo>
                    <a:lnTo>
                      <a:pt x="8763" y="2841"/>
                    </a:lnTo>
                    <a:lnTo>
                      <a:pt x="8770" y="2841"/>
                    </a:lnTo>
                    <a:lnTo>
                      <a:pt x="8776" y="2843"/>
                    </a:lnTo>
                    <a:lnTo>
                      <a:pt x="8783" y="2841"/>
                    </a:lnTo>
                    <a:lnTo>
                      <a:pt x="8789" y="2841"/>
                    </a:lnTo>
                    <a:lnTo>
                      <a:pt x="8796" y="2837"/>
                    </a:lnTo>
                    <a:lnTo>
                      <a:pt x="8804" y="2836"/>
                    </a:lnTo>
                    <a:lnTo>
                      <a:pt x="8804" y="2831"/>
                    </a:lnTo>
                    <a:lnTo>
                      <a:pt x="8804" y="2824"/>
                    </a:lnTo>
                    <a:lnTo>
                      <a:pt x="8804" y="2821"/>
                    </a:lnTo>
                    <a:lnTo>
                      <a:pt x="8804" y="2819"/>
                    </a:lnTo>
                    <a:lnTo>
                      <a:pt x="8804" y="2817"/>
                    </a:lnTo>
                    <a:lnTo>
                      <a:pt x="8805" y="2816"/>
                    </a:lnTo>
                    <a:lnTo>
                      <a:pt x="8805" y="2813"/>
                    </a:lnTo>
                    <a:lnTo>
                      <a:pt x="8805" y="2811"/>
                    </a:lnTo>
                    <a:lnTo>
                      <a:pt x="8805" y="2810"/>
                    </a:lnTo>
                    <a:lnTo>
                      <a:pt x="8804" y="2810"/>
                    </a:lnTo>
                    <a:lnTo>
                      <a:pt x="8804" y="2808"/>
                    </a:lnTo>
                    <a:lnTo>
                      <a:pt x="8799" y="2804"/>
                    </a:lnTo>
                    <a:close/>
                    <a:moveTo>
                      <a:pt x="8986" y="2954"/>
                    </a:moveTo>
                    <a:lnTo>
                      <a:pt x="8982" y="2954"/>
                    </a:lnTo>
                    <a:lnTo>
                      <a:pt x="8979" y="2954"/>
                    </a:lnTo>
                    <a:lnTo>
                      <a:pt x="8977" y="2954"/>
                    </a:lnTo>
                    <a:lnTo>
                      <a:pt x="8975" y="2954"/>
                    </a:lnTo>
                    <a:lnTo>
                      <a:pt x="8982" y="2958"/>
                    </a:lnTo>
                    <a:lnTo>
                      <a:pt x="8990" y="2963"/>
                    </a:lnTo>
                    <a:lnTo>
                      <a:pt x="9001" y="2964"/>
                    </a:lnTo>
                    <a:lnTo>
                      <a:pt x="9010" y="2964"/>
                    </a:lnTo>
                    <a:lnTo>
                      <a:pt x="9019" y="2964"/>
                    </a:lnTo>
                    <a:lnTo>
                      <a:pt x="9031" y="2963"/>
                    </a:lnTo>
                    <a:lnTo>
                      <a:pt x="9038" y="2958"/>
                    </a:lnTo>
                    <a:lnTo>
                      <a:pt x="9047" y="2954"/>
                    </a:lnTo>
                    <a:lnTo>
                      <a:pt x="8992" y="2954"/>
                    </a:lnTo>
                    <a:lnTo>
                      <a:pt x="8986" y="2954"/>
                    </a:lnTo>
                    <a:close/>
                    <a:moveTo>
                      <a:pt x="9036" y="2699"/>
                    </a:moveTo>
                    <a:lnTo>
                      <a:pt x="9039" y="2701"/>
                    </a:lnTo>
                    <a:lnTo>
                      <a:pt x="9047" y="2701"/>
                    </a:lnTo>
                    <a:lnTo>
                      <a:pt x="9039" y="2694"/>
                    </a:lnTo>
                    <a:lnTo>
                      <a:pt x="9036" y="2689"/>
                    </a:lnTo>
                    <a:lnTo>
                      <a:pt x="9033" y="2686"/>
                    </a:lnTo>
                    <a:lnTo>
                      <a:pt x="9031" y="2684"/>
                    </a:lnTo>
                    <a:lnTo>
                      <a:pt x="9028" y="2683"/>
                    </a:lnTo>
                    <a:lnTo>
                      <a:pt x="9028" y="2688"/>
                    </a:lnTo>
                    <a:lnTo>
                      <a:pt x="9028" y="2691"/>
                    </a:lnTo>
                    <a:lnTo>
                      <a:pt x="9028" y="2696"/>
                    </a:lnTo>
                    <a:lnTo>
                      <a:pt x="9031" y="2697"/>
                    </a:lnTo>
                    <a:lnTo>
                      <a:pt x="9033" y="2699"/>
                    </a:lnTo>
                    <a:lnTo>
                      <a:pt x="9036" y="2699"/>
                    </a:lnTo>
                    <a:close/>
                    <a:moveTo>
                      <a:pt x="2124" y="1855"/>
                    </a:moveTo>
                    <a:lnTo>
                      <a:pt x="2128" y="1855"/>
                    </a:lnTo>
                    <a:lnTo>
                      <a:pt x="2130" y="1855"/>
                    </a:lnTo>
                    <a:lnTo>
                      <a:pt x="2132" y="1855"/>
                    </a:lnTo>
                    <a:lnTo>
                      <a:pt x="2145" y="1853"/>
                    </a:lnTo>
                    <a:lnTo>
                      <a:pt x="2152" y="1853"/>
                    </a:lnTo>
                    <a:lnTo>
                      <a:pt x="2158" y="1851"/>
                    </a:lnTo>
                    <a:lnTo>
                      <a:pt x="2161" y="1850"/>
                    </a:lnTo>
                    <a:lnTo>
                      <a:pt x="2165" y="1846"/>
                    </a:lnTo>
                    <a:lnTo>
                      <a:pt x="2167" y="1842"/>
                    </a:lnTo>
                    <a:lnTo>
                      <a:pt x="2168" y="1837"/>
                    </a:lnTo>
                    <a:lnTo>
                      <a:pt x="2153" y="1837"/>
                    </a:lnTo>
                    <a:lnTo>
                      <a:pt x="2148" y="1837"/>
                    </a:lnTo>
                    <a:lnTo>
                      <a:pt x="2140" y="1838"/>
                    </a:lnTo>
                    <a:lnTo>
                      <a:pt x="2133" y="1840"/>
                    </a:lnTo>
                    <a:lnTo>
                      <a:pt x="2128" y="1845"/>
                    </a:lnTo>
                    <a:lnTo>
                      <a:pt x="2120" y="1848"/>
                    </a:lnTo>
                    <a:lnTo>
                      <a:pt x="2115" y="1855"/>
                    </a:lnTo>
                    <a:lnTo>
                      <a:pt x="2120" y="1855"/>
                    </a:lnTo>
                    <a:lnTo>
                      <a:pt x="2124" y="1855"/>
                    </a:lnTo>
                    <a:close/>
                    <a:moveTo>
                      <a:pt x="2540" y="1871"/>
                    </a:moveTo>
                    <a:lnTo>
                      <a:pt x="2542" y="1871"/>
                    </a:lnTo>
                    <a:lnTo>
                      <a:pt x="2543" y="1871"/>
                    </a:lnTo>
                    <a:lnTo>
                      <a:pt x="2545" y="1871"/>
                    </a:lnTo>
                    <a:lnTo>
                      <a:pt x="2547" y="1871"/>
                    </a:lnTo>
                    <a:lnTo>
                      <a:pt x="2547" y="1866"/>
                    </a:lnTo>
                    <a:lnTo>
                      <a:pt x="2545" y="1861"/>
                    </a:lnTo>
                    <a:lnTo>
                      <a:pt x="2545" y="1858"/>
                    </a:lnTo>
                    <a:lnTo>
                      <a:pt x="2543" y="1858"/>
                    </a:lnTo>
                    <a:lnTo>
                      <a:pt x="2542" y="1858"/>
                    </a:lnTo>
                    <a:lnTo>
                      <a:pt x="2540" y="1861"/>
                    </a:lnTo>
                    <a:lnTo>
                      <a:pt x="2534" y="1866"/>
                    </a:lnTo>
                    <a:lnTo>
                      <a:pt x="2530" y="1871"/>
                    </a:lnTo>
                    <a:lnTo>
                      <a:pt x="2534" y="1871"/>
                    </a:lnTo>
                    <a:lnTo>
                      <a:pt x="2540" y="1871"/>
                    </a:lnTo>
                    <a:close/>
                    <a:moveTo>
                      <a:pt x="2580" y="1853"/>
                    </a:moveTo>
                    <a:lnTo>
                      <a:pt x="2584" y="1851"/>
                    </a:lnTo>
                    <a:lnTo>
                      <a:pt x="2588" y="1850"/>
                    </a:lnTo>
                    <a:lnTo>
                      <a:pt x="2589" y="1846"/>
                    </a:lnTo>
                    <a:lnTo>
                      <a:pt x="2591" y="1842"/>
                    </a:lnTo>
                    <a:lnTo>
                      <a:pt x="2593" y="1837"/>
                    </a:lnTo>
                    <a:lnTo>
                      <a:pt x="2588" y="1837"/>
                    </a:lnTo>
                    <a:lnTo>
                      <a:pt x="2584" y="1837"/>
                    </a:lnTo>
                    <a:lnTo>
                      <a:pt x="2580" y="1837"/>
                    </a:lnTo>
                    <a:lnTo>
                      <a:pt x="2578" y="1838"/>
                    </a:lnTo>
                    <a:lnTo>
                      <a:pt x="2576" y="1840"/>
                    </a:lnTo>
                    <a:lnTo>
                      <a:pt x="2573" y="1845"/>
                    </a:lnTo>
                    <a:lnTo>
                      <a:pt x="2569" y="1848"/>
                    </a:lnTo>
                    <a:lnTo>
                      <a:pt x="2565" y="1855"/>
                    </a:lnTo>
                    <a:lnTo>
                      <a:pt x="2575" y="1853"/>
                    </a:lnTo>
                    <a:lnTo>
                      <a:pt x="2580" y="1853"/>
                    </a:lnTo>
                    <a:close/>
                    <a:moveTo>
                      <a:pt x="6402" y="5871"/>
                    </a:moveTo>
                    <a:lnTo>
                      <a:pt x="6402" y="5871"/>
                    </a:lnTo>
                    <a:lnTo>
                      <a:pt x="6399" y="5873"/>
                    </a:lnTo>
                    <a:lnTo>
                      <a:pt x="6395" y="5875"/>
                    </a:lnTo>
                    <a:lnTo>
                      <a:pt x="6394" y="5876"/>
                    </a:lnTo>
                    <a:lnTo>
                      <a:pt x="6395" y="5876"/>
                    </a:lnTo>
                    <a:lnTo>
                      <a:pt x="6397" y="5875"/>
                    </a:lnTo>
                    <a:lnTo>
                      <a:pt x="6400" y="5873"/>
                    </a:lnTo>
                    <a:lnTo>
                      <a:pt x="6402" y="5871"/>
                    </a:lnTo>
                    <a:lnTo>
                      <a:pt x="6402" y="5871"/>
                    </a:lnTo>
                    <a:lnTo>
                      <a:pt x="6402" y="5871"/>
                    </a:lnTo>
                    <a:close/>
                    <a:moveTo>
                      <a:pt x="9211" y="3160"/>
                    </a:moveTo>
                    <a:lnTo>
                      <a:pt x="9209" y="3166"/>
                    </a:lnTo>
                    <a:lnTo>
                      <a:pt x="9211" y="3165"/>
                    </a:lnTo>
                    <a:lnTo>
                      <a:pt x="9211" y="3160"/>
                    </a:lnTo>
                    <a:close/>
                    <a:moveTo>
                      <a:pt x="5638" y="5399"/>
                    </a:moveTo>
                    <a:lnTo>
                      <a:pt x="5633" y="5402"/>
                    </a:lnTo>
                    <a:lnTo>
                      <a:pt x="5625" y="5407"/>
                    </a:lnTo>
                    <a:lnTo>
                      <a:pt x="5620" y="5412"/>
                    </a:lnTo>
                    <a:lnTo>
                      <a:pt x="5612" y="5419"/>
                    </a:lnTo>
                    <a:lnTo>
                      <a:pt x="5602" y="5432"/>
                    </a:lnTo>
                    <a:lnTo>
                      <a:pt x="5607" y="5430"/>
                    </a:lnTo>
                    <a:lnTo>
                      <a:pt x="5612" y="5428"/>
                    </a:lnTo>
                    <a:lnTo>
                      <a:pt x="5620" y="5425"/>
                    </a:lnTo>
                    <a:lnTo>
                      <a:pt x="5625" y="5420"/>
                    </a:lnTo>
                    <a:lnTo>
                      <a:pt x="5633" y="5415"/>
                    </a:lnTo>
                    <a:lnTo>
                      <a:pt x="5638" y="5410"/>
                    </a:lnTo>
                    <a:lnTo>
                      <a:pt x="5651" y="5397"/>
                    </a:lnTo>
                    <a:lnTo>
                      <a:pt x="5645" y="5397"/>
                    </a:lnTo>
                    <a:lnTo>
                      <a:pt x="5638" y="5399"/>
                    </a:lnTo>
                    <a:close/>
                    <a:moveTo>
                      <a:pt x="10544" y="4490"/>
                    </a:moveTo>
                    <a:lnTo>
                      <a:pt x="10547" y="4488"/>
                    </a:lnTo>
                    <a:lnTo>
                      <a:pt x="10551" y="4485"/>
                    </a:lnTo>
                    <a:lnTo>
                      <a:pt x="10546" y="4487"/>
                    </a:lnTo>
                    <a:lnTo>
                      <a:pt x="10542" y="4488"/>
                    </a:lnTo>
                    <a:lnTo>
                      <a:pt x="10538" y="4490"/>
                    </a:lnTo>
                    <a:lnTo>
                      <a:pt x="10536" y="4492"/>
                    </a:lnTo>
                    <a:lnTo>
                      <a:pt x="10540" y="4492"/>
                    </a:lnTo>
                    <a:lnTo>
                      <a:pt x="10544" y="4490"/>
                    </a:lnTo>
                    <a:close/>
                    <a:moveTo>
                      <a:pt x="5439" y="2267"/>
                    </a:moveTo>
                    <a:lnTo>
                      <a:pt x="5442" y="2267"/>
                    </a:lnTo>
                    <a:lnTo>
                      <a:pt x="5446" y="2265"/>
                    </a:lnTo>
                    <a:lnTo>
                      <a:pt x="5449" y="2263"/>
                    </a:lnTo>
                    <a:lnTo>
                      <a:pt x="5452" y="2260"/>
                    </a:lnTo>
                    <a:lnTo>
                      <a:pt x="5457" y="2256"/>
                    </a:lnTo>
                    <a:lnTo>
                      <a:pt x="5462" y="2250"/>
                    </a:lnTo>
                    <a:lnTo>
                      <a:pt x="5450" y="2250"/>
                    </a:lnTo>
                    <a:lnTo>
                      <a:pt x="5444" y="2250"/>
                    </a:lnTo>
                    <a:lnTo>
                      <a:pt x="5439" y="2252"/>
                    </a:lnTo>
                    <a:lnTo>
                      <a:pt x="5436" y="2254"/>
                    </a:lnTo>
                    <a:lnTo>
                      <a:pt x="5431" y="2258"/>
                    </a:lnTo>
                    <a:lnTo>
                      <a:pt x="5429" y="2261"/>
                    </a:lnTo>
                    <a:lnTo>
                      <a:pt x="5428" y="2267"/>
                    </a:lnTo>
                    <a:lnTo>
                      <a:pt x="5434" y="2267"/>
                    </a:lnTo>
                    <a:lnTo>
                      <a:pt x="5439" y="2267"/>
                    </a:lnTo>
                    <a:close/>
                    <a:moveTo>
                      <a:pt x="9762" y="5104"/>
                    </a:moveTo>
                    <a:lnTo>
                      <a:pt x="9709" y="5104"/>
                    </a:lnTo>
                    <a:lnTo>
                      <a:pt x="9691" y="5104"/>
                    </a:lnTo>
                    <a:lnTo>
                      <a:pt x="9671" y="5107"/>
                    </a:lnTo>
                    <a:lnTo>
                      <a:pt x="9652" y="5109"/>
                    </a:lnTo>
                    <a:lnTo>
                      <a:pt x="9632" y="5112"/>
                    </a:lnTo>
                    <a:lnTo>
                      <a:pt x="9614" y="5116"/>
                    </a:lnTo>
                    <a:lnTo>
                      <a:pt x="9593" y="5117"/>
                    </a:lnTo>
                    <a:lnTo>
                      <a:pt x="9575" y="5119"/>
                    </a:lnTo>
                    <a:lnTo>
                      <a:pt x="9555" y="5122"/>
                    </a:lnTo>
                    <a:lnTo>
                      <a:pt x="9555" y="5119"/>
                    </a:lnTo>
                    <a:lnTo>
                      <a:pt x="9555" y="5117"/>
                    </a:lnTo>
                    <a:lnTo>
                      <a:pt x="9555" y="5116"/>
                    </a:lnTo>
                    <a:lnTo>
                      <a:pt x="9553" y="5112"/>
                    </a:lnTo>
                    <a:lnTo>
                      <a:pt x="9551" y="5109"/>
                    </a:lnTo>
                    <a:lnTo>
                      <a:pt x="9547" y="5107"/>
                    </a:lnTo>
                    <a:lnTo>
                      <a:pt x="9543" y="5104"/>
                    </a:lnTo>
                    <a:lnTo>
                      <a:pt x="9538" y="5104"/>
                    </a:lnTo>
                    <a:lnTo>
                      <a:pt x="9512" y="5103"/>
                    </a:lnTo>
                    <a:lnTo>
                      <a:pt x="9499" y="5103"/>
                    </a:lnTo>
                    <a:lnTo>
                      <a:pt x="9486" y="5101"/>
                    </a:lnTo>
                    <a:lnTo>
                      <a:pt x="9474" y="5099"/>
                    </a:lnTo>
                    <a:lnTo>
                      <a:pt x="9461" y="5097"/>
                    </a:lnTo>
                    <a:lnTo>
                      <a:pt x="9448" y="5092"/>
                    </a:lnTo>
                    <a:lnTo>
                      <a:pt x="9434" y="5086"/>
                    </a:lnTo>
                    <a:lnTo>
                      <a:pt x="9408" y="5086"/>
                    </a:lnTo>
                    <a:lnTo>
                      <a:pt x="9395" y="5088"/>
                    </a:lnTo>
                    <a:lnTo>
                      <a:pt x="9385" y="5088"/>
                    </a:lnTo>
                    <a:lnTo>
                      <a:pt x="9374" y="5092"/>
                    </a:lnTo>
                    <a:lnTo>
                      <a:pt x="9364" y="5094"/>
                    </a:lnTo>
                    <a:lnTo>
                      <a:pt x="9355" y="5097"/>
                    </a:lnTo>
                    <a:lnTo>
                      <a:pt x="9347" y="5104"/>
                    </a:lnTo>
                    <a:lnTo>
                      <a:pt x="9342" y="5107"/>
                    </a:lnTo>
                    <a:lnTo>
                      <a:pt x="9334" y="5109"/>
                    </a:lnTo>
                    <a:lnTo>
                      <a:pt x="9329" y="5109"/>
                    </a:lnTo>
                    <a:lnTo>
                      <a:pt x="9322" y="5109"/>
                    </a:lnTo>
                    <a:lnTo>
                      <a:pt x="9316" y="5109"/>
                    </a:lnTo>
                    <a:lnTo>
                      <a:pt x="9309" y="5107"/>
                    </a:lnTo>
                    <a:lnTo>
                      <a:pt x="9296" y="5104"/>
                    </a:lnTo>
                    <a:lnTo>
                      <a:pt x="9283" y="5101"/>
                    </a:lnTo>
                    <a:lnTo>
                      <a:pt x="9278" y="5099"/>
                    </a:lnTo>
                    <a:lnTo>
                      <a:pt x="9270" y="5099"/>
                    </a:lnTo>
                    <a:lnTo>
                      <a:pt x="9265" y="5099"/>
                    </a:lnTo>
                    <a:lnTo>
                      <a:pt x="9257" y="5099"/>
                    </a:lnTo>
                    <a:lnTo>
                      <a:pt x="9252" y="5101"/>
                    </a:lnTo>
                    <a:lnTo>
                      <a:pt x="9245" y="5104"/>
                    </a:lnTo>
                    <a:lnTo>
                      <a:pt x="9232" y="5107"/>
                    </a:lnTo>
                    <a:lnTo>
                      <a:pt x="9219" y="5109"/>
                    </a:lnTo>
                    <a:lnTo>
                      <a:pt x="9206" y="5109"/>
                    </a:lnTo>
                    <a:lnTo>
                      <a:pt x="9193" y="5109"/>
                    </a:lnTo>
                    <a:lnTo>
                      <a:pt x="9181" y="5107"/>
                    </a:lnTo>
                    <a:lnTo>
                      <a:pt x="9169" y="5107"/>
                    </a:lnTo>
                    <a:lnTo>
                      <a:pt x="9145" y="5101"/>
                    </a:lnTo>
                    <a:lnTo>
                      <a:pt x="9120" y="5097"/>
                    </a:lnTo>
                    <a:lnTo>
                      <a:pt x="9097" y="5092"/>
                    </a:lnTo>
                    <a:lnTo>
                      <a:pt x="9086" y="5091"/>
                    </a:lnTo>
                    <a:lnTo>
                      <a:pt x="9077" y="5088"/>
                    </a:lnTo>
                    <a:lnTo>
                      <a:pt x="9066" y="5086"/>
                    </a:lnTo>
                    <a:lnTo>
                      <a:pt x="9056" y="5086"/>
                    </a:lnTo>
                    <a:lnTo>
                      <a:pt x="9038" y="5092"/>
                    </a:lnTo>
                    <a:lnTo>
                      <a:pt x="9021" y="5097"/>
                    </a:lnTo>
                    <a:lnTo>
                      <a:pt x="9005" y="5099"/>
                    </a:lnTo>
                    <a:lnTo>
                      <a:pt x="8990" y="5101"/>
                    </a:lnTo>
                    <a:lnTo>
                      <a:pt x="8975" y="5103"/>
                    </a:lnTo>
                    <a:lnTo>
                      <a:pt x="8962" y="5103"/>
                    </a:lnTo>
                    <a:lnTo>
                      <a:pt x="8936" y="5104"/>
                    </a:lnTo>
                    <a:lnTo>
                      <a:pt x="8934" y="5107"/>
                    </a:lnTo>
                    <a:lnTo>
                      <a:pt x="8932" y="5109"/>
                    </a:lnTo>
                    <a:lnTo>
                      <a:pt x="8929" y="5109"/>
                    </a:lnTo>
                    <a:lnTo>
                      <a:pt x="8925" y="5109"/>
                    </a:lnTo>
                    <a:lnTo>
                      <a:pt x="8919" y="5109"/>
                    </a:lnTo>
                    <a:lnTo>
                      <a:pt x="8914" y="5109"/>
                    </a:lnTo>
                    <a:lnTo>
                      <a:pt x="8903" y="5107"/>
                    </a:lnTo>
                    <a:lnTo>
                      <a:pt x="8898" y="5104"/>
                    </a:lnTo>
                    <a:lnTo>
                      <a:pt x="8894" y="5104"/>
                    </a:lnTo>
                    <a:lnTo>
                      <a:pt x="8888" y="5104"/>
                    </a:lnTo>
                    <a:lnTo>
                      <a:pt x="8885" y="5107"/>
                    </a:lnTo>
                    <a:lnTo>
                      <a:pt x="8883" y="5109"/>
                    </a:lnTo>
                    <a:lnTo>
                      <a:pt x="8881" y="5111"/>
                    </a:lnTo>
                    <a:lnTo>
                      <a:pt x="8883" y="5116"/>
                    </a:lnTo>
                    <a:lnTo>
                      <a:pt x="8883" y="5117"/>
                    </a:lnTo>
                    <a:lnTo>
                      <a:pt x="8885" y="5122"/>
                    </a:lnTo>
                    <a:lnTo>
                      <a:pt x="8879" y="5119"/>
                    </a:lnTo>
                    <a:lnTo>
                      <a:pt x="8873" y="5119"/>
                    </a:lnTo>
                    <a:lnTo>
                      <a:pt x="8870" y="5119"/>
                    </a:lnTo>
                    <a:lnTo>
                      <a:pt x="8865" y="5119"/>
                    </a:lnTo>
                    <a:lnTo>
                      <a:pt x="8858" y="5122"/>
                    </a:lnTo>
                    <a:lnTo>
                      <a:pt x="8853" y="5124"/>
                    </a:lnTo>
                    <a:lnTo>
                      <a:pt x="8848" y="5125"/>
                    </a:lnTo>
                    <a:lnTo>
                      <a:pt x="8842" y="5127"/>
                    </a:lnTo>
                    <a:lnTo>
                      <a:pt x="8833" y="5134"/>
                    </a:lnTo>
                    <a:lnTo>
                      <a:pt x="8822" y="5142"/>
                    </a:lnTo>
                    <a:lnTo>
                      <a:pt x="8811" y="5150"/>
                    </a:lnTo>
                    <a:lnTo>
                      <a:pt x="8799" y="5162"/>
                    </a:lnTo>
                    <a:lnTo>
                      <a:pt x="8791" y="5173"/>
                    </a:lnTo>
                    <a:lnTo>
                      <a:pt x="8779" y="5185"/>
                    </a:lnTo>
                    <a:lnTo>
                      <a:pt x="8770" y="5195"/>
                    </a:lnTo>
                    <a:lnTo>
                      <a:pt x="8761" y="5206"/>
                    </a:lnTo>
                    <a:lnTo>
                      <a:pt x="8751" y="5216"/>
                    </a:lnTo>
                    <a:lnTo>
                      <a:pt x="8744" y="5224"/>
                    </a:lnTo>
                    <a:lnTo>
                      <a:pt x="8735" y="5234"/>
                    </a:lnTo>
                    <a:lnTo>
                      <a:pt x="8730" y="5241"/>
                    </a:lnTo>
                    <a:lnTo>
                      <a:pt x="8722" y="5247"/>
                    </a:lnTo>
                    <a:lnTo>
                      <a:pt x="8713" y="5254"/>
                    </a:lnTo>
                    <a:lnTo>
                      <a:pt x="8704" y="5260"/>
                    </a:lnTo>
                    <a:lnTo>
                      <a:pt x="8694" y="5265"/>
                    </a:lnTo>
                    <a:lnTo>
                      <a:pt x="8685" y="5269"/>
                    </a:lnTo>
                    <a:lnTo>
                      <a:pt x="8676" y="5273"/>
                    </a:lnTo>
                    <a:lnTo>
                      <a:pt x="8667" y="5275"/>
                    </a:lnTo>
                    <a:lnTo>
                      <a:pt x="8661" y="5277"/>
                    </a:lnTo>
                    <a:lnTo>
                      <a:pt x="8654" y="5277"/>
                    </a:lnTo>
                    <a:lnTo>
                      <a:pt x="8644" y="5277"/>
                    </a:lnTo>
                    <a:lnTo>
                      <a:pt x="8637" y="5277"/>
                    </a:lnTo>
                    <a:lnTo>
                      <a:pt x="8628" y="5277"/>
                    </a:lnTo>
                    <a:lnTo>
                      <a:pt x="8608" y="5278"/>
                    </a:lnTo>
                    <a:lnTo>
                      <a:pt x="8598" y="5278"/>
                    </a:lnTo>
                    <a:lnTo>
                      <a:pt x="8590" y="5280"/>
                    </a:lnTo>
                    <a:lnTo>
                      <a:pt x="8582" y="5282"/>
                    </a:lnTo>
                    <a:lnTo>
                      <a:pt x="8572" y="5284"/>
                    </a:lnTo>
                    <a:lnTo>
                      <a:pt x="8567" y="5287"/>
                    </a:lnTo>
                    <a:lnTo>
                      <a:pt x="8562" y="5290"/>
                    </a:lnTo>
                    <a:lnTo>
                      <a:pt x="8558" y="5295"/>
                    </a:lnTo>
                    <a:lnTo>
                      <a:pt x="8556" y="5297"/>
                    </a:lnTo>
                    <a:lnTo>
                      <a:pt x="8556" y="5298"/>
                    </a:lnTo>
                    <a:lnTo>
                      <a:pt x="8556" y="5300"/>
                    </a:lnTo>
                    <a:lnTo>
                      <a:pt x="8556" y="5305"/>
                    </a:lnTo>
                    <a:lnTo>
                      <a:pt x="8556" y="5308"/>
                    </a:lnTo>
                    <a:lnTo>
                      <a:pt x="8558" y="5310"/>
                    </a:lnTo>
                    <a:lnTo>
                      <a:pt x="8556" y="5310"/>
                    </a:lnTo>
                    <a:lnTo>
                      <a:pt x="8554" y="5310"/>
                    </a:lnTo>
                    <a:lnTo>
                      <a:pt x="8552" y="5310"/>
                    </a:lnTo>
                    <a:lnTo>
                      <a:pt x="8549" y="5310"/>
                    </a:lnTo>
                    <a:lnTo>
                      <a:pt x="8545" y="5310"/>
                    </a:lnTo>
                    <a:lnTo>
                      <a:pt x="8544" y="5310"/>
                    </a:lnTo>
                    <a:lnTo>
                      <a:pt x="8541" y="5310"/>
                    </a:lnTo>
                    <a:lnTo>
                      <a:pt x="8541" y="5308"/>
                    </a:lnTo>
                    <a:lnTo>
                      <a:pt x="8541" y="5305"/>
                    </a:lnTo>
                    <a:lnTo>
                      <a:pt x="8541" y="5302"/>
                    </a:lnTo>
                    <a:lnTo>
                      <a:pt x="8541" y="5298"/>
                    </a:lnTo>
                    <a:lnTo>
                      <a:pt x="8541" y="5295"/>
                    </a:lnTo>
                    <a:lnTo>
                      <a:pt x="8541" y="5293"/>
                    </a:lnTo>
                    <a:lnTo>
                      <a:pt x="8539" y="5298"/>
                    </a:lnTo>
                    <a:lnTo>
                      <a:pt x="8537" y="5306"/>
                    </a:lnTo>
                    <a:lnTo>
                      <a:pt x="8534" y="5312"/>
                    </a:lnTo>
                    <a:lnTo>
                      <a:pt x="8530" y="5315"/>
                    </a:lnTo>
                    <a:lnTo>
                      <a:pt x="8524" y="5321"/>
                    </a:lnTo>
                    <a:lnTo>
                      <a:pt x="8517" y="5325"/>
                    </a:lnTo>
                    <a:lnTo>
                      <a:pt x="8511" y="5330"/>
                    </a:lnTo>
                    <a:lnTo>
                      <a:pt x="8504" y="5334"/>
                    </a:lnTo>
                    <a:lnTo>
                      <a:pt x="8490" y="5341"/>
                    </a:lnTo>
                    <a:lnTo>
                      <a:pt x="8483" y="5345"/>
                    </a:lnTo>
                    <a:lnTo>
                      <a:pt x="8475" y="5349"/>
                    </a:lnTo>
                    <a:lnTo>
                      <a:pt x="8470" y="5352"/>
                    </a:lnTo>
                    <a:lnTo>
                      <a:pt x="8463" y="5356"/>
                    </a:lnTo>
                    <a:lnTo>
                      <a:pt x="8458" y="5358"/>
                    </a:lnTo>
                    <a:lnTo>
                      <a:pt x="8455" y="5361"/>
                    </a:lnTo>
                    <a:lnTo>
                      <a:pt x="8445" y="5366"/>
                    </a:lnTo>
                    <a:lnTo>
                      <a:pt x="8437" y="5371"/>
                    </a:lnTo>
                    <a:lnTo>
                      <a:pt x="8427" y="5374"/>
                    </a:lnTo>
                    <a:lnTo>
                      <a:pt x="8417" y="5380"/>
                    </a:lnTo>
                    <a:lnTo>
                      <a:pt x="8402" y="5392"/>
                    </a:lnTo>
                    <a:lnTo>
                      <a:pt x="8388" y="5405"/>
                    </a:lnTo>
                    <a:lnTo>
                      <a:pt x="8373" y="5417"/>
                    </a:lnTo>
                    <a:lnTo>
                      <a:pt x="8361" y="5430"/>
                    </a:lnTo>
                    <a:lnTo>
                      <a:pt x="8353" y="5435"/>
                    </a:lnTo>
                    <a:lnTo>
                      <a:pt x="8348" y="5440"/>
                    </a:lnTo>
                    <a:lnTo>
                      <a:pt x="8340" y="5445"/>
                    </a:lnTo>
                    <a:lnTo>
                      <a:pt x="8335" y="5448"/>
                    </a:lnTo>
                    <a:lnTo>
                      <a:pt x="8327" y="5453"/>
                    </a:lnTo>
                    <a:lnTo>
                      <a:pt x="8318" y="5461"/>
                    </a:lnTo>
                    <a:lnTo>
                      <a:pt x="8309" y="5466"/>
                    </a:lnTo>
                    <a:lnTo>
                      <a:pt x="8300" y="5471"/>
                    </a:lnTo>
                    <a:lnTo>
                      <a:pt x="8290" y="5476"/>
                    </a:lnTo>
                    <a:lnTo>
                      <a:pt x="8281" y="5479"/>
                    </a:lnTo>
                    <a:lnTo>
                      <a:pt x="8272" y="5481"/>
                    </a:lnTo>
                    <a:lnTo>
                      <a:pt x="8264" y="5481"/>
                    </a:lnTo>
                    <a:lnTo>
                      <a:pt x="8251" y="5502"/>
                    </a:lnTo>
                    <a:lnTo>
                      <a:pt x="8236" y="5520"/>
                    </a:lnTo>
                    <a:lnTo>
                      <a:pt x="8220" y="5539"/>
                    </a:lnTo>
                    <a:lnTo>
                      <a:pt x="8203" y="5555"/>
                    </a:lnTo>
                    <a:lnTo>
                      <a:pt x="8195" y="5563"/>
                    </a:lnTo>
                    <a:lnTo>
                      <a:pt x="8185" y="5570"/>
                    </a:lnTo>
                    <a:lnTo>
                      <a:pt x="8175" y="5578"/>
                    </a:lnTo>
                    <a:lnTo>
                      <a:pt x="8167" y="5583"/>
                    </a:lnTo>
                    <a:lnTo>
                      <a:pt x="8155" y="5588"/>
                    </a:lnTo>
                    <a:lnTo>
                      <a:pt x="8147" y="5594"/>
                    </a:lnTo>
                    <a:lnTo>
                      <a:pt x="8137" y="5600"/>
                    </a:lnTo>
                    <a:lnTo>
                      <a:pt x="8128" y="5603"/>
                    </a:lnTo>
                    <a:lnTo>
                      <a:pt x="8114" y="5609"/>
                    </a:lnTo>
                    <a:lnTo>
                      <a:pt x="8102" y="5618"/>
                    </a:lnTo>
                    <a:lnTo>
                      <a:pt x="8089" y="5627"/>
                    </a:lnTo>
                    <a:lnTo>
                      <a:pt x="8078" y="5636"/>
                    </a:lnTo>
                    <a:lnTo>
                      <a:pt x="8067" y="5646"/>
                    </a:lnTo>
                    <a:lnTo>
                      <a:pt x="8058" y="5655"/>
                    </a:lnTo>
                    <a:lnTo>
                      <a:pt x="8048" y="5664"/>
                    </a:lnTo>
                    <a:lnTo>
                      <a:pt x="8041" y="5672"/>
                    </a:lnTo>
                    <a:lnTo>
                      <a:pt x="7989" y="5698"/>
                    </a:lnTo>
                    <a:lnTo>
                      <a:pt x="7938" y="5723"/>
                    </a:lnTo>
                    <a:lnTo>
                      <a:pt x="7964" y="5718"/>
                    </a:lnTo>
                    <a:lnTo>
                      <a:pt x="7987" y="5713"/>
                    </a:lnTo>
                    <a:lnTo>
                      <a:pt x="8010" y="5708"/>
                    </a:lnTo>
                    <a:lnTo>
                      <a:pt x="8030" y="5703"/>
                    </a:lnTo>
                    <a:lnTo>
                      <a:pt x="8052" y="5698"/>
                    </a:lnTo>
                    <a:lnTo>
                      <a:pt x="8061" y="5695"/>
                    </a:lnTo>
                    <a:lnTo>
                      <a:pt x="8071" y="5692"/>
                    </a:lnTo>
                    <a:lnTo>
                      <a:pt x="8081" y="5688"/>
                    </a:lnTo>
                    <a:lnTo>
                      <a:pt x="8091" y="5683"/>
                    </a:lnTo>
                    <a:lnTo>
                      <a:pt x="8101" y="5677"/>
                    </a:lnTo>
                    <a:lnTo>
                      <a:pt x="8111" y="5672"/>
                    </a:lnTo>
                    <a:lnTo>
                      <a:pt x="8129" y="5657"/>
                    </a:lnTo>
                    <a:lnTo>
                      <a:pt x="8148" y="5642"/>
                    </a:lnTo>
                    <a:lnTo>
                      <a:pt x="8168" y="5627"/>
                    </a:lnTo>
                    <a:lnTo>
                      <a:pt x="8185" y="5611"/>
                    </a:lnTo>
                    <a:lnTo>
                      <a:pt x="8203" y="5596"/>
                    </a:lnTo>
                    <a:lnTo>
                      <a:pt x="8220" y="5580"/>
                    </a:lnTo>
                    <a:lnTo>
                      <a:pt x="8235" y="5565"/>
                    </a:lnTo>
                    <a:lnTo>
                      <a:pt x="8248" y="5552"/>
                    </a:lnTo>
                    <a:lnTo>
                      <a:pt x="8264" y="5539"/>
                    </a:lnTo>
                    <a:lnTo>
                      <a:pt x="8281" y="5526"/>
                    </a:lnTo>
                    <a:lnTo>
                      <a:pt x="8300" y="5513"/>
                    </a:lnTo>
                    <a:lnTo>
                      <a:pt x="8318" y="5499"/>
                    </a:lnTo>
                    <a:lnTo>
                      <a:pt x="8336" y="5487"/>
                    </a:lnTo>
                    <a:lnTo>
                      <a:pt x="8356" y="5476"/>
                    </a:lnTo>
                    <a:lnTo>
                      <a:pt x="8396" y="5452"/>
                    </a:lnTo>
                    <a:lnTo>
                      <a:pt x="8416" y="5441"/>
                    </a:lnTo>
                    <a:lnTo>
                      <a:pt x="8437" y="5430"/>
                    </a:lnTo>
                    <a:lnTo>
                      <a:pt x="8456" y="5420"/>
                    </a:lnTo>
                    <a:lnTo>
                      <a:pt x="8476" y="5412"/>
                    </a:lnTo>
                    <a:lnTo>
                      <a:pt x="8497" y="5402"/>
                    </a:lnTo>
                    <a:lnTo>
                      <a:pt x="8517" y="5392"/>
                    </a:lnTo>
                    <a:lnTo>
                      <a:pt x="8537" y="5386"/>
                    </a:lnTo>
                    <a:lnTo>
                      <a:pt x="8558" y="5380"/>
                    </a:lnTo>
                    <a:lnTo>
                      <a:pt x="8577" y="5372"/>
                    </a:lnTo>
                    <a:lnTo>
                      <a:pt x="8597" y="5369"/>
                    </a:lnTo>
                    <a:lnTo>
                      <a:pt x="8615" y="5366"/>
                    </a:lnTo>
                    <a:lnTo>
                      <a:pt x="8636" y="5361"/>
                    </a:lnTo>
                    <a:lnTo>
                      <a:pt x="8654" y="5358"/>
                    </a:lnTo>
                    <a:lnTo>
                      <a:pt x="8674" y="5354"/>
                    </a:lnTo>
                    <a:lnTo>
                      <a:pt x="8692" y="5351"/>
                    </a:lnTo>
                    <a:lnTo>
                      <a:pt x="8713" y="5345"/>
                    </a:lnTo>
                    <a:lnTo>
                      <a:pt x="8731" y="5338"/>
                    </a:lnTo>
                    <a:lnTo>
                      <a:pt x="8748" y="5330"/>
                    </a:lnTo>
                    <a:lnTo>
                      <a:pt x="8764" y="5321"/>
                    </a:lnTo>
                    <a:lnTo>
                      <a:pt x="8781" y="5312"/>
                    </a:lnTo>
                    <a:lnTo>
                      <a:pt x="8798" y="5305"/>
                    </a:lnTo>
                    <a:lnTo>
                      <a:pt x="8805" y="5302"/>
                    </a:lnTo>
                    <a:lnTo>
                      <a:pt x="8814" y="5298"/>
                    </a:lnTo>
                    <a:lnTo>
                      <a:pt x="8822" y="5297"/>
                    </a:lnTo>
                    <a:lnTo>
                      <a:pt x="8831" y="5295"/>
                    </a:lnTo>
                    <a:lnTo>
                      <a:pt x="8840" y="5293"/>
                    </a:lnTo>
                    <a:lnTo>
                      <a:pt x="8850" y="5293"/>
                    </a:lnTo>
                    <a:lnTo>
                      <a:pt x="8870" y="5287"/>
                    </a:lnTo>
                    <a:lnTo>
                      <a:pt x="8888" y="5284"/>
                    </a:lnTo>
                    <a:lnTo>
                      <a:pt x="8909" y="5280"/>
                    </a:lnTo>
                    <a:lnTo>
                      <a:pt x="8927" y="5278"/>
                    </a:lnTo>
                    <a:lnTo>
                      <a:pt x="8947" y="5277"/>
                    </a:lnTo>
                    <a:lnTo>
                      <a:pt x="8965" y="5277"/>
                    </a:lnTo>
                    <a:lnTo>
                      <a:pt x="9005" y="5277"/>
                    </a:lnTo>
                    <a:lnTo>
                      <a:pt x="9012" y="5278"/>
                    </a:lnTo>
                    <a:lnTo>
                      <a:pt x="9021" y="5282"/>
                    </a:lnTo>
                    <a:lnTo>
                      <a:pt x="9031" y="5285"/>
                    </a:lnTo>
                    <a:lnTo>
                      <a:pt x="9039" y="5290"/>
                    </a:lnTo>
                    <a:lnTo>
                      <a:pt x="9051" y="5293"/>
                    </a:lnTo>
                    <a:lnTo>
                      <a:pt x="9062" y="5297"/>
                    </a:lnTo>
                    <a:lnTo>
                      <a:pt x="9072" y="5300"/>
                    </a:lnTo>
                    <a:lnTo>
                      <a:pt x="9084" y="5306"/>
                    </a:lnTo>
                    <a:lnTo>
                      <a:pt x="9095" y="5312"/>
                    </a:lnTo>
                    <a:lnTo>
                      <a:pt x="9104" y="5317"/>
                    </a:lnTo>
                    <a:lnTo>
                      <a:pt x="9112" y="5323"/>
                    </a:lnTo>
                    <a:lnTo>
                      <a:pt x="9119" y="5328"/>
                    </a:lnTo>
                    <a:lnTo>
                      <a:pt x="9120" y="5332"/>
                    </a:lnTo>
                    <a:lnTo>
                      <a:pt x="9123" y="5336"/>
                    </a:lnTo>
                    <a:lnTo>
                      <a:pt x="9125" y="5339"/>
                    </a:lnTo>
                    <a:lnTo>
                      <a:pt x="9126" y="5345"/>
                    </a:lnTo>
                    <a:lnTo>
                      <a:pt x="9126" y="5349"/>
                    </a:lnTo>
                    <a:lnTo>
                      <a:pt x="9126" y="5352"/>
                    </a:lnTo>
                    <a:lnTo>
                      <a:pt x="9126" y="5358"/>
                    </a:lnTo>
                    <a:lnTo>
                      <a:pt x="9125" y="5361"/>
                    </a:lnTo>
                    <a:lnTo>
                      <a:pt x="9112" y="5361"/>
                    </a:lnTo>
                    <a:lnTo>
                      <a:pt x="9105" y="5361"/>
                    </a:lnTo>
                    <a:lnTo>
                      <a:pt x="9100" y="5361"/>
                    </a:lnTo>
                    <a:lnTo>
                      <a:pt x="9097" y="5361"/>
                    </a:lnTo>
                    <a:lnTo>
                      <a:pt x="9093" y="5361"/>
                    </a:lnTo>
                    <a:lnTo>
                      <a:pt x="9092" y="5361"/>
                    </a:lnTo>
                    <a:lnTo>
                      <a:pt x="9087" y="5359"/>
                    </a:lnTo>
                    <a:lnTo>
                      <a:pt x="9086" y="5359"/>
                    </a:lnTo>
                    <a:lnTo>
                      <a:pt x="9084" y="5359"/>
                    </a:lnTo>
                    <a:lnTo>
                      <a:pt x="9082" y="5361"/>
                    </a:lnTo>
                    <a:lnTo>
                      <a:pt x="9079" y="5361"/>
                    </a:lnTo>
                    <a:lnTo>
                      <a:pt x="9077" y="5361"/>
                    </a:lnTo>
                    <a:lnTo>
                      <a:pt x="9072" y="5361"/>
                    </a:lnTo>
                    <a:lnTo>
                      <a:pt x="9079" y="5364"/>
                    </a:lnTo>
                    <a:lnTo>
                      <a:pt x="9084" y="5366"/>
                    </a:lnTo>
                    <a:lnTo>
                      <a:pt x="9087" y="5367"/>
                    </a:lnTo>
                    <a:lnTo>
                      <a:pt x="9092" y="5371"/>
                    </a:lnTo>
                    <a:lnTo>
                      <a:pt x="9093" y="5374"/>
                    </a:lnTo>
                    <a:lnTo>
                      <a:pt x="9097" y="5376"/>
                    </a:lnTo>
                    <a:lnTo>
                      <a:pt x="9102" y="5378"/>
                    </a:lnTo>
                    <a:lnTo>
                      <a:pt x="9108" y="5380"/>
                    </a:lnTo>
                    <a:lnTo>
                      <a:pt x="9105" y="5386"/>
                    </a:lnTo>
                    <a:lnTo>
                      <a:pt x="9104" y="5395"/>
                    </a:lnTo>
                    <a:lnTo>
                      <a:pt x="9100" y="5402"/>
                    </a:lnTo>
                    <a:lnTo>
                      <a:pt x="9097" y="5412"/>
                    </a:lnTo>
                    <a:lnTo>
                      <a:pt x="9092" y="5419"/>
                    </a:lnTo>
                    <a:lnTo>
                      <a:pt x="9089" y="5422"/>
                    </a:lnTo>
                    <a:lnTo>
                      <a:pt x="9086" y="5425"/>
                    </a:lnTo>
                    <a:lnTo>
                      <a:pt x="9082" y="5428"/>
                    </a:lnTo>
                    <a:lnTo>
                      <a:pt x="9080" y="5430"/>
                    </a:lnTo>
                    <a:lnTo>
                      <a:pt x="9077" y="5430"/>
                    </a:lnTo>
                    <a:lnTo>
                      <a:pt x="9072" y="5432"/>
                    </a:lnTo>
                    <a:lnTo>
                      <a:pt x="9054" y="5437"/>
                    </a:lnTo>
                    <a:lnTo>
                      <a:pt x="9034" y="5446"/>
                    </a:lnTo>
                    <a:lnTo>
                      <a:pt x="9016" y="5456"/>
                    </a:lnTo>
                    <a:lnTo>
                      <a:pt x="8995" y="5465"/>
                    </a:lnTo>
                    <a:lnTo>
                      <a:pt x="8977" y="5474"/>
                    </a:lnTo>
                    <a:lnTo>
                      <a:pt x="8957" y="5483"/>
                    </a:lnTo>
                    <a:lnTo>
                      <a:pt x="8939" y="5493"/>
                    </a:lnTo>
                    <a:lnTo>
                      <a:pt x="8918" y="5499"/>
                    </a:lnTo>
                    <a:lnTo>
                      <a:pt x="8912" y="5502"/>
                    </a:lnTo>
                    <a:lnTo>
                      <a:pt x="8905" y="5504"/>
                    </a:lnTo>
                    <a:lnTo>
                      <a:pt x="8899" y="5504"/>
                    </a:lnTo>
                    <a:lnTo>
                      <a:pt x="8891" y="5504"/>
                    </a:lnTo>
                    <a:lnTo>
                      <a:pt x="8886" y="5504"/>
                    </a:lnTo>
                    <a:lnTo>
                      <a:pt x="8879" y="5502"/>
                    </a:lnTo>
                    <a:lnTo>
                      <a:pt x="8866" y="5496"/>
                    </a:lnTo>
                    <a:lnTo>
                      <a:pt x="8853" y="5493"/>
                    </a:lnTo>
                    <a:lnTo>
                      <a:pt x="8840" y="5487"/>
                    </a:lnTo>
                    <a:lnTo>
                      <a:pt x="8835" y="5486"/>
                    </a:lnTo>
                    <a:lnTo>
                      <a:pt x="8827" y="5483"/>
                    </a:lnTo>
                    <a:lnTo>
                      <a:pt x="8822" y="5481"/>
                    </a:lnTo>
                    <a:lnTo>
                      <a:pt x="8817" y="5481"/>
                    </a:lnTo>
                    <a:lnTo>
                      <a:pt x="8791" y="5481"/>
                    </a:lnTo>
                    <a:lnTo>
                      <a:pt x="8764" y="5481"/>
                    </a:lnTo>
                    <a:lnTo>
                      <a:pt x="8751" y="5483"/>
                    </a:lnTo>
                    <a:lnTo>
                      <a:pt x="8741" y="5486"/>
                    </a:lnTo>
                    <a:lnTo>
                      <a:pt x="8730" y="5487"/>
                    </a:lnTo>
                    <a:lnTo>
                      <a:pt x="8720" y="5491"/>
                    </a:lnTo>
                    <a:lnTo>
                      <a:pt x="8711" y="5494"/>
                    </a:lnTo>
                    <a:lnTo>
                      <a:pt x="8700" y="5496"/>
                    </a:lnTo>
                    <a:lnTo>
                      <a:pt x="8690" y="5498"/>
                    </a:lnTo>
                    <a:lnTo>
                      <a:pt x="8677" y="5499"/>
                    </a:lnTo>
                    <a:lnTo>
                      <a:pt x="8682" y="5502"/>
                    </a:lnTo>
                    <a:lnTo>
                      <a:pt x="8684" y="5504"/>
                    </a:lnTo>
                    <a:lnTo>
                      <a:pt x="8687" y="5506"/>
                    </a:lnTo>
                    <a:lnTo>
                      <a:pt x="8690" y="5507"/>
                    </a:lnTo>
                    <a:lnTo>
                      <a:pt x="8694" y="5507"/>
                    </a:lnTo>
                    <a:lnTo>
                      <a:pt x="8697" y="5507"/>
                    </a:lnTo>
                    <a:lnTo>
                      <a:pt x="8704" y="5506"/>
                    </a:lnTo>
                    <a:lnTo>
                      <a:pt x="8709" y="5504"/>
                    </a:lnTo>
                    <a:lnTo>
                      <a:pt x="8717" y="5502"/>
                    </a:lnTo>
                    <a:lnTo>
                      <a:pt x="8722" y="5499"/>
                    </a:lnTo>
                    <a:lnTo>
                      <a:pt x="8730" y="5499"/>
                    </a:lnTo>
                    <a:lnTo>
                      <a:pt x="8743" y="5499"/>
                    </a:lnTo>
                    <a:lnTo>
                      <a:pt x="8748" y="5499"/>
                    </a:lnTo>
                    <a:lnTo>
                      <a:pt x="8756" y="5502"/>
                    </a:lnTo>
                    <a:lnTo>
                      <a:pt x="8761" y="5504"/>
                    </a:lnTo>
                    <a:lnTo>
                      <a:pt x="8768" y="5507"/>
                    </a:lnTo>
                    <a:lnTo>
                      <a:pt x="8774" y="5511"/>
                    </a:lnTo>
                    <a:lnTo>
                      <a:pt x="8781" y="5517"/>
                    </a:lnTo>
                    <a:lnTo>
                      <a:pt x="8792" y="5522"/>
                    </a:lnTo>
                    <a:lnTo>
                      <a:pt x="8804" y="5527"/>
                    </a:lnTo>
                    <a:lnTo>
                      <a:pt x="8812" y="5532"/>
                    </a:lnTo>
                    <a:lnTo>
                      <a:pt x="8820" y="5535"/>
                    </a:lnTo>
                    <a:lnTo>
                      <a:pt x="8825" y="5540"/>
                    </a:lnTo>
                    <a:lnTo>
                      <a:pt x="8827" y="5544"/>
                    </a:lnTo>
                    <a:lnTo>
                      <a:pt x="8829" y="5548"/>
                    </a:lnTo>
                    <a:lnTo>
                      <a:pt x="8831" y="5552"/>
                    </a:lnTo>
                    <a:lnTo>
                      <a:pt x="8831" y="5557"/>
                    </a:lnTo>
                    <a:lnTo>
                      <a:pt x="8833" y="5563"/>
                    </a:lnTo>
                    <a:lnTo>
                      <a:pt x="8833" y="5568"/>
                    </a:lnTo>
                    <a:lnTo>
                      <a:pt x="8840" y="5563"/>
                    </a:lnTo>
                    <a:lnTo>
                      <a:pt x="8848" y="5557"/>
                    </a:lnTo>
                    <a:lnTo>
                      <a:pt x="8857" y="5553"/>
                    </a:lnTo>
                    <a:lnTo>
                      <a:pt x="8866" y="5552"/>
                    </a:lnTo>
                    <a:lnTo>
                      <a:pt x="8878" y="5548"/>
                    </a:lnTo>
                    <a:lnTo>
                      <a:pt x="8886" y="5544"/>
                    </a:lnTo>
                    <a:lnTo>
                      <a:pt x="8894" y="5539"/>
                    </a:lnTo>
                    <a:lnTo>
                      <a:pt x="8901" y="5533"/>
                    </a:lnTo>
                    <a:lnTo>
                      <a:pt x="8914" y="5533"/>
                    </a:lnTo>
                    <a:lnTo>
                      <a:pt x="8919" y="5533"/>
                    </a:lnTo>
                    <a:lnTo>
                      <a:pt x="8925" y="5533"/>
                    </a:lnTo>
                    <a:lnTo>
                      <a:pt x="8929" y="5533"/>
                    </a:lnTo>
                    <a:lnTo>
                      <a:pt x="8932" y="5533"/>
                    </a:lnTo>
                    <a:lnTo>
                      <a:pt x="8934" y="5533"/>
                    </a:lnTo>
                    <a:lnTo>
                      <a:pt x="8936" y="5533"/>
                    </a:lnTo>
                    <a:lnTo>
                      <a:pt x="8942" y="5533"/>
                    </a:lnTo>
                    <a:lnTo>
                      <a:pt x="8945" y="5535"/>
                    </a:lnTo>
                    <a:lnTo>
                      <a:pt x="8949" y="5537"/>
                    </a:lnTo>
                    <a:lnTo>
                      <a:pt x="8951" y="5539"/>
                    </a:lnTo>
                    <a:lnTo>
                      <a:pt x="8952" y="5540"/>
                    </a:lnTo>
                    <a:lnTo>
                      <a:pt x="8952" y="5544"/>
                    </a:lnTo>
                    <a:lnTo>
                      <a:pt x="8952" y="5548"/>
                    </a:lnTo>
                    <a:lnTo>
                      <a:pt x="8952" y="5553"/>
                    </a:lnTo>
                    <a:lnTo>
                      <a:pt x="8955" y="5555"/>
                    </a:lnTo>
                    <a:lnTo>
                      <a:pt x="8957" y="5555"/>
                    </a:lnTo>
                    <a:lnTo>
                      <a:pt x="8960" y="5555"/>
                    </a:lnTo>
                    <a:lnTo>
                      <a:pt x="8964" y="5553"/>
                    </a:lnTo>
                    <a:lnTo>
                      <a:pt x="8970" y="5552"/>
                    </a:lnTo>
                    <a:lnTo>
                      <a:pt x="8960" y="5557"/>
                    </a:lnTo>
                    <a:lnTo>
                      <a:pt x="8952" y="5565"/>
                    </a:lnTo>
                    <a:lnTo>
                      <a:pt x="8944" y="5573"/>
                    </a:lnTo>
                    <a:lnTo>
                      <a:pt x="8936" y="5581"/>
                    </a:lnTo>
                    <a:lnTo>
                      <a:pt x="8921" y="5600"/>
                    </a:lnTo>
                    <a:lnTo>
                      <a:pt x="8906" y="5618"/>
                    </a:lnTo>
                    <a:lnTo>
                      <a:pt x="8891" y="5634"/>
                    </a:lnTo>
                    <a:lnTo>
                      <a:pt x="8885" y="5642"/>
                    </a:lnTo>
                    <a:lnTo>
                      <a:pt x="8875" y="5649"/>
                    </a:lnTo>
                    <a:lnTo>
                      <a:pt x="8866" y="5657"/>
                    </a:lnTo>
                    <a:lnTo>
                      <a:pt x="8857" y="5662"/>
                    </a:lnTo>
                    <a:lnTo>
                      <a:pt x="8844" y="5668"/>
                    </a:lnTo>
                    <a:lnTo>
                      <a:pt x="8833" y="5672"/>
                    </a:lnTo>
                    <a:lnTo>
                      <a:pt x="8858" y="5672"/>
                    </a:lnTo>
                    <a:lnTo>
                      <a:pt x="8885" y="5672"/>
                    </a:lnTo>
                    <a:lnTo>
                      <a:pt x="8890" y="5672"/>
                    </a:lnTo>
                    <a:lnTo>
                      <a:pt x="8894" y="5672"/>
                    </a:lnTo>
                    <a:lnTo>
                      <a:pt x="8898" y="5674"/>
                    </a:lnTo>
                    <a:lnTo>
                      <a:pt x="8899" y="5674"/>
                    </a:lnTo>
                    <a:lnTo>
                      <a:pt x="8899" y="5675"/>
                    </a:lnTo>
                    <a:lnTo>
                      <a:pt x="8899" y="5677"/>
                    </a:lnTo>
                    <a:lnTo>
                      <a:pt x="8898" y="5679"/>
                    </a:lnTo>
                    <a:lnTo>
                      <a:pt x="8898" y="5683"/>
                    </a:lnTo>
                    <a:lnTo>
                      <a:pt x="8894" y="5687"/>
                    </a:lnTo>
                    <a:lnTo>
                      <a:pt x="8888" y="5694"/>
                    </a:lnTo>
                    <a:lnTo>
                      <a:pt x="8886" y="5695"/>
                    </a:lnTo>
                    <a:lnTo>
                      <a:pt x="8886" y="5700"/>
                    </a:lnTo>
                    <a:lnTo>
                      <a:pt x="8885" y="5703"/>
                    </a:lnTo>
                    <a:lnTo>
                      <a:pt x="8885" y="5707"/>
                    </a:lnTo>
                    <a:lnTo>
                      <a:pt x="8885" y="5710"/>
                    </a:lnTo>
                    <a:lnTo>
                      <a:pt x="8885" y="5715"/>
                    </a:lnTo>
                    <a:lnTo>
                      <a:pt x="8886" y="5720"/>
                    </a:lnTo>
                    <a:lnTo>
                      <a:pt x="8886" y="5727"/>
                    </a:lnTo>
                    <a:lnTo>
                      <a:pt x="8886" y="5734"/>
                    </a:lnTo>
                    <a:lnTo>
                      <a:pt x="8888" y="5741"/>
                    </a:lnTo>
                    <a:lnTo>
                      <a:pt x="8888" y="5756"/>
                    </a:lnTo>
                    <a:lnTo>
                      <a:pt x="8888" y="5766"/>
                    </a:lnTo>
                    <a:lnTo>
                      <a:pt x="8888" y="5774"/>
                    </a:lnTo>
                    <a:lnTo>
                      <a:pt x="8886" y="5781"/>
                    </a:lnTo>
                    <a:lnTo>
                      <a:pt x="8885" y="5789"/>
                    </a:lnTo>
                    <a:lnTo>
                      <a:pt x="8881" y="5794"/>
                    </a:lnTo>
                    <a:lnTo>
                      <a:pt x="8878" y="5801"/>
                    </a:lnTo>
                    <a:lnTo>
                      <a:pt x="8873" y="5805"/>
                    </a:lnTo>
                    <a:lnTo>
                      <a:pt x="8868" y="5808"/>
                    </a:lnTo>
                    <a:lnTo>
                      <a:pt x="8873" y="5807"/>
                    </a:lnTo>
                    <a:lnTo>
                      <a:pt x="8878" y="5805"/>
                    </a:lnTo>
                    <a:lnTo>
                      <a:pt x="8881" y="5805"/>
                    </a:lnTo>
                    <a:lnTo>
                      <a:pt x="8883" y="5805"/>
                    </a:lnTo>
                    <a:lnTo>
                      <a:pt x="8885" y="5807"/>
                    </a:lnTo>
                    <a:lnTo>
                      <a:pt x="8885" y="5810"/>
                    </a:lnTo>
                    <a:lnTo>
                      <a:pt x="8885" y="5815"/>
                    </a:lnTo>
                    <a:lnTo>
                      <a:pt x="8885" y="5820"/>
                    </a:lnTo>
                    <a:lnTo>
                      <a:pt x="8886" y="5822"/>
                    </a:lnTo>
                    <a:lnTo>
                      <a:pt x="8888" y="5823"/>
                    </a:lnTo>
                    <a:lnTo>
                      <a:pt x="8891" y="5825"/>
                    </a:lnTo>
                    <a:lnTo>
                      <a:pt x="8896" y="5825"/>
                    </a:lnTo>
                    <a:lnTo>
                      <a:pt x="8901" y="5827"/>
                    </a:lnTo>
                    <a:lnTo>
                      <a:pt x="8927" y="5827"/>
                    </a:lnTo>
                    <a:lnTo>
                      <a:pt x="8940" y="5827"/>
                    </a:lnTo>
                    <a:lnTo>
                      <a:pt x="8951" y="5828"/>
                    </a:lnTo>
                    <a:lnTo>
                      <a:pt x="8962" y="5830"/>
                    </a:lnTo>
                    <a:lnTo>
                      <a:pt x="8972" y="5835"/>
                    </a:lnTo>
                    <a:lnTo>
                      <a:pt x="8980" y="5838"/>
                    </a:lnTo>
                    <a:lnTo>
                      <a:pt x="8988" y="5843"/>
                    </a:lnTo>
                    <a:lnTo>
                      <a:pt x="8980" y="5848"/>
                    </a:lnTo>
                    <a:lnTo>
                      <a:pt x="8975" y="5853"/>
                    </a:lnTo>
                    <a:lnTo>
                      <a:pt x="8967" y="5856"/>
                    </a:lnTo>
                    <a:lnTo>
                      <a:pt x="8962" y="5858"/>
                    </a:lnTo>
                    <a:lnTo>
                      <a:pt x="8955" y="5860"/>
                    </a:lnTo>
                    <a:lnTo>
                      <a:pt x="8949" y="5860"/>
                    </a:lnTo>
                    <a:lnTo>
                      <a:pt x="8936" y="5860"/>
                    </a:lnTo>
                    <a:lnTo>
                      <a:pt x="8942" y="5868"/>
                    </a:lnTo>
                    <a:lnTo>
                      <a:pt x="8947" y="5871"/>
                    </a:lnTo>
                    <a:lnTo>
                      <a:pt x="8952" y="5876"/>
                    </a:lnTo>
                    <a:lnTo>
                      <a:pt x="8959" y="5881"/>
                    </a:lnTo>
                    <a:lnTo>
                      <a:pt x="8964" y="5884"/>
                    </a:lnTo>
                    <a:lnTo>
                      <a:pt x="8970" y="5886"/>
                    </a:lnTo>
                    <a:lnTo>
                      <a:pt x="8973" y="5888"/>
                    </a:lnTo>
                    <a:lnTo>
                      <a:pt x="8979" y="5889"/>
                    </a:lnTo>
                    <a:lnTo>
                      <a:pt x="8988" y="5893"/>
                    </a:lnTo>
                    <a:lnTo>
                      <a:pt x="8998" y="5893"/>
                    </a:lnTo>
                    <a:lnTo>
                      <a:pt x="9010" y="5896"/>
                    </a:lnTo>
                    <a:lnTo>
                      <a:pt x="9021" y="5896"/>
                    </a:lnTo>
                    <a:lnTo>
                      <a:pt x="9026" y="5896"/>
                    </a:lnTo>
                    <a:lnTo>
                      <a:pt x="9033" y="5897"/>
                    </a:lnTo>
                    <a:lnTo>
                      <a:pt x="9036" y="5901"/>
                    </a:lnTo>
                    <a:lnTo>
                      <a:pt x="9039" y="5904"/>
                    </a:lnTo>
                    <a:lnTo>
                      <a:pt x="9041" y="5906"/>
                    </a:lnTo>
                    <a:lnTo>
                      <a:pt x="9046" y="5909"/>
                    </a:lnTo>
                    <a:lnTo>
                      <a:pt x="9051" y="5912"/>
                    </a:lnTo>
                    <a:lnTo>
                      <a:pt x="9056" y="5912"/>
                    </a:lnTo>
                    <a:lnTo>
                      <a:pt x="9067" y="5912"/>
                    </a:lnTo>
                    <a:lnTo>
                      <a:pt x="9079" y="5912"/>
                    </a:lnTo>
                    <a:lnTo>
                      <a:pt x="9087" y="5912"/>
                    </a:lnTo>
                    <a:lnTo>
                      <a:pt x="9097" y="5912"/>
                    </a:lnTo>
                    <a:lnTo>
                      <a:pt x="9104" y="5912"/>
                    </a:lnTo>
                    <a:lnTo>
                      <a:pt x="9112" y="5912"/>
                    </a:lnTo>
                    <a:lnTo>
                      <a:pt x="9125" y="5912"/>
                    </a:lnTo>
                    <a:lnTo>
                      <a:pt x="9125" y="5914"/>
                    </a:lnTo>
                    <a:lnTo>
                      <a:pt x="9123" y="5916"/>
                    </a:lnTo>
                    <a:lnTo>
                      <a:pt x="9119" y="5917"/>
                    </a:lnTo>
                    <a:lnTo>
                      <a:pt x="9117" y="5921"/>
                    </a:lnTo>
                    <a:lnTo>
                      <a:pt x="9113" y="5924"/>
                    </a:lnTo>
                    <a:lnTo>
                      <a:pt x="9110" y="5927"/>
                    </a:lnTo>
                    <a:lnTo>
                      <a:pt x="9108" y="5929"/>
                    </a:lnTo>
                    <a:lnTo>
                      <a:pt x="9108" y="5930"/>
                    </a:lnTo>
                    <a:lnTo>
                      <a:pt x="9113" y="5929"/>
                    </a:lnTo>
                    <a:lnTo>
                      <a:pt x="9123" y="5929"/>
                    </a:lnTo>
                    <a:lnTo>
                      <a:pt x="9130" y="5929"/>
                    </a:lnTo>
                    <a:lnTo>
                      <a:pt x="9140" y="5927"/>
                    </a:lnTo>
                    <a:lnTo>
                      <a:pt x="9156" y="5922"/>
                    </a:lnTo>
                    <a:lnTo>
                      <a:pt x="9174" y="5919"/>
                    </a:lnTo>
                    <a:lnTo>
                      <a:pt x="9191" y="5914"/>
                    </a:lnTo>
                    <a:lnTo>
                      <a:pt x="9200" y="5909"/>
                    </a:lnTo>
                    <a:lnTo>
                      <a:pt x="9207" y="5908"/>
                    </a:lnTo>
                    <a:lnTo>
                      <a:pt x="9214" y="5904"/>
                    </a:lnTo>
                    <a:lnTo>
                      <a:pt x="9219" y="5901"/>
                    </a:lnTo>
                    <a:lnTo>
                      <a:pt x="9224" y="5899"/>
                    </a:lnTo>
                    <a:lnTo>
                      <a:pt x="9227" y="5896"/>
                    </a:lnTo>
                    <a:lnTo>
                      <a:pt x="9233" y="5901"/>
                    </a:lnTo>
                    <a:lnTo>
                      <a:pt x="9239" y="5908"/>
                    </a:lnTo>
                    <a:lnTo>
                      <a:pt x="9242" y="5914"/>
                    </a:lnTo>
                    <a:lnTo>
                      <a:pt x="9245" y="5919"/>
                    </a:lnTo>
                    <a:lnTo>
                      <a:pt x="9248" y="5922"/>
                    </a:lnTo>
                    <a:lnTo>
                      <a:pt x="9252" y="5927"/>
                    </a:lnTo>
                    <a:lnTo>
                      <a:pt x="9257" y="5929"/>
                    </a:lnTo>
                    <a:lnTo>
                      <a:pt x="9263" y="5930"/>
                    </a:lnTo>
                    <a:lnTo>
                      <a:pt x="9263" y="5932"/>
                    </a:lnTo>
                    <a:lnTo>
                      <a:pt x="9263" y="5934"/>
                    </a:lnTo>
                    <a:lnTo>
                      <a:pt x="9265" y="5935"/>
                    </a:lnTo>
                    <a:lnTo>
                      <a:pt x="9267" y="5937"/>
                    </a:lnTo>
                    <a:lnTo>
                      <a:pt x="9268" y="5937"/>
                    </a:lnTo>
                    <a:lnTo>
                      <a:pt x="9273" y="5935"/>
                    </a:lnTo>
                    <a:lnTo>
                      <a:pt x="9278" y="5934"/>
                    </a:lnTo>
                    <a:lnTo>
                      <a:pt x="9283" y="5932"/>
                    </a:lnTo>
                    <a:lnTo>
                      <a:pt x="9291" y="5930"/>
                    </a:lnTo>
                    <a:lnTo>
                      <a:pt x="9296" y="5930"/>
                    </a:lnTo>
                    <a:lnTo>
                      <a:pt x="9300" y="5930"/>
                    </a:lnTo>
                    <a:lnTo>
                      <a:pt x="9303" y="5932"/>
                    </a:lnTo>
                    <a:lnTo>
                      <a:pt x="9306" y="5934"/>
                    </a:lnTo>
                    <a:lnTo>
                      <a:pt x="9309" y="5937"/>
                    </a:lnTo>
                    <a:lnTo>
                      <a:pt x="9311" y="5942"/>
                    </a:lnTo>
                    <a:lnTo>
                      <a:pt x="9313" y="5945"/>
                    </a:lnTo>
                    <a:lnTo>
                      <a:pt x="9314" y="5950"/>
                    </a:lnTo>
                    <a:lnTo>
                      <a:pt x="9316" y="5956"/>
                    </a:lnTo>
                    <a:lnTo>
                      <a:pt x="9316" y="5960"/>
                    </a:lnTo>
                    <a:lnTo>
                      <a:pt x="9316" y="5965"/>
                    </a:lnTo>
                    <a:lnTo>
                      <a:pt x="9314" y="5969"/>
                    </a:lnTo>
                    <a:lnTo>
                      <a:pt x="9313" y="5973"/>
                    </a:lnTo>
                    <a:lnTo>
                      <a:pt x="9311" y="5976"/>
                    </a:lnTo>
                    <a:lnTo>
                      <a:pt x="9307" y="5978"/>
                    </a:lnTo>
                    <a:lnTo>
                      <a:pt x="9301" y="5980"/>
                    </a:lnTo>
                    <a:lnTo>
                      <a:pt x="9296" y="5982"/>
                    </a:lnTo>
                    <a:lnTo>
                      <a:pt x="9296" y="5983"/>
                    </a:lnTo>
                    <a:lnTo>
                      <a:pt x="9298" y="5985"/>
                    </a:lnTo>
                    <a:lnTo>
                      <a:pt x="9298" y="5988"/>
                    </a:lnTo>
                    <a:lnTo>
                      <a:pt x="9300" y="5988"/>
                    </a:lnTo>
                    <a:lnTo>
                      <a:pt x="9301" y="5989"/>
                    </a:lnTo>
                    <a:lnTo>
                      <a:pt x="9303" y="5989"/>
                    </a:lnTo>
                    <a:lnTo>
                      <a:pt x="9309" y="5988"/>
                    </a:lnTo>
                    <a:lnTo>
                      <a:pt x="9316" y="5985"/>
                    </a:lnTo>
                    <a:lnTo>
                      <a:pt x="9326" y="5983"/>
                    </a:lnTo>
                    <a:lnTo>
                      <a:pt x="9337" y="5982"/>
                    </a:lnTo>
                    <a:lnTo>
                      <a:pt x="9347" y="5982"/>
                    </a:lnTo>
                    <a:lnTo>
                      <a:pt x="9344" y="5988"/>
                    </a:lnTo>
                    <a:lnTo>
                      <a:pt x="9340" y="5993"/>
                    </a:lnTo>
                    <a:lnTo>
                      <a:pt x="9334" y="5996"/>
                    </a:lnTo>
                    <a:lnTo>
                      <a:pt x="9329" y="6000"/>
                    </a:lnTo>
                    <a:lnTo>
                      <a:pt x="9324" y="6004"/>
                    </a:lnTo>
                    <a:lnTo>
                      <a:pt x="9318" y="6008"/>
                    </a:lnTo>
                    <a:lnTo>
                      <a:pt x="9313" y="6009"/>
                    </a:lnTo>
                    <a:lnTo>
                      <a:pt x="9306" y="6011"/>
                    </a:lnTo>
                    <a:lnTo>
                      <a:pt x="9293" y="6013"/>
                    </a:lnTo>
                    <a:lnTo>
                      <a:pt x="9281" y="6015"/>
                    </a:lnTo>
                    <a:lnTo>
                      <a:pt x="9276" y="6015"/>
                    </a:lnTo>
                    <a:lnTo>
                      <a:pt x="9270" y="6015"/>
                    </a:lnTo>
                    <a:lnTo>
                      <a:pt x="9267" y="6015"/>
                    </a:lnTo>
                    <a:lnTo>
                      <a:pt x="9263" y="6015"/>
                    </a:lnTo>
                    <a:lnTo>
                      <a:pt x="9253" y="6015"/>
                    </a:lnTo>
                    <a:lnTo>
                      <a:pt x="9245" y="6017"/>
                    </a:lnTo>
                    <a:lnTo>
                      <a:pt x="9235" y="6019"/>
                    </a:lnTo>
                    <a:lnTo>
                      <a:pt x="9226" y="6021"/>
                    </a:lnTo>
                    <a:lnTo>
                      <a:pt x="9219" y="6024"/>
                    </a:lnTo>
                    <a:lnTo>
                      <a:pt x="9211" y="6026"/>
                    </a:lnTo>
                    <a:lnTo>
                      <a:pt x="9196" y="6036"/>
                    </a:lnTo>
                    <a:lnTo>
                      <a:pt x="9181" y="6043"/>
                    </a:lnTo>
                    <a:lnTo>
                      <a:pt x="9169" y="6052"/>
                    </a:lnTo>
                    <a:lnTo>
                      <a:pt x="9154" y="6059"/>
                    </a:lnTo>
                    <a:lnTo>
                      <a:pt x="9143" y="6067"/>
                    </a:lnTo>
                    <a:lnTo>
                      <a:pt x="9128" y="6072"/>
                    </a:lnTo>
                    <a:lnTo>
                      <a:pt x="9113" y="6080"/>
                    </a:lnTo>
                    <a:lnTo>
                      <a:pt x="9099" y="6085"/>
                    </a:lnTo>
                    <a:lnTo>
                      <a:pt x="9082" y="6090"/>
                    </a:lnTo>
                    <a:lnTo>
                      <a:pt x="9066" y="6095"/>
                    </a:lnTo>
                    <a:lnTo>
                      <a:pt x="9051" y="6098"/>
                    </a:lnTo>
                    <a:lnTo>
                      <a:pt x="9036" y="6100"/>
                    </a:lnTo>
                    <a:lnTo>
                      <a:pt x="9021" y="6102"/>
                    </a:lnTo>
                    <a:lnTo>
                      <a:pt x="9016" y="6102"/>
                    </a:lnTo>
                    <a:lnTo>
                      <a:pt x="9008" y="6102"/>
                    </a:lnTo>
                    <a:lnTo>
                      <a:pt x="9001" y="6103"/>
                    </a:lnTo>
                    <a:lnTo>
                      <a:pt x="8993" y="6105"/>
                    </a:lnTo>
                    <a:lnTo>
                      <a:pt x="8979" y="6110"/>
                    </a:lnTo>
                    <a:lnTo>
                      <a:pt x="8964" y="6115"/>
                    </a:lnTo>
                    <a:lnTo>
                      <a:pt x="8957" y="6115"/>
                    </a:lnTo>
                    <a:lnTo>
                      <a:pt x="8949" y="6116"/>
                    </a:lnTo>
                    <a:lnTo>
                      <a:pt x="8944" y="6116"/>
                    </a:lnTo>
                    <a:lnTo>
                      <a:pt x="8936" y="6115"/>
                    </a:lnTo>
                    <a:lnTo>
                      <a:pt x="8931" y="6113"/>
                    </a:lnTo>
                    <a:lnTo>
                      <a:pt x="8927" y="6111"/>
                    </a:lnTo>
                    <a:lnTo>
                      <a:pt x="8921" y="6108"/>
                    </a:lnTo>
                    <a:lnTo>
                      <a:pt x="8918" y="6102"/>
                    </a:lnTo>
                    <a:lnTo>
                      <a:pt x="8919" y="6108"/>
                    </a:lnTo>
                    <a:lnTo>
                      <a:pt x="8919" y="6113"/>
                    </a:lnTo>
                    <a:lnTo>
                      <a:pt x="8921" y="6118"/>
                    </a:lnTo>
                    <a:lnTo>
                      <a:pt x="8919" y="6123"/>
                    </a:lnTo>
                    <a:lnTo>
                      <a:pt x="8919" y="6126"/>
                    </a:lnTo>
                    <a:lnTo>
                      <a:pt x="8918" y="6130"/>
                    </a:lnTo>
                    <a:lnTo>
                      <a:pt x="8918" y="6133"/>
                    </a:lnTo>
                    <a:lnTo>
                      <a:pt x="8916" y="6135"/>
                    </a:lnTo>
                    <a:lnTo>
                      <a:pt x="8911" y="6139"/>
                    </a:lnTo>
                    <a:lnTo>
                      <a:pt x="8906" y="6141"/>
                    </a:lnTo>
                    <a:lnTo>
                      <a:pt x="8901" y="6141"/>
                    </a:lnTo>
                    <a:lnTo>
                      <a:pt x="8896" y="6141"/>
                    </a:lnTo>
                    <a:lnTo>
                      <a:pt x="8890" y="6136"/>
                    </a:lnTo>
                    <a:lnTo>
                      <a:pt x="8885" y="6135"/>
                    </a:lnTo>
                    <a:lnTo>
                      <a:pt x="8881" y="6130"/>
                    </a:lnTo>
                    <a:lnTo>
                      <a:pt x="8878" y="6126"/>
                    </a:lnTo>
                    <a:lnTo>
                      <a:pt x="8878" y="6123"/>
                    </a:lnTo>
                    <a:lnTo>
                      <a:pt x="8875" y="6120"/>
                    </a:lnTo>
                    <a:lnTo>
                      <a:pt x="8875" y="6116"/>
                    </a:lnTo>
                    <a:lnTo>
                      <a:pt x="8878" y="6113"/>
                    </a:lnTo>
                    <a:lnTo>
                      <a:pt x="8878" y="6111"/>
                    </a:lnTo>
                    <a:lnTo>
                      <a:pt x="8879" y="6108"/>
                    </a:lnTo>
                    <a:lnTo>
                      <a:pt x="8881" y="6103"/>
                    </a:lnTo>
                    <a:lnTo>
                      <a:pt x="8885" y="6102"/>
                    </a:lnTo>
                    <a:lnTo>
                      <a:pt x="8878" y="6102"/>
                    </a:lnTo>
                    <a:lnTo>
                      <a:pt x="8871" y="6103"/>
                    </a:lnTo>
                    <a:lnTo>
                      <a:pt x="8866" y="6108"/>
                    </a:lnTo>
                    <a:lnTo>
                      <a:pt x="8860" y="6111"/>
                    </a:lnTo>
                    <a:lnTo>
                      <a:pt x="8857" y="6116"/>
                    </a:lnTo>
                    <a:lnTo>
                      <a:pt x="8853" y="6123"/>
                    </a:lnTo>
                    <a:lnTo>
                      <a:pt x="8850" y="6130"/>
                    </a:lnTo>
                    <a:lnTo>
                      <a:pt x="8850" y="6135"/>
                    </a:lnTo>
                    <a:lnTo>
                      <a:pt x="8850" y="6136"/>
                    </a:lnTo>
                    <a:lnTo>
                      <a:pt x="8848" y="6136"/>
                    </a:lnTo>
                    <a:lnTo>
                      <a:pt x="8845" y="6141"/>
                    </a:lnTo>
                    <a:lnTo>
                      <a:pt x="8842" y="6143"/>
                    </a:lnTo>
                    <a:lnTo>
                      <a:pt x="8838" y="6146"/>
                    </a:lnTo>
                    <a:lnTo>
                      <a:pt x="8833" y="6154"/>
                    </a:lnTo>
                    <a:lnTo>
                      <a:pt x="8835" y="6148"/>
                    </a:lnTo>
                    <a:lnTo>
                      <a:pt x="8835" y="6144"/>
                    </a:lnTo>
                    <a:lnTo>
                      <a:pt x="8835" y="6141"/>
                    </a:lnTo>
                    <a:lnTo>
                      <a:pt x="8837" y="6136"/>
                    </a:lnTo>
                    <a:lnTo>
                      <a:pt x="8837" y="6135"/>
                    </a:lnTo>
                    <a:lnTo>
                      <a:pt x="8835" y="6133"/>
                    </a:lnTo>
                    <a:lnTo>
                      <a:pt x="8835" y="6131"/>
                    </a:lnTo>
                    <a:lnTo>
                      <a:pt x="8833" y="6130"/>
                    </a:lnTo>
                    <a:lnTo>
                      <a:pt x="8829" y="6131"/>
                    </a:lnTo>
                    <a:lnTo>
                      <a:pt x="8825" y="6133"/>
                    </a:lnTo>
                    <a:lnTo>
                      <a:pt x="8822" y="6135"/>
                    </a:lnTo>
                    <a:lnTo>
                      <a:pt x="8818" y="6139"/>
                    </a:lnTo>
                    <a:lnTo>
                      <a:pt x="8814" y="6143"/>
                    </a:lnTo>
                    <a:lnTo>
                      <a:pt x="8809" y="6148"/>
                    </a:lnTo>
                    <a:lnTo>
                      <a:pt x="8805" y="6151"/>
                    </a:lnTo>
                    <a:lnTo>
                      <a:pt x="8804" y="6157"/>
                    </a:lnTo>
                    <a:lnTo>
                      <a:pt x="8799" y="6163"/>
                    </a:lnTo>
                    <a:lnTo>
                      <a:pt x="8799" y="6166"/>
                    </a:lnTo>
                    <a:lnTo>
                      <a:pt x="8798" y="6171"/>
                    </a:lnTo>
                    <a:lnTo>
                      <a:pt x="8796" y="6171"/>
                    </a:lnTo>
                    <a:lnTo>
                      <a:pt x="8794" y="6171"/>
                    </a:lnTo>
                    <a:lnTo>
                      <a:pt x="8791" y="6171"/>
                    </a:lnTo>
                    <a:lnTo>
                      <a:pt x="8787" y="6171"/>
                    </a:lnTo>
                    <a:lnTo>
                      <a:pt x="8781" y="6171"/>
                    </a:lnTo>
                    <a:lnTo>
                      <a:pt x="8779" y="6176"/>
                    </a:lnTo>
                    <a:lnTo>
                      <a:pt x="8778" y="6181"/>
                    </a:lnTo>
                    <a:lnTo>
                      <a:pt x="8774" y="6187"/>
                    </a:lnTo>
                    <a:lnTo>
                      <a:pt x="8770" y="6192"/>
                    </a:lnTo>
                    <a:lnTo>
                      <a:pt x="8764" y="6197"/>
                    </a:lnTo>
                    <a:lnTo>
                      <a:pt x="8758" y="6202"/>
                    </a:lnTo>
                    <a:lnTo>
                      <a:pt x="8751" y="6207"/>
                    </a:lnTo>
                    <a:lnTo>
                      <a:pt x="8744" y="6210"/>
                    </a:lnTo>
                    <a:lnTo>
                      <a:pt x="8730" y="6218"/>
                    </a:lnTo>
                    <a:lnTo>
                      <a:pt x="8722" y="6222"/>
                    </a:lnTo>
                    <a:lnTo>
                      <a:pt x="8715" y="6225"/>
                    </a:lnTo>
                    <a:lnTo>
                      <a:pt x="8709" y="6230"/>
                    </a:lnTo>
                    <a:lnTo>
                      <a:pt x="8704" y="6233"/>
                    </a:lnTo>
                    <a:lnTo>
                      <a:pt x="8698" y="6235"/>
                    </a:lnTo>
                    <a:lnTo>
                      <a:pt x="8694" y="6238"/>
                    </a:lnTo>
                    <a:lnTo>
                      <a:pt x="8690" y="6242"/>
                    </a:lnTo>
                    <a:lnTo>
                      <a:pt x="8687" y="6246"/>
                    </a:lnTo>
                    <a:lnTo>
                      <a:pt x="8680" y="6257"/>
                    </a:lnTo>
                    <a:lnTo>
                      <a:pt x="8671" y="6266"/>
                    </a:lnTo>
                    <a:lnTo>
                      <a:pt x="8665" y="6271"/>
                    </a:lnTo>
                    <a:lnTo>
                      <a:pt x="8661" y="6276"/>
                    </a:lnTo>
                    <a:lnTo>
                      <a:pt x="8656" y="6279"/>
                    </a:lnTo>
                    <a:lnTo>
                      <a:pt x="8651" y="6281"/>
                    </a:lnTo>
                    <a:lnTo>
                      <a:pt x="8646" y="6284"/>
                    </a:lnTo>
                    <a:lnTo>
                      <a:pt x="8641" y="6284"/>
                    </a:lnTo>
                    <a:lnTo>
                      <a:pt x="8637" y="6284"/>
                    </a:lnTo>
                    <a:lnTo>
                      <a:pt x="8633" y="6283"/>
                    </a:lnTo>
                    <a:lnTo>
                      <a:pt x="8630" y="6279"/>
                    </a:lnTo>
                    <a:lnTo>
                      <a:pt x="8628" y="6276"/>
                    </a:lnTo>
                    <a:lnTo>
                      <a:pt x="8626" y="6273"/>
                    </a:lnTo>
                    <a:lnTo>
                      <a:pt x="8626" y="6276"/>
                    </a:lnTo>
                    <a:lnTo>
                      <a:pt x="8626" y="6278"/>
                    </a:lnTo>
                    <a:lnTo>
                      <a:pt x="8626" y="6281"/>
                    </a:lnTo>
                    <a:lnTo>
                      <a:pt x="8626" y="6284"/>
                    </a:lnTo>
                    <a:lnTo>
                      <a:pt x="8626" y="6291"/>
                    </a:lnTo>
                    <a:lnTo>
                      <a:pt x="8624" y="6288"/>
                    </a:lnTo>
                    <a:lnTo>
                      <a:pt x="8623" y="6286"/>
                    </a:lnTo>
                    <a:lnTo>
                      <a:pt x="8619" y="6283"/>
                    </a:lnTo>
                    <a:lnTo>
                      <a:pt x="8615" y="6279"/>
                    </a:lnTo>
                    <a:lnTo>
                      <a:pt x="8610" y="6273"/>
                    </a:lnTo>
                    <a:lnTo>
                      <a:pt x="8610" y="6279"/>
                    </a:lnTo>
                    <a:lnTo>
                      <a:pt x="8608" y="6284"/>
                    </a:lnTo>
                    <a:lnTo>
                      <a:pt x="8606" y="6288"/>
                    </a:lnTo>
                    <a:lnTo>
                      <a:pt x="8604" y="6294"/>
                    </a:lnTo>
                    <a:lnTo>
                      <a:pt x="8600" y="6298"/>
                    </a:lnTo>
                    <a:lnTo>
                      <a:pt x="8598" y="6299"/>
                    </a:lnTo>
                    <a:lnTo>
                      <a:pt x="8591" y="6305"/>
                    </a:lnTo>
                    <a:lnTo>
                      <a:pt x="8585" y="6311"/>
                    </a:lnTo>
                    <a:lnTo>
                      <a:pt x="8580" y="6314"/>
                    </a:lnTo>
                    <a:lnTo>
                      <a:pt x="8578" y="6316"/>
                    </a:lnTo>
                    <a:lnTo>
                      <a:pt x="8577" y="6317"/>
                    </a:lnTo>
                    <a:lnTo>
                      <a:pt x="8575" y="6322"/>
                    </a:lnTo>
                    <a:lnTo>
                      <a:pt x="8575" y="6320"/>
                    </a:lnTo>
                    <a:lnTo>
                      <a:pt x="8572" y="6317"/>
                    </a:lnTo>
                    <a:lnTo>
                      <a:pt x="8570" y="6316"/>
                    </a:lnTo>
                    <a:lnTo>
                      <a:pt x="8569" y="6316"/>
                    </a:lnTo>
                    <a:lnTo>
                      <a:pt x="8563" y="6316"/>
                    </a:lnTo>
                    <a:lnTo>
                      <a:pt x="8558" y="6316"/>
                    </a:lnTo>
                    <a:lnTo>
                      <a:pt x="8552" y="6314"/>
                    </a:lnTo>
                    <a:lnTo>
                      <a:pt x="8550" y="6314"/>
                    </a:lnTo>
                    <a:lnTo>
                      <a:pt x="8547" y="6312"/>
                    </a:lnTo>
                    <a:lnTo>
                      <a:pt x="8544" y="6311"/>
                    </a:lnTo>
                    <a:lnTo>
                      <a:pt x="8541" y="6307"/>
                    </a:lnTo>
                    <a:lnTo>
                      <a:pt x="8539" y="6307"/>
                    </a:lnTo>
                    <a:lnTo>
                      <a:pt x="8539" y="6305"/>
                    </a:lnTo>
                    <a:lnTo>
                      <a:pt x="8537" y="6301"/>
                    </a:lnTo>
                    <a:lnTo>
                      <a:pt x="8536" y="6299"/>
                    </a:lnTo>
                    <a:lnTo>
                      <a:pt x="8536" y="6296"/>
                    </a:lnTo>
                    <a:lnTo>
                      <a:pt x="8532" y="6288"/>
                    </a:lnTo>
                    <a:lnTo>
                      <a:pt x="8529" y="6279"/>
                    </a:lnTo>
                    <a:lnTo>
                      <a:pt x="8526" y="6271"/>
                    </a:lnTo>
                    <a:lnTo>
                      <a:pt x="8523" y="6263"/>
                    </a:lnTo>
                    <a:lnTo>
                      <a:pt x="8521" y="6266"/>
                    </a:lnTo>
                    <a:lnTo>
                      <a:pt x="8517" y="6270"/>
                    </a:lnTo>
                    <a:lnTo>
                      <a:pt x="8514" y="6273"/>
                    </a:lnTo>
                    <a:lnTo>
                      <a:pt x="8511" y="6278"/>
                    </a:lnTo>
                    <a:lnTo>
                      <a:pt x="8508" y="6281"/>
                    </a:lnTo>
                    <a:lnTo>
                      <a:pt x="8506" y="6284"/>
                    </a:lnTo>
                    <a:lnTo>
                      <a:pt x="8506" y="6291"/>
                    </a:lnTo>
                    <a:lnTo>
                      <a:pt x="8501" y="6284"/>
                    </a:lnTo>
                    <a:lnTo>
                      <a:pt x="8497" y="6278"/>
                    </a:lnTo>
                    <a:lnTo>
                      <a:pt x="8495" y="6271"/>
                    </a:lnTo>
                    <a:lnTo>
                      <a:pt x="8493" y="6264"/>
                    </a:lnTo>
                    <a:lnTo>
                      <a:pt x="8491" y="6258"/>
                    </a:lnTo>
                    <a:lnTo>
                      <a:pt x="8491" y="6251"/>
                    </a:lnTo>
                    <a:lnTo>
                      <a:pt x="8491" y="6246"/>
                    </a:lnTo>
                    <a:lnTo>
                      <a:pt x="8493" y="6238"/>
                    </a:lnTo>
                    <a:lnTo>
                      <a:pt x="8493" y="6233"/>
                    </a:lnTo>
                    <a:lnTo>
                      <a:pt x="8495" y="6227"/>
                    </a:lnTo>
                    <a:lnTo>
                      <a:pt x="8499" y="6220"/>
                    </a:lnTo>
                    <a:lnTo>
                      <a:pt x="8501" y="6215"/>
                    </a:lnTo>
                    <a:lnTo>
                      <a:pt x="8508" y="6204"/>
                    </a:lnTo>
                    <a:lnTo>
                      <a:pt x="8517" y="6190"/>
                    </a:lnTo>
                    <a:lnTo>
                      <a:pt x="8526" y="6179"/>
                    </a:lnTo>
                    <a:lnTo>
                      <a:pt x="8536" y="6171"/>
                    </a:lnTo>
                    <a:lnTo>
                      <a:pt x="8547" y="6159"/>
                    </a:lnTo>
                    <a:lnTo>
                      <a:pt x="8556" y="6150"/>
                    </a:lnTo>
                    <a:lnTo>
                      <a:pt x="8567" y="6141"/>
                    </a:lnTo>
                    <a:lnTo>
                      <a:pt x="8577" y="6133"/>
                    </a:lnTo>
                    <a:lnTo>
                      <a:pt x="8583" y="6126"/>
                    </a:lnTo>
                    <a:lnTo>
                      <a:pt x="8591" y="6118"/>
                    </a:lnTo>
                    <a:lnTo>
                      <a:pt x="8585" y="6118"/>
                    </a:lnTo>
                    <a:lnTo>
                      <a:pt x="8580" y="6120"/>
                    </a:lnTo>
                    <a:lnTo>
                      <a:pt x="8575" y="6123"/>
                    </a:lnTo>
                    <a:lnTo>
                      <a:pt x="8569" y="6124"/>
                    </a:lnTo>
                    <a:lnTo>
                      <a:pt x="8560" y="6130"/>
                    </a:lnTo>
                    <a:lnTo>
                      <a:pt x="8550" y="6135"/>
                    </a:lnTo>
                    <a:lnTo>
                      <a:pt x="8544" y="6143"/>
                    </a:lnTo>
                    <a:lnTo>
                      <a:pt x="8536" y="6148"/>
                    </a:lnTo>
                    <a:lnTo>
                      <a:pt x="8532" y="6150"/>
                    </a:lnTo>
                    <a:lnTo>
                      <a:pt x="8530" y="6151"/>
                    </a:lnTo>
                    <a:lnTo>
                      <a:pt x="8526" y="6151"/>
                    </a:lnTo>
                    <a:lnTo>
                      <a:pt x="8523" y="6154"/>
                    </a:lnTo>
                    <a:lnTo>
                      <a:pt x="8530" y="6146"/>
                    </a:lnTo>
                    <a:lnTo>
                      <a:pt x="8539" y="6141"/>
                    </a:lnTo>
                    <a:lnTo>
                      <a:pt x="8549" y="6133"/>
                    </a:lnTo>
                    <a:lnTo>
                      <a:pt x="8560" y="6128"/>
                    </a:lnTo>
                    <a:lnTo>
                      <a:pt x="8570" y="6120"/>
                    </a:lnTo>
                    <a:lnTo>
                      <a:pt x="8583" y="6115"/>
                    </a:lnTo>
                    <a:lnTo>
                      <a:pt x="8610" y="6102"/>
                    </a:lnTo>
                    <a:lnTo>
                      <a:pt x="8610" y="6108"/>
                    </a:lnTo>
                    <a:lnTo>
                      <a:pt x="8610" y="6111"/>
                    </a:lnTo>
                    <a:lnTo>
                      <a:pt x="8611" y="6113"/>
                    </a:lnTo>
                    <a:lnTo>
                      <a:pt x="8613" y="6115"/>
                    </a:lnTo>
                    <a:lnTo>
                      <a:pt x="8613" y="6116"/>
                    </a:lnTo>
                    <a:lnTo>
                      <a:pt x="8617" y="6116"/>
                    </a:lnTo>
                    <a:lnTo>
                      <a:pt x="8619" y="6115"/>
                    </a:lnTo>
                    <a:lnTo>
                      <a:pt x="8623" y="6115"/>
                    </a:lnTo>
                    <a:lnTo>
                      <a:pt x="8630" y="6110"/>
                    </a:lnTo>
                    <a:lnTo>
                      <a:pt x="8637" y="6105"/>
                    </a:lnTo>
                    <a:lnTo>
                      <a:pt x="8643" y="6103"/>
                    </a:lnTo>
                    <a:lnTo>
                      <a:pt x="8648" y="6102"/>
                    </a:lnTo>
                    <a:lnTo>
                      <a:pt x="8643" y="6102"/>
                    </a:lnTo>
                    <a:lnTo>
                      <a:pt x="8637" y="6102"/>
                    </a:lnTo>
                    <a:lnTo>
                      <a:pt x="8631" y="6102"/>
                    </a:lnTo>
                    <a:lnTo>
                      <a:pt x="8630" y="6102"/>
                    </a:lnTo>
                    <a:lnTo>
                      <a:pt x="8626" y="6102"/>
                    </a:lnTo>
                    <a:lnTo>
                      <a:pt x="8637" y="6089"/>
                    </a:lnTo>
                    <a:lnTo>
                      <a:pt x="8648" y="6078"/>
                    </a:lnTo>
                    <a:lnTo>
                      <a:pt x="8659" y="6069"/>
                    </a:lnTo>
                    <a:lnTo>
                      <a:pt x="8674" y="6062"/>
                    </a:lnTo>
                    <a:lnTo>
                      <a:pt x="8687" y="6054"/>
                    </a:lnTo>
                    <a:lnTo>
                      <a:pt x="8702" y="6047"/>
                    </a:lnTo>
                    <a:lnTo>
                      <a:pt x="8717" y="6041"/>
                    </a:lnTo>
                    <a:lnTo>
                      <a:pt x="8731" y="6037"/>
                    </a:lnTo>
                    <a:lnTo>
                      <a:pt x="8763" y="6028"/>
                    </a:lnTo>
                    <a:lnTo>
                      <a:pt x="8792" y="6019"/>
                    </a:lnTo>
                    <a:lnTo>
                      <a:pt x="8807" y="6015"/>
                    </a:lnTo>
                    <a:lnTo>
                      <a:pt x="8822" y="6009"/>
                    </a:lnTo>
                    <a:lnTo>
                      <a:pt x="8837" y="6004"/>
                    </a:lnTo>
                    <a:lnTo>
                      <a:pt x="8850" y="5998"/>
                    </a:lnTo>
                    <a:lnTo>
                      <a:pt x="8850" y="6004"/>
                    </a:lnTo>
                    <a:lnTo>
                      <a:pt x="8850" y="6008"/>
                    </a:lnTo>
                    <a:lnTo>
                      <a:pt x="8850" y="6011"/>
                    </a:lnTo>
                    <a:lnTo>
                      <a:pt x="8848" y="6015"/>
                    </a:lnTo>
                    <a:lnTo>
                      <a:pt x="8845" y="6019"/>
                    </a:lnTo>
                    <a:lnTo>
                      <a:pt x="8842" y="6023"/>
                    </a:lnTo>
                    <a:lnTo>
                      <a:pt x="8838" y="6026"/>
                    </a:lnTo>
                    <a:lnTo>
                      <a:pt x="8833" y="6032"/>
                    </a:lnTo>
                    <a:lnTo>
                      <a:pt x="8838" y="6029"/>
                    </a:lnTo>
                    <a:lnTo>
                      <a:pt x="8844" y="6028"/>
                    </a:lnTo>
                    <a:lnTo>
                      <a:pt x="8848" y="6028"/>
                    </a:lnTo>
                    <a:lnTo>
                      <a:pt x="8850" y="6028"/>
                    </a:lnTo>
                    <a:lnTo>
                      <a:pt x="8853" y="6028"/>
                    </a:lnTo>
                    <a:lnTo>
                      <a:pt x="8853" y="6029"/>
                    </a:lnTo>
                    <a:lnTo>
                      <a:pt x="8857" y="6036"/>
                    </a:lnTo>
                    <a:lnTo>
                      <a:pt x="8857" y="6039"/>
                    </a:lnTo>
                    <a:lnTo>
                      <a:pt x="8858" y="6044"/>
                    </a:lnTo>
                    <a:lnTo>
                      <a:pt x="8860" y="6047"/>
                    </a:lnTo>
                    <a:lnTo>
                      <a:pt x="8863" y="6049"/>
                    </a:lnTo>
                    <a:lnTo>
                      <a:pt x="8865" y="6050"/>
                    </a:lnTo>
                    <a:lnTo>
                      <a:pt x="8868" y="6050"/>
                    </a:lnTo>
                    <a:lnTo>
                      <a:pt x="8866" y="6043"/>
                    </a:lnTo>
                    <a:lnTo>
                      <a:pt x="8866" y="6037"/>
                    </a:lnTo>
                    <a:lnTo>
                      <a:pt x="8866" y="6032"/>
                    </a:lnTo>
                    <a:lnTo>
                      <a:pt x="8866" y="6028"/>
                    </a:lnTo>
                    <a:lnTo>
                      <a:pt x="8868" y="6023"/>
                    </a:lnTo>
                    <a:lnTo>
                      <a:pt x="8870" y="6019"/>
                    </a:lnTo>
                    <a:lnTo>
                      <a:pt x="8873" y="6015"/>
                    </a:lnTo>
                    <a:lnTo>
                      <a:pt x="8878" y="6013"/>
                    </a:lnTo>
                    <a:lnTo>
                      <a:pt x="8881" y="6009"/>
                    </a:lnTo>
                    <a:lnTo>
                      <a:pt x="8885" y="6006"/>
                    </a:lnTo>
                    <a:lnTo>
                      <a:pt x="8894" y="6003"/>
                    </a:lnTo>
                    <a:lnTo>
                      <a:pt x="8905" y="5998"/>
                    </a:lnTo>
                    <a:lnTo>
                      <a:pt x="8916" y="5996"/>
                    </a:lnTo>
                    <a:lnTo>
                      <a:pt x="8929" y="5993"/>
                    </a:lnTo>
                    <a:lnTo>
                      <a:pt x="8942" y="5993"/>
                    </a:lnTo>
                    <a:lnTo>
                      <a:pt x="8955" y="5991"/>
                    </a:lnTo>
                    <a:lnTo>
                      <a:pt x="8965" y="5989"/>
                    </a:lnTo>
                    <a:lnTo>
                      <a:pt x="8977" y="5988"/>
                    </a:lnTo>
                    <a:lnTo>
                      <a:pt x="8988" y="5985"/>
                    </a:lnTo>
                    <a:lnTo>
                      <a:pt x="8997" y="5983"/>
                    </a:lnTo>
                    <a:lnTo>
                      <a:pt x="9001" y="5982"/>
                    </a:lnTo>
                    <a:lnTo>
                      <a:pt x="8952" y="5982"/>
                    </a:lnTo>
                    <a:lnTo>
                      <a:pt x="8901" y="5982"/>
                    </a:lnTo>
                    <a:lnTo>
                      <a:pt x="8888" y="5980"/>
                    </a:lnTo>
                    <a:lnTo>
                      <a:pt x="8875" y="5978"/>
                    </a:lnTo>
                    <a:lnTo>
                      <a:pt x="8863" y="5976"/>
                    </a:lnTo>
                    <a:lnTo>
                      <a:pt x="8850" y="5975"/>
                    </a:lnTo>
                    <a:lnTo>
                      <a:pt x="8837" y="5973"/>
                    </a:lnTo>
                    <a:lnTo>
                      <a:pt x="8831" y="5973"/>
                    </a:lnTo>
                    <a:lnTo>
                      <a:pt x="8824" y="5975"/>
                    </a:lnTo>
                    <a:lnTo>
                      <a:pt x="8818" y="5975"/>
                    </a:lnTo>
                    <a:lnTo>
                      <a:pt x="8811" y="5976"/>
                    </a:lnTo>
                    <a:lnTo>
                      <a:pt x="8805" y="5978"/>
                    </a:lnTo>
                    <a:lnTo>
                      <a:pt x="8798" y="5982"/>
                    </a:lnTo>
                    <a:lnTo>
                      <a:pt x="8796" y="5983"/>
                    </a:lnTo>
                    <a:lnTo>
                      <a:pt x="8792" y="5985"/>
                    </a:lnTo>
                    <a:lnTo>
                      <a:pt x="8791" y="5988"/>
                    </a:lnTo>
                    <a:lnTo>
                      <a:pt x="8789" y="5988"/>
                    </a:lnTo>
                    <a:lnTo>
                      <a:pt x="8787" y="5989"/>
                    </a:lnTo>
                    <a:lnTo>
                      <a:pt x="8784" y="5989"/>
                    </a:lnTo>
                    <a:lnTo>
                      <a:pt x="8783" y="5988"/>
                    </a:lnTo>
                    <a:lnTo>
                      <a:pt x="8781" y="5985"/>
                    </a:lnTo>
                    <a:lnTo>
                      <a:pt x="8781" y="5983"/>
                    </a:lnTo>
                    <a:lnTo>
                      <a:pt x="8781" y="5982"/>
                    </a:lnTo>
                    <a:lnTo>
                      <a:pt x="8781" y="5975"/>
                    </a:lnTo>
                    <a:lnTo>
                      <a:pt x="8783" y="5971"/>
                    </a:lnTo>
                    <a:lnTo>
                      <a:pt x="8787" y="5967"/>
                    </a:lnTo>
                    <a:lnTo>
                      <a:pt x="8792" y="5963"/>
                    </a:lnTo>
                    <a:lnTo>
                      <a:pt x="8798" y="5960"/>
                    </a:lnTo>
                    <a:lnTo>
                      <a:pt x="8804" y="5956"/>
                    </a:lnTo>
                    <a:lnTo>
                      <a:pt x="8809" y="5952"/>
                    </a:lnTo>
                    <a:lnTo>
                      <a:pt x="8817" y="5947"/>
                    </a:lnTo>
                    <a:lnTo>
                      <a:pt x="8822" y="5947"/>
                    </a:lnTo>
                    <a:lnTo>
                      <a:pt x="8827" y="5945"/>
                    </a:lnTo>
                    <a:lnTo>
                      <a:pt x="8833" y="5943"/>
                    </a:lnTo>
                    <a:lnTo>
                      <a:pt x="8838" y="5942"/>
                    </a:lnTo>
                    <a:lnTo>
                      <a:pt x="8844" y="5937"/>
                    </a:lnTo>
                    <a:lnTo>
                      <a:pt x="8848" y="5934"/>
                    </a:lnTo>
                    <a:lnTo>
                      <a:pt x="8858" y="5927"/>
                    </a:lnTo>
                    <a:lnTo>
                      <a:pt x="8868" y="5919"/>
                    </a:lnTo>
                    <a:lnTo>
                      <a:pt x="8879" y="5909"/>
                    </a:lnTo>
                    <a:lnTo>
                      <a:pt x="8888" y="5902"/>
                    </a:lnTo>
                    <a:lnTo>
                      <a:pt x="8901" y="5896"/>
                    </a:lnTo>
                    <a:lnTo>
                      <a:pt x="8896" y="5896"/>
                    </a:lnTo>
                    <a:lnTo>
                      <a:pt x="8891" y="5896"/>
                    </a:lnTo>
                    <a:lnTo>
                      <a:pt x="8888" y="5896"/>
                    </a:lnTo>
                    <a:lnTo>
                      <a:pt x="8885" y="5897"/>
                    </a:lnTo>
                    <a:lnTo>
                      <a:pt x="8881" y="5899"/>
                    </a:lnTo>
                    <a:lnTo>
                      <a:pt x="8878" y="5902"/>
                    </a:lnTo>
                    <a:lnTo>
                      <a:pt x="8873" y="5906"/>
                    </a:lnTo>
                    <a:lnTo>
                      <a:pt x="8868" y="5912"/>
                    </a:lnTo>
                    <a:lnTo>
                      <a:pt x="8866" y="5906"/>
                    </a:lnTo>
                    <a:lnTo>
                      <a:pt x="8865" y="5899"/>
                    </a:lnTo>
                    <a:lnTo>
                      <a:pt x="8863" y="5893"/>
                    </a:lnTo>
                    <a:lnTo>
                      <a:pt x="8858" y="5886"/>
                    </a:lnTo>
                    <a:lnTo>
                      <a:pt x="8855" y="5881"/>
                    </a:lnTo>
                    <a:lnTo>
                      <a:pt x="8853" y="5873"/>
                    </a:lnTo>
                    <a:lnTo>
                      <a:pt x="8850" y="5868"/>
                    </a:lnTo>
                    <a:lnTo>
                      <a:pt x="8850" y="5873"/>
                    </a:lnTo>
                    <a:lnTo>
                      <a:pt x="8850" y="5884"/>
                    </a:lnTo>
                    <a:lnTo>
                      <a:pt x="8848" y="5893"/>
                    </a:lnTo>
                    <a:lnTo>
                      <a:pt x="8845" y="5901"/>
                    </a:lnTo>
                    <a:lnTo>
                      <a:pt x="8844" y="5906"/>
                    </a:lnTo>
                    <a:lnTo>
                      <a:pt x="8842" y="5909"/>
                    </a:lnTo>
                    <a:lnTo>
                      <a:pt x="8838" y="5914"/>
                    </a:lnTo>
                    <a:lnTo>
                      <a:pt x="8835" y="5916"/>
                    </a:lnTo>
                    <a:lnTo>
                      <a:pt x="8831" y="5919"/>
                    </a:lnTo>
                    <a:lnTo>
                      <a:pt x="8827" y="5922"/>
                    </a:lnTo>
                    <a:lnTo>
                      <a:pt x="8822" y="5927"/>
                    </a:lnTo>
                    <a:lnTo>
                      <a:pt x="8817" y="5930"/>
                    </a:lnTo>
                    <a:lnTo>
                      <a:pt x="8812" y="5932"/>
                    </a:lnTo>
                    <a:lnTo>
                      <a:pt x="8807" y="5935"/>
                    </a:lnTo>
                    <a:lnTo>
                      <a:pt x="8804" y="5937"/>
                    </a:lnTo>
                    <a:lnTo>
                      <a:pt x="8798" y="5939"/>
                    </a:lnTo>
                    <a:lnTo>
                      <a:pt x="8784" y="5943"/>
                    </a:lnTo>
                    <a:lnTo>
                      <a:pt x="8772" y="5947"/>
                    </a:lnTo>
                    <a:lnTo>
                      <a:pt x="8759" y="5950"/>
                    </a:lnTo>
                    <a:lnTo>
                      <a:pt x="8748" y="5954"/>
                    </a:lnTo>
                    <a:lnTo>
                      <a:pt x="8743" y="5956"/>
                    </a:lnTo>
                    <a:lnTo>
                      <a:pt x="8737" y="5958"/>
                    </a:lnTo>
                    <a:lnTo>
                      <a:pt x="8733" y="5960"/>
                    </a:lnTo>
                    <a:lnTo>
                      <a:pt x="8730" y="5963"/>
                    </a:lnTo>
                    <a:lnTo>
                      <a:pt x="8726" y="5967"/>
                    </a:lnTo>
                    <a:lnTo>
                      <a:pt x="8720" y="5971"/>
                    </a:lnTo>
                    <a:lnTo>
                      <a:pt x="8713" y="5976"/>
                    </a:lnTo>
                    <a:lnTo>
                      <a:pt x="8705" y="5982"/>
                    </a:lnTo>
                    <a:lnTo>
                      <a:pt x="8697" y="5985"/>
                    </a:lnTo>
                    <a:lnTo>
                      <a:pt x="8689" y="5991"/>
                    </a:lnTo>
                    <a:lnTo>
                      <a:pt x="8677" y="5996"/>
                    </a:lnTo>
                    <a:lnTo>
                      <a:pt x="8669" y="6000"/>
                    </a:lnTo>
                    <a:lnTo>
                      <a:pt x="8659" y="6004"/>
                    </a:lnTo>
                    <a:lnTo>
                      <a:pt x="8651" y="6006"/>
                    </a:lnTo>
                    <a:lnTo>
                      <a:pt x="8641" y="6009"/>
                    </a:lnTo>
                    <a:lnTo>
                      <a:pt x="8633" y="6009"/>
                    </a:lnTo>
                    <a:lnTo>
                      <a:pt x="8624" y="6009"/>
                    </a:lnTo>
                    <a:lnTo>
                      <a:pt x="8619" y="6008"/>
                    </a:lnTo>
                    <a:lnTo>
                      <a:pt x="8613" y="6004"/>
                    </a:lnTo>
                    <a:lnTo>
                      <a:pt x="8611" y="6000"/>
                    </a:lnTo>
                    <a:lnTo>
                      <a:pt x="8610" y="5998"/>
                    </a:lnTo>
                    <a:lnTo>
                      <a:pt x="8610" y="5993"/>
                    </a:lnTo>
                    <a:lnTo>
                      <a:pt x="8611" y="5988"/>
                    </a:lnTo>
                    <a:lnTo>
                      <a:pt x="8615" y="5983"/>
                    </a:lnTo>
                    <a:lnTo>
                      <a:pt x="8617" y="5980"/>
                    </a:lnTo>
                    <a:lnTo>
                      <a:pt x="8621" y="5978"/>
                    </a:lnTo>
                    <a:lnTo>
                      <a:pt x="8624" y="5975"/>
                    </a:lnTo>
                    <a:lnTo>
                      <a:pt x="8626" y="5969"/>
                    </a:lnTo>
                    <a:lnTo>
                      <a:pt x="8626" y="5963"/>
                    </a:lnTo>
                    <a:lnTo>
                      <a:pt x="8621" y="5969"/>
                    </a:lnTo>
                    <a:lnTo>
                      <a:pt x="8617" y="5975"/>
                    </a:lnTo>
                    <a:lnTo>
                      <a:pt x="8613" y="5976"/>
                    </a:lnTo>
                    <a:lnTo>
                      <a:pt x="8610" y="5978"/>
                    </a:lnTo>
                    <a:lnTo>
                      <a:pt x="8606" y="5980"/>
                    </a:lnTo>
                    <a:lnTo>
                      <a:pt x="8602" y="5980"/>
                    </a:lnTo>
                    <a:lnTo>
                      <a:pt x="8597" y="5982"/>
                    </a:lnTo>
                    <a:lnTo>
                      <a:pt x="8591" y="5982"/>
                    </a:lnTo>
                    <a:lnTo>
                      <a:pt x="8591" y="5993"/>
                    </a:lnTo>
                    <a:lnTo>
                      <a:pt x="8591" y="5998"/>
                    </a:lnTo>
                    <a:lnTo>
                      <a:pt x="8590" y="6004"/>
                    </a:lnTo>
                    <a:lnTo>
                      <a:pt x="8587" y="6009"/>
                    </a:lnTo>
                    <a:lnTo>
                      <a:pt x="8583" y="6011"/>
                    </a:lnTo>
                    <a:lnTo>
                      <a:pt x="8580" y="6015"/>
                    </a:lnTo>
                    <a:lnTo>
                      <a:pt x="8575" y="6015"/>
                    </a:lnTo>
                    <a:lnTo>
                      <a:pt x="8572" y="6015"/>
                    </a:lnTo>
                    <a:lnTo>
                      <a:pt x="8570" y="6017"/>
                    </a:lnTo>
                    <a:lnTo>
                      <a:pt x="8569" y="6017"/>
                    </a:lnTo>
                    <a:lnTo>
                      <a:pt x="8563" y="6021"/>
                    </a:lnTo>
                    <a:lnTo>
                      <a:pt x="8558" y="6024"/>
                    </a:lnTo>
                    <a:lnTo>
                      <a:pt x="8550" y="6026"/>
                    </a:lnTo>
                    <a:lnTo>
                      <a:pt x="8545" y="6029"/>
                    </a:lnTo>
                    <a:lnTo>
                      <a:pt x="8544" y="6029"/>
                    </a:lnTo>
                    <a:lnTo>
                      <a:pt x="8541" y="6032"/>
                    </a:lnTo>
                    <a:lnTo>
                      <a:pt x="8537" y="6029"/>
                    </a:lnTo>
                    <a:lnTo>
                      <a:pt x="8534" y="6028"/>
                    </a:lnTo>
                    <a:lnTo>
                      <a:pt x="8530" y="6028"/>
                    </a:lnTo>
                    <a:lnTo>
                      <a:pt x="8526" y="6028"/>
                    </a:lnTo>
                    <a:lnTo>
                      <a:pt x="8524" y="6028"/>
                    </a:lnTo>
                    <a:lnTo>
                      <a:pt x="8521" y="6029"/>
                    </a:lnTo>
                    <a:lnTo>
                      <a:pt x="8514" y="6032"/>
                    </a:lnTo>
                    <a:lnTo>
                      <a:pt x="8508" y="6036"/>
                    </a:lnTo>
                    <a:lnTo>
                      <a:pt x="8504" y="6037"/>
                    </a:lnTo>
                    <a:lnTo>
                      <a:pt x="8501" y="6037"/>
                    </a:lnTo>
                    <a:lnTo>
                      <a:pt x="8499" y="6037"/>
                    </a:lnTo>
                    <a:lnTo>
                      <a:pt x="8495" y="6037"/>
                    </a:lnTo>
                    <a:lnTo>
                      <a:pt x="8491" y="6036"/>
                    </a:lnTo>
                    <a:lnTo>
                      <a:pt x="8490" y="6032"/>
                    </a:lnTo>
                    <a:lnTo>
                      <a:pt x="8483" y="6032"/>
                    </a:lnTo>
                    <a:lnTo>
                      <a:pt x="8478" y="6032"/>
                    </a:lnTo>
                    <a:lnTo>
                      <a:pt x="8475" y="6029"/>
                    </a:lnTo>
                    <a:lnTo>
                      <a:pt x="8471" y="6029"/>
                    </a:lnTo>
                    <a:lnTo>
                      <a:pt x="8468" y="6028"/>
                    </a:lnTo>
                    <a:lnTo>
                      <a:pt x="8465" y="6026"/>
                    </a:lnTo>
                    <a:lnTo>
                      <a:pt x="8463" y="6024"/>
                    </a:lnTo>
                    <a:lnTo>
                      <a:pt x="8460" y="6021"/>
                    </a:lnTo>
                    <a:lnTo>
                      <a:pt x="8458" y="6019"/>
                    </a:lnTo>
                    <a:lnTo>
                      <a:pt x="8455" y="6017"/>
                    </a:lnTo>
                    <a:lnTo>
                      <a:pt x="8450" y="6017"/>
                    </a:lnTo>
                    <a:lnTo>
                      <a:pt x="8447" y="6015"/>
                    </a:lnTo>
                    <a:lnTo>
                      <a:pt x="8443" y="6015"/>
                    </a:lnTo>
                    <a:lnTo>
                      <a:pt x="8438" y="6015"/>
                    </a:lnTo>
                    <a:lnTo>
                      <a:pt x="8440" y="6011"/>
                    </a:lnTo>
                    <a:lnTo>
                      <a:pt x="8442" y="6009"/>
                    </a:lnTo>
                    <a:lnTo>
                      <a:pt x="8442" y="6008"/>
                    </a:lnTo>
                    <a:lnTo>
                      <a:pt x="8440" y="6008"/>
                    </a:lnTo>
                    <a:lnTo>
                      <a:pt x="8438" y="6008"/>
                    </a:lnTo>
                    <a:lnTo>
                      <a:pt x="8437" y="6008"/>
                    </a:lnTo>
                    <a:lnTo>
                      <a:pt x="8432" y="6009"/>
                    </a:lnTo>
                    <a:lnTo>
                      <a:pt x="8425" y="6011"/>
                    </a:lnTo>
                    <a:lnTo>
                      <a:pt x="8417" y="6013"/>
                    </a:lnTo>
                    <a:lnTo>
                      <a:pt x="8410" y="6015"/>
                    </a:lnTo>
                    <a:lnTo>
                      <a:pt x="8402" y="6015"/>
                    </a:lnTo>
                    <a:lnTo>
                      <a:pt x="8399" y="6011"/>
                    </a:lnTo>
                    <a:lnTo>
                      <a:pt x="8397" y="6009"/>
                    </a:lnTo>
                    <a:lnTo>
                      <a:pt x="8396" y="6006"/>
                    </a:lnTo>
                    <a:lnTo>
                      <a:pt x="8396" y="6003"/>
                    </a:lnTo>
                    <a:lnTo>
                      <a:pt x="8396" y="5998"/>
                    </a:lnTo>
                    <a:lnTo>
                      <a:pt x="8396" y="5996"/>
                    </a:lnTo>
                    <a:lnTo>
                      <a:pt x="8397" y="5993"/>
                    </a:lnTo>
                    <a:lnTo>
                      <a:pt x="8397" y="5989"/>
                    </a:lnTo>
                    <a:lnTo>
                      <a:pt x="8402" y="5983"/>
                    </a:lnTo>
                    <a:lnTo>
                      <a:pt x="8407" y="5976"/>
                    </a:lnTo>
                    <a:lnTo>
                      <a:pt x="8414" y="5971"/>
                    </a:lnTo>
                    <a:lnTo>
                      <a:pt x="8419" y="5963"/>
                    </a:lnTo>
                    <a:lnTo>
                      <a:pt x="8423" y="5960"/>
                    </a:lnTo>
                    <a:lnTo>
                      <a:pt x="8425" y="5958"/>
                    </a:lnTo>
                    <a:lnTo>
                      <a:pt x="8427" y="5956"/>
                    </a:lnTo>
                    <a:lnTo>
                      <a:pt x="8427" y="5954"/>
                    </a:lnTo>
                    <a:lnTo>
                      <a:pt x="8427" y="5950"/>
                    </a:lnTo>
                    <a:lnTo>
                      <a:pt x="8425" y="5949"/>
                    </a:lnTo>
                    <a:lnTo>
                      <a:pt x="8425" y="5947"/>
                    </a:lnTo>
                    <a:lnTo>
                      <a:pt x="8419" y="5943"/>
                    </a:lnTo>
                    <a:lnTo>
                      <a:pt x="8416" y="5939"/>
                    </a:lnTo>
                    <a:lnTo>
                      <a:pt x="8409" y="5935"/>
                    </a:lnTo>
                    <a:lnTo>
                      <a:pt x="8402" y="5930"/>
                    </a:lnTo>
                    <a:lnTo>
                      <a:pt x="8399" y="5929"/>
                    </a:lnTo>
                    <a:lnTo>
                      <a:pt x="8397" y="5924"/>
                    </a:lnTo>
                    <a:lnTo>
                      <a:pt x="8394" y="5921"/>
                    </a:lnTo>
                    <a:lnTo>
                      <a:pt x="8392" y="5916"/>
                    </a:lnTo>
                    <a:lnTo>
                      <a:pt x="8389" y="5908"/>
                    </a:lnTo>
                    <a:lnTo>
                      <a:pt x="8392" y="5901"/>
                    </a:lnTo>
                    <a:lnTo>
                      <a:pt x="8394" y="5893"/>
                    </a:lnTo>
                    <a:lnTo>
                      <a:pt x="8396" y="5884"/>
                    </a:lnTo>
                    <a:lnTo>
                      <a:pt x="8399" y="5875"/>
                    </a:lnTo>
                    <a:lnTo>
                      <a:pt x="8404" y="5858"/>
                    </a:lnTo>
                    <a:lnTo>
                      <a:pt x="8412" y="5840"/>
                    </a:lnTo>
                    <a:lnTo>
                      <a:pt x="8416" y="5830"/>
                    </a:lnTo>
                    <a:lnTo>
                      <a:pt x="8417" y="5823"/>
                    </a:lnTo>
                    <a:lnTo>
                      <a:pt x="8419" y="5815"/>
                    </a:lnTo>
                    <a:lnTo>
                      <a:pt x="8419" y="5808"/>
                    </a:lnTo>
                    <a:lnTo>
                      <a:pt x="8423" y="5799"/>
                    </a:lnTo>
                    <a:lnTo>
                      <a:pt x="8429" y="5789"/>
                    </a:lnTo>
                    <a:lnTo>
                      <a:pt x="8434" y="5777"/>
                    </a:lnTo>
                    <a:lnTo>
                      <a:pt x="8440" y="5766"/>
                    </a:lnTo>
                    <a:lnTo>
                      <a:pt x="8450" y="5740"/>
                    </a:lnTo>
                    <a:lnTo>
                      <a:pt x="8456" y="5729"/>
                    </a:lnTo>
                    <a:lnTo>
                      <a:pt x="8460" y="5716"/>
                    </a:lnTo>
                    <a:lnTo>
                      <a:pt x="8463" y="5705"/>
                    </a:lnTo>
                    <a:lnTo>
                      <a:pt x="8465" y="5692"/>
                    </a:lnTo>
                    <a:lnTo>
                      <a:pt x="8468" y="5680"/>
                    </a:lnTo>
                    <a:lnTo>
                      <a:pt x="8468" y="5675"/>
                    </a:lnTo>
                    <a:lnTo>
                      <a:pt x="8465" y="5672"/>
                    </a:lnTo>
                    <a:lnTo>
                      <a:pt x="8463" y="5666"/>
                    </a:lnTo>
                    <a:lnTo>
                      <a:pt x="8462" y="5661"/>
                    </a:lnTo>
                    <a:lnTo>
                      <a:pt x="8460" y="5657"/>
                    </a:lnTo>
                    <a:lnTo>
                      <a:pt x="8456" y="5651"/>
                    </a:lnTo>
                    <a:lnTo>
                      <a:pt x="8453" y="5647"/>
                    </a:lnTo>
                    <a:lnTo>
                      <a:pt x="8449" y="5644"/>
                    </a:lnTo>
                    <a:lnTo>
                      <a:pt x="8443" y="5641"/>
                    </a:lnTo>
                    <a:lnTo>
                      <a:pt x="8438" y="5636"/>
                    </a:lnTo>
                    <a:lnTo>
                      <a:pt x="8432" y="5634"/>
                    </a:lnTo>
                    <a:lnTo>
                      <a:pt x="8427" y="5633"/>
                    </a:lnTo>
                    <a:lnTo>
                      <a:pt x="8422" y="5633"/>
                    </a:lnTo>
                    <a:lnTo>
                      <a:pt x="8414" y="5634"/>
                    </a:lnTo>
                    <a:lnTo>
                      <a:pt x="8404" y="5636"/>
                    </a:lnTo>
                    <a:lnTo>
                      <a:pt x="8396" y="5639"/>
                    </a:lnTo>
                    <a:lnTo>
                      <a:pt x="8377" y="5644"/>
                    </a:lnTo>
                    <a:lnTo>
                      <a:pt x="8368" y="5646"/>
                    </a:lnTo>
                    <a:lnTo>
                      <a:pt x="8358" y="5647"/>
                    </a:lnTo>
                    <a:lnTo>
                      <a:pt x="8349" y="5649"/>
                    </a:lnTo>
                    <a:lnTo>
                      <a:pt x="8340" y="5649"/>
                    </a:lnTo>
                    <a:lnTo>
                      <a:pt x="8333" y="5647"/>
                    </a:lnTo>
                    <a:lnTo>
                      <a:pt x="8325" y="5646"/>
                    </a:lnTo>
                    <a:lnTo>
                      <a:pt x="8320" y="5642"/>
                    </a:lnTo>
                    <a:lnTo>
                      <a:pt x="8318" y="5641"/>
                    </a:lnTo>
                    <a:lnTo>
                      <a:pt x="8316" y="5636"/>
                    </a:lnTo>
                    <a:lnTo>
                      <a:pt x="8316" y="5634"/>
                    </a:lnTo>
                    <a:lnTo>
                      <a:pt x="8316" y="5631"/>
                    </a:lnTo>
                    <a:lnTo>
                      <a:pt x="8316" y="5626"/>
                    </a:lnTo>
                    <a:lnTo>
                      <a:pt x="8316" y="5622"/>
                    </a:lnTo>
                    <a:lnTo>
                      <a:pt x="8316" y="5614"/>
                    </a:lnTo>
                    <a:lnTo>
                      <a:pt x="8316" y="5603"/>
                    </a:lnTo>
                    <a:lnTo>
                      <a:pt x="8312" y="5600"/>
                    </a:lnTo>
                    <a:lnTo>
                      <a:pt x="8309" y="5600"/>
                    </a:lnTo>
                    <a:lnTo>
                      <a:pt x="8303" y="5600"/>
                    </a:lnTo>
                    <a:lnTo>
                      <a:pt x="8297" y="5601"/>
                    </a:lnTo>
                    <a:lnTo>
                      <a:pt x="8292" y="5603"/>
                    </a:lnTo>
                    <a:lnTo>
                      <a:pt x="8287" y="5607"/>
                    </a:lnTo>
                    <a:lnTo>
                      <a:pt x="8281" y="5611"/>
                    </a:lnTo>
                    <a:lnTo>
                      <a:pt x="8274" y="5616"/>
                    </a:lnTo>
                    <a:lnTo>
                      <a:pt x="8261" y="5626"/>
                    </a:lnTo>
                    <a:lnTo>
                      <a:pt x="8249" y="5636"/>
                    </a:lnTo>
                    <a:lnTo>
                      <a:pt x="8244" y="5642"/>
                    </a:lnTo>
                    <a:lnTo>
                      <a:pt x="8239" y="5646"/>
                    </a:lnTo>
                    <a:lnTo>
                      <a:pt x="8235" y="5651"/>
                    </a:lnTo>
                    <a:lnTo>
                      <a:pt x="8231" y="5655"/>
                    </a:lnTo>
                    <a:lnTo>
                      <a:pt x="8218" y="5666"/>
                    </a:lnTo>
                    <a:lnTo>
                      <a:pt x="8211" y="5674"/>
                    </a:lnTo>
                    <a:lnTo>
                      <a:pt x="8203" y="5679"/>
                    </a:lnTo>
                    <a:lnTo>
                      <a:pt x="8195" y="5687"/>
                    </a:lnTo>
                    <a:lnTo>
                      <a:pt x="8185" y="5692"/>
                    </a:lnTo>
                    <a:lnTo>
                      <a:pt x="8174" y="5700"/>
                    </a:lnTo>
                    <a:lnTo>
                      <a:pt x="8163" y="5707"/>
                    </a:lnTo>
                    <a:lnTo>
                      <a:pt x="8148" y="5731"/>
                    </a:lnTo>
                    <a:lnTo>
                      <a:pt x="8142" y="5744"/>
                    </a:lnTo>
                    <a:lnTo>
                      <a:pt x="8134" y="5754"/>
                    </a:lnTo>
                    <a:lnTo>
                      <a:pt x="8126" y="5766"/>
                    </a:lnTo>
                    <a:lnTo>
                      <a:pt x="8117" y="5775"/>
                    </a:lnTo>
                    <a:lnTo>
                      <a:pt x="8106" y="5784"/>
                    </a:lnTo>
                    <a:lnTo>
                      <a:pt x="8093" y="5792"/>
                    </a:lnTo>
                    <a:lnTo>
                      <a:pt x="8067" y="5817"/>
                    </a:lnTo>
                    <a:lnTo>
                      <a:pt x="8041" y="5843"/>
                    </a:lnTo>
                    <a:lnTo>
                      <a:pt x="8035" y="5856"/>
                    </a:lnTo>
                    <a:lnTo>
                      <a:pt x="8028" y="5866"/>
                    </a:lnTo>
                    <a:lnTo>
                      <a:pt x="8021" y="5876"/>
                    </a:lnTo>
                    <a:lnTo>
                      <a:pt x="8014" y="5886"/>
                    </a:lnTo>
                    <a:lnTo>
                      <a:pt x="8004" y="5896"/>
                    </a:lnTo>
                    <a:lnTo>
                      <a:pt x="7995" y="5906"/>
                    </a:lnTo>
                    <a:lnTo>
                      <a:pt x="7986" y="5917"/>
                    </a:lnTo>
                    <a:lnTo>
                      <a:pt x="7973" y="5930"/>
                    </a:lnTo>
                    <a:lnTo>
                      <a:pt x="7967" y="5935"/>
                    </a:lnTo>
                    <a:lnTo>
                      <a:pt x="7964" y="5939"/>
                    </a:lnTo>
                    <a:lnTo>
                      <a:pt x="7960" y="5943"/>
                    </a:lnTo>
                    <a:lnTo>
                      <a:pt x="7956" y="5947"/>
                    </a:lnTo>
                    <a:lnTo>
                      <a:pt x="7953" y="5950"/>
                    </a:lnTo>
                    <a:lnTo>
                      <a:pt x="7949" y="5954"/>
                    </a:lnTo>
                    <a:lnTo>
                      <a:pt x="7943" y="5958"/>
                    </a:lnTo>
                    <a:lnTo>
                      <a:pt x="7938" y="5963"/>
                    </a:lnTo>
                    <a:lnTo>
                      <a:pt x="7936" y="5967"/>
                    </a:lnTo>
                    <a:lnTo>
                      <a:pt x="7933" y="5969"/>
                    </a:lnTo>
                    <a:lnTo>
                      <a:pt x="7930" y="5971"/>
                    </a:lnTo>
                    <a:lnTo>
                      <a:pt x="7928" y="5971"/>
                    </a:lnTo>
                    <a:lnTo>
                      <a:pt x="7925" y="5973"/>
                    </a:lnTo>
                    <a:lnTo>
                      <a:pt x="7923" y="5973"/>
                    </a:lnTo>
                    <a:lnTo>
                      <a:pt x="7921" y="5973"/>
                    </a:lnTo>
                    <a:lnTo>
                      <a:pt x="7921" y="5975"/>
                    </a:lnTo>
                    <a:lnTo>
                      <a:pt x="7921" y="5976"/>
                    </a:lnTo>
                    <a:lnTo>
                      <a:pt x="7921" y="5978"/>
                    </a:lnTo>
                    <a:lnTo>
                      <a:pt x="7921" y="5982"/>
                    </a:lnTo>
                    <a:lnTo>
                      <a:pt x="7920" y="5983"/>
                    </a:lnTo>
                    <a:lnTo>
                      <a:pt x="7918" y="5985"/>
                    </a:lnTo>
                    <a:lnTo>
                      <a:pt x="7913" y="5988"/>
                    </a:lnTo>
                    <a:lnTo>
                      <a:pt x="7910" y="5993"/>
                    </a:lnTo>
                    <a:lnTo>
                      <a:pt x="7905" y="5998"/>
                    </a:lnTo>
                    <a:lnTo>
                      <a:pt x="7903" y="5996"/>
                    </a:lnTo>
                    <a:lnTo>
                      <a:pt x="7900" y="5995"/>
                    </a:lnTo>
                    <a:lnTo>
                      <a:pt x="7897" y="5991"/>
                    </a:lnTo>
                    <a:lnTo>
                      <a:pt x="7894" y="5988"/>
                    </a:lnTo>
                    <a:lnTo>
                      <a:pt x="7888" y="5982"/>
                    </a:lnTo>
                    <a:lnTo>
                      <a:pt x="7880" y="5988"/>
                    </a:lnTo>
                    <a:lnTo>
                      <a:pt x="7871" y="5991"/>
                    </a:lnTo>
                    <a:lnTo>
                      <a:pt x="7862" y="5995"/>
                    </a:lnTo>
                    <a:lnTo>
                      <a:pt x="7853" y="5998"/>
                    </a:lnTo>
                    <a:lnTo>
                      <a:pt x="7844" y="6003"/>
                    </a:lnTo>
                    <a:lnTo>
                      <a:pt x="7834" y="6006"/>
                    </a:lnTo>
                    <a:lnTo>
                      <a:pt x="7825" y="6009"/>
                    </a:lnTo>
                    <a:lnTo>
                      <a:pt x="7818" y="6015"/>
                    </a:lnTo>
                    <a:lnTo>
                      <a:pt x="7816" y="6021"/>
                    </a:lnTo>
                    <a:lnTo>
                      <a:pt x="7814" y="6026"/>
                    </a:lnTo>
                    <a:lnTo>
                      <a:pt x="7813" y="6032"/>
                    </a:lnTo>
                    <a:lnTo>
                      <a:pt x="7810" y="6036"/>
                    </a:lnTo>
                    <a:lnTo>
                      <a:pt x="7808" y="6039"/>
                    </a:lnTo>
                    <a:lnTo>
                      <a:pt x="7808" y="6041"/>
                    </a:lnTo>
                    <a:lnTo>
                      <a:pt x="7808" y="6043"/>
                    </a:lnTo>
                    <a:lnTo>
                      <a:pt x="7806" y="6044"/>
                    </a:lnTo>
                    <a:lnTo>
                      <a:pt x="7805" y="6049"/>
                    </a:lnTo>
                    <a:lnTo>
                      <a:pt x="7803" y="6049"/>
                    </a:lnTo>
                    <a:lnTo>
                      <a:pt x="7801" y="6049"/>
                    </a:lnTo>
                    <a:lnTo>
                      <a:pt x="7798" y="6050"/>
                    </a:lnTo>
                    <a:lnTo>
                      <a:pt x="7793" y="6050"/>
                    </a:lnTo>
                    <a:lnTo>
                      <a:pt x="7790" y="6050"/>
                    </a:lnTo>
                    <a:lnTo>
                      <a:pt x="7783" y="6050"/>
                    </a:lnTo>
                    <a:lnTo>
                      <a:pt x="7781" y="6050"/>
                    </a:lnTo>
                    <a:lnTo>
                      <a:pt x="7779" y="6050"/>
                    </a:lnTo>
                    <a:lnTo>
                      <a:pt x="7777" y="6050"/>
                    </a:lnTo>
                    <a:lnTo>
                      <a:pt x="7773" y="6050"/>
                    </a:lnTo>
                    <a:lnTo>
                      <a:pt x="7770" y="6050"/>
                    </a:lnTo>
                    <a:lnTo>
                      <a:pt x="7764" y="6050"/>
                    </a:lnTo>
                    <a:lnTo>
                      <a:pt x="7759" y="6050"/>
                    </a:lnTo>
                    <a:lnTo>
                      <a:pt x="7753" y="6050"/>
                    </a:lnTo>
                    <a:lnTo>
                      <a:pt x="7744" y="6050"/>
                    </a:lnTo>
                    <a:lnTo>
                      <a:pt x="7737" y="6050"/>
                    </a:lnTo>
                    <a:lnTo>
                      <a:pt x="7726" y="6050"/>
                    </a:lnTo>
                    <a:lnTo>
                      <a:pt x="7714" y="6050"/>
                    </a:lnTo>
                    <a:lnTo>
                      <a:pt x="7701" y="6050"/>
                    </a:lnTo>
                    <a:lnTo>
                      <a:pt x="7686" y="6050"/>
                    </a:lnTo>
                    <a:lnTo>
                      <a:pt x="7670" y="6050"/>
                    </a:lnTo>
                    <a:lnTo>
                      <a:pt x="7652" y="6050"/>
                    </a:lnTo>
                    <a:lnTo>
                      <a:pt x="7642" y="6050"/>
                    </a:lnTo>
                    <a:lnTo>
                      <a:pt x="7633" y="6050"/>
                    </a:lnTo>
                    <a:lnTo>
                      <a:pt x="7622" y="6050"/>
                    </a:lnTo>
                    <a:lnTo>
                      <a:pt x="7611" y="6050"/>
                    </a:lnTo>
                    <a:lnTo>
                      <a:pt x="7600" y="6050"/>
                    </a:lnTo>
                    <a:lnTo>
                      <a:pt x="7587" y="6050"/>
                    </a:lnTo>
                    <a:lnTo>
                      <a:pt x="7576" y="6050"/>
                    </a:lnTo>
                    <a:lnTo>
                      <a:pt x="7563" y="6050"/>
                    </a:lnTo>
                    <a:lnTo>
                      <a:pt x="7548" y="6050"/>
                    </a:lnTo>
                    <a:lnTo>
                      <a:pt x="7535" y="6050"/>
                    </a:lnTo>
                    <a:lnTo>
                      <a:pt x="7520" y="6050"/>
                    </a:lnTo>
                    <a:lnTo>
                      <a:pt x="7504" y="6050"/>
                    </a:lnTo>
                    <a:lnTo>
                      <a:pt x="7489" y="6050"/>
                    </a:lnTo>
                    <a:lnTo>
                      <a:pt x="7472" y="6050"/>
                    </a:lnTo>
                    <a:lnTo>
                      <a:pt x="7456" y="6050"/>
                    </a:lnTo>
                    <a:lnTo>
                      <a:pt x="7438" y="6050"/>
                    </a:lnTo>
                    <a:lnTo>
                      <a:pt x="7419" y="6050"/>
                    </a:lnTo>
                    <a:lnTo>
                      <a:pt x="7401" y="6050"/>
                    </a:lnTo>
                    <a:lnTo>
                      <a:pt x="7382" y="6050"/>
                    </a:lnTo>
                    <a:lnTo>
                      <a:pt x="7362" y="6050"/>
                    </a:lnTo>
                    <a:lnTo>
                      <a:pt x="7342" y="6050"/>
                    </a:lnTo>
                    <a:lnTo>
                      <a:pt x="7319" y="6050"/>
                    </a:lnTo>
                    <a:lnTo>
                      <a:pt x="7312" y="6050"/>
                    </a:lnTo>
                    <a:lnTo>
                      <a:pt x="7304" y="6052"/>
                    </a:lnTo>
                    <a:lnTo>
                      <a:pt x="7296" y="6054"/>
                    </a:lnTo>
                    <a:lnTo>
                      <a:pt x="7286" y="6056"/>
                    </a:lnTo>
                    <a:lnTo>
                      <a:pt x="7275" y="6059"/>
                    </a:lnTo>
                    <a:lnTo>
                      <a:pt x="7264" y="6063"/>
                    </a:lnTo>
                    <a:lnTo>
                      <a:pt x="7253" y="6067"/>
                    </a:lnTo>
                    <a:lnTo>
                      <a:pt x="7242" y="6070"/>
                    </a:lnTo>
                    <a:lnTo>
                      <a:pt x="7220" y="6082"/>
                    </a:lnTo>
                    <a:lnTo>
                      <a:pt x="7209" y="6087"/>
                    </a:lnTo>
                    <a:lnTo>
                      <a:pt x="7199" y="6093"/>
                    </a:lnTo>
                    <a:lnTo>
                      <a:pt x="7189" y="6100"/>
                    </a:lnTo>
                    <a:lnTo>
                      <a:pt x="7179" y="6105"/>
                    </a:lnTo>
                    <a:lnTo>
                      <a:pt x="7172" y="6113"/>
                    </a:lnTo>
                    <a:lnTo>
                      <a:pt x="7164" y="6118"/>
                    </a:lnTo>
                    <a:lnTo>
                      <a:pt x="7146" y="6124"/>
                    </a:lnTo>
                    <a:lnTo>
                      <a:pt x="7130" y="6131"/>
                    </a:lnTo>
                    <a:lnTo>
                      <a:pt x="7113" y="6136"/>
                    </a:lnTo>
                    <a:lnTo>
                      <a:pt x="7098" y="6144"/>
                    </a:lnTo>
                    <a:lnTo>
                      <a:pt x="7083" y="6150"/>
                    </a:lnTo>
                    <a:lnTo>
                      <a:pt x="7070" y="6157"/>
                    </a:lnTo>
                    <a:lnTo>
                      <a:pt x="7044" y="6171"/>
                    </a:lnTo>
                    <a:lnTo>
                      <a:pt x="7037" y="6176"/>
                    </a:lnTo>
                    <a:lnTo>
                      <a:pt x="7028" y="6179"/>
                    </a:lnTo>
                    <a:lnTo>
                      <a:pt x="7019" y="6184"/>
                    </a:lnTo>
                    <a:lnTo>
                      <a:pt x="7010" y="6185"/>
                    </a:lnTo>
                    <a:lnTo>
                      <a:pt x="7000" y="6187"/>
                    </a:lnTo>
                    <a:lnTo>
                      <a:pt x="6991" y="6187"/>
                    </a:lnTo>
                    <a:lnTo>
                      <a:pt x="6983" y="6187"/>
                    </a:lnTo>
                    <a:lnTo>
                      <a:pt x="6976" y="6187"/>
                    </a:lnTo>
                    <a:lnTo>
                      <a:pt x="6969" y="6189"/>
                    </a:lnTo>
                    <a:lnTo>
                      <a:pt x="6963" y="6190"/>
                    </a:lnTo>
                    <a:lnTo>
                      <a:pt x="6955" y="6192"/>
                    </a:lnTo>
                    <a:lnTo>
                      <a:pt x="6950" y="6196"/>
                    </a:lnTo>
                    <a:lnTo>
                      <a:pt x="6943" y="6200"/>
                    </a:lnTo>
                    <a:lnTo>
                      <a:pt x="6937" y="6202"/>
                    </a:lnTo>
                    <a:lnTo>
                      <a:pt x="6930" y="6204"/>
                    </a:lnTo>
                    <a:lnTo>
                      <a:pt x="6924" y="6205"/>
                    </a:lnTo>
                    <a:lnTo>
                      <a:pt x="6926" y="6204"/>
                    </a:lnTo>
                    <a:lnTo>
                      <a:pt x="6930" y="6202"/>
                    </a:lnTo>
                    <a:lnTo>
                      <a:pt x="6934" y="6197"/>
                    </a:lnTo>
                    <a:lnTo>
                      <a:pt x="6936" y="6196"/>
                    </a:lnTo>
                    <a:lnTo>
                      <a:pt x="6936" y="6194"/>
                    </a:lnTo>
                    <a:lnTo>
                      <a:pt x="6936" y="6192"/>
                    </a:lnTo>
                    <a:lnTo>
                      <a:pt x="6932" y="6192"/>
                    </a:lnTo>
                    <a:lnTo>
                      <a:pt x="6930" y="6190"/>
                    </a:lnTo>
                    <a:lnTo>
                      <a:pt x="6926" y="6189"/>
                    </a:lnTo>
                    <a:lnTo>
                      <a:pt x="6922" y="6189"/>
                    </a:lnTo>
                    <a:lnTo>
                      <a:pt x="6917" y="6189"/>
                    </a:lnTo>
                    <a:lnTo>
                      <a:pt x="6908" y="6187"/>
                    </a:lnTo>
                    <a:lnTo>
                      <a:pt x="6897" y="6187"/>
                    </a:lnTo>
                    <a:lnTo>
                      <a:pt x="6893" y="6187"/>
                    </a:lnTo>
                    <a:lnTo>
                      <a:pt x="6889" y="6187"/>
                    </a:lnTo>
                    <a:lnTo>
                      <a:pt x="6884" y="6192"/>
                    </a:lnTo>
                    <a:lnTo>
                      <a:pt x="6876" y="6197"/>
                    </a:lnTo>
                    <a:lnTo>
                      <a:pt x="6871" y="6200"/>
                    </a:lnTo>
                    <a:lnTo>
                      <a:pt x="6863" y="6202"/>
                    </a:lnTo>
                    <a:lnTo>
                      <a:pt x="6871" y="6202"/>
                    </a:lnTo>
                    <a:lnTo>
                      <a:pt x="6886" y="6200"/>
                    </a:lnTo>
                    <a:lnTo>
                      <a:pt x="6891" y="6200"/>
                    </a:lnTo>
                    <a:lnTo>
                      <a:pt x="6897" y="6202"/>
                    </a:lnTo>
                    <a:lnTo>
                      <a:pt x="6902" y="6202"/>
                    </a:lnTo>
                    <a:lnTo>
                      <a:pt x="6906" y="6205"/>
                    </a:lnTo>
                    <a:lnTo>
                      <a:pt x="6908" y="6207"/>
                    </a:lnTo>
                    <a:lnTo>
                      <a:pt x="6909" y="6210"/>
                    </a:lnTo>
                    <a:lnTo>
                      <a:pt x="6909" y="6217"/>
                    </a:lnTo>
                    <a:lnTo>
                      <a:pt x="6908" y="6218"/>
                    </a:lnTo>
                    <a:lnTo>
                      <a:pt x="6908" y="6222"/>
                    </a:lnTo>
                    <a:lnTo>
                      <a:pt x="6914" y="6222"/>
                    </a:lnTo>
                    <a:lnTo>
                      <a:pt x="6917" y="6222"/>
                    </a:lnTo>
                    <a:lnTo>
                      <a:pt x="6921" y="6220"/>
                    </a:lnTo>
                    <a:lnTo>
                      <a:pt x="6921" y="6220"/>
                    </a:lnTo>
                    <a:lnTo>
                      <a:pt x="6926" y="6217"/>
                    </a:lnTo>
                    <a:lnTo>
                      <a:pt x="6934" y="6210"/>
                    </a:lnTo>
                    <a:lnTo>
                      <a:pt x="6941" y="6205"/>
                    </a:lnTo>
                    <a:lnTo>
                      <a:pt x="6936" y="6210"/>
                    </a:lnTo>
                    <a:lnTo>
                      <a:pt x="6932" y="6215"/>
                    </a:lnTo>
                    <a:lnTo>
                      <a:pt x="6929" y="6218"/>
                    </a:lnTo>
                    <a:lnTo>
                      <a:pt x="6924" y="6220"/>
                    </a:lnTo>
                    <a:lnTo>
                      <a:pt x="6921" y="6220"/>
                    </a:lnTo>
                    <a:lnTo>
                      <a:pt x="6919" y="6222"/>
                    </a:lnTo>
                    <a:lnTo>
                      <a:pt x="6916" y="6225"/>
                    </a:lnTo>
                    <a:lnTo>
                      <a:pt x="6914" y="6227"/>
                    </a:lnTo>
                    <a:lnTo>
                      <a:pt x="6912" y="6230"/>
                    </a:lnTo>
                    <a:lnTo>
                      <a:pt x="6909" y="6233"/>
                    </a:lnTo>
                    <a:lnTo>
                      <a:pt x="6909" y="6235"/>
                    </a:lnTo>
                    <a:lnTo>
                      <a:pt x="6912" y="6237"/>
                    </a:lnTo>
                    <a:lnTo>
                      <a:pt x="6914" y="6238"/>
                    </a:lnTo>
                    <a:lnTo>
                      <a:pt x="6917" y="6238"/>
                    </a:lnTo>
                    <a:lnTo>
                      <a:pt x="6912" y="6242"/>
                    </a:lnTo>
                    <a:lnTo>
                      <a:pt x="6904" y="6245"/>
                    </a:lnTo>
                    <a:lnTo>
                      <a:pt x="6899" y="6248"/>
                    </a:lnTo>
                    <a:lnTo>
                      <a:pt x="6891" y="6251"/>
                    </a:lnTo>
                    <a:lnTo>
                      <a:pt x="6886" y="6253"/>
                    </a:lnTo>
                    <a:lnTo>
                      <a:pt x="6878" y="6255"/>
                    </a:lnTo>
                    <a:lnTo>
                      <a:pt x="6873" y="6257"/>
                    </a:lnTo>
                    <a:lnTo>
                      <a:pt x="6873" y="6255"/>
                    </a:lnTo>
                    <a:lnTo>
                      <a:pt x="6875" y="6253"/>
                    </a:lnTo>
                    <a:lnTo>
                      <a:pt x="6875" y="6251"/>
                    </a:lnTo>
                    <a:lnTo>
                      <a:pt x="6875" y="6250"/>
                    </a:lnTo>
                    <a:lnTo>
                      <a:pt x="6873" y="6248"/>
                    </a:lnTo>
                    <a:lnTo>
                      <a:pt x="6873" y="6246"/>
                    </a:lnTo>
                    <a:lnTo>
                      <a:pt x="6869" y="6245"/>
                    </a:lnTo>
                    <a:lnTo>
                      <a:pt x="6863" y="6240"/>
                    </a:lnTo>
                    <a:lnTo>
                      <a:pt x="6858" y="6237"/>
                    </a:lnTo>
                    <a:lnTo>
                      <a:pt x="6851" y="6235"/>
                    </a:lnTo>
                    <a:lnTo>
                      <a:pt x="6842" y="6233"/>
                    </a:lnTo>
                    <a:lnTo>
                      <a:pt x="6825" y="6227"/>
                    </a:lnTo>
                    <a:lnTo>
                      <a:pt x="6817" y="6225"/>
                    </a:lnTo>
                    <a:lnTo>
                      <a:pt x="6810" y="6224"/>
                    </a:lnTo>
                    <a:lnTo>
                      <a:pt x="6802" y="6224"/>
                    </a:lnTo>
                    <a:lnTo>
                      <a:pt x="6795" y="6222"/>
                    </a:lnTo>
                    <a:lnTo>
                      <a:pt x="6790" y="6222"/>
                    </a:lnTo>
                    <a:lnTo>
                      <a:pt x="6786" y="6222"/>
                    </a:lnTo>
                    <a:lnTo>
                      <a:pt x="6766" y="6227"/>
                    </a:lnTo>
                    <a:lnTo>
                      <a:pt x="6746" y="6231"/>
                    </a:lnTo>
                    <a:lnTo>
                      <a:pt x="6721" y="6235"/>
                    </a:lnTo>
                    <a:lnTo>
                      <a:pt x="6697" y="6238"/>
                    </a:lnTo>
                    <a:lnTo>
                      <a:pt x="6674" y="6242"/>
                    </a:lnTo>
                    <a:lnTo>
                      <a:pt x="6649" y="6246"/>
                    </a:lnTo>
                    <a:lnTo>
                      <a:pt x="6624" y="6250"/>
                    </a:lnTo>
                    <a:lnTo>
                      <a:pt x="6598" y="6257"/>
                    </a:lnTo>
                    <a:lnTo>
                      <a:pt x="6583" y="6263"/>
                    </a:lnTo>
                    <a:lnTo>
                      <a:pt x="6568" y="6271"/>
                    </a:lnTo>
                    <a:lnTo>
                      <a:pt x="6554" y="6281"/>
                    </a:lnTo>
                    <a:lnTo>
                      <a:pt x="6537" y="6292"/>
                    </a:lnTo>
                    <a:lnTo>
                      <a:pt x="6521" y="6305"/>
                    </a:lnTo>
                    <a:lnTo>
                      <a:pt x="6506" y="6316"/>
                    </a:lnTo>
                    <a:lnTo>
                      <a:pt x="6491" y="6329"/>
                    </a:lnTo>
                    <a:lnTo>
                      <a:pt x="6478" y="6342"/>
                    </a:lnTo>
                    <a:lnTo>
                      <a:pt x="6471" y="6345"/>
                    </a:lnTo>
                    <a:lnTo>
                      <a:pt x="6467" y="6352"/>
                    </a:lnTo>
                    <a:lnTo>
                      <a:pt x="6463" y="6355"/>
                    </a:lnTo>
                    <a:lnTo>
                      <a:pt x="6460" y="6357"/>
                    </a:lnTo>
                    <a:lnTo>
                      <a:pt x="6458" y="6360"/>
                    </a:lnTo>
                    <a:lnTo>
                      <a:pt x="6456" y="6362"/>
                    </a:lnTo>
                    <a:lnTo>
                      <a:pt x="6456" y="6364"/>
                    </a:lnTo>
                    <a:lnTo>
                      <a:pt x="6456" y="6366"/>
                    </a:lnTo>
                    <a:lnTo>
                      <a:pt x="6458" y="6368"/>
                    </a:lnTo>
                    <a:lnTo>
                      <a:pt x="6460" y="6368"/>
                    </a:lnTo>
                    <a:lnTo>
                      <a:pt x="6461" y="6370"/>
                    </a:lnTo>
                    <a:lnTo>
                      <a:pt x="6463" y="6370"/>
                    </a:lnTo>
                    <a:lnTo>
                      <a:pt x="6467" y="6370"/>
                    </a:lnTo>
                    <a:lnTo>
                      <a:pt x="6471" y="6370"/>
                    </a:lnTo>
                    <a:lnTo>
                      <a:pt x="6480" y="6370"/>
                    </a:lnTo>
                    <a:lnTo>
                      <a:pt x="6489" y="6368"/>
                    </a:lnTo>
                    <a:lnTo>
                      <a:pt x="6498" y="6368"/>
                    </a:lnTo>
                    <a:lnTo>
                      <a:pt x="6509" y="6366"/>
                    </a:lnTo>
                    <a:lnTo>
                      <a:pt x="6519" y="6364"/>
                    </a:lnTo>
                    <a:lnTo>
                      <a:pt x="6527" y="6362"/>
                    </a:lnTo>
                    <a:lnTo>
                      <a:pt x="6535" y="6360"/>
                    </a:lnTo>
                    <a:lnTo>
                      <a:pt x="6539" y="6360"/>
                    </a:lnTo>
                    <a:lnTo>
                      <a:pt x="6540" y="6358"/>
                    </a:lnTo>
                    <a:lnTo>
                      <a:pt x="6544" y="6358"/>
                    </a:lnTo>
                    <a:lnTo>
                      <a:pt x="6547" y="6358"/>
                    </a:lnTo>
                    <a:lnTo>
                      <a:pt x="6544" y="6366"/>
                    </a:lnTo>
                    <a:lnTo>
                      <a:pt x="6542" y="6375"/>
                    </a:lnTo>
                    <a:lnTo>
                      <a:pt x="6540" y="6385"/>
                    </a:lnTo>
                    <a:lnTo>
                      <a:pt x="6539" y="6393"/>
                    </a:lnTo>
                    <a:lnTo>
                      <a:pt x="6539" y="6403"/>
                    </a:lnTo>
                    <a:lnTo>
                      <a:pt x="6539" y="6408"/>
                    </a:lnTo>
                    <a:lnTo>
                      <a:pt x="6539" y="6412"/>
                    </a:lnTo>
                    <a:lnTo>
                      <a:pt x="6539" y="6416"/>
                    </a:lnTo>
                    <a:lnTo>
                      <a:pt x="6540" y="6421"/>
                    </a:lnTo>
                    <a:lnTo>
                      <a:pt x="6542" y="6425"/>
                    </a:lnTo>
                    <a:lnTo>
                      <a:pt x="6547" y="6429"/>
                    </a:lnTo>
                    <a:lnTo>
                      <a:pt x="6539" y="6431"/>
                    </a:lnTo>
                    <a:lnTo>
                      <a:pt x="6532" y="6432"/>
                    </a:lnTo>
                    <a:lnTo>
                      <a:pt x="6524" y="6434"/>
                    </a:lnTo>
                    <a:lnTo>
                      <a:pt x="6517" y="6436"/>
                    </a:lnTo>
                    <a:lnTo>
                      <a:pt x="6502" y="6436"/>
                    </a:lnTo>
                    <a:lnTo>
                      <a:pt x="6486" y="6436"/>
                    </a:lnTo>
                    <a:lnTo>
                      <a:pt x="6468" y="6436"/>
                    </a:lnTo>
                    <a:lnTo>
                      <a:pt x="6453" y="6438"/>
                    </a:lnTo>
                    <a:lnTo>
                      <a:pt x="6447" y="6438"/>
                    </a:lnTo>
                    <a:lnTo>
                      <a:pt x="6440" y="6439"/>
                    </a:lnTo>
                    <a:lnTo>
                      <a:pt x="6432" y="6442"/>
                    </a:lnTo>
                    <a:lnTo>
                      <a:pt x="6427" y="6445"/>
                    </a:lnTo>
                    <a:lnTo>
                      <a:pt x="6412" y="6445"/>
                    </a:lnTo>
                    <a:lnTo>
                      <a:pt x="6397" y="6445"/>
                    </a:lnTo>
                    <a:lnTo>
                      <a:pt x="6382" y="6447"/>
                    </a:lnTo>
                    <a:lnTo>
                      <a:pt x="6366" y="6449"/>
                    </a:lnTo>
                    <a:lnTo>
                      <a:pt x="6358" y="6451"/>
                    </a:lnTo>
                    <a:lnTo>
                      <a:pt x="6349" y="6452"/>
                    </a:lnTo>
                    <a:lnTo>
                      <a:pt x="6341" y="6457"/>
                    </a:lnTo>
                    <a:lnTo>
                      <a:pt x="6334" y="6460"/>
                    </a:lnTo>
                    <a:lnTo>
                      <a:pt x="6326" y="6464"/>
                    </a:lnTo>
                    <a:lnTo>
                      <a:pt x="6320" y="6467"/>
                    </a:lnTo>
                    <a:lnTo>
                      <a:pt x="6312" y="6473"/>
                    </a:lnTo>
                    <a:lnTo>
                      <a:pt x="6305" y="6480"/>
                    </a:lnTo>
                    <a:lnTo>
                      <a:pt x="6312" y="6485"/>
                    </a:lnTo>
                    <a:lnTo>
                      <a:pt x="6318" y="6490"/>
                    </a:lnTo>
                    <a:lnTo>
                      <a:pt x="6325" y="6493"/>
                    </a:lnTo>
                    <a:lnTo>
                      <a:pt x="6330" y="6495"/>
                    </a:lnTo>
                    <a:lnTo>
                      <a:pt x="6325" y="6495"/>
                    </a:lnTo>
                    <a:lnTo>
                      <a:pt x="6310" y="6492"/>
                    </a:lnTo>
                    <a:lnTo>
                      <a:pt x="6295" y="6490"/>
                    </a:lnTo>
                    <a:lnTo>
                      <a:pt x="6266" y="6482"/>
                    </a:lnTo>
                    <a:lnTo>
                      <a:pt x="6252" y="6480"/>
                    </a:lnTo>
                    <a:lnTo>
                      <a:pt x="6238" y="6477"/>
                    </a:lnTo>
                    <a:lnTo>
                      <a:pt x="6225" y="6475"/>
                    </a:lnTo>
                    <a:lnTo>
                      <a:pt x="6213" y="6473"/>
                    </a:lnTo>
                    <a:lnTo>
                      <a:pt x="6198" y="6473"/>
                    </a:lnTo>
                    <a:lnTo>
                      <a:pt x="6185" y="6475"/>
                    </a:lnTo>
                    <a:lnTo>
                      <a:pt x="6172" y="6477"/>
                    </a:lnTo>
                    <a:lnTo>
                      <a:pt x="6166" y="6479"/>
                    </a:lnTo>
                    <a:lnTo>
                      <a:pt x="6159" y="6482"/>
                    </a:lnTo>
                    <a:lnTo>
                      <a:pt x="6153" y="6484"/>
                    </a:lnTo>
                    <a:lnTo>
                      <a:pt x="6145" y="6488"/>
                    </a:lnTo>
                    <a:lnTo>
                      <a:pt x="6140" y="6492"/>
                    </a:lnTo>
                    <a:lnTo>
                      <a:pt x="6132" y="6497"/>
                    </a:lnTo>
                    <a:lnTo>
                      <a:pt x="6122" y="6505"/>
                    </a:lnTo>
                    <a:lnTo>
                      <a:pt x="6111" y="6512"/>
                    </a:lnTo>
                    <a:lnTo>
                      <a:pt x="6099" y="6521"/>
                    </a:lnTo>
                    <a:lnTo>
                      <a:pt x="6091" y="6528"/>
                    </a:lnTo>
                    <a:lnTo>
                      <a:pt x="6081" y="6536"/>
                    </a:lnTo>
                    <a:lnTo>
                      <a:pt x="6076" y="6539"/>
                    </a:lnTo>
                    <a:lnTo>
                      <a:pt x="6070" y="6543"/>
                    </a:lnTo>
                    <a:lnTo>
                      <a:pt x="6065" y="6545"/>
                    </a:lnTo>
                    <a:lnTo>
                      <a:pt x="6059" y="6546"/>
                    </a:lnTo>
                    <a:lnTo>
                      <a:pt x="6053" y="6549"/>
                    </a:lnTo>
                    <a:lnTo>
                      <a:pt x="6048" y="6549"/>
                    </a:lnTo>
                    <a:lnTo>
                      <a:pt x="6030" y="6549"/>
                    </a:lnTo>
                    <a:lnTo>
                      <a:pt x="6011" y="6553"/>
                    </a:lnTo>
                    <a:lnTo>
                      <a:pt x="5996" y="6556"/>
                    </a:lnTo>
                    <a:lnTo>
                      <a:pt x="5984" y="6561"/>
                    </a:lnTo>
                    <a:lnTo>
                      <a:pt x="5971" y="6569"/>
                    </a:lnTo>
                    <a:lnTo>
                      <a:pt x="5959" y="6576"/>
                    </a:lnTo>
                    <a:lnTo>
                      <a:pt x="5952" y="6587"/>
                    </a:lnTo>
                    <a:lnTo>
                      <a:pt x="5944" y="6600"/>
                    </a:lnTo>
                    <a:lnTo>
                      <a:pt x="5941" y="6597"/>
                    </a:lnTo>
                    <a:lnTo>
                      <a:pt x="5938" y="6595"/>
                    </a:lnTo>
                    <a:lnTo>
                      <a:pt x="5933" y="6593"/>
                    </a:lnTo>
                    <a:lnTo>
                      <a:pt x="5928" y="6593"/>
                    </a:lnTo>
                    <a:lnTo>
                      <a:pt x="5925" y="6591"/>
                    </a:lnTo>
                    <a:lnTo>
                      <a:pt x="5918" y="6591"/>
                    </a:lnTo>
                    <a:lnTo>
                      <a:pt x="5910" y="6593"/>
                    </a:lnTo>
                    <a:lnTo>
                      <a:pt x="5900" y="6595"/>
                    </a:lnTo>
                    <a:lnTo>
                      <a:pt x="5891" y="6597"/>
                    </a:lnTo>
                    <a:lnTo>
                      <a:pt x="5882" y="6599"/>
                    </a:lnTo>
                    <a:lnTo>
                      <a:pt x="5877" y="6600"/>
                    </a:lnTo>
                    <a:lnTo>
                      <a:pt x="5869" y="6597"/>
                    </a:lnTo>
                    <a:lnTo>
                      <a:pt x="5865" y="6591"/>
                    </a:lnTo>
                    <a:lnTo>
                      <a:pt x="5864" y="6587"/>
                    </a:lnTo>
                    <a:lnTo>
                      <a:pt x="5862" y="6582"/>
                    </a:lnTo>
                    <a:lnTo>
                      <a:pt x="5862" y="6576"/>
                    </a:lnTo>
                    <a:lnTo>
                      <a:pt x="5862" y="6571"/>
                    </a:lnTo>
                    <a:lnTo>
                      <a:pt x="5864" y="6566"/>
                    </a:lnTo>
                    <a:lnTo>
                      <a:pt x="5867" y="6558"/>
                    </a:lnTo>
                    <a:lnTo>
                      <a:pt x="5871" y="6553"/>
                    </a:lnTo>
                    <a:lnTo>
                      <a:pt x="5874" y="6549"/>
                    </a:lnTo>
                    <a:lnTo>
                      <a:pt x="5880" y="6543"/>
                    </a:lnTo>
                    <a:lnTo>
                      <a:pt x="5885" y="6539"/>
                    </a:lnTo>
                    <a:lnTo>
                      <a:pt x="5891" y="6536"/>
                    </a:lnTo>
                    <a:lnTo>
                      <a:pt x="5897" y="6533"/>
                    </a:lnTo>
                    <a:lnTo>
                      <a:pt x="5904" y="6533"/>
                    </a:lnTo>
                    <a:lnTo>
                      <a:pt x="5910" y="6530"/>
                    </a:lnTo>
                    <a:lnTo>
                      <a:pt x="5917" y="6530"/>
                    </a:lnTo>
                    <a:lnTo>
                      <a:pt x="5925" y="6533"/>
                    </a:lnTo>
                    <a:lnTo>
                      <a:pt x="5933" y="6533"/>
                    </a:lnTo>
                    <a:lnTo>
                      <a:pt x="5943" y="6533"/>
                    </a:lnTo>
                    <a:lnTo>
                      <a:pt x="5950" y="6534"/>
                    </a:lnTo>
                    <a:lnTo>
                      <a:pt x="5959" y="6534"/>
                    </a:lnTo>
                    <a:lnTo>
                      <a:pt x="5966" y="6534"/>
                    </a:lnTo>
                    <a:lnTo>
                      <a:pt x="5974" y="6534"/>
                    </a:lnTo>
                    <a:lnTo>
                      <a:pt x="5979" y="6533"/>
                    </a:lnTo>
                    <a:lnTo>
                      <a:pt x="5984" y="6530"/>
                    </a:lnTo>
                    <a:lnTo>
                      <a:pt x="5985" y="6528"/>
                    </a:lnTo>
                    <a:lnTo>
                      <a:pt x="5987" y="6526"/>
                    </a:lnTo>
                    <a:lnTo>
                      <a:pt x="5987" y="6523"/>
                    </a:lnTo>
                    <a:lnTo>
                      <a:pt x="5987" y="6521"/>
                    </a:lnTo>
                    <a:lnTo>
                      <a:pt x="5985" y="6519"/>
                    </a:lnTo>
                    <a:lnTo>
                      <a:pt x="5984" y="6515"/>
                    </a:lnTo>
                    <a:lnTo>
                      <a:pt x="5979" y="6513"/>
                    </a:lnTo>
                    <a:lnTo>
                      <a:pt x="5976" y="6510"/>
                    </a:lnTo>
                    <a:lnTo>
                      <a:pt x="5972" y="6506"/>
                    </a:lnTo>
                    <a:lnTo>
                      <a:pt x="5966" y="6500"/>
                    </a:lnTo>
                    <a:lnTo>
                      <a:pt x="5961" y="6497"/>
                    </a:lnTo>
                    <a:lnTo>
                      <a:pt x="5971" y="6495"/>
                    </a:lnTo>
                    <a:lnTo>
                      <a:pt x="5978" y="6493"/>
                    </a:lnTo>
                    <a:lnTo>
                      <a:pt x="5985" y="6490"/>
                    </a:lnTo>
                    <a:lnTo>
                      <a:pt x="5992" y="6485"/>
                    </a:lnTo>
                    <a:lnTo>
                      <a:pt x="5999" y="6480"/>
                    </a:lnTo>
                    <a:lnTo>
                      <a:pt x="6004" y="6473"/>
                    </a:lnTo>
                    <a:lnTo>
                      <a:pt x="6007" y="6467"/>
                    </a:lnTo>
                    <a:lnTo>
                      <a:pt x="6013" y="6460"/>
                    </a:lnTo>
                    <a:lnTo>
                      <a:pt x="6022" y="6445"/>
                    </a:lnTo>
                    <a:lnTo>
                      <a:pt x="6028" y="6438"/>
                    </a:lnTo>
                    <a:lnTo>
                      <a:pt x="6033" y="6431"/>
                    </a:lnTo>
                    <a:lnTo>
                      <a:pt x="6040" y="6425"/>
                    </a:lnTo>
                    <a:lnTo>
                      <a:pt x="6048" y="6419"/>
                    </a:lnTo>
                    <a:lnTo>
                      <a:pt x="6055" y="6414"/>
                    </a:lnTo>
                    <a:lnTo>
                      <a:pt x="6065" y="6411"/>
                    </a:lnTo>
                    <a:lnTo>
                      <a:pt x="6078" y="6405"/>
                    </a:lnTo>
                    <a:lnTo>
                      <a:pt x="6089" y="6399"/>
                    </a:lnTo>
                    <a:lnTo>
                      <a:pt x="6099" y="6391"/>
                    </a:lnTo>
                    <a:lnTo>
                      <a:pt x="6111" y="6386"/>
                    </a:lnTo>
                    <a:lnTo>
                      <a:pt x="6120" y="6381"/>
                    </a:lnTo>
                    <a:lnTo>
                      <a:pt x="6129" y="6375"/>
                    </a:lnTo>
                    <a:lnTo>
                      <a:pt x="6137" y="6370"/>
                    </a:lnTo>
                    <a:lnTo>
                      <a:pt x="6144" y="6364"/>
                    </a:lnTo>
                    <a:lnTo>
                      <a:pt x="6152" y="6357"/>
                    </a:lnTo>
                    <a:lnTo>
                      <a:pt x="6157" y="6349"/>
                    </a:lnTo>
                    <a:lnTo>
                      <a:pt x="6162" y="6342"/>
                    </a:lnTo>
                    <a:lnTo>
                      <a:pt x="6168" y="6332"/>
                    </a:lnTo>
                    <a:lnTo>
                      <a:pt x="6173" y="6324"/>
                    </a:lnTo>
                    <a:lnTo>
                      <a:pt x="6177" y="6314"/>
                    </a:lnTo>
                    <a:lnTo>
                      <a:pt x="6181" y="6303"/>
                    </a:lnTo>
                    <a:lnTo>
                      <a:pt x="6185" y="6291"/>
                    </a:lnTo>
                    <a:lnTo>
                      <a:pt x="6211" y="6251"/>
                    </a:lnTo>
                    <a:lnTo>
                      <a:pt x="6223" y="6233"/>
                    </a:lnTo>
                    <a:lnTo>
                      <a:pt x="6236" y="6215"/>
                    </a:lnTo>
                    <a:lnTo>
                      <a:pt x="6249" y="6197"/>
                    </a:lnTo>
                    <a:lnTo>
                      <a:pt x="6262" y="6181"/>
                    </a:lnTo>
                    <a:lnTo>
                      <a:pt x="6275" y="6166"/>
                    </a:lnTo>
                    <a:lnTo>
                      <a:pt x="6288" y="6154"/>
                    </a:lnTo>
                    <a:lnTo>
                      <a:pt x="6297" y="6146"/>
                    </a:lnTo>
                    <a:lnTo>
                      <a:pt x="6306" y="6139"/>
                    </a:lnTo>
                    <a:lnTo>
                      <a:pt x="6315" y="6130"/>
                    </a:lnTo>
                    <a:lnTo>
                      <a:pt x="6323" y="6123"/>
                    </a:lnTo>
                    <a:lnTo>
                      <a:pt x="6328" y="6113"/>
                    </a:lnTo>
                    <a:lnTo>
                      <a:pt x="6336" y="6102"/>
                    </a:lnTo>
                    <a:lnTo>
                      <a:pt x="6340" y="6093"/>
                    </a:lnTo>
                    <a:lnTo>
                      <a:pt x="6343" y="6082"/>
                    </a:lnTo>
                    <a:lnTo>
                      <a:pt x="6346" y="6070"/>
                    </a:lnTo>
                    <a:lnTo>
                      <a:pt x="6346" y="6062"/>
                    </a:lnTo>
                    <a:lnTo>
                      <a:pt x="6346" y="6050"/>
                    </a:lnTo>
                    <a:lnTo>
                      <a:pt x="6345" y="6039"/>
                    </a:lnTo>
                    <a:lnTo>
                      <a:pt x="6343" y="6028"/>
                    </a:lnTo>
                    <a:lnTo>
                      <a:pt x="6338" y="6019"/>
                    </a:lnTo>
                    <a:lnTo>
                      <a:pt x="6334" y="6013"/>
                    </a:lnTo>
                    <a:lnTo>
                      <a:pt x="6330" y="6008"/>
                    </a:lnTo>
                    <a:lnTo>
                      <a:pt x="6326" y="6003"/>
                    </a:lnTo>
                    <a:lnTo>
                      <a:pt x="6323" y="5998"/>
                    </a:lnTo>
                    <a:lnTo>
                      <a:pt x="6330" y="5998"/>
                    </a:lnTo>
                    <a:lnTo>
                      <a:pt x="6338" y="5998"/>
                    </a:lnTo>
                    <a:lnTo>
                      <a:pt x="6346" y="6000"/>
                    </a:lnTo>
                    <a:lnTo>
                      <a:pt x="6354" y="6003"/>
                    </a:lnTo>
                    <a:lnTo>
                      <a:pt x="6358" y="6004"/>
                    </a:lnTo>
                    <a:lnTo>
                      <a:pt x="6361" y="6006"/>
                    </a:lnTo>
                    <a:lnTo>
                      <a:pt x="6366" y="6009"/>
                    </a:lnTo>
                    <a:lnTo>
                      <a:pt x="6367" y="6013"/>
                    </a:lnTo>
                    <a:lnTo>
                      <a:pt x="6371" y="6017"/>
                    </a:lnTo>
                    <a:lnTo>
                      <a:pt x="6373" y="6021"/>
                    </a:lnTo>
                    <a:lnTo>
                      <a:pt x="6373" y="6026"/>
                    </a:lnTo>
                    <a:lnTo>
                      <a:pt x="6374" y="6032"/>
                    </a:lnTo>
                    <a:lnTo>
                      <a:pt x="6373" y="6032"/>
                    </a:lnTo>
                    <a:lnTo>
                      <a:pt x="6373" y="6034"/>
                    </a:lnTo>
                    <a:lnTo>
                      <a:pt x="6373" y="6036"/>
                    </a:lnTo>
                    <a:lnTo>
                      <a:pt x="6371" y="6037"/>
                    </a:lnTo>
                    <a:lnTo>
                      <a:pt x="6371" y="6043"/>
                    </a:lnTo>
                    <a:lnTo>
                      <a:pt x="6369" y="6050"/>
                    </a:lnTo>
                    <a:lnTo>
                      <a:pt x="6369" y="6052"/>
                    </a:lnTo>
                    <a:lnTo>
                      <a:pt x="6371" y="6056"/>
                    </a:lnTo>
                    <a:lnTo>
                      <a:pt x="6373" y="6059"/>
                    </a:lnTo>
                    <a:lnTo>
                      <a:pt x="6374" y="6062"/>
                    </a:lnTo>
                    <a:lnTo>
                      <a:pt x="6376" y="6063"/>
                    </a:lnTo>
                    <a:lnTo>
                      <a:pt x="6380" y="6065"/>
                    </a:lnTo>
                    <a:lnTo>
                      <a:pt x="6386" y="6067"/>
                    </a:lnTo>
                    <a:lnTo>
                      <a:pt x="6391" y="6067"/>
                    </a:lnTo>
                    <a:lnTo>
                      <a:pt x="6389" y="6069"/>
                    </a:lnTo>
                    <a:lnTo>
                      <a:pt x="6386" y="6072"/>
                    </a:lnTo>
                    <a:lnTo>
                      <a:pt x="6382" y="6076"/>
                    </a:lnTo>
                    <a:lnTo>
                      <a:pt x="6380" y="6078"/>
                    </a:lnTo>
                    <a:lnTo>
                      <a:pt x="6376" y="6082"/>
                    </a:lnTo>
                    <a:lnTo>
                      <a:pt x="6374" y="6083"/>
                    </a:lnTo>
                    <a:lnTo>
                      <a:pt x="6376" y="6083"/>
                    </a:lnTo>
                    <a:lnTo>
                      <a:pt x="6380" y="6083"/>
                    </a:lnTo>
                    <a:lnTo>
                      <a:pt x="6384" y="6083"/>
                    </a:lnTo>
                    <a:lnTo>
                      <a:pt x="6389" y="6083"/>
                    </a:lnTo>
                    <a:lnTo>
                      <a:pt x="6395" y="6083"/>
                    </a:lnTo>
                    <a:lnTo>
                      <a:pt x="6407" y="6083"/>
                    </a:lnTo>
                    <a:lnTo>
                      <a:pt x="6402" y="6089"/>
                    </a:lnTo>
                    <a:lnTo>
                      <a:pt x="6399" y="6095"/>
                    </a:lnTo>
                    <a:lnTo>
                      <a:pt x="6395" y="6098"/>
                    </a:lnTo>
                    <a:lnTo>
                      <a:pt x="6394" y="6102"/>
                    </a:lnTo>
                    <a:lnTo>
                      <a:pt x="6394" y="6103"/>
                    </a:lnTo>
                    <a:lnTo>
                      <a:pt x="6391" y="6108"/>
                    </a:lnTo>
                    <a:lnTo>
                      <a:pt x="6391" y="6113"/>
                    </a:lnTo>
                    <a:lnTo>
                      <a:pt x="6391" y="6118"/>
                    </a:lnTo>
                    <a:lnTo>
                      <a:pt x="6395" y="6115"/>
                    </a:lnTo>
                    <a:lnTo>
                      <a:pt x="6397" y="6111"/>
                    </a:lnTo>
                    <a:lnTo>
                      <a:pt x="6400" y="6108"/>
                    </a:lnTo>
                    <a:lnTo>
                      <a:pt x="6404" y="6105"/>
                    </a:lnTo>
                    <a:lnTo>
                      <a:pt x="6406" y="6103"/>
                    </a:lnTo>
                    <a:lnTo>
                      <a:pt x="6410" y="6102"/>
                    </a:lnTo>
                    <a:lnTo>
                      <a:pt x="6412" y="6102"/>
                    </a:lnTo>
                    <a:lnTo>
                      <a:pt x="6415" y="6102"/>
                    </a:lnTo>
                    <a:lnTo>
                      <a:pt x="6420" y="6103"/>
                    </a:lnTo>
                    <a:lnTo>
                      <a:pt x="6425" y="6105"/>
                    </a:lnTo>
                    <a:lnTo>
                      <a:pt x="6430" y="6110"/>
                    </a:lnTo>
                    <a:lnTo>
                      <a:pt x="6435" y="6115"/>
                    </a:lnTo>
                    <a:lnTo>
                      <a:pt x="6448" y="6124"/>
                    </a:lnTo>
                    <a:lnTo>
                      <a:pt x="6453" y="6130"/>
                    </a:lnTo>
                    <a:lnTo>
                      <a:pt x="6461" y="6133"/>
                    </a:lnTo>
                    <a:lnTo>
                      <a:pt x="6468" y="6135"/>
                    </a:lnTo>
                    <a:lnTo>
                      <a:pt x="6476" y="6136"/>
                    </a:lnTo>
                    <a:lnTo>
                      <a:pt x="6480" y="6139"/>
                    </a:lnTo>
                    <a:lnTo>
                      <a:pt x="6486" y="6136"/>
                    </a:lnTo>
                    <a:lnTo>
                      <a:pt x="6489" y="6136"/>
                    </a:lnTo>
                    <a:lnTo>
                      <a:pt x="6494" y="6135"/>
                    </a:lnTo>
                    <a:lnTo>
                      <a:pt x="6501" y="6135"/>
                    </a:lnTo>
                    <a:lnTo>
                      <a:pt x="6506" y="6133"/>
                    </a:lnTo>
                    <a:lnTo>
                      <a:pt x="6509" y="6131"/>
                    </a:lnTo>
                    <a:lnTo>
                      <a:pt x="6511" y="6130"/>
                    </a:lnTo>
                    <a:lnTo>
                      <a:pt x="6514" y="6128"/>
                    </a:lnTo>
                    <a:lnTo>
                      <a:pt x="6514" y="6124"/>
                    </a:lnTo>
                    <a:lnTo>
                      <a:pt x="6519" y="6116"/>
                    </a:lnTo>
                    <a:lnTo>
                      <a:pt x="6519" y="6108"/>
                    </a:lnTo>
                    <a:lnTo>
                      <a:pt x="6521" y="6100"/>
                    </a:lnTo>
                    <a:lnTo>
                      <a:pt x="6522" y="6095"/>
                    </a:lnTo>
                    <a:lnTo>
                      <a:pt x="6524" y="6090"/>
                    </a:lnTo>
                    <a:lnTo>
                      <a:pt x="6526" y="6087"/>
                    </a:lnTo>
                    <a:lnTo>
                      <a:pt x="6529" y="6083"/>
                    </a:lnTo>
                    <a:lnTo>
                      <a:pt x="6529" y="6082"/>
                    </a:lnTo>
                    <a:lnTo>
                      <a:pt x="6529" y="6078"/>
                    </a:lnTo>
                    <a:lnTo>
                      <a:pt x="6529" y="6074"/>
                    </a:lnTo>
                    <a:lnTo>
                      <a:pt x="6532" y="6072"/>
                    </a:lnTo>
                    <a:lnTo>
                      <a:pt x="6535" y="6072"/>
                    </a:lnTo>
                    <a:lnTo>
                      <a:pt x="6537" y="6072"/>
                    </a:lnTo>
                    <a:lnTo>
                      <a:pt x="6540" y="6072"/>
                    </a:lnTo>
                    <a:lnTo>
                      <a:pt x="6544" y="6074"/>
                    </a:lnTo>
                    <a:lnTo>
                      <a:pt x="6548" y="6076"/>
                    </a:lnTo>
                    <a:lnTo>
                      <a:pt x="6552" y="6076"/>
                    </a:lnTo>
                    <a:lnTo>
                      <a:pt x="6555" y="6078"/>
                    </a:lnTo>
                    <a:lnTo>
                      <a:pt x="6560" y="6080"/>
                    </a:lnTo>
                    <a:lnTo>
                      <a:pt x="6563" y="6080"/>
                    </a:lnTo>
                    <a:lnTo>
                      <a:pt x="6563" y="6078"/>
                    </a:lnTo>
                    <a:lnTo>
                      <a:pt x="6563" y="6072"/>
                    </a:lnTo>
                    <a:lnTo>
                      <a:pt x="6560" y="6069"/>
                    </a:lnTo>
                    <a:lnTo>
                      <a:pt x="6560" y="6063"/>
                    </a:lnTo>
                    <a:lnTo>
                      <a:pt x="6559" y="6059"/>
                    </a:lnTo>
                    <a:lnTo>
                      <a:pt x="6557" y="6057"/>
                    </a:lnTo>
                    <a:lnTo>
                      <a:pt x="6554" y="6052"/>
                    </a:lnTo>
                    <a:lnTo>
                      <a:pt x="6552" y="6047"/>
                    </a:lnTo>
                    <a:lnTo>
                      <a:pt x="6548" y="6043"/>
                    </a:lnTo>
                    <a:lnTo>
                      <a:pt x="6547" y="6037"/>
                    </a:lnTo>
                    <a:lnTo>
                      <a:pt x="6547" y="6032"/>
                    </a:lnTo>
                    <a:lnTo>
                      <a:pt x="6552" y="6032"/>
                    </a:lnTo>
                    <a:lnTo>
                      <a:pt x="6555" y="6029"/>
                    </a:lnTo>
                    <a:lnTo>
                      <a:pt x="6559" y="6026"/>
                    </a:lnTo>
                    <a:lnTo>
                      <a:pt x="6560" y="6021"/>
                    </a:lnTo>
                    <a:lnTo>
                      <a:pt x="6563" y="6017"/>
                    </a:lnTo>
                    <a:lnTo>
                      <a:pt x="6563" y="6011"/>
                    </a:lnTo>
                    <a:lnTo>
                      <a:pt x="6563" y="5998"/>
                    </a:lnTo>
                    <a:lnTo>
                      <a:pt x="6560" y="5998"/>
                    </a:lnTo>
                    <a:lnTo>
                      <a:pt x="6559" y="5998"/>
                    </a:lnTo>
                    <a:lnTo>
                      <a:pt x="6557" y="5998"/>
                    </a:lnTo>
                    <a:lnTo>
                      <a:pt x="6559" y="5996"/>
                    </a:lnTo>
                    <a:lnTo>
                      <a:pt x="6563" y="5996"/>
                    </a:lnTo>
                    <a:lnTo>
                      <a:pt x="6567" y="5995"/>
                    </a:lnTo>
                    <a:lnTo>
                      <a:pt x="6567" y="5993"/>
                    </a:lnTo>
                    <a:lnTo>
                      <a:pt x="6568" y="5991"/>
                    </a:lnTo>
                    <a:lnTo>
                      <a:pt x="6568" y="5989"/>
                    </a:lnTo>
                    <a:lnTo>
                      <a:pt x="6567" y="5988"/>
                    </a:lnTo>
                    <a:lnTo>
                      <a:pt x="6565" y="5983"/>
                    </a:lnTo>
                    <a:lnTo>
                      <a:pt x="6563" y="5982"/>
                    </a:lnTo>
                    <a:lnTo>
                      <a:pt x="6560" y="5982"/>
                    </a:lnTo>
                    <a:lnTo>
                      <a:pt x="6557" y="5982"/>
                    </a:lnTo>
                    <a:lnTo>
                      <a:pt x="6554" y="5982"/>
                    </a:lnTo>
                    <a:lnTo>
                      <a:pt x="6552" y="5982"/>
                    </a:lnTo>
                    <a:lnTo>
                      <a:pt x="6548" y="5982"/>
                    </a:lnTo>
                    <a:lnTo>
                      <a:pt x="6547" y="5982"/>
                    </a:lnTo>
                    <a:lnTo>
                      <a:pt x="6542" y="5980"/>
                    </a:lnTo>
                    <a:lnTo>
                      <a:pt x="6540" y="5980"/>
                    </a:lnTo>
                    <a:lnTo>
                      <a:pt x="6539" y="5978"/>
                    </a:lnTo>
                    <a:lnTo>
                      <a:pt x="6539" y="5975"/>
                    </a:lnTo>
                    <a:lnTo>
                      <a:pt x="6539" y="5973"/>
                    </a:lnTo>
                    <a:lnTo>
                      <a:pt x="6539" y="5969"/>
                    </a:lnTo>
                    <a:lnTo>
                      <a:pt x="6539" y="5962"/>
                    </a:lnTo>
                    <a:lnTo>
                      <a:pt x="6540" y="5952"/>
                    </a:lnTo>
                    <a:lnTo>
                      <a:pt x="6542" y="5945"/>
                    </a:lnTo>
                    <a:lnTo>
                      <a:pt x="6544" y="5935"/>
                    </a:lnTo>
                    <a:lnTo>
                      <a:pt x="6547" y="5930"/>
                    </a:lnTo>
                    <a:lnTo>
                      <a:pt x="6539" y="5932"/>
                    </a:lnTo>
                    <a:lnTo>
                      <a:pt x="6535" y="5934"/>
                    </a:lnTo>
                    <a:lnTo>
                      <a:pt x="6529" y="5934"/>
                    </a:lnTo>
                    <a:lnTo>
                      <a:pt x="6526" y="5934"/>
                    </a:lnTo>
                    <a:lnTo>
                      <a:pt x="6522" y="5932"/>
                    </a:lnTo>
                    <a:lnTo>
                      <a:pt x="6521" y="5930"/>
                    </a:lnTo>
                    <a:lnTo>
                      <a:pt x="6517" y="5929"/>
                    </a:lnTo>
                    <a:lnTo>
                      <a:pt x="6514" y="5924"/>
                    </a:lnTo>
                    <a:lnTo>
                      <a:pt x="6513" y="5917"/>
                    </a:lnTo>
                    <a:lnTo>
                      <a:pt x="6511" y="5909"/>
                    </a:lnTo>
                    <a:lnTo>
                      <a:pt x="6511" y="5902"/>
                    </a:lnTo>
                    <a:lnTo>
                      <a:pt x="6511" y="5896"/>
                    </a:lnTo>
                    <a:lnTo>
                      <a:pt x="6511" y="5893"/>
                    </a:lnTo>
                    <a:lnTo>
                      <a:pt x="6511" y="5891"/>
                    </a:lnTo>
                    <a:lnTo>
                      <a:pt x="6511" y="5889"/>
                    </a:lnTo>
                    <a:lnTo>
                      <a:pt x="6509" y="5886"/>
                    </a:lnTo>
                    <a:lnTo>
                      <a:pt x="6507" y="5882"/>
                    </a:lnTo>
                    <a:lnTo>
                      <a:pt x="6504" y="5881"/>
                    </a:lnTo>
                    <a:lnTo>
                      <a:pt x="6501" y="5878"/>
                    </a:lnTo>
                    <a:lnTo>
                      <a:pt x="6494" y="5878"/>
                    </a:lnTo>
                    <a:lnTo>
                      <a:pt x="6487" y="5878"/>
                    </a:lnTo>
                    <a:lnTo>
                      <a:pt x="6480" y="5881"/>
                    </a:lnTo>
                    <a:lnTo>
                      <a:pt x="6471" y="5881"/>
                    </a:lnTo>
                    <a:lnTo>
                      <a:pt x="6463" y="5882"/>
                    </a:lnTo>
                    <a:lnTo>
                      <a:pt x="6461" y="5882"/>
                    </a:lnTo>
                    <a:lnTo>
                      <a:pt x="6460" y="5881"/>
                    </a:lnTo>
                    <a:lnTo>
                      <a:pt x="6456" y="5881"/>
                    </a:lnTo>
                    <a:lnTo>
                      <a:pt x="6456" y="5878"/>
                    </a:lnTo>
                    <a:lnTo>
                      <a:pt x="6456" y="5875"/>
                    </a:lnTo>
                    <a:lnTo>
                      <a:pt x="6456" y="5871"/>
                    </a:lnTo>
                    <a:lnTo>
                      <a:pt x="6458" y="5866"/>
                    </a:lnTo>
                    <a:lnTo>
                      <a:pt x="6460" y="5860"/>
                    </a:lnTo>
                    <a:lnTo>
                      <a:pt x="6456" y="5863"/>
                    </a:lnTo>
                    <a:lnTo>
                      <a:pt x="6452" y="5866"/>
                    </a:lnTo>
                    <a:lnTo>
                      <a:pt x="6448" y="5868"/>
                    </a:lnTo>
                    <a:lnTo>
                      <a:pt x="6445" y="5868"/>
                    </a:lnTo>
                    <a:lnTo>
                      <a:pt x="6435" y="5869"/>
                    </a:lnTo>
                    <a:lnTo>
                      <a:pt x="6427" y="5869"/>
                    </a:lnTo>
                    <a:lnTo>
                      <a:pt x="6415" y="5869"/>
                    </a:lnTo>
                    <a:lnTo>
                      <a:pt x="6406" y="5869"/>
                    </a:lnTo>
                    <a:lnTo>
                      <a:pt x="6402" y="5871"/>
                    </a:lnTo>
                    <a:lnTo>
                      <a:pt x="6402" y="5871"/>
                    </a:lnTo>
                    <a:lnTo>
                      <a:pt x="6402" y="5871"/>
                    </a:lnTo>
                    <a:lnTo>
                      <a:pt x="6404" y="5869"/>
                    </a:lnTo>
                    <a:lnTo>
                      <a:pt x="6406" y="5868"/>
                    </a:lnTo>
                    <a:lnTo>
                      <a:pt x="6406" y="5866"/>
                    </a:lnTo>
                    <a:lnTo>
                      <a:pt x="6406" y="5863"/>
                    </a:lnTo>
                    <a:lnTo>
                      <a:pt x="6404" y="5861"/>
                    </a:lnTo>
                    <a:lnTo>
                      <a:pt x="6400" y="5861"/>
                    </a:lnTo>
                    <a:lnTo>
                      <a:pt x="6397" y="5860"/>
                    </a:lnTo>
                    <a:lnTo>
                      <a:pt x="6394" y="5860"/>
                    </a:lnTo>
                    <a:lnTo>
                      <a:pt x="6394" y="5858"/>
                    </a:lnTo>
                    <a:lnTo>
                      <a:pt x="6395" y="5856"/>
                    </a:lnTo>
                    <a:lnTo>
                      <a:pt x="6399" y="5853"/>
                    </a:lnTo>
                    <a:lnTo>
                      <a:pt x="6402" y="5848"/>
                    </a:lnTo>
                    <a:lnTo>
                      <a:pt x="6407" y="5843"/>
                    </a:lnTo>
                    <a:lnTo>
                      <a:pt x="6402" y="5843"/>
                    </a:lnTo>
                    <a:lnTo>
                      <a:pt x="6399" y="5845"/>
                    </a:lnTo>
                    <a:lnTo>
                      <a:pt x="6395" y="5848"/>
                    </a:lnTo>
                    <a:lnTo>
                      <a:pt x="6391" y="5853"/>
                    </a:lnTo>
                    <a:lnTo>
                      <a:pt x="6387" y="5855"/>
                    </a:lnTo>
                    <a:lnTo>
                      <a:pt x="6384" y="5858"/>
                    </a:lnTo>
                    <a:lnTo>
                      <a:pt x="6380" y="5860"/>
                    </a:lnTo>
                    <a:lnTo>
                      <a:pt x="6374" y="5860"/>
                    </a:lnTo>
                    <a:lnTo>
                      <a:pt x="6376" y="5858"/>
                    </a:lnTo>
                    <a:lnTo>
                      <a:pt x="6376" y="5855"/>
                    </a:lnTo>
                    <a:lnTo>
                      <a:pt x="6376" y="5853"/>
                    </a:lnTo>
                    <a:lnTo>
                      <a:pt x="6374" y="5851"/>
                    </a:lnTo>
                    <a:lnTo>
                      <a:pt x="6373" y="5848"/>
                    </a:lnTo>
                    <a:lnTo>
                      <a:pt x="6369" y="5847"/>
                    </a:lnTo>
                    <a:lnTo>
                      <a:pt x="6366" y="5847"/>
                    </a:lnTo>
                    <a:lnTo>
                      <a:pt x="6361" y="5845"/>
                    </a:lnTo>
                    <a:lnTo>
                      <a:pt x="6351" y="5845"/>
                    </a:lnTo>
                    <a:lnTo>
                      <a:pt x="6340" y="5843"/>
                    </a:lnTo>
                    <a:lnTo>
                      <a:pt x="6336" y="5843"/>
                    </a:lnTo>
                    <a:lnTo>
                      <a:pt x="6330" y="5843"/>
                    </a:lnTo>
                    <a:lnTo>
                      <a:pt x="6326" y="5843"/>
                    </a:lnTo>
                    <a:lnTo>
                      <a:pt x="6323" y="5843"/>
                    </a:lnTo>
                    <a:lnTo>
                      <a:pt x="6310" y="5838"/>
                    </a:lnTo>
                    <a:lnTo>
                      <a:pt x="6297" y="5835"/>
                    </a:lnTo>
                    <a:lnTo>
                      <a:pt x="6284" y="5830"/>
                    </a:lnTo>
                    <a:lnTo>
                      <a:pt x="6272" y="5828"/>
                    </a:lnTo>
                    <a:lnTo>
                      <a:pt x="6259" y="5827"/>
                    </a:lnTo>
                    <a:lnTo>
                      <a:pt x="6246" y="5827"/>
                    </a:lnTo>
                    <a:lnTo>
                      <a:pt x="6219" y="5827"/>
                    </a:lnTo>
                    <a:lnTo>
                      <a:pt x="6206" y="5827"/>
                    </a:lnTo>
                    <a:lnTo>
                      <a:pt x="6196" y="5825"/>
                    </a:lnTo>
                    <a:lnTo>
                      <a:pt x="6186" y="5825"/>
                    </a:lnTo>
                    <a:lnTo>
                      <a:pt x="6175" y="5823"/>
                    </a:lnTo>
                    <a:lnTo>
                      <a:pt x="6166" y="5822"/>
                    </a:lnTo>
                    <a:lnTo>
                      <a:pt x="6157" y="5820"/>
                    </a:lnTo>
                    <a:lnTo>
                      <a:pt x="6145" y="5814"/>
                    </a:lnTo>
                    <a:lnTo>
                      <a:pt x="6132" y="5808"/>
                    </a:lnTo>
                    <a:lnTo>
                      <a:pt x="6125" y="5808"/>
                    </a:lnTo>
                    <a:lnTo>
                      <a:pt x="6118" y="5808"/>
                    </a:lnTo>
                    <a:lnTo>
                      <a:pt x="6109" y="5808"/>
                    </a:lnTo>
                    <a:lnTo>
                      <a:pt x="6099" y="5807"/>
                    </a:lnTo>
                    <a:lnTo>
                      <a:pt x="6089" y="5805"/>
                    </a:lnTo>
                    <a:lnTo>
                      <a:pt x="6079" y="5801"/>
                    </a:lnTo>
                    <a:lnTo>
                      <a:pt x="6071" y="5797"/>
                    </a:lnTo>
                    <a:lnTo>
                      <a:pt x="6065" y="5792"/>
                    </a:lnTo>
                    <a:lnTo>
                      <a:pt x="6068" y="5789"/>
                    </a:lnTo>
                    <a:lnTo>
                      <a:pt x="6071" y="5786"/>
                    </a:lnTo>
                    <a:lnTo>
                      <a:pt x="6076" y="5782"/>
                    </a:lnTo>
                    <a:lnTo>
                      <a:pt x="6078" y="5781"/>
                    </a:lnTo>
                    <a:lnTo>
                      <a:pt x="6079" y="5779"/>
                    </a:lnTo>
                    <a:lnTo>
                      <a:pt x="6081" y="5777"/>
                    </a:lnTo>
                    <a:lnTo>
                      <a:pt x="6081" y="5775"/>
                    </a:lnTo>
                    <a:lnTo>
                      <a:pt x="6079" y="5774"/>
                    </a:lnTo>
                    <a:lnTo>
                      <a:pt x="6076" y="5771"/>
                    </a:lnTo>
                    <a:lnTo>
                      <a:pt x="6070" y="5769"/>
                    </a:lnTo>
                    <a:lnTo>
                      <a:pt x="6065" y="5769"/>
                    </a:lnTo>
                    <a:lnTo>
                      <a:pt x="6057" y="5769"/>
                    </a:lnTo>
                    <a:lnTo>
                      <a:pt x="6050" y="5771"/>
                    </a:lnTo>
                    <a:lnTo>
                      <a:pt x="6035" y="5774"/>
                    </a:lnTo>
                    <a:lnTo>
                      <a:pt x="6028" y="5774"/>
                    </a:lnTo>
                    <a:lnTo>
                      <a:pt x="6022" y="5774"/>
                    </a:lnTo>
                    <a:lnTo>
                      <a:pt x="6017" y="5775"/>
                    </a:lnTo>
                    <a:lnTo>
                      <a:pt x="6013" y="5775"/>
                    </a:lnTo>
                    <a:lnTo>
                      <a:pt x="6013" y="5771"/>
                    </a:lnTo>
                    <a:lnTo>
                      <a:pt x="6015" y="5769"/>
                    </a:lnTo>
                    <a:lnTo>
                      <a:pt x="6017" y="5766"/>
                    </a:lnTo>
                    <a:lnTo>
                      <a:pt x="6018" y="5764"/>
                    </a:lnTo>
                    <a:lnTo>
                      <a:pt x="6024" y="5761"/>
                    </a:lnTo>
                    <a:lnTo>
                      <a:pt x="6030" y="5754"/>
                    </a:lnTo>
                    <a:lnTo>
                      <a:pt x="6037" y="5749"/>
                    </a:lnTo>
                    <a:lnTo>
                      <a:pt x="6038" y="5748"/>
                    </a:lnTo>
                    <a:lnTo>
                      <a:pt x="6042" y="5744"/>
                    </a:lnTo>
                    <a:lnTo>
                      <a:pt x="6045" y="5738"/>
                    </a:lnTo>
                    <a:lnTo>
                      <a:pt x="6046" y="5734"/>
                    </a:lnTo>
                    <a:lnTo>
                      <a:pt x="6046" y="5729"/>
                    </a:lnTo>
                    <a:lnTo>
                      <a:pt x="6048" y="5723"/>
                    </a:lnTo>
                    <a:lnTo>
                      <a:pt x="6045" y="5725"/>
                    </a:lnTo>
                    <a:lnTo>
                      <a:pt x="6040" y="5729"/>
                    </a:lnTo>
                    <a:lnTo>
                      <a:pt x="6037" y="5733"/>
                    </a:lnTo>
                    <a:lnTo>
                      <a:pt x="6035" y="5734"/>
                    </a:lnTo>
                    <a:lnTo>
                      <a:pt x="6033" y="5734"/>
                    </a:lnTo>
                    <a:lnTo>
                      <a:pt x="6033" y="5733"/>
                    </a:lnTo>
                    <a:lnTo>
                      <a:pt x="6035" y="5731"/>
                    </a:lnTo>
                    <a:lnTo>
                      <a:pt x="6037" y="5727"/>
                    </a:lnTo>
                    <a:lnTo>
                      <a:pt x="6038" y="5723"/>
                    </a:lnTo>
                    <a:lnTo>
                      <a:pt x="6042" y="5720"/>
                    </a:lnTo>
                    <a:lnTo>
                      <a:pt x="6050" y="5715"/>
                    </a:lnTo>
                    <a:lnTo>
                      <a:pt x="6053" y="5710"/>
                    </a:lnTo>
                    <a:lnTo>
                      <a:pt x="6057" y="5708"/>
                    </a:lnTo>
                    <a:lnTo>
                      <a:pt x="6061" y="5707"/>
                    </a:lnTo>
                    <a:lnTo>
                      <a:pt x="6065" y="5707"/>
                    </a:lnTo>
                    <a:lnTo>
                      <a:pt x="6065" y="5705"/>
                    </a:lnTo>
                    <a:lnTo>
                      <a:pt x="6061" y="5703"/>
                    </a:lnTo>
                    <a:lnTo>
                      <a:pt x="6059" y="5701"/>
                    </a:lnTo>
                    <a:lnTo>
                      <a:pt x="6053" y="5698"/>
                    </a:lnTo>
                    <a:lnTo>
                      <a:pt x="6048" y="5694"/>
                    </a:lnTo>
                    <a:lnTo>
                      <a:pt x="6042" y="5692"/>
                    </a:lnTo>
                    <a:lnTo>
                      <a:pt x="6037" y="5688"/>
                    </a:lnTo>
                    <a:lnTo>
                      <a:pt x="6030" y="5688"/>
                    </a:lnTo>
                    <a:lnTo>
                      <a:pt x="6028" y="5688"/>
                    </a:lnTo>
                    <a:lnTo>
                      <a:pt x="6025" y="5687"/>
                    </a:lnTo>
                    <a:lnTo>
                      <a:pt x="6025" y="5685"/>
                    </a:lnTo>
                    <a:lnTo>
                      <a:pt x="6025" y="5683"/>
                    </a:lnTo>
                    <a:lnTo>
                      <a:pt x="6028" y="5680"/>
                    </a:lnTo>
                    <a:lnTo>
                      <a:pt x="6030" y="5677"/>
                    </a:lnTo>
                    <a:lnTo>
                      <a:pt x="6032" y="5674"/>
                    </a:lnTo>
                    <a:lnTo>
                      <a:pt x="6035" y="5672"/>
                    </a:lnTo>
                    <a:lnTo>
                      <a:pt x="6040" y="5664"/>
                    </a:lnTo>
                    <a:lnTo>
                      <a:pt x="6050" y="5659"/>
                    </a:lnTo>
                    <a:lnTo>
                      <a:pt x="6053" y="5657"/>
                    </a:lnTo>
                    <a:lnTo>
                      <a:pt x="6057" y="5655"/>
                    </a:lnTo>
                    <a:lnTo>
                      <a:pt x="6061" y="5655"/>
                    </a:lnTo>
                    <a:lnTo>
                      <a:pt x="6065" y="5655"/>
                    </a:lnTo>
                    <a:lnTo>
                      <a:pt x="6068" y="5647"/>
                    </a:lnTo>
                    <a:lnTo>
                      <a:pt x="6070" y="5642"/>
                    </a:lnTo>
                    <a:lnTo>
                      <a:pt x="6070" y="5639"/>
                    </a:lnTo>
                    <a:lnTo>
                      <a:pt x="6071" y="5633"/>
                    </a:lnTo>
                    <a:lnTo>
                      <a:pt x="6071" y="5629"/>
                    </a:lnTo>
                    <a:lnTo>
                      <a:pt x="6071" y="5626"/>
                    </a:lnTo>
                    <a:lnTo>
                      <a:pt x="6070" y="5624"/>
                    </a:lnTo>
                    <a:lnTo>
                      <a:pt x="6068" y="5620"/>
                    </a:lnTo>
                    <a:lnTo>
                      <a:pt x="6065" y="5613"/>
                    </a:lnTo>
                    <a:lnTo>
                      <a:pt x="6059" y="5605"/>
                    </a:lnTo>
                    <a:lnTo>
                      <a:pt x="6057" y="5601"/>
                    </a:lnTo>
                    <a:lnTo>
                      <a:pt x="6053" y="5596"/>
                    </a:lnTo>
                    <a:lnTo>
                      <a:pt x="6050" y="5593"/>
                    </a:lnTo>
                    <a:lnTo>
                      <a:pt x="6048" y="5585"/>
                    </a:lnTo>
                    <a:lnTo>
                      <a:pt x="6045" y="5581"/>
                    </a:lnTo>
                    <a:lnTo>
                      <a:pt x="6045" y="5578"/>
                    </a:lnTo>
                    <a:lnTo>
                      <a:pt x="6045" y="5573"/>
                    </a:lnTo>
                    <a:lnTo>
                      <a:pt x="6046" y="5570"/>
                    </a:lnTo>
                    <a:lnTo>
                      <a:pt x="6048" y="5565"/>
                    </a:lnTo>
                    <a:lnTo>
                      <a:pt x="6052" y="5560"/>
                    </a:lnTo>
                    <a:lnTo>
                      <a:pt x="6055" y="5555"/>
                    </a:lnTo>
                    <a:lnTo>
                      <a:pt x="6061" y="5552"/>
                    </a:lnTo>
                    <a:lnTo>
                      <a:pt x="6070" y="5540"/>
                    </a:lnTo>
                    <a:lnTo>
                      <a:pt x="6081" y="5532"/>
                    </a:lnTo>
                    <a:lnTo>
                      <a:pt x="6086" y="5527"/>
                    </a:lnTo>
                    <a:lnTo>
                      <a:pt x="6091" y="5524"/>
                    </a:lnTo>
                    <a:lnTo>
                      <a:pt x="6096" y="5520"/>
                    </a:lnTo>
                    <a:lnTo>
                      <a:pt x="6099" y="5517"/>
                    </a:lnTo>
                    <a:lnTo>
                      <a:pt x="6089" y="5514"/>
                    </a:lnTo>
                    <a:lnTo>
                      <a:pt x="6079" y="5513"/>
                    </a:lnTo>
                    <a:lnTo>
                      <a:pt x="6068" y="5511"/>
                    </a:lnTo>
                    <a:lnTo>
                      <a:pt x="6057" y="5511"/>
                    </a:lnTo>
                    <a:lnTo>
                      <a:pt x="6046" y="5513"/>
                    </a:lnTo>
                    <a:lnTo>
                      <a:pt x="6037" y="5513"/>
                    </a:lnTo>
                    <a:lnTo>
                      <a:pt x="6015" y="5514"/>
                    </a:lnTo>
                    <a:lnTo>
                      <a:pt x="6004" y="5514"/>
                    </a:lnTo>
                    <a:lnTo>
                      <a:pt x="5994" y="5514"/>
                    </a:lnTo>
                    <a:lnTo>
                      <a:pt x="5985" y="5514"/>
                    </a:lnTo>
                    <a:lnTo>
                      <a:pt x="5976" y="5514"/>
                    </a:lnTo>
                    <a:lnTo>
                      <a:pt x="5966" y="5513"/>
                    </a:lnTo>
                    <a:lnTo>
                      <a:pt x="5959" y="5509"/>
                    </a:lnTo>
                    <a:lnTo>
                      <a:pt x="5950" y="5506"/>
                    </a:lnTo>
                    <a:lnTo>
                      <a:pt x="5944" y="5499"/>
                    </a:lnTo>
                    <a:lnTo>
                      <a:pt x="5941" y="5496"/>
                    </a:lnTo>
                    <a:lnTo>
                      <a:pt x="5939" y="5493"/>
                    </a:lnTo>
                    <a:lnTo>
                      <a:pt x="5938" y="5489"/>
                    </a:lnTo>
                    <a:lnTo>
                      <a:pt x="5938" y="5483"/>
                    </a:lnTo>
                    <a:lnTo>
                      <a:pt x="5938" y="5478"/>
                    </a:lnTo>
                    <a:lnTo>
                      <a:pt x="5938" y="5474"/>
                    </a:lnTo>
                    <a:lnTo>
                      <a:pt x="5938" y="5463"/>
                    </a:lnTo>
                    <a:lnTo>
                      <a:pt x="5939" y="5452"/>
                    </a:lnTo>
                    <a:lnTo>
                      <a:pt x="5941" y="5440"/>
                    </a:lnTo>
                    <a:lnTo>
                      <a:pt x="5943" y="5426"/>
                    </a:lnTo>
                    <a:lnTo>
                      <a:pt x="5944" y="5413"/>
                    </a:lnTo>
                    <a:lnTo>
                      <a:pt x="5946" y="5404"/>
                    </a:lnTo>
                    <a:lnTo>
                      <a:pt x="5948" y="5397"/>
                    </a:lnTo>
                    <a:lnTo>
                      <a:pt x="5948" y="5391"/>
                    </a:lnTo>
                    <a:lnTo>
                      <a:pt x="5948" y="5386"/>
                    </a:lnTo>
                    <a:lnTo>
                      <a:pt x="5946" y="5382"/>
                    </a:lnTo>
                    <a:lnTo>
                      <a:pt x="5944" y="5378"/>
                    </a:lnTo>
                    <a:lnTo>
                      <a:pt x="5941" y="5376"/>
                    </a:lnTo>
                    <a:lnTo>
                      <a:pt x="5938" y="5374"/>
                    </a:lnTo>
                    <a:lnTo>
                      <a:pt x="5933" y="5372"/>
                    </a:lnTo>
                    <a:lnTo>
                      <a:pt x="5928" y="5372"/>
                    </a:lnTo>
                    <a:lnTo>
                      <a:pt x="5917" y="5371"/>
                    </a:lnTo>
                    <a:lnTo>
                      <a:pt x="5911" y="5369"/>
                    </a:lnTo>
                    <a:lnTo>
                      <a:pt x="5905" y="5367"/>
                    </a:lnTo>
                    <a:lnTo>
                      <a:pt x="5898" y="5366"/>
                    </a:lnTo>
                    <a:lnTo>
                      <a:pt x="5893" y="5361"/>
                    </a:lnTo>
                    <a:lnTo>
                      <a:pt x="5880" y="5361"/>
                    </a:lnTo>
                    <a:lnTo>
                      <a:pt x="5874" y="5361"/>
                    </a:lnTo>
                    <a:lnTo>
                      <a:pt x="5869" y="5361"/>
                    </a:lnTo>
                    <a:lnTo>
                      <a:pt x="5865" y="5361"/>
                    </a:lnTo>
                    <a:lnTo>
                      <a:pt x="5862" y="5361"/>
                    </a:lnTo>
                    <a:lnTo>
                      <a:pt x="5857" y="5361"/>
                    </a:lnTo>
                    <a:lnTo>
                      <a:pt x="5852" y="5364"/>
                    </a:lnTo>
                    <a:lnTo>
                      <a:pt x="5844" y="5366"/>
                    </a:lnTo>
                    <a:lnTo>
                      <a:pt x="5839" y="5367"/>
                    </a:lnTo>
                    <a:lnTo>
                      <a:pt x="5832" y="5369"/>
                    </a:lnTo>
                    <a:lnTo>
                      <a:pt x="5826" y="5369"/>
                    </a:lnTo>
                    <a:lnTo>
                      <a:pt x="5823" y="5369"/>
                    </a:lnTo>
                    <a:lnTo>
                      <a:pt x="5819" y="5369"/>
                    </a:lnTo>
                    <a:lnTo>
                      <a:pt x="5816" y="5369"/>
                    </a:lnTo>
                    <a:lnTo>
                      <a:pt x="5813" y="5367"/>
                    </a:lnTo>
                    <a:lnTo>
                      <a:pt x="5810" y="5366"/>
                    </a:lnTo>
                    <a:lnTo>
                      <a:pt x="5806" y="5361"/>
                    </a:lnTo>
                    <a:lnTo>
                      <a:pt x="5806" y="5358"/>
                    </a:lnTo>
                    <a:lnTo>
                      <a:pt x="5804" y="5356"/>
                    </a:lnTo>
                    <a:lnTo>
                      <a:pt x="5803" y="5352"/>
                    </a:lnTo>
                    <a:lnTo>
                      <a:pt x="5798" y="5349"/>
                    </a:lnTo>
                    <a:lnTo>
                      <a:pt x="5793" y="5346"/>
                    </a:lnTo>
                    <a:lnTo>
                      <a:pt x="5790" y="5343"/>
                    </a:lnTo>
                    <a:lnTo>
                      <a:pt x="5778" y="5338"/>
                    </a:lnTo>
                    <a:lnTo>
                      <a:pt x="5767" y="5334"/>
                    </a:lnTo>
                    <a:lnTo>
                      <a:pt x="5757" y="5330"/>
                    </a:lnTo>
                    <a:lnTo>
                      <a:pt x="5750" y="5328"/>
                    </a:lnTo>
                    <a:lnTo>
                      <a:pt x="5745" y="5328"/>
                    </a:lnTo>
                    <a:lnTo>
                      <a:pt x="5742" y="5328"/>
                    </a:lnTo>
                    <a:lnTo>
                      <a:pt x="5737" y="5328"/>
                    </a:lnTo>
                    <a:lnTo>
                      <a:pt x="5729" y="5328"/>
                    </a:lnTo>
                    <a:lnTo>
                      <a:pt x="5721" y="5328"/>
                    </a:lnTo>
                    <a:lnTo>
                      <a:pt x="5716" y="5330"/>
                    </a:lnTo>
                    <a:lnTo>
                      <a:pt x="5710" y="5334"/>
                    </a:lnTo>
                    <a:lnTo>
                      <a:pt x="5706" y="5336"/>
                    </a:lnTo>
                    <a:lnTo>
                      <a:pt x="5704" y="5339"/>
                    </a:lnTo>
                    <a:lnTo>
                      <a:pt x="5703" y="5343"/>
                    </a:lnTo>
                    <a:lnTo>
                      <a:pt x="5701" y="5346"/>
                    </a:lnTo>
                    <a:lnTo>
                      <a:pt x="5701" y="5351"/>
                    </a:lnTo>
                    <a:lnTo>
                      <a:pt x="5701" y="5356"/>
                    </a:lnTo>
                    <a:lnTo>
                      <a:pt x="5701" y="5364"/>
                    </a:lnTo>
                    <a:lnTo>
                      <a:pt x="5703" y="5372"/>
                    </a:lnTo>
                    <a:lnTo>
                      <a:pt x="5703" y="5380"/>
                    </a:lnTo>
                    <a:lnTo>
                      <a:pt x="5697" y="5386"/>
                    </a:lnTo>
                    <a:lnTo>
                      <a:pt x="5690" y="5389"/>
                    </a:lnTo>
                    <a:lnTo>
                      <a:pt x="5684" y="5392"/>
                    </a:lnTo>
                    <a:lnTo>
                      <a:pt x="5676" y="5395"/>
                    </a:lnTo>
                    <a:lnTo>
                      <a:pt x="5671" y="5395"/>
                    </a:lnTo>
                    <a:lnTo>
                      <a:pt x="5664" y="5397"/>
                    </a:lnTo>
                    <a:lnTo>
                      <a:pt x="5651" y="5397"/>
                    </a:lnTo>
                    <a:lnTo>
                      <a:pt x="5656" y="5389"/>
                    </a:lnTo>
                    <a:lnTo>
                      <a:pt x="5660" y="5386"/>
                    </a:lnTo>
                    <a:lnTo>
                      <a:pt x="5660" y="5382"/>
                    </a:lnTo>
                    <a:lnTo>
                      <a:pt x="5663" y="5376"/>
                    </a:lnTo>
                    <a:lnTo>
                      <a:pt x="5663" y="5372"/>
                    </a:lnTo>
                    <a:lnTo>
                      <a:pt x="5664" y="5369"/>
                    </a:lnTo>
                    <a:lnTo>
                      <a:pt x="5663" y="5366"/>
                    </a:lnTo>
                    <a:lnTo>
                      <a:pt x="5663" y="5364"/>
                    </a:lnTo>
                    <a:lnTo>
                      <a:pt x="5660" y="5361"/>
                    </a:lnTo>
                    <a:lnTo>
                      <a:pt x="5656" y="5358"/>
                    </a:lnTo>
                    <a:lnTo>
                      <a:pt x="5655" y="5358"/>
                    </a:lnTo>
                    <a:lnTo>
                      <a:pt x="5651" y="5358"/>
                    </a:lnTo>
                    <a:lnTo>
                      <a:pt x="5645" y="5358"/>
                    </a:lnTo>
                    <a:lnTo>
                      <a:pt x="5640" y="5359"/>
                    </a:lnTo>
                    <a:lnTo>
                      <a:pt x="5635" y="5361"/>
                    </a:lnTo>
                    <a:lnTo>
                      <a:pt x="5622" y="5376"/>
                    </a:lnTo>
                    <a:lnTo>
                      <a:pt x="5612" y="5389"/>
                    </a:lnTo>
                    <a:lnTo>
                      <a:pt x="5602" y="5404"/>
                    </a:lnTo>
                    <a:lnTo>
                      <a:pt x="5592" y="5417"/>
                    </a:lnTo>
                    <a:lnTo>
                      <a:pt x="5587" y="5425"/>
                    </a:lnTo>
                    <a:lnTo>
                      <a:pt x="5581" y="5430"/>
                    </a:lnTo>
                    <a:lnTo>
                      <a:pt x="5577" y="5435"/>
                    </a:lnTo>
                    <a:lnTo>
                      <a:pt x="5572" y="5440"/>
                    </a:lnTo>
                    <a:lnTo>
                      <a:pt x="5566" y="5443"/>
                    </a:lnTo>
                    <a:lnTo>
                      <a:pt x="5561" y="5446"/>
                    </a:lnTo>
                    <a:lnTo>
                      <a:pt x="5556" y="5446"/>
                    </a:lnTo>
                    <a:lnTo>
                      <a:pt x="5549" y="5448"/>
                    </a:lnTo>
                    <a:lnTo>
                      <a:pt x="5556" y="5441"/>
                    </a:lnTo>
                    <a:lnTo>
                      <a:pt x="5559" y="5435"/>
                    </a:lnTo>
                    <a:lnTo>
                      <a:pt x="5563" y="5430"/>
                    </a:lnTo>
                    <a:lnTo>
                      <a:pt x="5566" y="5425"/>
                    </a:lnTo>
                    <a:lnTo>
                      <a:pt x="5569" y="5420"/>
                    </a:lnTo>
                    <a:lnTo>
                      <a:pt x="5574" y="5417"/>
                    </a:lnTo>
                    <a:lnTo>
                      <a:pt x="5577" y="5413"/>
                    </a:lnTo>
                    <a:lnTo>
                      <a:pt x="5582" y="5413"/>
                    </a:lnTo>
                    <a:lnTo>
                      <a:pt x="5577" y="5412"/>
                    </a:lnTo>
                    <a:lnTo>
                      <a:pt x="5569" y="5412"/>
                    </a:lnTo>
                    <a:lnTo>
                      <a:pt x="5564" y="5412"/>
                    </a:lnTo>
                    <a:lnTo>
                      <a:pt x="5559" y="5412"/>
                    </a:lnTo>
                    <a:lnTo>
                      <a:pt x="5553" y="5413"/>
                    </a:lnTo>
                    <a:lnTo>
                      <a:pt x="5548" y="5415"/>
                    </a:lnTo>
                    <a:lnTo>
                      <a:pt x="5536" y="5419"/>
                    </a:lnTo>
                    <a:lnTo>
                      <a:pt x="5526" y="5426"/>
                    </a:lnTo>
                    <a:lnTo>
                      <a:pt x="5516" y="5433"/>
                    </a:lnTo>
                    <a:lnTo>
                      <a:pt x="5505" y="5441"/>
                    </a:lnTo>
                    <a:lnTo>
                      <a:pt x="5495" y="5450"/>
                    </a:lnTo>
                    <a:lnTo>
                      <a:pt x="5474" y="5468"/>
                    </a:lnTo>
                    <a:lnTo>
                      <a:pt x="5462" y="5476"/>
                    </a:lnTo>
                    <a:lnTo>
                      <a:pt x="5450" y="5483"/>
                    </a:lnTo>
                    <a:lnTo>
                      <a:pt x="5437" y="5491"/>
                    </a:lnTo>
                    <a:lnTo>
                      <a:pt x="5424" y="5494"/>
                    </a:lnTo>
                    <a:lnTo>
                      <a:pt x="5416" y="5496"/>
                    </a:lnTo>
                    <a:lnTo>
                      <a:pt x="5409" y="5498"/>
                    </a:lnTo>
                    <a:lnTo>
                      <a:pt x="5402" y="5499"/>
                    </a:lnTo>
                    <a:lnTo>
                      <a:pt x="5395" y="5499"/>
                    </a:lnTo>
                    <a:lnTo>
                      <a:pt x="5382" y="5498"/>
                    </a:lnTo>
                    <a:lnTo>
                      <a:pt x="5370" y="5496"/>
                    </a:lnTo>
                    <a:lnTo>
                      <a:pt x="5362" y="5494"/>
                    </a:lnTo>
                    <a:lnTo>
                      <a:pt x="5350" y="5491"/>
                    </a:lnTo>
                    <a:lnTo>
                      <a:pt x="5341" y="5487"/>
                    </a:lnTo>
                    <a:lnTo>
                      <a:pt x="5332" y="5486"/>
                    </a:lnTo>
                    <a:lnTo>
                      <a:pt x="5321" y="5483"/>
                    </a:lnTo>
                    <a:lnTo>
                      <a:pt x="5308" y="5481"/>
                    </a:lnTo>
                    <a:lnTo>
                      <a:pt x="5304" y="5481"/>
                    </a:lnTo>
                    <a:lnTo>
                      <a:pt x="5301" y="5483"/>
                    </a:lnTo>
                    <a:lnTo>
                      <a:pt x="5294" y="5483"/>
                    </a:lnTo>
                    <a:lnTo>
                      <a:pt x="5289" y="5483"/>
                    </a:lnTo>
                    <a:lnTo>
                      <a:pt x="5280" y="5486"/>
                    </a:lnTo>
                    <a:lnTo>
                      <a:pt x="5269" y="5487"/>
                    </a:lnTo>
                    <a:lnTo>
                      <a:pt x="5266" y="5487"/>
                    </a:lnTo>
                    <a:lnTo>
                      <a:pt x="5260" y="5486"/>
                    </a:lnTo>
                    <a:lnTo>
                      <a:pt x="5258" y="5483"/>
                    </a:lnTo>
                    <a:lnTo>
                      <a:pt x="5255" y="5481"/>
                    </a:lnTo>
                    <a:lnTo>
                      <a:pt x="5253" y="5479"/>
                    </a:lnTo>
                    <a:lnTo>
                      <a:pt x="5253" y="5476"/>
                    </a:lnTo>
                    <a:lnTo>
                      <a:pt x="5255" y="5471"/>
                    </a:lnTo>
                    <a:lnTo>
                      <a:pt x="5256" y="5465"/>
                    </a:lnTo>
                    <a:lnTo>
                      <a:pt x="5248" y="5465"/>
                    </a:lnTo>
                    <a:lnTo>
                      <a:pt x="5243" y="5466"/>
                    </a:lnTo>
                    <a:lnTo>
                      <a:pt x="5236" y="5468"/>
                    </a:lnTo>
                    <a:lnTo>
                      <a:pt x="5228" y="5471"/>
                    </a:lnTo>
                    <a:lnTo>
                      <a:pt x="5212" y="5476"/>
                    </a:lnTo>
                    <a:lnTo>
                      <a:pt x="5195" y="5481"/>
                    </a:lnTo>
                    <a:lnTo>
                      <a:pt x="5181" y="5489"/>
                    </a:lnTo>
                    <a:lnTo>
                      <a:pt x="5164" y="5494"/>
                    </a:lnTo>
                    <a:lnTo>
                      <a:pt x="5156" y="5496"/>
                    </a:lnTo>
                    <a:lnTo>
                      <a:pt x="5149" y="5498"/>
                    </a:lnTo>
                    <a:lnTo>
                      <a:pt x="5141" y="5499"/>
                    </a:lnTo>
                    <a:lnTo>
                      <a:pt x="5136" y="5499"/>
                    </a:lnTo>
                    <a:lnTo>
                      <a:pt x="5136" y="5494"/>
                    </a:lnTo>
                    <a:lnTo>
                      <a:pt x="5136" y="5489"/>
                    </a:lnTo>
                    <a:lnTo>
                      <a:pt x="5136" y="5486"/>
                    </a:lnTo>
                    <a:lnTo>
                      <a:pt x="5136" y="5481"/>
                    </a:lnTo>
                    <a:lnTo>
                      <a:pt x="5136" y="5479"/>
                    </a:lnTo>
                    <a:lnTo>
                      <a:pt x="5136" y="5476"/>
                    </a:lnTo>
                    <a:lnTo>
                      <a:pt x="5136" y="5471"/>
                    </a:lnTo>
                    <a:lnTo>
                      <a:pt x="5136" y="5465"/>
                    </a:lnTo>
                    <a:lnTo>
                      <a:pt x="5123" y="5465"/>
                    </a:lnTo>
                    <a:lnTo>
                      <a:pt x="5116" y="5465"/>
                    </a:lnTo>
                    <a:lnTo>
                      <a:pt x="5110" y="5463"/>
                    </a:lnTo>
                    <a:lnTo>
                      <a:pt x="5103" y="5461"/>
                    </a:lnTo>
                    <a:lnTo>
                      <a:pt x="5097" y="5458"/>
                    </a:lnTo>
                    <a:lnTo>
                      <a:pt x="5090" y="5453"/>
                    </a:lnTo>
                    <a:lnTo>
                      <a:pt x="5085" y="5448"/>
                    </a:lnTo>
                    <a:lnTo>
                      <a:pt x="5079" y="5448"/>
                    </a:lnTo>
                    <a:lnTo>
                      <a:pt x="5075" y="5448"/>
                    </a:lnTo>
                    <a:lnTo>
                      <a:pt x="5072" y="5448"/>
                    </a:lnTo>
                    <a:lnTo>
                      <a:pt x="5070" y="5450"/>
                    </a:lnTo>
                    <a:lnTo>
                      <a:pt x="5068" y="5452"/>
                    </a:lnTo>
                    <a:lnTo>
                      <a:pt x="5068" y="5456"/>
                    </a:lnTo>
                    <a:lnTo>
                      <a:pt x="5068" y="5460"/>
                    </a:lnTo>
                    <a:lnTo>
                      <a:pt x="5068" y="5465"/>
                    </a:lnTo>
                    <a:lnTo>
                      <a:pt x="5060" y="5465"/>
                    </a:lnTo>
                    <a:lnTo>
                      <a:pt x="5055" y="5461"/>
                    </a:lnTo>
                    <a:lnTo>
                      <a:pt x="5049" y="5460"/>
                    </a:lnTo>
                    <a:lnTo>
                      <a:pt x="5046" y="5453"/>
                    </a:lnTo>
                    <a:lnTo>
                      <a:pt x="5044" y="5452"/>
                    </a:lnTo>
                    <a:lnTo>
                      <a:pt x="5044" y="5448"/>
                    </a:lnTo>
                    <a:lnTo>
                      <a:pt x="5042" y="5446"/>
                    </a:lnTo>
                    <a:lnTo>
                      <a:pt x="5044" y="5443"/>
                    </a:lnTo>
                    <a:lnTo>
                      <a:pt x="5044" y="5441"/>
                    </a:lnTo>
                    <a:lnTo>
                      <a:pt x="5046" y="5437"/>
                    </a:lnTo>
                    <a:lnTo>
                      <a:pt x="5047" y="5433"/>
                    </a:lnTo>
                    <a:lnTo>
                      <a:pt x="5049" y="5432"/>
                    </a:lnTo>
                    <a:lnTo>
                      <a:pt x="5044" y="5432"/>
                    </a:lnTo>
                    <a:lnTo>
                      <a:pt x="5041" y="5430"/>
                    </a:lnTo>
                    <a:lnTo>
                      <a:pt x="5036" y="5430"/>
                    </a:lnTo>
                    <a:lnTo>
                      <a:pt x="5034" y="5428"/>
                    </a:lnTo>
                    <a:lnTo>
                      <a:pt x="5034" y="5426"/>
                    </a:lnTo>
                    <a:lnTo>
                      <a:pt x="5033" y="5425"/>
                    </a:lnTo>
                    <a:lnTo>
                      <a:pt x="5033" y="5419"/>
                    </a:lnTo>
                    <a:lnTo>
                      <a:pt x="5033" y="5413"/>
                    </a:lnTo>
                    <a:lnTo>
                      <a:pt x="5026" y="5413"/>
                    </a:lnTo>
                    <a:lnTo>
                      <a:pt x="5018" y="5412"/>
                    </a:lnTo>
                    <a:lnTo>
                      <a:pt x="5009" y="5407"/>
                    </a:lnTo>
                    <a:lnTo>
                      <a:pt x="4998" y="5404"/>
                    </a:lnTo>
                    <a:lnTo>
                      <a:pt x="4988" y="5402"/>
                    </a:lnTo>
                    <a:lnTo>
                      <a:pt x="4980" y="5399"/>
                    </a:lnTo>
                    <a:lnTo>
                      <a:pt x="4972" y="5397"/>
                    </a:lnTo>
                    <a:lnTo>
                      <a:pt x="4965" y="5397"/>
                    </a:lnTo>
                    <a:lnTo>
                      <a:pt x="4952" y="5397"/>
                    </a:lnTo>
                    <a:lnTo>
                      <a:pt x="4939" y="5399"/>
                    </a:lnTo>
                    <a:lnTo>
                      <a:pt x="4926" y="5402"/>
                    </a:lnTo>
                    <a:lnTo>
                      <a:pt x="4913" y="5404"/>
                    </a:lnTo>
                    <a:lnTo>
                      <a:pt x="4899" y="5407"/>
                    </a:lnTo>
                    <a:lnTo>
                      <a:pt x="4887" y="5412"/>
                    </a:lnTo>
                    <a:lnTo>
                      <a:pt x="4874" y="5413"/>
                    </a:lnTo>
                    <a:lnTo>
                      <a:pt x="4861" y="5413"/>
                    </a:lnTo>
                    <a:lnTo>
                      <a:pt x="4861" y="5410"/>
                    </a:lnTo>
                    <a:lnTo>
                      <a:pt x="4863" y="5407"/>
                    </a:lnTo>
                    <a:lnTo>
                      <a:pt x="4863" y="5405"/>
                    </a:lnTo>
                    <a:lnTo>
                      <a:pt x="4861" y="5402"/>
                    </a:lnTo>
                    <a:lnTo>
                      <a:pt x="4861" y="5400"/>
                    </a:lnTo>
                    <a:lnTo>
                      <a:pt x="4860" y="5399"/>
                    </a:lnTo>
                    <a:lnTo>
                      <a:pt x="4853" y="5395"/>
                    </a:lnTo>
                    <a:lnTo>
                      <a:pt x="4848" y="5392"/>
                    </a:lnTo>
                    <a:lnTo>
                      <a:pt x="4841" y="5391"/>
                    </a:lnTo>
                    <a:lnTo>
                      <a:pt x="4833" y="5389"/>
                    </a:lnTo>
                    <a:lnTo>
                      <a:pt x="4825" y="5387"/>
                    </a:lnTo>
                    <a:lnTo>
                      <a:pt x="4806" y="5384"/>
                    </a:lnTo>
                    <a:lnTo>
                      <a:pt x="4799" y="5382"/>
                    </a:lnTo>
                    <a:lnTo>
                      <a:pt x="4791" y="5380"/>
                    </a:lnTo>
                    <a:lnTo>
                      <a:pt x="4784" y="5376"/>
                    </a:lnTo>
                    <a:lnTo>
                      <a:pt x="4780" y="5372"/>
                    </a:lnTo>
                    <a:lnTo>
                      <a:pt x="4779" y="5371"/>
                    </a:lnTo>
                    <a:lnTo>
                      <a:pt x="4776" y="5367"/>
                    </a:lnTo>
                    <a:lnTo>
                      <a:pt x="4774" y="5366"/>
                    </a:lnTo>
                    <a:lnTo>
                      <a:pt x="4774" y="5361"/>
                    </a:lnTo>
                    <a:lnTo>
                      <a:pt x="4776" y="5354"/>
                    </a:lnTo>
                    <a:lnTo>
                      <a:pt x="4779" y="5346"/>
                    </a:lnTo>
                    <a:lnTo>
                      <a:pt x="4780" y="5338"/>
                    </a:lnTo>
                    <a:lnTo>
                      <a:pt x="4784" y="5328"/>
                    </a:lnTo>
                    <a:lnTo>
                      <a:pt x="4787" y="5317"/>
                    </a:lnTo>
                    <a:lnTo>
                      <a:pt x="4789" y="5308"/>
                    </a:lnTo>
                    <a:lnTo>
                      <a:pt x="4791" y="5300"/>
                    </a:lnTo>
                    <a:lnTo>
                      <a:pt x="4792" y="5293"/>
                    </a:lnTo>
                    <a:lnTo>
                      <a:pt x="4791" y="5287"/>
                    </a:lnTo>
                    <a:lnTo>
                      <a:pt x="4791" y="5280"/>
                    </a:lnTo>
                    <a:lnTo>
                      <a:pt x="4789" y="5277"/>
                    </a:lnTo>
                    <a:lnTo>
                      <a:pt x="4787" y="5271"/>
                    </a:lnTo>
                    <a:lnTo>
                      <a:pt x="4784" y="5267"/>
                    </a:lnTo>
                    <a:lnTo>
                      <a:pt x="4782" y="5262"/>
                    </a:lnTo>
                    <a:lnTo>
                      <a:pt x="4779" y="5260"/>
                    </a:lnTo>
                    <a:lnTo>
                      <a:pt x="4774" y="5256"/>
                    </a:lnTo>
                    <a:lnTo>
                      <a:pt x="4772" y="5254"/>
                    </a:lnTo>
                    <a:lnTo>
                      <a:pt x="4769" y="5252"/>
                    </a:lnTo>
                    <a:lnTo>
                      <a:pt x="4766" y="5252"/>
                    </a:lnTo>
                    <a:lnTo>
                      <a:pt x="4764" y="5252"/>
                    </a:lnTo>
                    <a:lnTo>
                      <a:pt x="4761" y="5252"/>
                    </a:lnTo>
                    <a:lnTo>
                      <a:pt x="4759" y="5254"/>
                    </a:lnTo>
                    <a:lnTo>
                      <a:pt x="4758" y="5256"/>
                    </a:lnTo>
                    <a:lnTo>
                      <a:pt x="4758" y="5259"/>
                    </a:lnTo>
                    <a:lnTo>
                      <a:pt x="4758" y="5260"/>
                    </a:lnTo>
                    <a:lnTo>
                      <a:pt x="4758" y="5262"/>
                    </a:lnTo>
                    <a:lnTo>
                      <a:pt x="4758" y="5264"/>
                    </a:lnTo>
                    <a:lnTo>
                      <a:pt x="4756" y="5265"/>
                    </a:lnTo>
                    <a:lnTo>
                      <a:pt x="4756" y="5269"/>
                    </a:lnTo>
                    <a:lnTo>
                      <a:pt x="4754" y="5275"/>
                    </a:lnTo>
                    <a:lnTo>
                      <a:pt x="4754" y="5280"/>
                    </a:lnTo>
                    <a:lnTo>
                      <a:pt x="4752" y="5285"/>
                    </a:lnTo>
                    <a:lnTo>
                      <a:pt x="4751" y="5295"/>
                    </a:lnTo>
                    <a:lnTo>
                      <a:pt x="4749" y="5305"/>
                    </a:lnTo>
                    <a:lnTo>
                      <a:pt x="4746" y="5315"/>
                    </a:lnTo>
                    <a:lnTo>
                      <a:pt x="4745" y="5323"/>
                    </a:lnTo>
                    <a:lnTo>
                      <a:pt x="4743" y="5330"/>
                    </a:lnTo>
                    <a:lnTo>
                      <a:pt x="4741" y="5338"/>
                    </a:lnTo>
                    <a:lnTo>
                      <a:pt x="4741" y="5345"/>
                    </a:lnTo>
                    <a:lnTo>
                      <a:pt x="4739" y="5345"/>
                    </a:lnTo>
                    <a:lnTo>
                      <a:pt x="4738" y="5345"/>
                    </a:lnTo>
                    <a:lnTo>
                      <a:pt x="4733" y="5345"/>
                    </a:lnTo>
                    <a:lnTo>
                      <a:pt x="4725" y="5345"/>
                    </a:lnTo>
                    <a:lnTo>
                      <a:pt x="4713" y="5345"/>
                    </a:lnTo>
                    <a:lnTo>
                      <a:pt x="4708" y="5345"/>
                    </a:lnTo>
                    <a:lnTo>
                      <a:pt x="4698" y="5345"/>
                    </a:lnTo>
                    <a:lnTo>
                      <a:pt x="4690" y="5345"/>
                    </a:lnTo>
                    <a:lnTo>
                      <a:pt x="4679" y="5345"/>
                    </a:lnTo>
                    <a:lnTo>
                      <a:pt x="4665" y="5345"/>
                    </a:lnTo>
                    <a:lnTo>
                      <a:pt x="4652" y="5345"/>
                    </a:lnTo>
                    <a:lnTo>
                      <a:pt x="4636" y="5345"/>
                    </a:lnTo>
                    <a:lnTo>
                      <a:pt x="4619" y="5345"/>
                    </a:lnTo>
                    <a:lnTo>
                      <a:pt x="4601" y="5345"/>
                    </a:lnTo>
                    <a:lnTo>
                      <a:pt x="4581" y="5345"/>
                    </a:lnTo>
                    <a:lnTo>
                      <a:pt x="4557" y="5345"/>
                    </a:lnTo>
                    <a:lnTo>
                      <a:pt x="4532" y="5345"/>
                    </a:lnTo>
                    <a:lnTo>
                      <a:pt x="4505" y="5345"/>
                    </a:lnTo>
                    <a:lnTo>
                      <a:pt x="4476" y="5345"/>
                    </a:lnTo>
                    <a:lnTo>
                      <a:pt x="4445" y="5345"/>
                    </a:lnTo>
                    <a:lnTo>
                      <a:pt x="4409" y="5345"/>
                    </a:lnTo>
                    <a:lnTo>
                      <a:pt x="4372" y="5345"/>
                    </a:lnTo>
                    <a:lnTo>
                      <a:pt x="4333" y="5345"/>
                    </a:lnTo>
                    <a:lnTo>
                      <a:pt x="4291" y="5345"/>
                    </a:lnTo>
                    <a:lnTo>
                      <a:pt x="4247" y="5345"/>
                    </a:lnTo>
                    <a:lnTo>
                      <a:pt x="4198" y="5345"/>
                    </a:lnTo>
                    <a:lnTo>
                      <a:pt x="4147" y="5345"/>
                    </a:lnTo>
                    <a:lnTo>
                      <a:pt x="4094" y="5345"/>
                    </a:lnTo>
                    <a:lnTo>
                      <a:pt x="4036" y="5345"/>
                    </a:lnTo>
                    <a:lnTo>
                      <a:pt x="3977" y="5345"/>
                    </a:lnTo>
                    <a:lnTo>
                      <a:pt x="3913" y="5345"/>
                    </a:lnTo>
                    <a:lnTo>
                      <a:pt x="3846" y="5345"/>
                    </a:lnTo>
                    <a:lnTo>
                      <a:pt x="3775" y="5345"/>
                    </a:lnTo>
                    <a:lnTo>
                      <a:pt x="3701" y="5345"/>
                    </a:lnTo>
                    <a:lnTo>
                      <a:pt x="3623" y="5345"/>
                    </a:lnTo>
                    <a:lnTo>
                      <a:pt x="3541" y="5345"/>
                    </a:lnTo>
                    <a:lnTo>
                      <a:pt x="3455" y="5345"/>
                    </a:lnTo>
                    <a:lnTo>
                      <a:pt x="3366" y="5345"/>
                    </a:lnTo>
                    <a:lnTo>
                      <a:pt x="3272" y="5345"/>
                    </a:lnTo>
                    <a:lnTo>
                      <a:pt x="3174" y="5345"/>
                    </a:lnTo>
                    <a:lnTo>
                      <a:pt x="3073" y="5345"/>
                    </a:lnTo>
                    <a:lnTo>
                      <a:pt x="2966" y="5345"/>
                    </a:lnTo>
                    <a:lnTo>
                      <a:pt x="2855" y="5345"/>
                    </a:lnTo>
                    <a:lnTo>
                      <a:pt x="2739" y="5345"/>
                    </a:lnTo>
                    <a:lnTo>
                      <a:pt x="2619" y="5345"/>
                    </a:lnTo>
                    <a:lnTo>
                      <a:pt x="2495" y="5345"/>
                    </a:lnTo>
                    <a:lnTo>
                      <a:pt x="2366" y="5345"/>
                    </a:lnTo>
                    <a:lnTo>
                      <a:pt x="2298" y="5345"/>
                    </a:lnTo>
                    <a:lnTo>
                      <a:pt x="2231" y="5345"/>
                    </a:lnTo>
                    <a:lnTo>
                      <a:pt x="2161" y="5345"/>
                    </a:lnTo>
                    <a:lnTo>
                      <a:pt x="2091" y="5345"/>
                    </a:lnTo>
                    <a:lnTo>
                      <a:pt x="2020" y="5345"/>
                    </a:lnTo>
                    <a:lnTo>
                      <a:pt x="1947" y="5345"/>
                    </a:lnTo>
                    <a:lnTo>
                      <a:pt x="1873" y="5345"/>
                    </a:lnTo>
                    <a:lnTo>
                      <a:pt x="1798" y="5345"/>
                    </a:lnTo>
                    <a:lnTo>
                      <a:pt x="1720" y="5345"/>
                    </a:lnTo>
                    <a:lnTo>
                      <a:pt x="1643" y="5345"/>
                    </a:lnTo>
                    <a:lnTo>
                      <a:pt x="1564" y="5345"/>
                    </a:lnTo>
                    <a:lnTo>
                      <a:pt x="1482" y="5345"/>
                    </a:lnTo>
                    <a:lnTo>
                      <a:pt x="1401" y="5345"/>
                    </a:lnTo>
                    <a:lnTo>
                      <a:pt x="1316" y="5345"/>
                    </a:lnTo>
                    <a:lnTo>
                      <a:pt x="1231" y="5345"/>
                    </a:lnTo>
                    <a:lnTo>
                      <a:pt x="1146" y="5345"/>
                    </a:lnTo>
                    <a:lnTo>
                      <a:pt x="1057" y="5345"/>
                    </a:lnTo>
                    <a:lnTo>
                      <a:pt x="969" y="5345"/>
                    </a:lnTo>
                    <a:lnTo>
                      <a:pt x="879" y="5345"/>
                    </a:lnTo>
                    <a:lnTo>
                      <a:pt x="787" y="5345"/>
                    </a:lnTo>
                    <a:lnTo>
                      <a:pt x="787" y="5339"/>
                    </a:lnTo>
                    <a:lnTo>
                      <a:pt x="784" y="5334"/>
                    </a:lnTo>
                    <a:lnTo>
                      <a:pt x="782" y="5330"/>
                    </a:lnTo>
                    <a:lnTo>
                      <a:pt x="780" y="5328"/>
                    </a:lnTo>
                    <a:lnTo>
                      <a:pt x="777" y="5325"/>
                    </a:lnTo>
                    <a:lnTo>
                      <a:pt x="775" y="5325"/>
                    </a:lnTo>
                    <a:lnTo>
                      <a:pt x="772" y="5323"/>
                    </a:lnTo>
                    <a:lnTo>
                      <a:pt x="766" y="5323"/>
                    </a:lnTo>
                    <a:lnTo>
                      <a:pt x="759" y="5325"/>
                    </a:lnTo>
                    <a:lnTo>
                      <a:pt x="749" y="5325"/>
                    </a:lnTo>
                    <a:lnTo>
                      <a:pt x="742" y="5326"/>
                    </a:lnTo>
                    <a:lnTo>
                      <a:pt x="734" y="5328"/>
                    </a:lnTo>
                    <a:lnTo>
                      <a:pt x="741" y="5321"/>
                    </a:lnTo>
                    <a:lnTo>
                      <a:pt x="746" y="5317"/>
                    </a:lnTo>
                    <a:lnTo>
                      <a:pt x="749" y="5315"/>
                    </a:lnTo>
                    <a:lnTo>
                      <a:pt x="751" y="5312"/>
                    </a:lnTo>
                    <a:lnTo>
                      <a:pt x="755" y="5312"/>
                    </a:lnTo>
                    <a:lnTo>
                      <a:pt x="759" y="5310"/>
                    </a:lnTo>
                    <a:lnTo>
                      <a:pt x="757" y="5310"/>
                    </a:lnTo>
                    <a:lnTo>
                      <a:pt x="751" y="5310"/>
                    </a:lnTo>
                    <a:lnTo>
                      <a:pt x="751" y="5305"/>
                    </a:lnTo>
                    <a:lnTo>
                      <a:pt x="753" y="5298"/>
                    </a:lnTo>
                    <a:lnTo>
                      <a:pt x="755" y="5295"/>
                    </a:lnTo>
                    <a:lnTo>
                      <a:pt x="757" y="5290"/>
                    </a:lnTo>
                    <a:lnTo>
                      <a:pt x="760" y="5287"/>
                    </a:lnTo>
                    <a:lnTo>
                      <a:pt x="764" y="5284"/>
                    </a:lnTo>
                    <a:lnTo>
                      <a:pt x="767" y="5282"/>
                    </a:lnTo>
                    <a:lnTo>
                      <a:pt x="772" y="5280"/>
                    </a:lnTo>
                    <a:lnTo>
                      <a:pt x="779" y="5278"/>
                    </a:lnTo>
                    <a:lnTo>
                      <a:pt x="787" y="5277"/>
                    </a:lnTo>
                    <a:lnTo>
                      <a:pt x="787" y="5277"/>
                    </a:lnTo>
                    <a:lnTo>
                      <a:pt x="784" y="5275"/>
                    </a:lnTo>
                    <a:lnTo>
                      <a:pt x="784" y="5271"/>
                    </a:lnTo>
                    <a:lnTo>
                      <a:pt x="784" y="5265"/>
                    </a:lnTo>
                    <a:lnTo>
                      <a:pt x="787" y="5260"/>
                    </a:lnTo>
                    <a:lnTo>
                      <a:pt x="788" y="5254"/>
                    </a:lnTo>
                    <a:lnTo>
                      <a:pt x="792" y="5249"/>
                    </a:lnTo>
                    <a:lnTo>
                      <a:pt x="794" y="5241"/>
                    </a:lnTo>
                    <a:lnTo>
                      <a:pt x="799" y="5234"/>
                    </a:lnTo>
                    <a:lnTo>
                      <a:pt x="803" y="5226"/>
                    </a:lnTo>
                    <a:lnTo>
                      <a:pt x="808" y="5221"/>
                    </a:lnTo>
                    <a:lnTo>
                      <a:pt x="814" y="5214"/>
                    </a:lnTo>
                    <a:lnTo>
                      <a:pt x="821" y="5206"/>
                    </a:lnTo>
                    <a:lnTo>
                      <a:pt x="808" y="5211"/>
                    </a:lnTo>
                    <a:lnTo>
                      <a:pt x="797" y="5218"/>
                    </a:lnTo>
                    <a:lnTo>
                      <a:pt x="788" y="5221"/>
                    </a:lnTo>
                    <a:lnTo>
                      <a:pt x="779" y="5224"/>
                    </a:lnTo>
                    <a:lnTo>
                      <a:pt x="772" y="5229"/>
                    </a:lnTo>
                    <a:lnTo>
                      <a:pt x="764" y="5232"/>
                    </a:lnTo>
                    <a:lnTo>
                      <a:pt x="759" y="5236"/>
                    </a:lnTo>
                    <a:lnTo>
                      <a:pt x="751" y="5241"/>
                    </a:lnTo>
                    <a:lnTo>
                      <a:pt x="744" y="5247"/>
                    </a:lnTo>
                    <a:lnTo>
                      <a:pt x="741" y="5249"/>
                    </a:lnTo>
                    <a:lnTo>
                      <a:pt x="736" y="5251"/>
                    </a:lnTo>
                    <a:lnTo>
                      <a:pt x="731" y="5252"/>
                    </a:lnTo>
                    <a:lnTo>
                      <a:pt x="727" y="5252"/>
                    </a:lnTo>
                    <a:lnTo>
                      <a:pt x="721" y="5252"/>
                    </a:lnTo>
                    <a:lnTo>
                      <a:pt x="718" y="5252"/>
                    </a:lnTo>
                    <a:lnTo>
                      <a:pt x="713" y="5251"/>
                    </a:lnTo>
                    <a:lnTo>
                      <a:pt x="706" y="5249"/>
                    </a:lnTo>
                    <a:lnTo>
                      <a:pt x="703" y="5247"/>
                    </a:lnTo>
                    <a:lnTo>
                      <a:pt x="698" y="5244"/>
                    </a:lnTo>
                    <a:lnTo>
                      <a:pt x="694" y="5239"/>
                    </a:lnTo>
                    <a:lnTo>
                      <a:pt x="690" y="5236"/>
                    </a:lnTo>
                    <a:lnTo>
                      <a:pt x="687" y="5231"/>
                    </a:lnTo>
                    <a:lnTo>
                      <a:pt x="683" y="5224"/>
                    </a:lnTo>
                    <a:lnTo>
                      <a:pt x="683" y="5221"/>
                    </a:lnTo>
                    <a:lnTo>
                      <a:pt x="685" y="5218"/>
                    </a:lnTo>
                    <a:lnTo>
                      <a:pt x="687" y="5216"/>
                    </a:lnTo>
                    <a:lnTo>
                      <a:pt x="690" y="5211"/>
                    </a:lnTo>
                    <a:lnTo>
                      <a:pt x="694" y="5210"/>
                    </a:lnTo>
                    <a:lnTo>
                      <a:pt x="698" y="5208"/>
                    </a:lnTo>
                    <a:lnTo>
                      <a:pt x="701" y="5208"/>
                    </a:lnTo>
                    <a:lnTo>
                      <a:pt x="705" y="5206"/>
                    </a:lnTo>
                    <a:lnTo>
                      <a:pt x="706" y="5208"/>
                    </a:lnTo>
                    <a:lnTo>
                      <a:pt x="711" y="5208"/>
                    </a:lnTo>
                    <a:lnTo>
                      <a:pt x="711" y="5211"/>
                    </a:lnTo>
                    <a:lnTo>
                      <a:pt x="713" y="5214"/>
                    </a:lnTo>
                    <a:lnTo>
                      <a:pt x="711" y="5219"/>
                    </a:lnTo>
                    <a:lnTo>
                      <a:pt x="708" y="5224"/>
                    </a:lnTo>
                    <a:lnTo>
                      <a:pt x="705" y="5232"/>
                    </a:lnTo>
                    <a:lnTo>
                      <a:pt x="703" y="5238"/>
                    </a:lnTo>
                    <a:lnTo>
                      <a:pt x="713" y="5229"/>
                    </a:lnTo>
                    <a:lnTo>
                      <a:pt x="720" y="5223"/>
                    </a:lnTo>
                    <a:lnTo>
                      <a:pt x="726" y="5218"/>
                    </a:lnTo>
                    <a:lnTo>
                      <a:pt x="733" y="5214"/>
                    </a:lnTo>
                    <a:lnTo>
                      <a:pt x="738" y="5210"/>
                    </a:lnTo>
                    <a:lnTo>
                      <a:pt x="746" y="5208"/>
                    </a:lnTo>
                    <a:lnTo>
                      <a:pt x="751" y="5206"/>
                    </a:lnTo>
                    <a:lnTo>
                      <a:pt x="749" y="5206"/>
                    </a:lnTo>
                    <a:lnTo>
                      <a:pt x="746" y="5206"/>
                    </a:lnTo>
                    <a:lnTo>
                      <a:pt x="744" y="5206"/>
                    </a:lnTo>
                    <a:lnTo>
                      <a:pt x="741" y="5206"/>
                    </a:lnTo>
                    <a:lnTo>
                      <a:pt x="736" y="5206"/>
                    </a:lnTo>
                    <a:lnTo>
                      <a:pt x="734" y="5206"/>
                    </a:lnTo>
                    <a:lnTo>
                      <a:pt x="733" y="5205"/>
                    </a:lnTo>
                    <a:lnTo>
                      <a:pt x="731" y="5201"/>
                    </a:lnTo>
                    <a:lnTo>
                      <a:pt x="729" y="5198"/>
                    </a:lnTo>
                    <a:lnTo>
                      <a:pt x="731" y="5193"/>
                    </a:lnTo>
                    <a:lnTo>
                      <a:pt x="731" y="5191"/>
                    </a:lnTo>
                    <a:lnTo>
                      <a:pt x="733" y="5188"/>
                    </a:lnTo>
                    <a:lnTo>
                      <a:pt x="736" y="5180"/>
                    </a:lnTo>
                    <a:lnTo>
                      <a:pt x="742" y="5175"/>
                    </a:lnTo>
                    <a:lnTo>
                      <a:pt x="747" y="5168"/>
                    </a:lnTo>
                    <a:lnTo>
                      <a:pt x="749" y="5165"/>
                    </a:lnTo>
                    <a:lnTo>
                      <a:pt x="749" y="5162"/>
                    </a:lnTo>
                    <a:lnTo>
                      <a:pt x="751" y="5158"/>
                    </a:lnTo>
                    <a:lnTo>
                      <a:pt x="751" y="5157"/>
                    </a:lnTo>
                    <a:lnTo>
                      <a:pt x="753" y="5153"/>
                    </a:lnTo>
                    <a:lnTo>
                      <a:pt x="753" y="5149"/>
                    </a:lnTo>
                    <a:lnTo>
                      <a:pt x="757" y="5145"/>
                    </a:lnTo>
                    <a:lnTo>
                      <a:pt x="759" y="5142"/>
                    </a:lnTo>
                    <a:lnTo>
                      <a:pt x="766" y="5137"/>
                    </a:lnTo>
                    <a:lnTo>
                      <a:pt x="774" y="5129"/>
                    </a:lnTo>
                    <a:lnTo>
                      <a:pt x="777" y="5127"/>
                    </a:lnTo>
                    <a:lnTo>
                      <a:pt x="779" y="5124"/>
                    </a:lnTo>
                    <a:lnTo>
                      <a:pt x="780" y="5119"/>
                    </a:lnTo>
                    <a:lnTo>
                      <a:pt x="780" y="5116"/>
                    </a:lnTo>
                    <a:lnTo>
                      <a:pt x="780" y="5114"/>
                    </a:lnTo>
                    <a:lnTo>
                      <a:pt x="779" y="5111"/>
                    </a:lnTo>
                    <a:lnTo>
                      <a:pt x="775" y="5107"/>
                    </a:lnTo>
                    <a:lnTo>
                      <a:pt x="772" y="5104"/>
                    </a:lnTo>
                    <a:lnTo>
                      <a:pt x="769" y="5104"/>
                    </a:lnTo>
                    <a:lnTo>
                      <a:pt x="772" y="5107"/>
                    </a:lnTo>
                    <a:lnTo>
                      <a:pt x="774" y="5111"/>
                    </a:lnTo>
                    <a:lnTo>
                      <a:pt x="775" y="5114"/>
                    </a:lnTo>
                    <a:lnTo>
                      <a:pt x="775" y="5116"/>
                    </a:lnTo>
                    <a:lnTo>
                      <a:pt x="775" y="5119"/>
                    </a:lnTo>
                    <a:lnTo>
                      <a:pt x="775" y="5122"/>
                    </a:lnTo>
                    <a:lnTo>
                      <a:pt x="775" y="5125"/>
                    </a:lnTo>
                    <a:lnTo>
                      <a:pt x="774" y="5127"/>
                    </a:lnTo>
                    <a:lnTo>
                      <a:pt x="769" y="5132"/>
                    </a:lnTo>
                    <a:lnTo>
                      <a:pt x="764" y="5134"/>
                    </a:lnTo>
                    <a:lnTo>
                      <a:pt x="759" y="5138"/>
                    </a:lnTo>
                    <a:lnTo>
                      <a:pt x="751" y="5138"/>
                    </a:lnTo>
                    <a:lnTo>
                      <a:pt x="749" y="5138"/>
                    </a:lnTo>
                    <a:lnTo>
                      <a:pt x="746" y="5140"/>
                    </a:lnTo>
                    <a:lnTo>
                      <a:pt x="744" y="5142"/>
                    </a:lnTo>
                    <a:lnTo>
                      <a:pt x="742" y="5144"/>
                    </a:lnTo>
                    <a:lnTo>
                      <a:pt x="738" y="5149"/>
                    </a:lnTo>
                    <a:lnTo>
                      <a:pt x="736" y="5155"/>
                    </a:lnTo>
                    <a:lnTo>
                      <a:pt x="736" y="5162"/>
                    </a:lnTo>
                    <a:lnTo>
                      <a:pt x="734" y="5168"/>
                    </a:lnTo>
                    <a:lnTo>
                      <a:pt x="734" y="5162"/>
                    </a:lnTo>
                    <a:lnTo>
                      <a:pt x="733" y="5160"/>
                    </a:lnTo>
                    <a:lnTo>
                      <a:pt x="731" y="5158"/>
                    </a:lnTo>
                    <a:lnTo>
                      <a:pt x="729" y="5158"/>
                    </a:lnTo>
                    <a:lnTo>
                      <a:pt x="726" y="5160"/>
                    </a:lnTo>
                    <a:lnTo>
                      <a:pt x="723" y="5162"/>
                    </a:lnTo>
                    <a:lnTo>
                      <a:pt x="721" y="5164"/>
                    </a:lnTo>
                    <a:lnTo>
                      <a:pt x="718" y="5168"/>
                    </a:lnTo>
                    <a:lnTo>
                      <a:pt x="713" y="5175"/>
                    </a:lnTo>
                    <a:lnTo>
                      <a:pt x="706" y="5183"/>
                    </a:lnTo>
                    <a:lnTo>
                      <a:pt x="700" y="5190"/>
                    </a:lnTo>
                    <a:lnTo>
                      <a:pt x="687" y="5190"/>
                    </a:lnTo>
                    <a:lnTo>
                      <a:pt x="681" y="5190"/>
                    </a:lnTo>
                    <a:lnTo>
                      <a:pt x="677" y="5190"/>
                    </a:lnTo>
                    <a:lnTo>
                      <a:pt x="672" y="5190"/>
                    </a:lnTo>
                    <a:lnTo>
                      <a:pt x="668" y="5190"/>
                    </a:lnTo>
                    <a:lnTo>
                      <a:pt x="667" y="5190"/>
                    </a:lnTo>
                    <a:lnTo>
                      <a:pt x="662" y="5190"/>
                    </a:lnTo>
                    <a:lnTo>
                      <a:pt x="659" y="5188"/>
                    </a:lnTo>
                    <a:lnTo>
                      <a:pt x="657" y="5186"/>
                    </a:lnTo>
                    <a:lnTo>
                      <a:pt x="653" y="5185"/>
                    </a:lnTo>
                    <a:lnTo>
                      <a:pt x="647" y="5178"/>
                    </a:lnTo>
                    <a:lnTo>
                      <a:pt x="642" y="5173"/>
                    </a:lnTo>
                    <a:lnTo>
                      <a:pt x="639" y="5165"/>
                    </a:lnTo>
                    <a:lnTo>
                      <a:pt x="635" y="5160"/>
                    </a:lnTo>
                    <a:lnTo>
                      <a:pt x="634" y="5158"/>
                    </a:lnTo>
                    <a:lnTo>
                      <a:pt x="631" y="5157"/>
                    </a:lnTo>
                    <a:lnTo>
                      <a:pt x="635" y="5155"/>
                    </a:lnTo>
                    <a:lnTo>
                      <a:pt x="639" y="5153"/>
                    </a:lnTo>
                    <a:lnTo>
                      <a:pt x="642" y="5150"/>
                    </a:lnTo>
                    <a:lnTo>
                      <a:pt x="646" y="5147"/>
                    </a:lnTo>
                    <a:lnTo>
                      <a:pt x="652" y="5144"/>
                    </a:lnTo>
                    <a:lnTo>
                      <a:pt x="655" y="5140"/>
                    </a:lnTo>
                    <a:lnTo>
                      <a:pt x="665" y="5131"/>
                    </a:lnTo>
                    <a:lnTo>
                      <a:pt x="672" y="5119"/>
                    </a:lnTo>
                    <a:lnTo>
                      <a:pt x="673" y="5116"/>
                    </a:lnTo>
                    <a:lnTo>
                      <a:pt x="677" y="5112"/>
                    </a:lnTo>
                    <a:lnTo>
                      <a:pt x="675" y="5112"/>
                    </a:lnTo>
                    <a:lnTo>
                      <a:pt x="675" y="5111"/>
                    </a:lnTo>
                    <a:lnTo>
                      <a:pt x="675" y="5109"/>
                    </a:lnTo>
                    <a:lnTo>
                      <a:pt x="675" y="5104"/>
                    </a:lnTo>
                    <a:lnTo>
                      <a:pt x="675" y="5103"/>
                    </a:lnTo>
                    <a:lnTo>
                      <a:pt x="677" y="5101"/>
                    </a:lnTo>
                    <a:lnTo>
                      <a:pt x="680" y="5097"/>
                    </a:lnTo>
                    <a:lnTo>
                      <a:pt x="681" y="5094"/>
                    </a:lnTo>
                    <a:lnTo>
                      <a:pt x="685" y="5088"/>
                    </a:lnTo>
                    <a:lnTo>
                      <a:pt x="683" y="5094"/>
                    </a:lnTo>
                    <a:lnTo>
                      <a:pt x="683" y="5097"/>
                    </a:lnTo>
                    <a:lnTo>
                      <a:pt x="685" y="5092"/>
                    </a:lnTo>
                    <a:lnTo>
                      <a:pt x="688" y="5088"/>
                    </a:lnTo>
                    <a:lnTo>
                      <a:pt x="692" y="5084"/>
                    </a:lnTo>
                    <a:lnTo>
                      <a:pt x="696" y="5081"/>
                    </a:lnTo>
                    <a:lnTo>
                      <a:pt x="700" y="5078"/>
                    </a:lnTo>
                    <a:lnTo>
                      <a:pt x="705" y="5076"/>
                    </a:lnTo>
                    <a:lnTo>
                      <a:pt x="711" y="5073"/>
                    </a:lnTo>
                    <a:lnTo>
                      <a:pt x="721" y="5071"/>
                    </a:lnTo>
                    <a:lnTo>
                      <a:pt x="734" y="5070"/>
                    </a:lnTo>
                    <a:lnTo>
                      <a:pt x="727" y="5070"/>
                    </a:lnTo>
                    <a:lnTo>
                      <a:pt x="718" y="5071"/>
                    </a:lnTo>
                    <a:lnTo>
                      <a:pt x="706" y="5073"/>
                    </a:lnTo>
                    <a:lnTo>
                      <a:pt x="698" y="5078"/>
                    </a:lnTo>
                    <a:lnTo>
                      <a:pt x="690" y="5081"/>
                    </a:lnTo>
                    <a:lnTo>
                      <a:pt x="683" y="5086"/>
                    </a:lnTo>
                    <a:lnTo>
                      <a:pt x="681" y="5088"/>
                    </a:lnTo>
                    <a:lnTo>
                      <a:pt x="680" y="5088"/>
                    </a:lnTo>
                    <a:lnTo>
                      <a:pt x="675" y="5088"/>
                    </a:lnTo>
                    <a:lnTo>
                      <a:pt x="668" y="5091"/>
                    </a:lnTo>
                    <a:lnTo>
                      <a:pt x="660" y="5092"/>
                    </a:lnTo>
                    <a:lnTo>
                      <a:pt x="659" y="5091"/>
                    </a:lnTo>
                    <a:lnTo>
                      <a:pt x="657" y="5091"/>
                    </a:lnTo>
                    <a:lnTo>
                      <a:pt x="657" y="5099"/>
                    </a:lnTo>
                    <a:lnTo>
                      <a:pt x="657" y="5107"/>
                    </a:lnTo>
                    <a:lnTo>
                      <a:pt x="657" y="5112"/>
                    </a:lnTo>
                    <a:lnTo>
                      <a:pt x="657" y="5116"/>
                    </a:lnTo>
                    <a:lnTo>
                      <a:pt x="657" y="5119"/>
                    </a:lnTo>
                    <a:lnTo>
                      <a:pt x="657" y="5122"/>
                    </a:lnTo>
                    <a:lnTo>
                      <a:pt x="657" y="5124"/>
                    </a:lnTo>
                    <a:lnTo>
                      <a:pt x="653" y="5122"/>
                    </a:lnTo>
                    <a:lnTo>
                      <a:pt x="652" y="5122"/>
                    </a:lnTo>
                    <a:lnTo>
                      <a:pt x="650" y="5122"/>
                    </a:lnTo>
                    <a:lnTo>
                      <a:pt x="647" y="5119"/>
                    </a:lnTo>
                    <a:lnTo>
                      <a:pt x="647" y="5117"/>
                    </a:lnTo>
                    <a:lnTo>
                      <a:pt x="647" y="5116"/>
                    </a:lnTo>
                    <a:lnTo>
                      <a:pt x="650" y="5112"/>
                    </a:lnTo>
                    <a:lnTo>
                      <a:pt x="652" y="5107"/>
                    </a:lnTo>
                    <a:lnTo>
                      <a:pt x="653" y="5099"/>
                    </a:lnTo>
                    <a:lnTo>
                      <a:pt x="655" y="5094"/>
                    </a:lnTo>
                    <a:lnTo>
                      <a:pt x="656" y="5091"/>
                    </a:lnTo>
                    <a:lnTo>
                      <a:pt x="655" y="5091"/>
                    </a:lnTo>
                    <a:lnTo>
                      <a:pt x="655" y="5088"/>
                    </a:lnTo>
                    <a:lnTo>
                      <a:pt x="653" y="5086"/>
                    </a:lnTo>
                    <a:lnTo>
                      <a:pt x="655" y="5084"/>
                    </a:lnTo>
                    <a:lnTo>
                      <a:pt x="657" y="5081"/>
                    </a:lnTo>
                    <a:lnTo>
                      <a:pt x="660" y="5076"/>
                    </a:lnTo>
                    <a:lnTo>
                      <a:pt x="662" y="5071"/>
                    </a:lnTo>
                    <a:lnTo>
                      <a:pt x="667" y="5070"/>
                    </a:lnTo>
                    <a:lnTo>
                      <a:pt x="667" y="5064"/>
                    </a:lnTo>
                    <a:lnTo>
                      <a:pt x="668" y="5058"/>
                    </a:lnTo>
                    <a:lnTo>
                      <a:pt x="672" y="5057"/>
                    </a:lnTo>
                    <a:lnTo>
                      <a:pt x="673" y="5055"/>
                    </a:lnTo>
                    <a:lnTo>
                      <a:pt x="677" y="5053"/>
                    </a:lnTo>
                    <a:lnTo>
                      <a:pt x="681" y="5053"/>
                    </a:lnTo>
                    <a:lnTo>
                      <a:pt x="683" y="5053"/>
                    </a:lnTo>
                    <a:lnTo>
                      <a:pt x="687" y="5051"/>
                    </a:lnTo>
                    <a:lnTo>
                      <a:pt x="690" y="5050"/>
                    </a:lnTo>
                    <a:lnTo>
                      <a:pt x="696" y="5046"/>
                    </a:lnTo>
                    <a:lnTo>
                      <a:pt x="701" y="5042"/>
                    </a:lnTo>
                    <a:lnTo>
                      <a:pt x="706" y="5037"/>
                    </a:lnTo>
                    <a:lnTo>
                      <a:pt x="713" y="5031"/>
                    </a:lnTo>
                    <a:lnTo>
                      <a:pt x="723" y="5018"/>
                    </a:lnTo>
                    <a:lnTo>
                      <a:pt x="734" y="5005"/>
                    </a:lnTo>
                    <a:lnTo>
                      <a:pt x="738" y="5000"/>
                    </a:lnTo>
                    <a:lnTo>
                      <a:pt x="744" y="4994"/>
                    </a:lnTo>
                    <a:lnTo>
                      <a:pt x="747" y="4990"/>
                    </a:lnTo>
                    <a:lnTo>
                      <a:pt x="749" y="4987"/>
                    </a:lnTo>
                    <a:lnTo>
                      <a:pt x="751" y="4985"/>
                    </a:lnTo>
                    <a:lnTo>
                      <a:pt x="751" y="4983"/>
                    </a:lnTo>
                    <a:lnTo>
                      <a:pt x="746" y="4985"/>
                    </a:lnTo>
                    <a:lnTo>
                      <a:pt x="742" y="4987"/>
                    </a:lnTo>
                    <a:lnTo>
                      <a:pt x="738" y="4989"/>
                    </a:lnTo>
                    <a:lnTo>
                      <a:pt x="734" y="4992"/>
                    </a:lnTo>
                    <a:lnTo>
                      <a:pt x="731" y="4996"/>
                    </a:lnTo>
                    <a:lnTo>
                      <a:pt x="727" y="4997"/>
                    </a:lnTo>
                    <a:lnTo>
                      <a:pt x="723" y="5000"/>
                    </a:lnTo>
                    <a:lnTo>
                      <a:pt x="718" y="5002"/>
                    </a:lnTo>
                    <a:lnTo>
                      <a:pt x="718" y="5007"/>
                    </a:lnTo>
                    <a:lnTo>
                      <a:pt x="716" y="5012"/>
                    </a:lnTo>
                    <a:lnTo>
                      <a:pt x="716" y="5020"/>
                    </a:lnTo>
                    <a:lnTo>
                      <a:pt x="713" y="5023"/>
                    </a:lnTo>
                    <a:lnTo>
                      <a:pt x="711" y="5027"/>
                    </a:lnTo>
                    <a:lnTo>
                      <a:pt x="708" y="5029"/>
                    </a:lnTo>
                    <a:lnTo>
                      <a:pt x="706" y="5031"/>
                    </a:lnTo>
                    <a:lnTo>
                      <a:pt x="703" y="5033"/>
                    </a:lnTo>
                    <a:lnTo>
                      <a:pt x="700" y="5033"/>
                    </a:lnTo>
                    <a:lnTo>
                      <a:pt x="694" y="5035"/>
                    </a:lnTo>
                    <a:lnTo>
                      <a:pt x="688" y="5035"/>
                    </a:lnTo>
                    <a:lnTo>
                      <a:pt x="683" y="5035"/>
                    </a:lnTo>
                    <a:lnTo>
                      <a:pt x="683" y="5040"/>
                    </a:lnTo>
                    <a:lnTo>
                      <a:pt x="680" y="5046"/>
                    </a:lnTo>
                    <a:lnTo>
                      <a:pt x="677" y="5050"/>
                    </a:lnTo>
                    <a:lnTo>
                      <a:pt x="672" y="5053"/>
                    </a:lnTo>
                    <a:lnTo>
                      <a:pt x="667" y="5055"/>
                    </a:lnTo>
                    <a:lnTo>
                      <a:pt x="660" y="5058"/>
                    </a:lnTo>
                    <a:lnTo>
                      <a:pt x="655" y="5064"/>
                    </a:lnTo>
                    <a:lnTo>
                      <a:pt x="650" y="5070"/>
                    </a:lnTo>
                    <a:lnTo>
                      <a:pt x="646" y="5071"/>
                    </a:lnTo>
                    <a:lnTo>
                      <a:pt x="642" y="5073"/>
                    </a:lnTo>
                    <a:lnTo>
                      <a:pt x="639" y="5076"/>
                    </a:lnTo>
                    <a:lnTo>
                      <a:pt x="635" y="5078"/>
                    </a:lnTo>
                    <a:lnTo>
                      <a:pt x="634" y="5078"/>
                    </a:lnTo>
                    <a:lnTo>
                      <a:pt x="629" y="5078"/>
                    </a:lnTo>
                    <a:lnTo>
                      <a:pt x="625" y="5077"/>
                    </a:lnTo>
                    <a:lnTo>
                      <a:pt x="626" y="5078"/>
                    </a:lnTo>
                    <a:lnTo>
                      <a:pt x="626" y="5081"/>
                    </a:lnTo>
                    <a:lnTo>
                      <a:pt x="627" y="5084"/>
                    </a:lnTo>
                    <a:lnTo>
                      <a:pt x="627" y="5091"/>
                    </a:lnTo>
                    <a:lnTo>
                      <a:pt x="627" y="5094"/>
                    </a:lnTo>
                    <a:lnTo>
                      <a:pt x="626" y="5097"/>
                    </a:lnTo>
                    <a:lnTo>
                      <a:pt x="624" y="5103"/>
                    </a:lnTo>
                    <a:lnTo>
                      <a:pt x="620" y="5111"/>
                    </a:lnTo>
                    <a:lnTo>
                      <a:pt x="619" y="5114"/>
                    </a:lnTo>
                    <a:lnTo>
                      <a:pt x="614" y="5116"/>
                    </a:lnTo>
                    <a:lnTo>
                      <a:pt x="613" y="5119"/>
                    </a:lnTo>
                    <a:lnTo>
                      <a:pt x="609" y="5122"/>
                    </a:lnTo>
                    <a:lnTo>
                      <a:pt x="606" y="5122"/>
                    </a:lnTo>
                    <a:lnTo>
                      <a:pt x="604" y="5124"/>
                    </a:lnTo>
                    <a:lnTo>
                      <a:pt x="609" y="5116"/>
                    </a:lnTo>
                    <a:lnTo>
                      <a:pt x="613" y="5109"/>
                    </a:lnTo>
                    <a:lnTo>
                      <a:pt x="614" y="5103"/>
                    </a:lnTo>
                    <a:lnTo>
                      <a:pt x="616" y="5097"/>
                    </a:lnTo>
                    <a:lnTo>
                      <a:pt x="614" y="5094"/>
                    </a:lnTo>
                    <a:lnTo>
                      <a:pt x="613" y="5091"/>
                    </a:lnTo>
                    <a:lnTo>
                      <a:pt x="609" y="5088"/>
                    </a:lnTo>
                    <a:lnTo>
                      <a:pt x="604" y="5086"/>
                    </a:lnTo>
                    <a:lnTo>
                      <a:pt x="606" y="5086"/>
                    </a:lnTo>
                    <a:lnTo>
                      <a:pt x="609" y="5086"/>
                    </a:lnTo>
                    <a:lnTo>
                      <a:pt x="611" y="5084"/>
                    </a:lnTo>
                    <a:lnTo>
                      <a:pt x="614" y="5083"/>
                    </a:lnTo>
                    <a:lnTo>
                      <a:pt x="609" y="5084"/>
                    </a:lnTo>
                    <a:lnTo>
                      <a:pt x="604" y="5086"/>
                    </a:lnTo>
                    <a:lnTo>
                      <a:pt x="598" y="5086"/>
                    </a:lnTo>
                    <a:lnTo>
                      <a:pt x="585" y="5088"/>
                    </a:lnTo>
                    <a:lnTo>
                      <a:pt x="585" y="5081"/>
                    </a:lnTo>
                    <a:lnTo>
                      <a:pt x="586" y="5078"/>
                    </a:lnTo>
                    <a:lnTo>
                      <a:pt x="591" y="5073"/>
                    </a:lnTo>
                    <a:lnTo>
                      <a:pt x="596" y="5071"/>
                    </a:lnTo>
                    <a:lnTo>
                      <a:pt x="601" y="5070"/>
                    </a:lnTo>
                    <a:lnTo>
                      <a:pt x="598" y="5070"/>
                    </a:lnTo>
                    <a:lnTo>
                      <a:pt x="598" y="5063"/>
                    </a:lnTo>
                    <a:lnTo>
                      <a:pt x="599" y="5057"/>
                    </a:lnTo>
                    <a:lnTo>
                      <a:pt x="604" y="5051"/>
                    </a:lnTo>
                    <a:lnTo>
                      <a:pt x="607" y="5046"/>
                    </a:lnTo>
                    <a:lnTo>
                      <a:pt x="613" y="5042"/>
                    </a:lnTo>
                    <a:lnTo>
                      <a:pt x="619" y="5038"/>
                    </a:lnTo>
                    <a:lnTo>
                      <a:pt x="626" y="5037"/>
                    </a:lnTo>
                    <a:lnTo>
                      <a:pt x="631" y="5035"/>
                    </a:lnTo>
                    <a:lnTo>
                      <a:pt x="626" y="5033"/>
                    </a:lnTo>
                    <a:lnTo>
                      <a:pt x="619" y="5031"/>
                    </a:lnTo>
                    <a:lnTo>
                      <a:pt x="614" y="5031"/>
                    </a:lnTo>
                    <a:lnTo>
                      <a:pt x="609" y="5031"/>
                    </a:lnTo>
                    <a:lnTo>
                      <a:pt x="604" y="5033"/>
                    </a:lnTo>
                    <a:lnTo>
                      <a:pt x="599" y="5035"/>
                    </a:lnTo>
                    <a:lnTo>
                      <a:pt x="594" y="5037"/>
                    </a:lnTo>
                    <a:lnTo>
                      <a:pt x="591" y="5040"/>
                    </a:lnTo>
                    <a:lnTo>
                      <a:pt x="583" y="5046"/>
                    </a:lnTo>
                    <a:lnTo>
                      <a:pt x="576" y="5055"/>
                    </a:lnTo>
                    <a:lnTo>
                      <a:pt x="568" y="5063"/>
                    </a:lnTo>
                    <a:lnTo>
                      <a:pt x="563" y="5070"/>
                    </a:lnTo>
                    <a:lnTo>
                      <a:pt x="561" y="5066"/>
                    </a:lnTo>
                    <a:lnTo>
                      <a:pt x="561" y="5064"/>
                    </a:lnTo>
                    <a:lnTo>
                      <a:pt x="558" y="5061"/>
                    </a:lnTo>
                    <a:lnTo>
                      <a:pt x="553" y="5058"/>
                    </a:lnTo>
                    <a:lnTo>
                      <a:pt x="550" y="5058"/>
                    </a:lnTo>
                    <a:lnTo>
                      <a:pt x="545" y="5057"/>
                    </a:lnTo>
                    <a:lnTo>
                      <a:pt x="535" y="5055"/>
                    </a:lnTo>
                    <a:lnTo>
                      <a:pt x="522" y="5053"/>
                    </a:lnTo>
                    <a:lnTo>
                      <a:pt x="512" y="5053"/>
                    </a:lnTo>
                    <a:lnTo>
                      <a:pt x="506" y="5053"/>
                    </a:lnTo>
                    <a:lnTo>
                      <a:pt x="502" y="5053"/>
                    </a:lnTo>
                    <a:lnTo>
                      <a:pt x="499" y="5053"/>
                    </a:lnTo>
                    <a:lnTo>
                      <a:pt x="494" y="5053"/>
                    </a:lnTo>
                    <a:lnTo>
                      <a:pt x="500" y="5046"/>
                    </a:lnTo>
                    <a:lnTo>
                      <a:pt x="507" y="5042"/>
                    </a:lnTo>
                    <a:lnTo>
                      <a:pt x="512" y="5040"/>
                    </a:lnTo>
                    <a:lnTo>
                      <a:pt x="512" y="5040"/>
                    </a:lnTo>
                    <a:lnTo>
                      <a:pt x="512" y="5038"/>
                    </a:lnTo>
                    <a:lnTo>
                      <a:pt x="512" y="5035"/>
                    </a:lnTo>
                    <a:lnTo>
                      <a:pt x="520" y="5035"/>
                    </a:lnTo>
                    <a:lnTo>
                      <a:pt x="528" y="5035"/>
                    </a:lnTo>
                    <a:lnTo>
                      <a:pt x="532" y="5035"/>
                    </a:lnTo>
                    <a:lnTo>
                      <a:pt x="543" y="5033"/>
                    </a:lnTo>
                    <a:lnTo>
                      <a:pt x="555" y="5031"/>
                    </a:lnTo>
                    <a:lnTo>
                      <a:pt x="566" y="5029"/>
                    </a:lnTo>
                    <a:lnTo>
                      <a:pt x="578" y="5027"/>
                    </a:lnTo>
                    <a:lnTo>
                      <a:pt x="591" y="5023"/>
                    </a:lnTo>
                    <a:lnTo>
                      <a:pt x="601" y="5020"/>
                    </a:lnTo>
                    <a:lnTo>
                      <a:pt x="613" y="5017"/>
                    </a:lnTo>
                    <a:lnTo>
                      <a:pt x="624" y="5010"/>
                    </a:lnTo>
                    <a:lnTo>
                      <a:pt x="634" y="5005"/>
                    </a:lnTo>
                    <a:lnTo>
                      <a:pt x="642" y="5000"/>
                    </a:lnTo>
                    <a:lnTo>
                      <a:pt x="650" y="4992"/>
                    </a:lnTo>
                    <a:lnTo>
                      <a:pt x="657" y="4985"/>
                    </a:lnTo>
                    <a:lnTo>
                      <a:pt x="662" y="4976"/>
                    </a:lnTo>
                    <a:lnTo>
                      <a:pt x="667" y="4966"/>
                    </a:lnTo>
                    <a:lnTo>
                      <a:pt x="659" y="4976"/>
                    </a:lnTo>
                    <a:lnTo>
                      <a:pt x="652" y="4983"/>
                    </a:lnTo>
                    <a:lnTo>
                      <a:pt x="644" y="4990"/>
                    </a:lnTo>
                    <a:lnTo>
                      <a:pt x="637" y="4996"/>
                    </a:lnTo>
                    <a:lnTo>
                      <a:pt x="629" y="5002"/>
                    </a:lnTo>
                    <a:lnTo>
                      <a:pt x="620" y="5007"/>
                    </a:lnTo>
                    <a:lnTo>
                      <a:pt x="613" y="5010"/>
                    </a:lnTo>
                    <a:lnTo>
                      <a:pt x="604" y="5015"/>
                    </a:lnTo>
                    <a:lnTo>
                      <a:pt x="585" y="5020"/>
                    </a:lnTo>
                    <a:lnTo>
                      <a:pt x="566" y="5023"/>
                    </a:lnTo>
                    <a:lnTo>
                      <a:pt x="548" y="5029"/>
                    </a:lnTo>
                    <a:lnTo>
                      <a:pt x="528" y="5035"/>
                    </a:lnTo>
                    <a:lnTo>
                      <a:pt x="528" y="5033"/>
                    </a:lnTo>
                    <a:lnTo>
                      <a:pt x="530" y="5029"/>
                    </a:lnTo>
                    <a:lnTo>
                      <a:pt x="532" y="5027"/>
                    </a:lnTo>
                    <a:lnTo>
                      <a:pt x="533" y="5025"/>
                    </a:lnTo>
                    <a:lnTo>
                      <a:pt x="539" y="5022"/>
                    </a:lnTo>
                    <a:lnTo>
                      <a:pt x="543" y="5018"/>
                    </a:lnTo>
                    <a:lnTo>
                      <a:pt x="548" y="5015"/>
                    </a:lnTo>
                    <a:lnTo>
                      <a:pt x="548" y="5012"/>
                    </a:lnTo>
                    <a:lnTo>
                      <a:pt x="550" y="5010"/>
                    </a:lnTo>
                    <a:lnTo>
                      <a:pt x="550" y="5009"/>
                    </a:lnTo>
                    <a:lnTo>
                      <a:pt x="550" y="5007"/>
                    </a:lnTo>
                    <a:lnTo>
                      <a:pt x="548" y="5004"/>
                    </a:lnTo>
                    <a:lnTo>
                      <a:pt x="546" y="5002"/>
                    </a:lnTo>
                    <a:lnTo>
                      <a:pt x="545" y="4997"/>
                    </a:lnTo>
                    <a:lnTo>
                      <a:pt x="545" y="4996"/>
                    </a:lnTo>
                    <a:lnTo>
                      <a:pt x="543" y="4994"/>
                    </a:lnTo>
                    <a:lnTo>
                      <a:pt x="540" y="4994"/>
                    </a:lnTo>
                    <a:lnTo>
                      <a:pt x="537" y="4992"/>
                    </a:lnTo>
                    <a:lnTo>
                      <a:pt x="535" y="4992"/>
                    </a:lnTo>
                    <a:lnTo>
                      <a:pt x="528" y="4994"/>
                    </a:lnTo>
                    <a:lnTo>
                      <a:pt x="522" y="4996"/>
                    </a:lnTo>
                    <a:lnTo>
                      <a:pt x="517" y="4997"/>
                    </a:lnTo>
                    <a:lnTo>
                      <a:pt x="515" y="5000"/>
                    </a:lnTo>
                    <a:lnTo>
                      <a:pt x="513" y="5000"/>
                    </a:lnTo>
                    <a:lnTo>
                      <a:pt x="512" y="5000"/>
                    </a:lnTo>
                    <a:lnTo>
                      <a:pt x="512" y="4994"/>
                    </a:lnTo>
                    <a:lnTo>
                      <a:pt x="513" y="4990"/>
                    </a:lnTo>
                    <a:lnTo>
                      <a:pt x="517" y="4989"/>
                    </a:lnTo>
                    <a:lnTo>
                      <a:pt x="520" y="4985"/>
                    </a:lnTo>
                    <a:lnTo>
                      <a:pt x="522" y="4985"/>
                    </a:lnTo>
                    <a:lnTo>
                      <a:pt x="525" y="4983"/>
                    </a:lnTo>
                    <a:lnTo>
                      <a:pt x="528" y="4983"/>
                    </a:lnTo>
                    <a:lnTo>
                      <a:pt x="528" y="4981"/>
                    </a:lnTo>
                    <a:lnTo>
                      <a:pt x="528" y="4979"/>
                    </a:lnTo>
                    <a:lnTo>
                      <a:pt x="528" y="4976"/>
                    </a:lnTo>
                    <a:lnTo>
                      <a:pt x="528" y="4972"/>
                    </a:lnTo>
                    <a:lnTo>
                      <a:pt x="528" y="4966"/>
                    </a:lnTo>
                    <a:lnTo>
                      <a:pt x="524" y="4972"/>
                    </a:lnTo>
                    <a:lnTo>
                      <a:pt x="520" y="4977"/>
                    </a:lnTo>
                    <a:lnTo>
                      <a:pt x="515" y="4983"/>
                    </a:lnTo>
                    <a:lnTo>
                      <a:pt x="509" y="4987"/>
                    </a:lnTo>
                    <a:lnTo>
                      <a:pt x="504" y="4989"/>
                    </a:lnTo>
                    <a:lnTo>
                      <a:pt x="497" y="4992"/>
                    </a:lnTo>
                    <a:lnTo>
                      <a:pt x="491" y="4992"/>
                    </a:lnTo>
                    <a:lnTo>
                      <a:pt x="484" y="4994"/>
                    </a:lnTo>
                    <a:lnTo>
                      <a:pt x="476" y="4994"/>
                    </a:lnTo>
                    <a:lnTo>
                      <a:pt x="469" y="4994"/>
                    </a:lnTo>
                    <a:lnTo>
                      <a:pt x="461" y="4994"/>
                    </a:lnTo>
                    <a:lnTo>
                      <a:pt x="454" y="4992"/>
                    </a:lnTo>
                    <a:lnTo>
                      <a:pt x="446" y="4990"/>
                    </a:lnTo>
                    <a:lnTo>
                      <a:pt x="439" y="4989"/>
                    </a:lnTo>
                    <a:lnTo>
                      <a:pt x="436" y="4987"/>
                    </a:lnTo>
                    <a:lnTo>
                      <a:pt x="436" y="4989"/>
                    </a:lnTo>
                    <a:lnTo>
                      <a:pt x="438" y="4989"/>
                    </a:lnTo>
                    <a:lnTo>
                      <a:pt x="438" y="4990"/>
                    </a:lnTo>
                    <a:lnTo>
                      <a:pt x="436" y="4990"/>
                    </a:lnTo>
                    <a:lnTo>
                      <a:pt x="433" y="4990"/>
                    </a:lnTo>
                    <a:lnTo>
                      <a:pt x="432" y="4990"/>
                    </a:lnTo>
                    <a:lnTo>
                      <a:pt x="430" y="4990"/>
                    </a:lnTo>
                    <a:lnTo>
                      <a:pt x="423" y="4989"/>
                    </a:lnTo>
                    <a:lnTo>
                      <a:pt x="415" y="4989"/>
                    </a:lnTo>
                    <a:lnTo>
                      <a:pt x="408" y="4985"/>
                    </a:lnTo>
                    <a:lnTo>
                      <a:pt x="400" y="4983"/>
                    </a:lnTo>
                    <a:lnTo>
                      <a:pt x="393" y="4979"/>
                    </a:lnTo>
                    <a:lnTo>
                      <a:pt x="385" y="4976"/>
                    </a:lnTo>
                    <a:lnTo>
                      <a:pt x="384" y="4974"/>
                    </a:lnTo>
                    <a:lnTo>
                      <a:pt x="382" y="4972"/>
                    </a:lnTo>
                    <a:lnTo>
                      <a:pt x="380" y="4968"/>
                    </a:lnTo>
                    <a:lnTo>
                      <a:pt x="379" y="4966"/>
                    </a:lnTo>
                    <a:lnTo>
                      <a:pt x="379" y="4964"/>
                    </a:lnTo>
                    <a:lnTo>
                      <a:pt x="380" y="4961"/>
                    </a:lnTo>
                    <a:lnTo>
                      <a:pt x="380" y="4959"/>
                    </a:lnTo>
                    <a:lnTo>
                      <a:pt x="384" y="4956"/>
                    </a:lnTo>
                    <a:lnTo>
                      <a:pt x="385" y="4951"/>
                    </a:lnTo>
                    <a:lnTo>
                      <a:pt x="392" y="4950"/>
                    </a:lnTo>
                    <a:lnTo>
                      <a:pt x="390" y="4950"/>
                    </a:lnTo>
                    <a:lnTo>
                      <a:pt x="385" y="4950"/>
                    </a:lnTo>
                    <a:lnTo>
                      <a:pt x="384" y="4950"/>
                    </a:lnTo>
                    <a:lnTo>
                      <a:pt x="379" y="4950"/>
                    </a:lnTo>
                    <a:lnTo>
                      <a:pt x="372" y="4950"/>
                    </a:lnTo>
                    <a:lnTo>
                      <a:pt x="371" y="4948"/>
                    </a:lnTo>
                    <a:lnTo>
                      <a:pt x="369" y="4946"/>
                    </a:lnTo>
                    <a:lnTo>
                      <a:pt x="367" y="4944"/>
                    </a:lnTo>
                    <a:lnTo>
                      <a:pt x="367" y="4943"/>
                    </a:lnTo>
                    <a:lnTo>
                      <a:pt x="369" y="4941"/>
                    </a:lnTo>
                    <a:lnTo>
                      <a:pt x="371" y="4941"/>
                    </a:lnTo>
                    <a:lnTo>
                      <a:pt x="372" y="4938"/>
                    </a:lnTo>
                    <a:lnTo>
                      <a:pt x="375" y="4936"/>
                    </a:lnTo>
                    <a:lnTo>
                      <a:pt x="379" y="4935"/>
                    </a:lnTo>
                    <a:lnTo>
                      <a:pt x="382" y="4933"/>
                    </a:lnTo>
                    <a:lnTo>
                      <a:pt x="392" y="4931"/>
                    </a:lnTo>
                    <a:lnTo>
                      <a:pt x="400" y="4928"/>
                    </a:lnTo>
                    <a:lnTo>
                      <a:pt x="412" y="4926"/>
                    </a:lnTo>
                    <a:lnTo>
                      <a:pt x="425" y="4924"/>
                    </a:lnTo>
                    <a:lnTo>
                      <a:pt x="436" y="4920"/>
                    </a:lnTo>
                    <a:lnTo>
                      <a:pt x="446" y="4918"/>
                    </a:lnTo>
                    <a:lnTo>
                      <a:pt x="456" y="4918"/>
                    </a:lnTo>
                    <a:lnTo>
                      <a:pt x="459" y="4916"/>
                    </a:lnTo>
                    <a:lnTo>
                      <a:pt x="466" y="4916"/>
                    </a:lnTo>
                    <a:lnTo>
                      <a:pt x="467" y="4916"/>
                    </a:lnTo>
                    <a:lnTo>
                      <a:pt x="471" y="4915"/>
                    </a:lnTo>
                    <a:lnTo>
                      <a:pt x="469" y="4915"/>
                    </a:lnTo>
                    <a:lnTo>
                      <a:pt x="461" y="4915"/>
                    </a:lnTo>
                    <a:lnTo>
                      <a:pt x="453" y="4915"/>
                    </a:lnTo>
                    <a:lnTo>
                      <a:pt x="443" y="4915"/>
                    </a:lnTo>
                    <a:lnTo>
                      <a:pt x="432" y="4915"/>
                    </a:lnTo>
                    <a:lnTo>
                      <a:pt x="423" y="4915"/>
                    </a:lnTo>
                    <a:lnTo>
                      <a:pt x="415" y="4915"/>
                    </a:lnTo>
                    <a:lnTo>
                      <a:pt x="408" y="4915"/>
                    </a:lnTo>
                    <a:lnTo>
                      <a:pt x="421" y="4902"/>
                    </a:lnTo>
                    <a:lnTo>
                      <a:pt x="426" y="4896"/>
                    </a:lnTo>
                    <a:lnTo>
                      <a:pt x="432" y="4890"/>
                    </a:lnTo>
                    <a:lnTo>
                      <a:pt x="436" y="4887"/>
                    </a:lnTo>
                    <a:lnTo>
                      <a:pt x="439" y="4883"/>
                    </a:lnTo>
                    <a:lnTo>
                      <a:pt x="441" y="4882"/>
                    </a:lnTo>
                    <a:lnTo>
                      <a:pt x="439" y="4882"/>
                    </a:lnTo>
                    <a:lnTo>
                      <a:pt x="438" y="4882"/>
                    </a:lnTo>
                    <a:lnTo>
                      <a:pt x="433" y="4883"/>
                    </a:lnTo>
                    <a:lnTo>
                      <a:pt x="430" y="4885"/>
                    </a:lnTo>
                    <a:lnTo>
                      <a:pt x="428" y="4887"/>
                    </a:lnTo>
                    <a:lnTo>
                      <a:pt x="426" y="4892"/>
                    </a:lnTo>
                    <a:lnTo>
                      <a:pt x="425" y="4898"/>
                    </a:lnTo>
                    <a:lnTo>
                      <a:pt x="426" y="4885"/>
                    </a:lnTo>
                    <a:lnTo>
                      <a:pt x="428" y="4872"/>
                    </a:lnTo>
                    <a:lnTo>
                      <a:pt x="432" y="4859"/>
                    </a:lnTo>
                    <a:lnTo>
                      <a:pt x="436" y="4849"/>
                    </a:lnTo>
                    <a:lnTo>
                      <a:pt x="441" y="4837"/>
                    </a:lnTo>
                    <a:lnTo>
                      <a:pt x="446" y="4828"/>
                    </a:lnTo>
                    <a:lnTo>
                      <a:pt x="453" y="4819"/>
                    </a:lnTo>
                    <a:lnTo>
                      <a:pt x="459" y="4811"/>
                    </a:lnTo>
                    <a:lnTo>
                      <a:pt x="472" y="4811"/>
                    </a:lnTo>
                    <a:lnTo>
                      <a:pt x="478" y="4811"/>
                    </a:lnTo>
                    <a:lnTo>
                      <a:pt x="484" y="4809"/>
                    </a:lnTo>
                    <a:lnTo>
                      <a:pt x="487" y="4808"/>
                    </a:lnTo>
                    <a:lnTo>
                      <a:pt x="491" y="4804"/>
                    </a:lnTo>
                    <a:lnTo>
                      <a:pt x="492" y="4800"/>
                    </a:lnTo>
                    <a:lnTo>
                      <a:pt x="494" y="4795"/>
                    </a:lnTo>
                    <a:lnTo>
                      <a:pt x="500" y="4793"/>
                    </a:lnTo>
                    <a:lnTo>
                      <a:pt x="506" y="4791"/>
                    </a:lnTo>
                    <a:lnTo>
                      <a:pt x="513" y="4789"/>
                    </a:lnTo>
                    <a:lnTo>
                      <a:pt x="517" y="4785"/>
                    </a:lnTo>
                    <a:lnTo>
                      <a:pt x="522" y="4782"/>
                    </a:lnTo>
                    <a:lnTo>
                      <a:pt x="525" y="4780"/>
                    </a:lnTo>
                    <a:lnTo>
                      <a:pt x="528" y="4778"/>
                    </a:lnTo>
                    <a:lnTo>
                      <a:pt x="535" y="4776"/>
                    </a:lnTo>
                    <a:lnTo>
                      <a:pt x="545" y="4775"/>
                    </a:lnTo>
                    <a:lnTo>
                      <a:pt x="553" y="4773"/>
                    </a:lnTo>
                    <a:lnTo>
                      <a:pt x="563" y="4768"/>
                    </a:lnTo>
                    <a:lnTo>
                      <a:pt x="573" y="4765"/>
                    </a:lnTo>
                    <a:lnTo>
                      <a:pt x="581" y="4763"/>
                    </a:lnTo>
                    <a:lnTo>
                      <a:pt x="591" y="4762"/>
                    </a:lnTo>
                    <a:lnTo>
                      <a:pt x="598" y="4760"/>
                    </a:lnTo>
                    <a:lnTo>
                      <a:pt x="598" y="4754"/>
                    </a:lnTo>
                    <a:lnTo>
                      <a:pt x="599" y="4750"/>
                    </a:lnTo>
                    <a:lnTo>
                      <a:pt x="601" y="4749"/>
                    </a:lnTo>
                    <a:lnTo>
                      <a:pt x="593" y="4752"/>
                    </a:lnTo>
                    <a:lnTo>
                      <a:pt x="579" y="4755"/>
                    </a:lnTo>
                    <a:lnTo>
                      <a:pt x="568" y="4760"/>
                    </a:lnTo>
                    <a:lnTo>
                      <a:pt x="561" y="4762"/>
                    </a:lnTo>
                    <a:lnTo>
                      <a:pt x="558" y="4763"/>
                    </a:lnTo>
                    <a:lnTo>
                      <a:pt x="552" y="4763"/>
                    </a:lnTo>
                    <a:lnTo>
                      <a:pt x="548" y="4763"/>
                    </a:lnTo>
                    <a:lnTo>
                      <a:pt x="535" y="4770"/>
                    </a:lnTo>
                    <a:lnTo>
                      <a:pt x="524" y="4776"/>
                    </a:lnTo>
                    <a:lnTo>
                      <a:pt x="515" y="4782"/>
                    </a:lnTo>
                    <a:lnTo>
                      <a:pt x="506" y="4788"/>
                    </a:lnTo>
                    <a:lnTo>
                      <a:pt x="499" y="4793"/>
                    </a:lnTo>
                    <a:lnTo>
                      <a:pt x="491" y="4796"/>
                    </a:lnTo>
                    <a:lnTo>
                      <a:pt x="484" y="4798"/>
                    </a:lnTo>
                    <a:lnTo>
                      <a:pt x="478" y="4800"/>
                    </a:lnTo>
                    <a:lnTo>
                      <a:pt x="491" y="4785"/>
                    </a:lnTo>
                    <a:lnTo>
                      <a:pt x="507" y="4773"/>
                    </a:lnTo>
                    <a:lnTo>
                      <a:pt x="524" y="4762"/>
                    </a:lnTo>
                    <a:lnTo>
                      <a:pt x="545" y="4750"/>
                    </a:lnTo>
                    <a:lnTo>
                      <a:pt x="553" y="4745"/>
                    </a:lnTo>
                    <a:lnTo>
                      <a:pt x="565" y="4742"/>
                    </a:lnTo>
                    <a:lnTo>
                      <a:pt x="576" y="4737"/>
                    </a:lnTo>
                    <a:lnTo>
                      <a:pt x="586" y="4734"/>
                    </a:lnTo>
                    <a:lnTo>
                      <a:pt x="599" y="4730"/>
                    </a:lnTo>
                    <a:lnTo>
                      <a:pt x="611" y="4729"/>
                    </a:lnTo>
                    <a:lnTo>
                      <a:pt x="624" y="4729"/>
                    </a:lnTo>
                    <a:lnTo>
                      <a:pt x="639" y="4729"/>
                    </a:lnTo>
                    <a:lnTo>
                      <a:pt x="634" y="4730"/>
                    </a:lnTo>
                    <a:lnTo>
                      <a:pt x="629" y="4734"/>
                    </a:lnTo>
                    <a:lnTo>
                      <a:pt x="624" y="4737"/>
                    </a:lnTo>
                    <a:lnTo>
                      <a:pt x="619" y="4742"/>
                    </a:lnTo>
                    <a:lnTo>
                      <a:pt x="611" y="4745"/>
                    </a:lnTo>
                    <a:lnTo>
                      <a:pt x="613" y="4745"/>
                    </a:lnTo>
                    <a:lnTo>
                      <a:pt x="619" y="4743"/>
                    </a:lnTo>
                    <a:lnTo>
                      <a:pt x="631" y="4743"/>
                    </a:lnTo>
                    <a:lnTo>
                      <a:pt x="637" y="4743"/>
                    </a:lnTo>
                    <a:lnTo>
                      <a:pt x="642" y="4747"/>
                    </a:lnTo>
                    <a:lnTo>
                      <a:pt x="644" y="4750"/>
                    </a:lnTo>
                    <a:lnTo>
                      <a:pt x="646" y="4755"/>
                    </a:lnTo>
                    <a:lnTo>
                      <a:pt x="647" y="4763"/>
                    </a:lnTo>
                    <a:lnTo>
                      <a:pt x="647" y="4773"/>
                    </a:lnTo>
                    <a:lnTo>
                      <a:pt x="650" y="4782"/>
                    </a:lnTo>
                    <a:lnTo>
                      <a:pt x="650" y="4795"/>
                    </a:lnTo>
                    <a:lnTo>
                      <a:pt x="652" y="4788"/>
                    </a:lnTo>
                    <a:lnTo>
                      <a:pt x="653" y="4782"/>
                    </a:lnTo>
                    <a:lnTo>
                      <a:pt x="653" y="4776"/>
                    </a:lnTo>
                    <a:lnTo>
                      <a:pt x="653" y="4770"/>
                    </a:lnTo>
                    <a:lnTo>
                      <a:pt x="653" y="4767"/>
                    </a:lnTo>
                    <a:lnTo>
                      <a:pt x="653" y="4762"/>
                    </a:lnTo>
                    <a:lnTo>
                      <a:pt x="652" y="4754"/>
                    </a:lnTo>
                    <a:lnTo>
                      <a:pt x="650" y="4750"/>
                    </a:lnTo>
                    <a:lnTo>
                      <a:pt x="650" y="4747"/>
                    </a:lnTo>
                    <a:lnTo>
                      <a:pt x="650" y="4743"/>
                    </a:lnTo>
                    <a:lnTo>
                      <a:pt x="652" y="4739"/>
                    </a:lnTo>
                    <a:lnTo>
                      <a:pt x="653" y="4735"/>
                    </a:lnTo>
                    <a:lnTo>
                      <a:pt x="655" y="4732"/>
                    </a:lnTo>
                    <a:lnTo>
                      <a:pt x="660" y="4729"/>
                    </a:lnTo>
                    <a:lnTo>
                      <a:pt x="667" y="4727"/>
                    </a:lnTo>
                    <a:lnTo>
                      <a:pt x="660" y="4727"/>
                    </a:lnTo>
                    <a:lnTo>
                      <a:pt x="655" y="4727"/>
                    </a:lnTo>
                    <a:lnTo>
                      <a:pt x="652" y="4727"/>
                    </a:lnTo>
                    <a:lnTo>
                      <a:pt x="647" y="4727"/>
                    </a:lnTo>
                    <a:lnTo>
                      <a:pt x="646" y="4727"/>
                    </a:lnTo>
                    <a:lnTo>
                      <a:pt x="642" y="4727"/>
                    </a:lnTo>
                    <a:lnTo>
                      <a:pt x="637" y="4727"/>
                    </a:lnTo>
                    <a:lnTo>
                      <a:pt x="631" y="4727"/>
                    </a:lnTo>
                    <a:lnTo>
                      <a:pt x="631" y="4724"/>
                    </a:lnTo>
                    <a:lnTo>
                      <a:pt x="631" y="4722"/>
                    </a:lnTo>
                    <a:lnTo>
                      <a:pt x="634" y="4721"/>
                    </a:lnTo>
                    <a:lnTo>
                      <a:pt x="634" y="4717"/>
                    </a:lnTo>
                    <a:lnTo>
                      <a:pt x="635" y="4714"/>
                    </a:lnTo>
                    <a:lnTo>
                      <a:pt x="639" y="4712"/>
                    </a:lnTo>
                    <a:lnTo>
                      <a:pt x="639" y="4712"/>
                    </a:lnTo>
                    <a:lnTo>
                      <a:pt x="611" y="4721"/>
                    </a:lnTo>
                    <a:lnTo>
                      <a:pt x="593" y="4729"/>
                    </a:lnTo>
                    <a:lnTo>
                      <a:pt x="574" y="4734"/>
                    </a:lnTo>
                    <a:lnTo>
                      <a:pt x="555" y="4742"/>
                    </a:lnTo>
                    <a:lnTo>
                      <a:pt x="540" y="4747"/>
                    </a:lnTo>
                    <a:lnTo>
                      <a:pt x="524" y="4754"/>
                    </a:lnTo>
                    <a:lnTo>
                      <a:pt x="512" y="4760"/>
                    </a:lnTo>
                    <a:lnTo>
                      <a:pt x="512" y="4754"/>
                    </a:lnTo>
                    <a:lnTo>
                      <a:pt x="512" y="4750"/>
                    </a:lnTo>
                    <a:lnTo>
                      <a:pt x="513" y="4747"/>
                    </a:lnTo>
                    <a:lnTo>
                      <a:pt x="513" y="4745"/>
                    </a:lnTo>
                    <a:lnTo>
                      <a:pt x="513" y="4743"/>
                    </a:lnTo>
                    <a:lnTo>
                      <a:pt x="515" y="4739"/>
                    </a:lnTo>
                    <a:lnTo>
                      <a:pt x="519" y="4735"/>
                    </a:lnTo>
                    <a:lnTo>
                      <a:pt x="522" y="4732"/>
                    </a:lnTo>
                    <a:lnTo>
                      <a:pt x="528" y="4727"/>
                    </a:lnTo>
                    <a:lnTo>
                      <a:pt x="525" y="4727"/>
                    </a:lnTo>
                    <a:lnTo>
                      <a:pt x="522" y="4727"/>
                    </a:lnTo>
                    <a:lnTo>
                      <a:pt x="520" y="4729"/>
                    </a:lnTo>
                    <a:lnTo>
                      <a:pt x="517" y="4730"/>
                    </a:lnTo>
                    <a:lnTo>
                      <a:pt x="513" y="4734"/>
                    </a:lnTo>
                    <a:lnTo>
                      <a:pt x="512" y="4737"/>
                    </a:lnTo>
                    <a:lnTo>
                      <a:pt x="512" y="4734"/>
                    </a:lnTo>
                    <a:lnTo>
                      <a:pt x="512" y="4730"/>
                    </a:lnTo>
                    <a:lnTo>
                      <a:pt x="512" y="4729"/>
                    </a:lnTo>
                    <a:lnTo>
                      <a:pt x="512" y="4727"/>
                    </a:lnTo>
                    <a:lnTo>
                      <a:pt x="504" y="4727"/>
                    </a:lnTo>
                    <a:lnTo>
                      <a:pt x="499" y="4729"/>
                    </a:lnTo>
                    <a:lnTo>
                      <a:pt x="502" y="4729"/>
                    </a:lnTo>
                    <a:lnTo>
                      <a:pt x="506" y="4729"/>
                    </a:lnTo>
                    <a:lnTo>
                      <a:pt x="502" y="4730"/>
                    </a:lnTo>
                    <a:lnTo>
                      <a:pt x="499" y="4732"/>
                    </a:lnTo>
                    <a:lnTo>
                      <a:pt x="494" y="4735"/>
                    </a:lnTo>
                    <a:lnTo>
                      <a:pt x="491" y="4739"/>
                    </a:lnTo>
                    <a:lnTo>
                      <a:pt x="487" y="4742"/>
                    </a:lnTo>
                    <a:lnTo>
                      <a:pt x="484" y="4743"/>
                    </a:lnTo>
                    <a:lnTo>
                      <a:pt x="478" y="4745"/>
                    </a:lnTo>
                    <a:lnTo>
                      <a:pt x="484" y="4739"/>
                    </a:lnTo>
                    <a:lnTo>
                      <a:pt x="487" y="4734"/>
                    </a:lnTo>
                    <a:lnTo>
                      <a:pt x="491" y="4732"/>
                    </a:lnTo>
                    <a:lnTo>
                      <a:pt x="484" y="4734"/>
                    </a:lnTo>
                    <a:lnTo>
                      <a:pt x="474" y="4737"/>
                    </a:lnTo>
                    <a:lnTo>
                      <a:pt x="466" y="4742"/>
                    </a:lnTo>
                    <a:lnTo>
                      <a:pt x="454" y="4743"/>
                    </a:lnTo>
                    <a:lnTo>
                      <a:pt x="443" y="4743"/>
                    </a:lnTo>
                    <a:lnTo>
                      <a:pt x="448" y="4735"/>
                    </a:lnTo>
                    <a:lnTo>
                      <a:pt x="458" y="4730"/>
                    </a:lnTo>
                    <a:lnTo>
                      <a:pt x="467" y="4722"/>
                    </a:lnTo>
                    <a:lnTo>
                      <a:pt x="474" y="4718"/>
                    </a:lnTo>
                    <a:lnTo>
                      <a:pt x="476" y="4714"/>
                    </a:lnTo>
                    <a:lnTo>
                      <a:pt x="479" y="4708"/>
                    </a:lnTo>
                    <a:lnTo>
                      <a:pt x="487" y="4697"/>
                    </a:lnTo>
                    <a:lnTo>
                      <a:pt x="492" y="4684"/>
                    </a:lnTo>
                    <a:lnTo>
                      <a:pt x="497" y="4678"/>
                    </a:lnTo>
                    <a:lnTo>
                      <a:pt x="502" y="4673"/>
                    </a:lnTo>
                    <a:lnTo>
                      <a:pt x="506" y="4669"/>
                    </a:lnTo>
                    <a:lnTo>
                      <a:pt x="509" y="4663"/>
                    </a:lnTo>
                    <a:lnTo>
                      <a:pt x="515" y="4660"/>
                    </a:lnTo>
                    <a:lnTo>
                      <a:pt x="520" y="4658"/>
                    </a:lnTo>
                    <a:lnTo>
                      <a:pt x="524" y="4656"/>
                    </a:lnTo>
                    <a:lnTo>
                      <a:pt x="530" y="4656"/>
                    </a:lnTo>
                    <a:lnTo>
                      <a:pt x="530" y="4655"/>
                    </a:lnTo>
                    <a:lnTo>
                      <a:pt x="533" y="4655"/>
                    </a:lnTo>
                    <a:lnTo>
                      <a:pt x="532" y="4653"/>
                    </a:lnTo>
                    <a:lnTo>
                      <a:pt x="530" y="4648"/>
                    </a:lnTo>
                    <a:lnTo>
                      <a:pt x="528" y="4645"/>
                    </a:lnTo>
                    <a:lnTo>
                      <a:pt x="528" y="4640"/>
                    </a:lnTo>
                    <a:lnTo>
                      <a:pt x="528" y="4636"/>
                    </a:lnTo>
                    <a:lnTo>
                      <a:pt x="525" y="4634"/>
                    </a:lnTo>
                    <a:lnTo>
                      <a:pt x="520" y="4643"/>
                    </a:lnTo>
                    <a:lnTo>
                      <a:pt x="513" y="4651"/>
                    </a:lnTo>
                    <a:lnTo>
                      <a:pt x="506" y="4656"/>
                    </a:lnTo>
                    <a:lnTo>
                      <a:pt x="499" y="4663"/>
                    </a:lnTo>
                    <a:lnTo>
                      <a:pt x="491" y="4668"/>
                    </a:lnTo>
                    <a:lnTo>
                      <a:pt x="484" y="4673"/>
                    </a:lnTo>
                    <a:lnTo>
                      <a:pt x="478" y="4675"/>
                    </a:lnTo>
                    <a:lnTo>
                      <a:pt x="477" y="4675"/>
                    </a:lnTo>
                    <a:lnTo>
                      <a:pt x="476" y="4680"/>
                    </a:lnTo>
                    <a:lnTo>
                      <a:pt x="474" y="4688"/>
                    </a:lnTo>
                    <a:lnTo>
                      <a:pt x="471" y="4697"/>
                    </a:lnTo>
                    <a:lnTo>
                      <a:pt x="467" y="4704"/>
                    </a:lnTo>
                    <a:lnTo>
                      <a:pt x="466" y="4708"/>
                    </a:lnTo>
                    <a:lnTo>
                      <a:pt x="463" y="4709"/>
                    </a:lnTo>
                    <a:lnTo>
                      <a:pt x="459" y="4712"/>
                    </a:lnTo>
                    <a:lnTo>
                      <a:pt x="458" y="4714"/>
                    </a:lnTo>
                    <a:lnTo>
                      <a:pt x="456" y="4714"/>
                    </a:lnTo>
                    <a:lnTo>
                      <a:pt x="453" y="4714"/>
                    </a:lnTo>
                    <a:lnTo>
                      <a:pt x="448" y="4712"/>
                    </a:lnTo>
                    <a:lnTo>
                      <a:pt x="447" y="4710"/>
                    </a:lnTo>
                    <a:lnTo>
                      <a:pt x="443" y="4714"/>
                    </a:lnTo>
                    <a:lnTo>
                      <a:pt x="439" y="4719"/>
                    </a:lnTo>
                    <a:lnTo>
                      <a:pt x="433" y="4722"/>
                    </a:lnTo>
                    <a:lnTo>
                      <a:pt x="432" y="4727"/>
                    </a:lnTo>
                    <a:lnTo>
                      <a:pt x="428" y="4730"/>
                    </a:lnTo>
                    <a:lnTo>
                      <a:pt x="423" y="4734"/>
                    </a:lnTo>
                    <a:lnTo>
                      <a:pt x="418" y="4737"/>
                    </a:lnTo>
                    <a:lnTo>
                      <a:pt x="413" y="4745"/>
                    </a:lnTo>
                    <a:lnTo>
                      <a:pt x="413" y="4737"/>
                    </a:lnTo>
                    <a:lnTo>
                      <a:pt x="415" y="4729"/>
                    </a:lnTo>
                    <a:lnTo>
                      <a:pt x="418" y="4721"/>
                    </a:lnTo>
                    <a:lnTo>
                      <a:pt x="425" y="4714"/>
                    </a:lnTo>
                    <a:lnTo>
                      <a:pt x="426" y="4709"/>
                    </a:lnTo>
                    <a:lnTo>
                      <a:pt x="430" y="4708"/>
                    </a:lnTo>
                    <a:lnTo>
                      <a:pt x="432" y="4704"/>
                    </a:lnTo>
                    <a:lnTo>
                      <a:pt x="436" y="4704"/>
                    </a:lnTo>
                    <a:lnTo>
                      <a:pt x="439" y="4704"/>
                    </a:lnTo>
                    <a:lnTo>
                      <a:pt x="443" y="4704"/>
                    </a:lnTo>
                    <a:lnTo>
                      <a:pt x="444" y="4705"/>
                    </a:lnTo>
                    <a:lnTo>
                      <a:pt x="443" y="4702"/>
                    </a:lnTo>
                    <a:lnTo>
                      <a:pt x="443" y="4701"/>
                    </a:lnTo>
                    <a:lnTo>
                      <a:pt x="445" y="4699"/>
                    </a:lnTo>
                    <a:lnTo>
                      <a:pt x="446" y="4694"/>
                    </a:lnTo>
                    <a:lnTo>
                      <a:pt x="448" y="4693"/>
                    </a:lnTo>
                    <a:lnTo>
                      <a:pt x="453" y="4691"/>
                    </a:lnTo>
                    <a:lnTo>
                      <a:pt x="456" y="4691"/>
                    </a:lnTo>
                    <a:lnTo>
                      <a:pt x="463" y="4688"/>
                    </a:lnTo>
                    <a:lnTo>
                      <a:pt x="471" y="4682"/>
                    </a:lnTo>
                    <a:lnTo>
                      <a:pt x="472" y="4680"/>
                    </a:lnTo>
                    <a:lnTo>
                      <a:pt x="474" y="4678"/>
                    </a:lnTo>
                    <a:lnTo>
                      <a:pt x="476" y="4675"/>
                    </a:lnTo>
                    <a:lnTo>
                      <a:pt x="472" y="4676"/>
                    </a:lnTo>
                    <a:lnTo>
                      <a:pt x="467" y="4676"/>
                    </a:lnTo>
                    <a:lnTo>
                      <a:pt x="466" y="4675"/>
                    </a:lnTo>
                    <a:lnTo>
                      <a:pt x="463" y="4673"/>
                    </a:lnTo>
                    <a:lnTo>
                      <a:pt x="515" y="4623"/>
                    </a:lnTo>
                    <a:lnTo>
                      <a:pt x="502" y="4628"/>
                    </a:lnTo>
                    <a:lnTo>
                      <a:pt x="492" y="4638"/>
                    </a:lnTo>
                    <a:lnTo>
                      <a:pt x="482" y="4645"/>
                    </a:lnTo>
                    <a:lnTo>
                      <a:pt x="472" y="4655"/>
                    </a:lnTo>
                    <a:lnTo>
                      <a:pt x="463" y="4661"/>
                    </a:lnTo>
                    <a:lnTo>
                      <a:pt x="458" y="4665"/>
                    </a:lnTo>
                    <a:lnTo>
                      <a:pt x="453" y="4668"/>
                    </a:lnTo>
                    <a:lnTo>
                      <a:pt x="446" y="4671"/>
                    </a:lnTo>
                    <a:lnTo>
                      <a:pt x="441" y="4673"/>
                    </a:lnTo>
                    <a:lnTo>
                      <a:pt x="436" y="4673"/>
                    </a:lnTo>
                    <a:lnTo>
                      <a:pt x="430" y="4673"/>
                    </a:lnTo>
                    <a:lnTo>
                      <a:pt x="428" y="4671"/>
                    </a:lnTo>
                    <a:lnTo>
                      <a:pt x="428" y="4668"/>
                    </a:lnTo>
                    <a:lnTo>
                      <a:pt x="426" y="4660"/>
                    </a:lnTo>
                    <a:lnTo>
                      <a:pt x="428" y="4655"/>
                    </a:lnTo>
                    <a:lnTo>
                      <a:pt x="430" y="4648"/>
                    </a:lnTo>
                    <a:lnTo>
                      <a:pt x="433" y="4643"/>
                    </a:lnTo>
                    <a:lnTo>
                      <a:pt x="439" y="4638"/>
                    </a:lnTo>
                    <a:lnTo>
                      <a:pt x="445" y="4632"/>
                    </a:lnTo>
                    <a:lnTo>
                      <a:pt x="451" y="4627"/>
                    </a:lnTo>
                    <a:lnTo>
                      <a:pt x="453" y="4626"/>
                    </a:lnTo>
                    <a:lnTo>
                      <a:pt x="451" y="4625"/>
                    </a:lnTo>
                    <a:lnTo>
                      <a:pt x="446" y="4623"/>
                    </a:lnTo>
                    <a:lnTo>
                      <a:pt x="451" y="4619"/>
                    </a:lnTo>
                    <a:lnTo>
                      <a:pt x="456" y="4614"/>
                    </a:lnTo>
                    <a:lnTo>
                      <a:pt x="461" y="4608"/>
                    </a:lnTo>
                    <a:lnTo>
                      <a:pt x="463" y="4607"/>
                    </a:lnTo>
                    <a:lnTo>
                      <a:pt x="461" y="4602"/>
                    </a:lnTo>
                    <a:lnTo>
                      <a:pt x="461" y="4597"/>
                    </a:lnTo>
                    <a:lnTo>
                      <a:pt x="459" y="4594"/>
                    </a:lnTo>
                    <a:lnTo>
                      <a:pt x="461" y="4587"/>
                    </a:lnTo>
                    <a:lnTo>
                      <a:pt x="461" y="4584"/>
                    </a:lnTo>
                    <a:lnTo>
                      <a:pt x="463" y="4581"/>
                    </a:lnTo>
                    <a:lnTo>
                      <a:pt x="466" y="4579"/>
                    </a:lnTo>
                    <a:lnTo>
                      <a:pt x="469" y="4575"/>
                    </a:lnTo>
                    <a:lnTo>
                      <a:pt x="474" y="4571"/>
                    </a:lnTo>
                    <a:lnTo>
                      <a:pt x="482" y="4566"/>
                    </a:lnTo>
                    <a:lnTo>
                      <a:pt x="487" y="4562"/>
                    </a:lnTo>
                    <a:lnTo>
                      <a:pt x="494" y="4556"/>
                    </a:lnTo>
                    <a:lnTo>
                      <a:pt x="492" y="4562"/>
                    </a:lnTo>
                    <a:lnTo>
                      <a:pt x="491" y="4569"/>
                    </a:lnTo>
                    <a:lnTo>
                      <a:pt x="489" y="4575"/>
                    </a:lnTo>
                    <a:lnTo>
                      <a:pt x="486" y="4582"/>
                    </a:lnTo>
                    <a:lnTo>
                      <a:pt x="479" y="4589"/>
                    </a:lnTo>
                    <a:lnTo>
                      <a:pt x="474" y="4595"/>
                    </a:lnTo>
                    <a:lnTo>
                      <a:pt x="472" y="4599"/>
                    </a:lnTo>
                    <a:lnTo>
                      <a:pt x="474" y="4597"/>
                    </a:lnTo>
                    <a:lnTo>
                      <a:pt x="482" y="4592"/>
                    </a:lnTo>
                    <a:lnTo>
                      <a:pt x="483" y="4591"/>
                    </a:lnTo>
                    <a:lnTo>
                      <a:pt x="483" y="4591"/>
                    </a:lnTo>
                    <a:lnTo>
                      <a:pt x="483" y="4591"/>
                    </a:lnTo>
                    <a:lnTo>
                      <a:pt x="484" y="4595"/>
                    </a:lnTo>
                    <a:lnTo>
                      <a:pt x="486" y="4601"/>
                    </a:lnTo>
                    <a:lnTo>
                      <a:pt x="486" y="4607"/>
                    </a:lnTo>
                    <a:lnTo>
                      <a:pt x="486" y="4608"/>
                    </a:lnTo>
                    <a:lnTo>
                      <a:pt x="489" y="4607"/>
                    </a:lnTo>
                    <a:lnTo>
                      <a:pt x="494" y="4607"/>
                    </a:lnTo>
                    <a:lnTo>
                      <a:pt x="499" y="4607"/>
                    </a:lnTo>
                    <a:lnTo>
                      <a:pt x="499" y="4604"/>
                    </a:lnTo>
                    <a:lnTo>
                      <a:pt x="497" y="4604"/>
                    </a:lnTo>
                    <a:lnTo>
                      <a:pt x="497" y="4602"/>
                    </a:lnTo>
                    <a:lnTo>
                      <a:pt x="494" y="4601"/>
                    </a:lnTo>
                    <a:lnTo>
                      <a:pt x="491" y="4599"/>
                    </a:lnTo>
                    <a:lnTo>
                      <a:pt x="487" y="4594"/>
                    </a:lnTo>
                    <a:lnTo>
                      <a:pt x="484" y="4589"/>
                    </a:lnTo>
                    <a:lnTo>
                      <a:pt x="484" y="4589"/>
                    </a:lnTo>
                    <a:lnTo>
                      <a:pt x="484" y="4589"/>
                    </a:lnTo>
                    <a:lnTo>
                      <a:pt x="489" y="4584"/>
                    </a:lnTo>
                    <a:lnTo>
                      <a:pt x="499" y="4581"/>
                    </a:lnTo>
                    <a:lnTo>
                      <a:pt x="506" y="4575"/>
                    </a:lnTo>
                    <a:lnTo>
                      <a:pt x="513" y="4571"/>
                    </a:lnTo>
                    <a:lnTo>
                      <a:pt x="520" y="4569"/>
                    </a:lnTo>
                    <a:lnTo>
                      <a:pt x="528" y="4569"/>
                    </a:lnTo>
                    <a:lnTo>
                      <a:pt x="532" y="4569"/>
                    </a:lnTo>
                    <a:lnTo>
                      <a:pt x="535" y="4571"/>
                    </a:lnTo>
                    <a:lnTo>
                      <a:pt x="537" y="4573"/>
                    </a:lnTo>
                    <a:lnTo>
                      <a:pt x="540" y="4575"/>
                    </a:lnTo>
                    <a:lnTo>
                      <a:pt x="540" y="4573"/>
                    </a:lnTo>
                    <a:lnTo>
                      <a:pt x="543" y="4569"/>
                    </a:lnTo>
                    <a:lnTo>
                      <a:pt x="545" y="4564"/>
                    </a:lnTo>
                    <a:lnTo>
                      <a:pt x="550" y="4554"/>
                    </a:lnTo>
                    <a:lnTo>
                      <a:pt x="555" y="4543"/>
                    </a:lnTo>
                    <a:lnTo>
                      <a:pt x="560" y="4540"/>
                    </a:lnTo>
                    <a:lnTo>
                      <a:pt x="563" y="4536"/>
                    </a:lnTo>
                    <a:lnTo>
                      <a:pt x="563" y="4534"/>
                    </a:lnTo>
                    <a:lnTo>
                      <a:pt x="563" y="4531"/>
                    </a:lnTo>
                    <a:lnTo>
                      <a:pt x="563" y="4528"/>
                    </a:lnTo>
                    <a:lnTo>
                      <a:pt x="563" y="4525"/>
                    </a:lnTo>
                    <a:lnTo>
                      <a:pt x="563" y="4521"/>
                    </a:lnTo>
                    <a:lnTo>
                      <a:pt x="563" y="4520"/>
                    </a:lnTo>
                    <a:lnTo>
                      <a:pt x="566" y="4520"/>
                    </a:lnTo>
                    <a:lnTo>
                      <a:pt x="568" y="4521"/>
                    </a:lnTo>
                    <a:lnTo>
                      <a:pt x="573" y="4523"/>
                    </a:lnTo>
                    <a:lnTo>
                      <a:pt x="576" y="4525"/>
                    </a:lnTo>
                    <a:lnTo>
                      <a:pt x="581" y="4531"/>
                    </a:lnTo>
                    <a:lnTo>
                      <a:pt x="586" y="4536"/>
                    </a:lnTo>
                    <a:lnTo>
                      <a:pt x="591" y="4543"/>
                    </a:lnTo>
                    <a:lnTo>
                      <a:pt x="594" y="4549"/>
                    </a:lnTo>
                    <a:lnTo>
                      <a:pt x="596" y="4551"/>
                    </a:lnTo>
                    <a:lnTo>
                      <a:pt x="596" y="4553"/>
                    </a:lnTo>
                    <a:lnTo>
                      <a:pt x="598" y="4554"/>
                    </a:lnTo>
                    <a:lnTo>
                      <a:pt x="604" y="4548"/>
                    </a:lnTo>
                    <a:lnTo>
                      <a:pt x="609" y="4543"/>
                    </a:lnTo>
                    <a:lnTo>
                      <a:pt x="616" y="4541"/>
                    </a:lnTo>
                    <a:lnTo>
                      <a:pt x="622" y="4538"/>
                    </a:lnTo>
                    <a:lnTo>
                      <a:pt x="629" y="4538"/>
                    </a:lnTo>
                    <a:lnTo>
                      <a:pt x="635" y="4536"/>
                    </a:lnTo>
                    <a:lnTo>
                      <a:pt x="634" y="4536"/>
                    </a:lnTo>
                    <a:lnTo>
                      <a:pt x="624" y="4536"/>
                    </a:lnTo>
                    <a:lnTo>
                      <a:pt x="616" y="4536"/>
                    </a:lnTo>
                    <a:lnTo>
                      <a:pt x="609" y="4536"/>
                    </a:lnTo>
                    <a:lnTo>
                      <a:pt x="606" y="4536"/>
                    </a:lnTo>
                    <a:lnTo>
                      <a:pt x="604" y="4536"/>
                    </a:lnTo>
                    <a:lnTo>
                      <a:pt x="599" y="4536"/>
                    </a:lnTo>
                    <a:lnTo>
                      <a:pt x="598" y="4536"/>
                    </a:lnTo>
                    <a:lnTo>
                      <a:pt x="596" y="4534"/>
                    </a:lnTo>
                    <a:lnTo>
                      <a:pt x="594" y="4531"/>
                    </a:lnTo>
                    <a:lnTo>
                      <a:pt x="594" y="4523"/>
                    </a:lnTo>
                    <a:lnTo>
                      <a:pt x="596" y="4518"/>
                    </a:lnTo>
                    <a:lnTo>
                      <a:pt x="598" y="4512"/>
                    </a:lnTo>
                    <a:lnTo>
                      <a:pt x="601" y="4505"/>
                    </a:lnTo>
                    <a:lnTo>
                      <a:pt x="607" y="4500"/>
                    </a:lnTo>
                    <a:lnTo>
                      <a:pt x="613" y="4494"/>
                    </a:lnTo>
                    <a:lnTo>
                      <a:pt x="619" y="4490"/>
                    </a:lnTo>
                    <a:lnTo>
                      <a:pt x="626" y="4485"/>
                    </a:lnTo>
                    <a:lnTo>
                      <a:pt x="631" y="4480"/>
                    </a:lnTo>
                    <a:lnTo>
                      <a:pt x="639" y="4477"/>
                    </a:lnTo>
                    <a:lnTo>
                      <a:pt x="646" y="4474"/>
                    </a:lnTo>
                    <a:lnTo>
                      <a:pt x="652" y="4472"/>
                    </a:lnTo>
                    <a:lnTo>
                      <a:pt x="657" y="4470"/>
                    </a:lnTo>
                    <a:lnTo>
                      <a:pt x="662" y="4467"/>
                    </a:lnTo>
                    <a:lnTo>
                      <a:pt x="660" y="4467"/>
                    </a:lnTo>
                    <a:lnTo>
                      <a:pt x="655" y="4467"/>
                    </a:lnTo>
                    <a:lnTo>
                      <a:pt x="653" y="4466"/>
                    </a:lnTo>
                    <a:lnTo>
                      <a:pt x="652" y="4464"/>
                    </a:lnTo>
                    <a:lnTo>
                      <a:pt x="650" y="4464"/>
                    </a:lnTo>
                    <a:lnTo>
                      <a:pt x="652" y="4462"/>
                    </a:lnTo>
                    <a:lnTo>
                      <a:pt x="652" y="4459"/>
                    </a:lnTo>
                    <a:lnTo>
                      <a:pt x="653" y="4457"/>
                    </a:lnTo>
                    <a:lnTo>
                      <a:pt x="657" y="4451"/>
                    </a:lnTo>
                    <a:lnTo>
                      <a:pt x="660" y="4446"/>
                    </a:lnTo>
                    <a:lnTo>
                      <a:pt x="662" y="4442"/>
                    </a:lnTo>
                    <a:lnTo>
                      <a:pt x="665" y="4440"/>
                    </a:lnTo>
                    <a:lnTo>
                      <a:pt x="667" y="4436"/>
                    </a:lnTo>
                    <a:lnTo>
                      <a:pt x="667" y="4433"/>
                    </a:lnTo>
                    <a:lnTo>
                      <a:pt x="665" y="4436"/>
                    </a:lnTo>
                    <a:lnTo>
                      <a:pt x="662" y="4440"/>
                    </a:lnTo>
                    <a:lnTo>
                      <a:pt x="659" y="4446"/>
                    </a:lnTo>
                    <a:lnTo>
                      <a:pt x="655" y="4451"/>
                    </a:lnTo>
                    <a:lnTo>
                      <a:pt x="650" y="4455"/>
                    </a:lnTo>
                    <a:lnTo>
                      <a:pt x="644" y="4460"/>
                    </a:lnTo>
                    <a:lnTo>
                      <a:pt x="639" y="4466"/>
                    </a:lnTo>
                    <a:lnTo>
                      <a:pt x="634" y="4470"/>
                    </a:lnTo>
                    <a:lnTo>
                      <a:pt x="627" y="4474"/>
                    </a:lnTo>
                    <a:lnTo>
                      <a:pt x="624" y="4477"/>
                    </a:lnTo>
                    <a:lnTo>
                      <a:pt x="619" y="4479"/>
                    </a:lnTo>
                    <a:lnTo>
                      <a:pt x="614" y="4479"/>
                    </a:lnTo>
                    <a:lnTo>
                      <a:pt x="613" y="4479"/>
                    </a:lnTo>
                    <a:lnTo>
                      <a:pt x="611" y="4477"/>
                    </a:lnTo>
                    <a:lnTo>
                      <a:pt x="613" y="4474"/>
                    </a:lnTo>
                    <a:lnTo>
                      <a:pt x="613" y="4472"/>
                    </a:lnTo>
                    <a:lnTo>
                      <a:pt x="614" y="4467"/>
                    </a:lnTo>
                    <a:lnTo>
                      <a:pt x="607" y="4474"/>
                    </a:lnTo>
                    <a:lnTo>
                      <a:pt x="601" y="4477"/>
                    </a:lnTo>
                    <a:lnTo>
                      <a:pt x="594" y="4480"/>
                    </a:lnTo>
                    <a:lnTo>
                      <a:pt x="589" y="4482"/>
                    </a:lnTo>
                    <a:lnTo>
                      <a:pt x="581" y="4485"/>
                    </a:lnTo>
                    <a:lnTo>
                      <a:pt x="576" y="4485"/>
                    </a:lnTo>
                    <a:lnTo>
                      <a:pt x="563" y="4485"/>
                    </a:lnTo>
                    <a:lnTo>
                      <a:pt x="550" y="4492"/>
                    </a:lnTo>
                    <a:lnTo>
                      <a:pt x="539" y="4501"/>
                    </a:lnTo>
                    <a:lnTo>
                      <a:pt x="530" y="4510"/>
                    </a:lnTo>
                    <a:lnTo>
                      <a:pt x="522" y="4520"/>
                    </a:lnTo>
                    <a:lnTo>
                      <a:pt x="515" y="4528"/>
                    </a:lnTo>
                    <a:lnTo>
                      <a:pt x="507" y="4538"/>
                    </a:lnTo>
                    <a:lnTo>
                      <a:pt x="500" y="4548"/>
                    </a:lnTo>
                    <a:lnTo>
                      <a:pt x="494" y="4554"/>
                    </a:lnTo>
                    <a:lnTo>
                      <a:pt x="487" y="4540"/>
                    </a:lnTo>
                    <a:lnTo>
                      <a:pt x="482" y="4525"/>
                    </a:lnTo>
                    <a:lnTo>
                      <a:pt x="476" y="4510"/>
                    </a:lnTo>
                    <a:lnTo>
                      <a:pt x="472" y="4494"/>
                    </a:lnTo>
                    <a:lnTo>
                      <a:pt x="472" y="4490"/>
                    </a:lnTo>
                    <a:lnTo>
                      <a:pt x="472" y="4495"/>
                    </a:lnTo>
                    <a:lnTo>
                      <a:pt x="472" y="4508"/>
                    </a:lnTo>
                    <a:lnTo>
                      <a:pt x="472" y="4513"/>
                    </a:lnTo>
                    <a:lnTo>
                      <a:pt x="472" y="4520"/>
                    </a:lnTo>
                    <a:lnTo>
                      <a:pt x="472" y="4525"/>
                    </a:lnTo>
                    <a:lnTo>
                      <a:pt x="471" y="4528"/>
                    </a:lnTo>
                    <a:lnTo>
                      <a:pt x="469" y="4533"/>
                    </a:lnTo>
                    <a:lnTo>
                      <a:pt x="467" y="4534"/>
                    </a:lnTo>
                    <a:lnTo>
                      <a:pt x="466" y="4536"/>
                    </a:lnTo>
                    <a:lnTo>
                      <a:pt x="461" y="4538"/>
                    </a:lnTo>
                    <a:lnTo>
                      <a:pt x="463" y="4538"/>
                    </a:lnTo>
                    <a:lnTo>
                      <a:pt x="466" y="4538"/>
                    </a:lnTo>
                    <a:lnTo>
                      <a:pt x="469" y="4538"/>
                    </a:lnTo>
                    <a:lnTo>
                      <a:pt x="472" y="4538"/>
                    </a:lnTo>
                    <a:lnTo>
                      <a:pt x="478" y="4538"/>
                    </a:lnTo>
                    <a:lnTo>
                      <a:pt x="472" y="4541"/>
                    </a:lnTo>
                    <a:lnTo>
                      <a:pt x="469" y="4546"/>
                    </a:lnTo>
                    <a:lnTo>
                      <a:pt x="466" y="4549"/>
                    </a:lnTo>
                    <a:lnTo>
                      <a:pt x="461" y="4553"/>
                    </a:lnTo>
                    <a:lnTo>
                      <a:pt x="459" y="4556"/>
                    </a:lnTo>
                    <a:lnTo>
                      <a:pt x="456" y="4558"/>
                    </a:lnTo>
                    <a:lnTo>
                      <a:pt x="451" y="4562"/>
                    </a:lnTo>
                    <a:lnTo>
                      <a:pt x="446" y="4564"/>
                    </a:lnTo>
                    <a:lnTo>
                      <a:pt x="443" y="4564"/>
                    </a:lnTo>
                    <a:lnTo>
                      <a:pt x="441" y="4562"/>
                    </a:lnTo>
                    <a:lnTo>
                      <a:pt x="439" y="4561"/>
                    </a:lnTo>
                    <a:lnTo>
                      <a:pt x="438" y="4556"/>
                    </a:lnTo>
                    <a:lnTo>
                      <a:pt x="438" y="4551"/>
                    </a:lnTo>
                    <a:lnTo>
                      <a:pt x="438" y="4543"/>
                    </a:lnTo>
                    <a:lnTo>
                      <a:pt x="438" y="4538"/>
                    </a:lnTo>
                    <a:lnTo>
                      <a:pt x="439" y="4528"/>
                    </a:lnTo>
                    <a:lnTo>
                      <a:pt x="441" y="4521"/>
                    </a:lnTo>
                    <a:lnTo>
                      <a:pt x="443" y="4512"/>
                    </a:lnTo>
                    <a:lnTo>
                      <a:pt x="446" y="4501"/>
                    </a:lnTo>
                    <a:lnTo>
                      <a:pt x="445" y="4503"/>
                    </a:lnTo>
                    <a:lnTo>
                      <a:pt x="443" y="4507"/>
                    </a:lnTo>
                    <a:lnTo>
                      <a:pt x="439" y="4508"/>
                    </a:lnTo>
                    <a:lnTo>
                      <a:pt x="436" y="4513"/>
                    </a:lnTo>
                    <a:lnTo>
                      <a:pt x="432" y="4520"/>
                    </a:lnTo>
                    <a:lnTo>
                      <a:pt x="432" y="4516"/>
                    </a:lnTo>
                    <a:lnTo>
                      <a:pt x="432" y="4510"/>
                    </a:lnTo>
                    <a:lnTo>
                      <a:pt x="432" y="4505"/>
                    </a:lnTo>
                    <a:lnTo>
                      <a:pt x="432" y="4500"/>
                    </a:lnTo>
                    <a:lnTo>
                      <a:pt x="432" y="4485"/>
                    </a:lnTo>
                    <a:lnTo>
                      <a:pt x="433" y="4479"/>
                    </a:lnTo>
                    <a:lnTo>
                      <a:pt x="436" y="4474"/>
                    </a:lnTo>
                    <a:lnTo>
                      <a:pt x="438" y="4467"/>
                    </a:lnTo>
                    <a:lnTo>
                      <a:pt x="439" y="4462"/>
                    </a:lnTo>
                    <a:lnTo>
                      <a:pt x="441" y="4459"/>
                    </a:lnTo>
                    <a:lnTo>
                      <a:pt x="445" y="4457"/>
                    </a:lnTo>
                    <a:lnTo>
                      <a:pt x="448" y="4457"/>
                    </a:lnTo>
                    <a:lnTo>
                      <a:pt x="451" y="4457"/>
                    </a:lnTo>
                    <a:lnTo>
                      <a:pt x="453" y="4457"/>
                    </a:lnTo>
                    <a:lnTo>
                      <a:pt x="454" y="4459"/>
                    </a:lnTo>
                    <a:lnTo>
                      <a:pt x="456" y="4460"/>
                    </a:lnTo>
                    <a:lnTo>
                      <a:pt x="459" y="4462"/>
                    </a:lnTo>
                    <a:lnTo>
                      <a:pt x="461" y="4466"/>
                    </a:lnTo>
                    <a:lnTo>
                      <a:pt x="466" y="4470"/>
                    </a:lnTo>
                    <a:lnTo>
                      <a:pt x="467" y="4474"/>
                    </a:lnTo>
                    <a:lnTo>
                      <a:pt x="469" y="4479"/>
                    </a:lnTo>
                    <a:lnTo>
                      <a:pt x="471" y="4485"/>
                    </a:lnTo>
                    <a:lnTo>
                      <a:pt x="471" y="4477"/>
                    </a:lnTo>
                    <a:lnTo>
                      <a:pt x="469" y="4470"/>
                    </a:lnTo>
                    <a:lnTo>
                      <a:pt x="471" y="4462"/>
                    </a:lnTo>
                    <a:lnTo>
                      <a:pt x="471" y="4455"/>
                    </a:lnTo>
                    <a:lnTo>
                      <a:pt x="472" y="4447"/>
                    </a:lnTo>
                    <a:lnTo>
                      <a:pt x="474" y="4440"/>
                    </a:lnTo>
                    <a:lnTo>
                      <a:pt x="476" y="4433"/>
                    </a:lnTo>
                    <a:lnTo>
                      <a:pt x="484" y="4427"/>
                    </a:lnTo>
                    <a:lnTo>
                      <a:pt x="486" y="4426"/>
                    </a:lnTo>
                    <a:lnTo>
                      <a:pt x="489" y="4424"/>
                    </a:lnTo>
                    <a:lnTo>
                      <a:pt x="492" y="4424"/>
                    </a:lnTo>
                    <a:lnTo>
                      <a:pt x="494" y="4421"/>
                    </a:lnTo>
                    <a:lnTo>
                      <a:pt x="499" y="4421"/>
                    </a:lnTo>
                    <a:lnTo>
                      <a:pt x="500" y="4421"/>
                    </a:lnTo>
                    <a:lnTo>
                      <a:pt x="502" y="4424"/>
                    </a:lnTo>
                    <a:lnTo>
                      <a:pt x="506" y="4426"/>
                    </a:lnTo>
                    <a:lnTo>
                      <a:pt x="507" y="4427"/>
                    </a:lnTo>
                    <a:lnTo>
                      <a:pt x="507" y="4431"/>
                    </a:lnTo>
                    <a:lnTo>
                      <a:pt x="509" y="4434"/>
                    </a:lnTo>
                    <a:lnTo>
                      <a:pt x="512" y="4439"/>
                    </a:lnTo>
                    <a:lnTo>
                      <a:pt x="513" y="4434"/>
                    </a:lnTo>
                    <a:lnTo>
                      <a:pt x="515" y="4431"/>
                    </a:lnTo>
                    <a:lnTo>
                      <a:pt x="515" y="4427"/>
                    </a:lnTo>
                    <a:lnTo>
                      <a:pt x="517" y="4426"/>
                    </a:lnTo>
                    <a:lnTo>
                      <a:pt x="520" y="4421"/>
                    </a:lnTo>
                    <a:lnTo>
                      <a:pt x="522" y="4420"/>
                    </a:lnTo>
                    <a:lnTo>
                      <a:pt x="528" y="4418"/>
                    </a:lnTo>
                    <a:lnTo>
                      <a:pt x="533" y="4416"/>
                    </a:lnTo>
                    <a:lnTo>
                      <a:pt x="522" y="4416"/>
                    </a:lnTo>
                    <a:lnTo>
                      <a:pt x="513" y="4416"/>
                    </a:lnTo>
                    <a:lnTo>
                      <a:pt x="504" y="4414"/>
                    </a:lnTo>
                    <a:lnTo>
                      <a:pt x="497" y="4413"/>
                    </a:lnTo>
                    <a:lnTo>
                      <a:pt x="489" y="4409"/>
                    </a:lnTo>
                    <a:lnTo>
                      <a:pt x="484" y="4405"/>
                    </a:lnTo>
                    <a:lnTo>
                      <a:pt x="476" y="4400"/>
                    </a:lnTo>
                    <a:lnTo>
                      <a:pt x="482" y="4398"/>
                    </a:lnTo>
                    <a:lnTo>
                      <a:pt x="487" y="4396"/>
                    </a:lnTo>
                    <a:lnTo>
                      <a:pt x="489" y="4394"/>
                    </a:lnTo>
                    <a:lnTo>
                      <a:pt x="491" y="4390"/>
                    </a:lnTo>
                    <a:lnTo>
                      <a:pt x="492" y="4386"/>
                    </a:lnTo>
                    <a:lnTo>
                      <a:pt x="492" y="4385"/>
                    </a:lnTo>
                    <a:lnTo>
                      <a:pt x="494" y="4383"/>
                    </a:lnTo>
                    <a:lnTo>
                      <a:pt x="494" y="4381"/>
                    </a:lnTo>
                    <a:lnTo>
                      <a:pt x="491" y="4381"/>
                    </a:lnTo>
                    <a:lnTo>
                      <a:pt x="489" y="4381"/>
                    </a:lnTo>
                    <a:lnTo>
                      <a:pt x="486" y="4380"/>
                    </a:lnTo>
                    <a:lnTo>
                      <a:pt x="484" y="4380"/>
                    </a:lnTo>
                    <a:lnTo>
                      <a:pt x="482" y="4375"/>
                    </a:lnTo>
                    <a:lnTo>
                      <a:pt x="484" y="4373"/>
                    </a:lnTo>
                    <a:lnTo>
                      <a:pt x="486" y="4370"/>
                    </a:lnTo>
                    <a:lnTo>
                      <a:pt x="487" y="4367"/>
                    </a:lnTo>
                    <a:lnTo>
                      <a:pt x="491" y="4363"/>
                    </a:lnTo>
                    <a:lnTo>
                      <a:pt x="497" y="4359"/>
                    </a:lnTo>
                    <a:lnTo>
                      <a:pt x="500" y="4353"/>
                    </a:lnTo>
                    <a:lnTo>
                      <a:pt x="512" y="4346"/>
                    </a:lnTo>
                    <a:lnTo>
                      <a:pt x="520" y="4337"/>
                    </a:lnTo>
                    <a:lnTo>
                      <a:pt x="524" y="4333"/>
                    </a:lnTo>
                    <a:lnTo>
                      <a:pt x="528" y="4331"/>
                    </a:lnTo>
                    <a:lnTo>
                      <a:pt x="528" y="4381"/>
                    </a:lnTo>
                    <a:lnTo>
                      <a:pt x="530" y="4375"/>
                    </a:lnTo>
                    <a:lnTo>
                      <a:pt x="532" y="4372"/>
                    </a:lnTo>
                    <a:lnTo>
                      <a:pt x="535" y="4368"/>
                    </a:lnTo>
                    <a:lnTo>
                      <a:pt x="539" y="4365"/>
                    </a:lnTo>
                    <a:lnTo>
                      <a:pt x="545" y="4360"/>
                    </a:lnTo>
                    <a:lnTo>
                      <a:pt x="550" y="4357"/>
                    </a:lnTo>
                    <a:lnTo>
                      <a:pt x="555" y="4353"/>
                    </a:lnTo>
                    <a:lnTo>
                      <a:pt x="563" y="4348"/>
                    </a:lnTo>
                    <a:lnTo>
                      <a:pt x="560" y="4350"/>
                    </a:lnTo>
                    <a:lnTo>
                      <a:pt x="555" y="4352"/>
                    </a:lnTo>
                    <a:lnTo>
                      <a:pt x="553" y="4352"/>
                    </a:lnTo>
                    <a:lnTo>
                      <a:pt x="550" y="4352"/>
                    </a:lnTo>
                    <a:lnTo>
                      <a:pt x="548" y="4352"/>
                    </a:lnTo>
                    <a:lnTo>
                      <a:pt x="545" y="4350"/>
                    </a:lnTo>
                    <a:lnTo>
                      <a:pt x="540" y="4346"/>
                    </a:lnTo>
                    <a:lnTo>
                      <a:pt x="539" y="4342"/>
                    </a:lnTo>
                    <a:lnTo>
                      <a:pt x="539" y="4340"/>
                    </a:lnTo>
                    <a:lnTo>
                      <a:pt x="539" y="4339"/>
                    </a:lnTo>
                    <a:lnTo>
                      <a:pt x="539" y="4335"/>
                    </a:lnTo>
                    <a:lnTo>
                      <a:pt x="539" y="4333"/>
                    </a:lnTo>
                    <a:lnTo>
                      <a:pt x="540" y="4331"/>
                    </a:lnTo>
                    <a:lnTo>
                      <a:pt x="543" y="4331"/>
                    </a:lnTo>
                    <a:lnTo>
                      <a:pt x="546" y="4331"/>
                    </a:lnTo>
                    <a:lnTo>
                      <a:pt x="548" y="4327"/>
                    </a:lnTo>
                    <a:lnTo>
                      <a:pt x="552" y="4326"/>
                    </a:lnTo>
                    <a:lnTo>
                      <a:pt x="555" y="4324"/>
                    </a:lnTo>
                    <a:lnTo>
                      <a:pt x="558" y="4324"/>
                    </a:lnTo>
                    <a:lnTo>
                      <a:pt x="561" y="4322"/>
                    </a:lnTo>
                    <a:lnTo>
                      <a:pt x="565" y="4322"/>
                    </a:lnTo>
                    <a:lnTo>
                      <a:pt x="573" y="4324"/>
                    </a:lnTo>
                    <a:lnTo>
                      <a:pt x="578" y="4326"/>
                    </a:lnTo>
                    <a:lnTo>
                      <a:pt x="578" y="4324"/>
                    </a:lnTo>
                    <a:lnTo>
                      <a:pt x="578" y="4322"/>
                    </a:lnTo>
                    <a:lnTo>
                      <a:pt x="578" y="4320"/>
                    </a:lnTo>
                    <a:lnTo>
                      <a:pt x="579" y="4316"/>
                    </a:lnTo>
                    <a:lnTo>
                      <a:pt x="581" y="4314"/>
                    </a:lnTo>
                    <a:lnTo>
                      <a:pt x="585" y="4309"/>
                    </a:lnTo>
                    <a:lnTo>
                      <a:pt x="591" y="4302"/>
                    </a:lnTo>
                    <a:lnTo>
                      <a:pt x="598" y="4296"/>
                    </a:lnTo>
                    <a:lnTo>
                      <a:pt x="609" y="4291"/>
                    </a:lnTo>
                    <a:lnTo>
                      <a:pt x="622" y="4285"/>
                    </a:lnTo>
                    <a:lnTo>
                      <a:pt x="635" y="4281"/>
                    </a:lnTo>
                    <a:lnTo>
                      <a:pt x="647" y="4279"/>
                    </a:lnTo>
                    <a:lnTo>
                      <a:pt x="660" y="4276"/>
                    </a:lnTo>
                    <a:lnTo>
                      <a:pt x="673" y="4273"/>
                    </a:lnTo>
                    <a:lnTo>
                      <a:pt x="687" y="4266"/>
                    </a:lnTo>
                    <a:lnTo>
                      <a:pt x="700" y="4261"/>
                    </a:lnTo>
                    <a:lnTo>
                      <a:pt x="650" y="4261"/>
                    </a:lnTo>
                    <a:lnTo>
                      <a:pt x="646" y="4259"/>
                    </a:lnTo>
                    <a:lnTo>
                      <a:pt x="644" y="4255"/>
                    </a:lnTo>
                    <a:lnTo>
                      <a:pt x="644" y="4253"/>
                    </a:lnTo>
                    <a:lnTo>
                      <a:pt x="644" y="4252"/>
                    </a:lnTo>
                    <a:lnTo>
                      <a:pt x="646" y="4250"/>
                    </a:lnTo>
                    <a:lnTo>
                      <a:pt x="647" y="4248"/>
                    </a:lnTo>
                    <a:lnTo>
                      <a:pt x="650" y="4246"/>
                    </a:lnTo>
                    <a:lnTo>
                      <a:pt x="653" y="4245"/>
                    </a:lnTo>
                    <a:lnTo>
                      <a:pt x="660" y="4240"/>
                    </a:lnTo>
                    <a:lnTo>
                      <a:pt x="668" y="4237"/>
                    </a:lnTo>
                    <a:lnTo>
                      <a:pt x="675" y="4233"/>
                    </a:lnTo>
                    <a:lnTo>
                      <a:pt x="683" y="4228"/>
                    </a:lnTo>
                    <a:lnTo>
                      <a:pt x="688" y="4220"/>
                    </a:lnTo>
                    <a:lnTo>
                      <a:pt x="694" y="4215"/>
                    </a:lnTo>
                    <a:lnTo>
                      <a:pt x="698" y="4207"/>
                    </a:lnTo>
                    <a:lnTo>
                      <a:pt x="700" y="4202"/>
                    </a:lnTo>
                    <a:lnTo>
                      <a:pt x="703" y="4194"/>
                    </a:lnTo>
                    <a:lnTo>
                      <a:pt x="706" y="4189"/>
                    </a:lnTo>
                    <a:lnTo>
                      <a:pt x="713" y="4182"/>
                    </a:lnTo>
                    <a:lnTo>
                      <a:pt x="718" y="4176"/>
                    </a:lnTo>
                    <a:lnTo>
                      <a:pt x="723" y="4167"/>
                    </a:lnTo>
                    <a:lnTo>
                      <a:pt x="731" y="4158"/>
                    </a:lnTo>
                    <a:lnTo>
                      <a:pt x="736" y="4151"/>
                    </a:lnTo>
                    <a:lnTo>
                      <a:pt x="744" y="4145"/>
                    </a:lnTo>
                    <a:lnTo>
                      <a:pt x="749" y="4139"/>
                    </a:lnTo>
                    <a:lnTo>
                      <a:pt x="755" y="4133"/>
                    </a:lnTo>
                    <a:lnTo>
                      <a:pt x="766" y="4125"/>
                    </a:lnTo>
                    <a:lnTo>
                      <a:pt x="777" y="4113"/>
                    </a:lnTo>
                    <a:lnTo>
                      <a:pt x="782" y="4110"/>
                    </a:lnTo>
                    <a:lnTo>
                      <a:pt x="788" y="4102"/>
                    </a:lnTo>
                    <a:lnTo>
                      <a:pt x="792" y="4097"/>
                    </a:lnTo>
                    <a:lnTo>
                      <a:pt x="795" y="4090"/>
                    </a:lnTo>
                    <a:lnTo>
                      <a:pt x="799" y="4082"/>
                    </a:lnTo>
                    <a:lnTo>
                      <a:pt x="803" y="4072"/>
                    </a:lnTo>
                    <a:lnTo>
                      <a:pt x="801" y="4072"/>
                    </a:lnTo>
                    <a:lnTo>
                      <a:pt x="797" y="4072"/>
                    </a:lnTo>
                    <a:lnTo>
                      <a:pt x="792" y="4072"/>
                    </a:lnTo>
                    <a:lnTo>
                      <a:pt x="787" y="4072"/>
                    </a:lnTo>
                    <a:lnTo>
                      <a:pt x="779" y="4072"/>
                    </a:lnTo>
                    <a:lnTo>
                      <a:pt x="774" y="4072"/>
                    </a:lnTo>
                    <a:lnTo>
                      <a:pt x="772" y="4072"/>
                    </a:lnTo>
                    <a:lnTo>
                      <a:pt x="769" y="4072"/>
                    </a:lnTo>
                    <a:lnTo>
                      <a:pt x="769" y="4067"/>
                    </a:lnTo>
                    <a:lnTo>
                      <a:pt x="767" y="4062"/>
                    </a:lnTo>
                    <a:lnTo>
                      <a:pt x="767" y="4057"/>
                    </a:lnTo>
                    <a:lnTo>
                      <a:pt x="766" y="4054"/>
                    </a:lnTo>
                    <a:lnTo>
                      <a:pt x="764" y="4052"/>
                    </a:lnTo>
                    <a:lnTo>
                      <a:pt x="762" y="4049"/>
                    </a:lnTo>
                    <a:lnTo>
                      <a:pt x="757" y="4044"/>
                    </a:lnTo>
                    <a:lnTo>
                      <a:pt x="751" y="4038"/>
                    </a:lnTo>
                    <a:lnTo>
                      <a:pt x="751" y="4034"/>
                    </a:lnTo>
                    <a:lnTo>
                      <a:pt x="749" y="4031"/>
                    </a:lnTo>
                    <a:lnTo>
                      <a:pt x="746" y="4026"/>
                    </a:lnTo>
                    <a:lnTo>
                      <a:pt x="741" y="4023"/>
                    </a:lnTo>
                    <a:lnTo>
                      <a:pt x="734" y="4018"/>
                    </a:lnTo>
                    <a:lnTo>
                      <a:pt x="729" y="4014"/>
                    </a:lnTo>
                    <a:lnTo>
                      <a:pt x="721" y="4010"/>
                    </a:lnTo>
                    <a:lnTo>
                      <a:pt x="714" y="4006"/>
                    </a:lnTo>
                    <a:lnTo>
                      <a:pt x="701" y="3999"/>
                    </a:lnTo>
                    <a:lnTo>
                      <a:pt x="694" y="3995"/>
                    </a:lnTo>
                    <a:lnTo>
                      <a:pt x="687" y="3991"/>
                    </a:lnTo>
                    <a:lnTo>
                      <a:pt x="680" y="3990"/>
                    </a:lnTo>
                    <a:lnTo>
                      <a:pt x="673" y="3988"/>
                    </a:lnTo>
                    <a:lnTo>
                      <a:pt x="670" y="3986"/>
                    </a:lnTo>
                    <a:lnTo>
                      <a:pt x="667" y="3986"/>
                    </a:lnTo>
                    <a:lnTo>
                      <a:pt x="667" y="3978"/>
                    </a:lnTo>
                    <a:lnTo>
                      <a:pt x="667" y="3971"/>
                    </a:lnTo>
                    <a:lnTo>
                      <a:pt x="668" y="3962"/>
                    </a:lnTo>
                    <a:lnTo>
                      <a:pt x="670" y="3953"/>
                    </a:lnTo>
                    <a:lnTo>
                      <a:pt x="672" y="3947"/>
                    </a:lnTo>
                    <a:lnTo>
                      <a:pt x="673" y="3942"/>
                    </a:lnTo>
                    <a:lnTo>
                      <a:pt x="677" y="3938"/>
                    </a:lnTo>
                    <a:lnTo>
                      <a:pt x="681" y="3932"/>
                    </a:lnTo>
                    <a:lnTo>
                      <a:pt x="685" y="3929"/>
                    </a:lnTo>
                    <a:lnTo>
                      <a:pt x="688" y="3925"/>
                    </a:lnTo>
                    <a:lnTo>
                      <a:pt x="694" y="3921"/>
                    </a:lnTo>
                    <a:lnTo>
                      <a:pt x="700" y="3917"/>
                    </a:lnTo>
                    <a:lnTo>
                      <a:pt x="694" y="3917"/>
                    </a:lnTo>
                    <a:lnTo>
                      <a:pt x="690" y="3917"/>
                    </a:lnTo>
                    <a:lnTo>
                      <a:pt x="687" y="3916"/>
                    </a:lnTo>
                    <a:lnTo>
                      <a:pt x="683" y="3914"/>
                    </a:lnTo>
                    <a:lnTo>
                      <a:pt x="681" y="3914"/>
                    </a:lnTo>
                    <a:lnTo>
                      <a:pt x="681" y="3912"/>
                    </a:lnTo>
                    <a:lnTo>
                      <a:pt x="681" y="3909"/>
                    </a:lnTo>
                    <a:lnTo>
                      <a:pt x="681" y="3906"/>
                    </a:lnTo>
                    <a:lnTo>
                      <a:pt x="681" y="3904"/>
                    </a:lnTo>
                    <a:lnTo>
                      <a:pt x="683" y="3901"/>
                    </a:lnTo>
                    <a:lnTo>
                      <a:pt x="688" y="3896"/>
                    </a:lnTo>
                    <a:lnTo>
                      <a:pt x="694" y="3890"/>
                    </a:lnTo>
                    <a:lnTo>
                      <a:pt x="700" y="3883"/>
                    </a:lnTo>
                    <a:lnTo>
                      <a:pt x="705" y="3876"/>
                    </a:lnTo>
                    <a:lnTo>
                      <a:pt x="711" y="3870"/>
                    </a:lnTo>
                    <a:lnTo>
                      <a:pt x="713" y="3864"/>
                    </a:lnTo>
                    <a:lnTo>
                      <a:pt x="716" y="3856"/>
                    </a:lnTo>
                    <a:lnTo>
                      <a:pt x="716" y="3851"/>
                    </a:lnTo>
                    <a:lnTo>
                      <a:pt x="718" y="3843"/>
                    </a:lnTo>
                    <a:lnTo>
                      <a:pt x="718" y="3830"/>
                    </a:lnTo>
                    <a:lnTo>
                      <a:pt x="718" y="3820"/>
                    </a:lnTo>
                    <a:lnTo>
                      <a:pt x="718" y="3809"/>
                    </a:lnTo>
                    <a:lnTo>
                      <a:pt x="718" y="3797"/>
                    </a:lnTo>
                    <a:lnTo>
                      <a:pt x="718" y="3789"/>
                    </a:lnTo>
                    <a:lnTo>
                      <a:pt x="718" y="3779"/>
                    </a:lnTo>
                    <a:lnTo>
                      <a:pt x="718" y="3768"/>
                    </a:lnTo>
                    <a:lnTo>
                      <a:pt x="718" y="3757"/>
                    </a:lnTo>
                    <a:lnTo>
                      <a:pt x="718" y="3746"/>
                    </a:lnTo>
                    <a:lnTo>
                      <a:pt x="720" y="3744"/>
                    </a:lnTo>
                    <a:lnTo>
                      <a:pt x="723" y="3744"/>
                    </a:lnTo>
                    <a:lnTo>
                      <a:pt x="726" y="3741"/>
                    </a:lnTo>
                    <a:lnTo>
                      <a:pt x="727" y="3736"/>
                    </a:lnTo>
                    <a:lnTo>
                      <a:pt x="729" y="3733"/>
                    </a:lnTo>
                    <a:lnTo>
                      <a:pt x="731" y="3728"/>
                    </a:lnTo>
                    <a:lnTo>
                      <a:pt x="733" y="3718"/>
                    </a:lnTo>
                    <a:lnTo>
                      <a:pt x="734" y="3705"/>
                    </a:lnTo>
                    <a:lnTo>
                      <a:pt x="734" y="3695"/>
                    </a:lnTo>
                    <a:lnTo>
                      <a:pt x="734" y="3689"/>
                    </a:lnTo>
                    <a:lnTo>
                      <a:pt x="734" y="3685"/>
                    </a:lnTo>
                    <a:lnTo>
                      <a:pt x="734" y="3682"/>
                    </a:lnTo>
                    <a:lnTo>
                      <a:pt x="734" y="3677"/>
                    </a:lnTo>
                    <a:lnTo>
                      <a:pt x="738" y="3670"/>
                    </a:lnTo>
                    <a:lnTo>
                      <a:pt x="741" y="3665"/>
                    </a:lnTo>
                    <a:lnTo>
                      <a:pt x="741" y="3659"/>
                    </a:lnTo>
                    <a:lnTo>
                      <a:pt x="742" y="3654"/>
                    </a:lnTo>
                    <a:lnTo>
                      <a:pt x="742" y="3650"/>
                    </a:lnTo>
                    <a:lnTo>
                      <a:pt x="742" y="3644"/>
                    </a:lnTo>
                    <a:lnTo>
                      <a:pt x="741" y="3641"/>
                    </a:lnTo>
                    <a:lnTo>
                      <a:pt x="738" y="3637"/>
                    </a:lnTo>
                    <a:lnTo>
                      <a:pt x="734" y="3628"/>
                    </a:lnTo>
                    <a:lnTo>
                      <a:pt x="729" y="3621"/>
                    </a:lnTo>
                    <a:lnTo>
                      <a:pt x="723" y="3615"/>
                    </a:lnTo>
                    <a:lnTo>
                      <a:pt x="718" y="3608"/>
                    </a:lnTo>
                    <a:lnTo>
                      <a:pt x="718" y="3595"/>
                    </a:lnTo>
                    <a:lnTo>
                      <a:pt x="718" y="3589"/>
                    </a:lnTo>
                    <a:lnTo>
                      <a:pt x="720" y="3582"/>
                    </a:lnTo>
                    <a:lnTo>
                      <a:pt x="721" y="3576"/>
                    </a:lnTo>
                    <a:lnTo>
                      <a:pt x="726" y="3568"/>
                    </a:lnTo>
                    <a:lnTo>
                      <a:pt x="729" y="3563"/>
                    </a:lnTo>
                    <a:lnTo>
                      <a:pt x="734" y="3557"/>
                    </a:lnTo>
                    <a:lnTo>
                      <a:pt x="734" y="3554"/>
                    </a:lnTo>
                    <a:lnTo>
                      <a:pt x="733" y="3550"/>
                    </a:lnTo>
                    <a:lnTo>
                      <a:pt x="731" y="3548"/>
                    </a:lnTo>
                    <a:lnTo>
                      <a:pt x="729" y="3547"/>
                    </a:lnTo>
                    <a:lnTo>
                      <a:pt x="723" y="3542"/>
                    </a:lnTo>
                    <a:lnTo>
                      <a:pt x="718" y="3539"/>
                    </a:lnTo>
                    <a:lnTo>
                      <a:pt x="711" y="3535"/>
                    </a:lnTo>
                    <a:lnTo>
                      <a:pt x="705" y="3532"/>
                    </a:lnTo>
                    <a:lnTo>
                      <a:pt x="703" y="3530"/>
                    </a:lnTo>
                    <a:lnTo>
                      <a:pt x="701" y="3527"/>
                    </a:lnTo>
                    <a:lnTo>
                      <a:pt x="700" y="3524"/>
                    </a:lnTo>
                    <a:lnTo>
                      <a:pt x="700" y="3522"/>
                    </a:lnTo>
                    <a:lnTo>
                      <a:pt x="701" y="3515"/>
                    </a:lnTo>
                    <a:lnTo>
                      <a:pt x="703" y="3509"/>
                    </a:lnTo>
                    <a:lnTo>
                      <a:pt x="706" y="3504"/>
                    </a:lnTo>
                    <a:lnTo>
                      <a:pt x="711" y="3499"/>
                    </a:lnTo>
                    <a:lnTo>
                      <a:pt x="714" y="3494"/>
                    </a:lnTo>
                    <a:lnTo>
                      <a:pt x="720" y="3489"/>
                    </a:lnTo>
                    <a:lnTo>
                      <a:pt x="723" y="3486"/>
                    </a:lnTo>
                    <a:lnTo>
                      <a:pt x="727" y="3481"/>
                    </a:lnTo>
                    <a:lnTo>
                      <a:pt x="731" y="3478"/>
                    </a:lnTo>
                    <a:lnTo>
                      <a:pt x="734" y="3473"/>
                    </a:lnTo>
                    <a:lnTo>
                      <a:pt x="736" y="3471"/>
                    </a:lnTo>
                    <a:lnTo>
                      <a:pt x="736" y="3468"/>
                    </a:lnTo>
                    <a:lnTo>
                      <a:pt x="736" y="3465"/>
                    </a:lnTo>
                    <a:lnTo>
                      <a:pt x="734" y="3463"/>
                    </a:lnTo>
                    <a:lnTo>
                      <a:pt x="733" y="3461"/>
                    </a:lnTo>
                    <a:lnTo>
                      <a:pt x="731" y="3460"/>
                    </a:lnTo>
                    <a:lnTo>
                      <a:pt x="729" y="3458"/>
                    </a:lnTo>
                    <a:lnTo>
                      <a:pt x="726" y="3456"/>
                    </a:lnTo>
                    <a:lnTo>
                      <a:pt x="721" y="3455"/>
                    </a:lnTo>
                    <a:lnTo>
                      <a:pt x="718" y="3455"/>
                    </a:lnTo>
                    <a:lnTo>
                      <a:pt x="714" y="3450"/>
                    </a:lnTo>
                    <a:lnTo>
                      <a:pt x="711" y="3448"/>
                    </a:lnTo>
                    <a:lnTo>
                      <a:pt x="706" y="3447"/>
                    </a:lnTo>
                    <a:lnTo>
                      <a:pt x="705" y="3447"/>
                    </a:lnTo>
                    <a:lnTo>
                      <a:pt x="701" y="3445"/>
                    </a:lnTo>
                    <a:lnTo>
                      <a:pt x="698" y="3445"/>
                    </a:lnTo>
                    <a:lnTo>
                      <a:pt x="692" y="3447"/>
                    </a:lnTo>
                    <a:lnTo>
                      <a:pt x="685" y="3448"/>
                    </a:lnTo>
                    <a:lnTo>
                      <a:pt x="680" y="3450"/>
                    </a:lnTo>
                    <a:lnTo>
                      <a:pt x="672" y="3453"/>
                    </a:lnTo>
                    <a:lnTo>
                      <a:pt x="667" y="3455"/>
                    </a:lnTo>
                    <a:lnTo>
                      <a:pt x="653" y="3460"/>
                    </a:lnTo>
                    <a:lnTo>
                      <a:pt x="642" y="3463"/>
                    </a:lnTo>
                    <a:lnTo>
                      <a:pt x="634" y="3468"/>
                    </a:lnTo>
                    <a:lnTo>
                      <a:pt x="626" y="3469"/>
                    </a:lnTo>
                    <a:lnTo>
                      <a:pt x="616" y="3469"/>
                    </a:lnTo>
                    <a:lnTo>
                      <a:pt x="611" y="3471"/>
                    </a:lnTo>
                    <a:lnTo>
                      <a:pt x="598" y="3471"/>
                    </a:lnTo>
                    <a:lnTo>
                      <a:pt x="594" y="3471"/>
                    </a:lnTo>
                    <a:lnTo>
                      <a:pt x="591" y="3473"/>
                    </a:lnTo>
                    <a:lnTo>
                      <a:pt x="589" y="3474"/>
                    </a:lnTo>
                    <a:lnTo>
                      <a:pt x="586" y="3476"/>
                    </a:lnTo>
                    <a:lnTo>
                      <a:pt x="583" y="3481"/>
                    </a:lnTo>
                    <a:lnTo>
                      <a:pt x="579" y="3488"/>
                    </a:lnTo>
                    <a:lnTo>
                      <a:pt x="576" y="3494"/>
                    </a:lnTo>
                    <a:lnTo>
                      <a:pt x="573" y="3501"/>
                    </a:lnTo>
                    <a:lnTo>
                      <a:pt x="570" y="3502"/>
                    </a:lnTo>
                    <a:lnTo>
                      <a:pt x="568" y="3504"/>
                    </a:lnTo>
                    <a:lnTo>
                      <a:pt x="565" y="3504"/>
                    </a:lnTo>
                    <a:lnTo>
                      <a:pt x="563" y="3506"/>
                    </a:lnTo>
                    <a:lnTo>
                      <a:pt x="550" y="3506"/>
                    </a:lnTo>
                    <a:lnTo>
                      <a:pt x="539" y="3508"/>
                    </a:lnTo>
                    <a:lnTo>
                      <a:pt x="530" y="3511"/>
                    </a:lnTo>
                    <a:lnTo>
                      <a:pt x="522" y="3515"/>
                    </a:lnTo>
                    <a:lnTo>
                      <a:pt x="515" y="3521"/>
                    </a:lnTo>
                    <a:lnTo>
                      <a:pt x="507" y="3526"/>
                    </a:lnTo>
                    <a:lnTo>
                      <a:pt x="494" y="3539"/>
                    </a:lnTo>
                    <a:lnTo>
                      <a:pt x="482" y="3545"/>
                    </a:lnTo>
                    <a:lnTo>
                      <a:pt x="469" y="3550"/>
                    </a:lnTo>
                    <a:lnTo>
                      <a:pt x="456" y="3552"/>
                    </a:lnTo>
                    <a:lnTo>
                      <a:pt x="445" y="3554"/>
                    </a:lnTo>
                    <a:lnTo>
                      <a:pt x="433" y="3555"/>
                    </a:lnTo>
                    <a:lnTo>
                      <a:pt x="425" y="3555"/>
                    </a:lnTo>
                    <a:lnTo>
                      <a:pt x="415" y="3557"/>
                    </a:lnTo>
                    <a:lnTo>
                      <a:pt x="408" y="3557"/>
                    </a:lnTo>
                    <a:lnTo>
                      <a:pt x="395" y="3563"/>
                    </a:lnTo>
                    <a:lnTo>
                      <a:pt x="382" y="3567"/>
                    </a:lnTo>
                    <a:lnTo>
                      <a:pt x="369" y="3570"/>
                    </a:lnTo>
                    <a:lnTo>
                      <a:pt x="356" y="3575"/>
                    </a:lnTo>
                    <a:lnTo>
                      <a:pt x="344" y="3578"/>
                    </a:lnTo>
                    <a:lnTo>
                      <a:pt x="331" y="3582"/>
                    </a:lnTo>
                    <a:lnTo>
                      <a:pt x="318" y="3585"/>
                    </a:lnTo>
                    <a:lnTo>
                      <a:pt x="305" y="3591"/>
                    </a:lnTo>
                    <a:lnTo>
                      <a:pt x="318" y="3578"/>
                    </a:lnTo>
                    <a:lnTo>
                      <a:pt x="323" y="3570"/>
                    </a:lnTo>
                    <a:lnTo>
                      <a:pt x="329" y="3563"/>
                    </a:lnTo>
                    <a:lnTo>
                      <a:pt x="332" y="3554"/>
                    </a:lnTo>
                    <a:lnTo>
                      <a:pt x="336" y="3545"/>
                    </a:lnTo>
                    <a:lnTo>
                      <a:pt x="338" y="3534"/>
                    </a:lnTo>
                    <a:lnTo>
                      <a:pt x="339" y="3522"/>
                    </a:lnTo>
                    <a:lnTo>
                      <a:pt x="334" y="3509"/>
                    </a:lnTo>
                    <a:lnTo>
                      <a:pt x="329" y="3499"/>
                    </a:lnTo>
                    <a:lnTo>
                      <a:pt x="326" y="3489"/>
                    </a:lnTo>
                    <a:lnTo>
                      <a:pt x="325" y="3480"/>
                    </a:lnTo>
                    <a:lnTo>
                      <a:pt x="323" y="3469"/>
                    </a:lnTo>
                    <a:lnTo>
                      <a:pt x="323" y="3460"/>
                    </a:lnTo>
                    <a:lnTo>
                      <a:pt x="323" y="3448"/>
                    </a:lnTo>
                    <a:lnTo>
                      <a:pt x="323" y="3435"/>
                    </a:lnTo>
                    <a:lnTo>
                      <a:pt x="321" y="3434"/>
                    </a:lnTo>
                    <a:lnTo>
                      <a:pt x="321" y="3430"/>
                    </a:lnTo>
                    <a:lnTo>
                      <a:pt x="319" y="3428"/>
                    </a:lnTo>
                    <a:lnTo>
                      <a:pt x="318" y="3427"/>
                    </a:lnTo>
                    <a:lnTo>
                      <a:pt x="311" y="3423"/>
                    </a:lnTo>
                    <a:lnTo>
                      <a:pt x="306" y="3419"/>
                    </a:lnTo>
                    <a:lnTo>
                      <a:pt x="303" y="3415"/>
                    </a:lnTo>
                    <a:lnTo>
                      <a:pt x="301" y="3414"/>
                    </a:lnTo>
                    <a:lnTo>
                      <a:pt x="301" y="3412"/>
                    </a:lnTo>
                    <a:lnTo>
                      <a:pt x="299" y="3410"/>
                    </a:lnTo>
                    <a:lnTo>
                      <a:pt x="301" y="3408"/>
                    </a:lnTo>
                    <a:lnTo>
                      <a:pt x="303" y="3404"/>
                    </a:lnTo>
                    <a:lnTo>
                      <a:pt x="305" y="3402"/>
                    </a:lnTo>
                    <a:lnTo>
                      <a:pt x="305" y="3395"/>
                    </a:lnTo>
                    <a:lnTo>
                      <a:pt x="306" y="3389"/>
                    </a:lnTo>
                    <a:lnTo>
                      <a:pt x="308" y="3386"/>
                    </a:lnTo>
                    <a:lnTo>
                      <a:pt x="310" y="3382"/>
                    </a:lnTo>
                    <a:lnTo>
                      <a:pt x="314" y="3379"/>
                    </a:lnTo>
                    <a:lnTo>
                      <a:pt x="316" y="3374"/>
                    </a:lnTo>
                    <a:lnTo>
                      <a:pt x="325" y="3369"/>
                    </a:lnTo>
                    <a:lnTo>
                      <a:pt x="332" y="3366"/>
                    </a:lnTo>
                    <a:lnTo>
                      <a:pt x="341" y="3360"/>
                    </a:lnTo>
                    <a:lnTo>
                      <a:pt x="349" y="3356"/>
                    </a:lnTo>
                    <a:lnTo>
                      <a:pt x="356" y="3351"/>
                    </a:lnTo>
                    <a:lnTo>
                      <a:pt x="347" y="3347"/>
                    </a:lnTo>
                    <a:lnTo>
                      <a:pt x="338" y="3345"/>
                    </a:lnTo>
                    <a:lnTo>
                      <a:pt x="326" y="3345"/>
                    </a:lnTo>
                    <a:lnTo>
                      <a:pt x="318" y="3345"/>
                    </a:lnTo>
                    <a:lnTo>
                      <a:pt x="308" y="3347"/>
                    </a:lnTo>
                    <a:lnTo>
                      <a:pt x="299" y="3349"/>
                    </a:lnTo>
                    <a:lnTo>
                      <a:pt x="278" y="3353"/>
                    </a:lnTo>
                    <a:lnTo>
                      <a:pt x="260" y="3358"/>
                    </a:lnTo>
                    <a:lnTo>
                      <a:pt x="240" y="3362"/>
                    </a:lnTo>
                    <a:lnTo>
                      <a:pt x="231" y="3364"/>
                    </a:lnTo>
                    <a:lnTo>
                      <a:pt x="222" y="3366"/>
                    </a:lnTo>
                    <a:lnTo>
                      <a:pt x="212" y="3367"/>
                    </a:lnTo>
                    <a:lnTo>
                      <a:pt x="201" y="3367"/>
                    </a:lnTo>
                    <a:lnTo>
                      <a:pt x="196" y="3366"/>
                    </a:lnTo>
                    <a:lnTo>
                      <a:pt x="190" y="3364"/>
                    </a:lnTo>
                    <a:lnTo>
                      <a:pt x="184" y="3362"/>
                    </a:lnTo>
                    <a:lnTo>
                      <a:pt x="179" y="3362"/>
                    </a:lnTo>
                    <a:lnTo>
                      <a:pt x="173" y="3364"/>
                    </a:lnTo>
                    <a:lnTo>
                      <a:pt x="168" y="3364"/>
                    </a:lnTo>
                    <a:lnTo>
                      <a:pt x="158" y="3367"/>
                    </a:lnTo>
                    <a:lnTo>
                      <a:pt x="150" y="3371"/>
                    </a:lnTo>
                    <a:lnTo>
                      <a:pt x="144" y="3371"/>
                    </a:lnTo>
                    <a:lnTo>
                      <a:pt x="138" y="3373"/>
                    </a:lnTo>
                    <a:lnTo>
                      <a:pt x="133" y="3373"/>
                    </a:lnTo>
                    <a:lnTo>
                      <a:pt x="127" y="3371"/>
                    </a:lnTo>
                    <a:lnTo>
                      <a:pt x="122" y="3369"/>
                    </a:lnTo>
                    <a:lnTo>
                      <a:pt x="117" y="3367"/>
                    </a:lnTo>
                    <a:lnTo>
                      <a:pt x="117" y="3366"/>
                    </a:lnTo>
                    <a:lnTo>
                      <a:pt x="118" y="3364"/>
                    </a:lnTo>
                    <a:lnTo>
                      <a:pt x="122" y="3362"/>
                    </a:lnTo>
                    <a:lnTo>
                      <a:pt x="127" y="3358"/>
                    </a:lnTo>
                    <a:lnTo>
                      <a:pt x="135" y="3351"/>
                    </a:lnTo>
                    <a:lnTo>
                      <a:pt x="144" y="3343"/>
                    </a:lnTo>
                    <a:lnTo>
                      <a:pt x="155" y="3334"/>
                    </a:lnTo>
                    <a:lnTo>
                      <a:pt x="171" y="3321"/>
                    </a:lnTo>
                    <a:lnTo>
                      <a:pt x="190" y="3305"/>
                    </a:lnTo>
                    <a:lnTo>
                      <a:pt x="212" y="3287"/>
                    </a:lnTo>
                    <a:lnTo>
                      <a:pt x="238" y="3264"/>
                    </a:lnTo>
                    <a:lnTo>
                      <a:pt x="268" y="3240"/>
                    </a:lnTo>
                    <a:lnTo>
                      <a:pt x="285" y="3226"/>
                    </a:lnTo>
                    <a:lnTo>
                      <a:pt x="303" y="3211"/>
                    </a:lnTo>
                    <a:lnTo>
                      <a:pt x="323" y="3193"/>
                    </a:lnTo>
                    <a:lnTo>
                      <a:pt x="344" y="3175"/>
                    </a:lnTo>
                    <a:lnTo>
                      <a:pt x="365" y="3157"/>
                    </a:lnTo>
                    <a:lnTo>
                      <a:pt x="390" y="3139"/>
                    </a:lnTo>
                    <a:lnTo>
                      <a:pt x="413" y="3116"/>
                    </a:lnTo>
                    <a:lnTo>
                      <a:pt x="439" y="3096"/>
                    </a:lnTo>
                    <a:lnTo>
                      <a:pt x="467" y="3073"/>
                    </a:lnTo>
                    <a:lnTo>
                      <a:pt x="497" y="3048"/>
                    </a:lnTo>
                    <a:lnTo>
                      <a:pt x="528" y="3020"/>
                    </a:lnTo>
                    <a:lnTo>
                      <a:pt x="561" y="2994"/>
                    </a:lnTo>
                    <a:lnTo>
                      <a:pt x="594" y="2964"/>
                    </a:lnTo>
                    <a:lnTo>
                      <a:pt x="631" y="2935"/>
                    </a:lnTo>
                    <a:lnTo>
                      <a:pt x="668" y="2904"/>
                    </a:lnTo>
                    <a:lnTo>
                      <a:pt x="706" y="2871"/>
                    </a:lnTo>
                    <a:lnTo>
                      <a:pt x="749" y="2836"/>
                    </a:lnTo>
                    <a:lnTo>
                      <a:pt x="792" y="2798"/>
                    </a:lnTo>
                    <a:lnTo>
                      <a:pt x="838" y="2762"/>
                    </a:lnTo>
                    <a:lnTo>
                      <a:pt x="884" y="2721"/>
                    </a:lnTo>
                    <a:lnTo>
                      <a:pt x="934" y="2681"/>
                    </a:lnTo>
                    <a:lnTo>
                      <a:pt x="984" y="2638"/>
                    </a:lnTo>
                    <a:lnTo>
                      <a:pt x="1037" y="2594"/>
                    </a:lnTo>
                    <a:lnTo>
                      <a:pt x="1093" y="2546"/>
                    </a:lnTo>
                    <a:lnTo>
                      <a:pt x="1149" y="2498"/>
                    </a:lnTo>
                    <a:lnTo>
                      <a:pt x="1210" y="2448"/>
                    </a:lnTo>
                    <a:lnTo>
                      <a:pt x="1271" y="2396"/>
                    </a:lnTo>
                    <a:lnTo>
                      <a:pt x="1337" y="2342"/>
                    </a:lnTo>
                    <a:lnTo>
                      <a:pt x="1403" y="2288"/>
                    </a:lnTo>
                    <a:lnTo>
                      <a:pt x="1473" y="2228"/>
                    </a:lnTo>
                    <a:lnTo>
                      <a:pt x="1543" y="2169"/>
                    </a:lnTo>
                    <a:lnTo>
                      <a:pt x="1617" y="2106"/>
                    </a:lnTo>
                    <a:lnTo>
                      <a:pt x="1694" y="2042"/>
                    </a:lnTo>
                    <a:lnTo>
                      <a:pt x="1771" y="1977"/>
                    </a:lnTo>
                    <a:lnTo>
                      <a:pt x="1853" y="1909"/>
                    </a:lnTo>
                    <a:lnTo>
                      <a:pt x="1938" y="1837"/>
                    </a:lnTo>
                    <a:lnTo>
                      <a:pt x="1946" y="1837"/>
                    </a:lnTo>
                    <a:lnTo>
                      <a:pt x="1952" y="1838"/>
                    </a:lnTo>
                    <a:lnTo>
                      <a:pt x="1960" y="1838"/>
                    </a:lnTo>
                    <a:lnTo>
                      <a:pt x="1969" y="1840"/>
                    </a:lnTo>
                    <a:lnTo>
                      <a:pt x="1987" y="1842"/>
                    </a:lnTo>
                    <a:lnTo>
                      <a:pt x="2007" y="1846"/>
                    </a:lnTo>
                    <a:lnTo>
                      <a:pt x="2026" y="1850"/>
                    </a:lnTo>
                    <a:lnTo>
                      <a:pt x="2045" y="1851"/>
                    </a:lnTo>
                    <a:lnTo>
                      <a:pt x="2054" y="1853"/>
                    </a:lnTo>
                    <a:lnTo>
                      <a:pt x="2061" y="1853"/>
                    </a:lnTo>
                    <a:lnTo>
                      <a:pt x="2069" y="1853"/>
                    </a:lnTo>
                    <a:lnTo>
                      <a:pt x="2076" y="1855"/>
                    </a:lnTo>
                    <a:lnTo>
                      <a:pt x="2078" y="1855"/>
                    </a:lnTo>
                    <a:lnTo>
                      <a:pt x="2079" y="1855"/>
                    </a:lnTo>
                    <a:lnTo>
                      <a:pt x="2084" y="1855"/>
                    </a:lnTo>
                    <a:lnTo>
                      <a:pt x="2087" y="1855"/>
                    </a:lnTo>
                    <a:lnTo>
                      <a:pt x="2093" y="1855"/>
                    </a:lnTo>
                    <a:lnTo>
                      <a:pt x="2102" y="1857"/>
                    </a:lnTo>
                    <a:lnTo>
                      <a:pt x="2112" y="1858"/>
                    </a:lnTo>
                    <a:lnTo>
                      <a:pt x="2115" y="1861"/>
                    </a:lnTo>
                    <a:lnTo>
                      <a:pt x="2119" y="1861"/>
                    </a:lnTo>
                    <a:lnTo>
                      <a:pt x="2122" y="1863"/>
                    </a:lnTo>
                    <a:lnTo>
                      <a:pt x="2124" y="1866"/>
                    </a:lnTo>
                    <a:lnTo>
                      <a:pt x="2127" y="1868"/>
                    </a:lnTo>
                    <a:lnTo>
                      <a:pt x="2128" y="1871"/>
                    </a:lnTo>
                    <a:lnTo>
                      <a:pt x="2128" y="1879"/>
                    </a:lnTo>
                    <a:lnTo>
                      <a:pt x="2130" y="1886"/>
                    </a:lnTo>
                    <a:lnTo>
                      <a:pt x="2133" y="1894"/>
                    </a:lnTo>
                    <a:lnTo>
                      <a:pt x="2137" y="1901"/>
                    </a:lnTo>
                    <a:lnTo>
                      <a:pt x="2140" y="1906"/>
                    </a:lnTo>
                    <a:lnTo>
                      <a:pt x="2143" y="1907"/>
                    </a:lnTo>
                    <a:lnTo>
                      <a:pt x="2147" y="1909"/>
                    </a:lnTo>
                    <a:lnTo>
                      <a:pt x="2148" y="1911"/>
                    </a:lnTo>
                    <a:lnTo>
                      <a:pt x="2152" y="1911"/>
                    </a:lnTo>
                    <a:lnTo>
                      <a:pt x="2155" y="1911"/>
                    </a:lnTo>
                    <a:lnTo>
                      <a:pt x="2160" y="1909"/>
                    </a:lnTo>
                    <a:lnTo>
                      <a:pt x="2161" y="1907"/>
                    </a:lnTo>
                    <a:lnTo>
                      <a:pt x="2161" y="1909"/>
                    </a:lnTo>
                    <a:lnTo>
                      <a:pt x="2163" y="1912"/>
                    </a:lnTo>
                    <a:lnTo>
                      <a:pt x="2165" y="1914"/>
                    </a:lnTo>
                    <a:lnTo>
                      <a:pt x="2167" y="1918"/>
                    </a:lnTo>
                    <a:lnTo>
                      <a:pt x="2168" y="1922"/>
                    </a:lnTo>
                    <a:lnTo>
                      <a:pt x="2170" y="1924"/>
                    </a:lnTo>
                    <a:lnTo>
                      <a:pt x="2178" y="1929"/>
                    </a:lnTo>
                    <a:lnTo>
                      <a:pt x="2185" y="1932"/>
                    </a:lnTo>
                    <a:lnTo>
                      <a:pt x="2194" y="1937"/>
                    </a:lnTo>
                    <a:lnTo>
                      <a:pt x="2206" y="1940"/>
                    </a:lnTo>
                    <a:lnTo>
                      <a:pt x="2214" y="1944"/>
                    </a:lnTo>
                    <a:lnTo>
                      <a:pt x="2237" y="1949"/>
                    </a:lnTo>
                    <a:lnTo>
                      <a:pt x="2246" y="1953"/>
                    </a:lnTo>
                    <a:lnTo>
                      <a:pt x="2255" y="1955"/>
                    </a:lnTo>
                    <a:lnTo>
                      <a:pt x="2265" y="1955"/>
                    </a:lnTo>
                    <a:lnTo>
                      <a:pt x="2272" y="1957"/>
                    </a:lnTo>
                    <a:lnTo>
                      <a:pt x="2277" y="1957"/>
                    </a:lnTo>
                    <a:lnTo>
                      <a:pt x="2280" y="1957"/>
                    </a:lnTo>
                    <a:lnTo>
                      <a:pt x="2283" y="1957"/>
                    </a:lnTo>
                    <a:lnTo>
                      <a:pt x="2307" y="1957"/>
                    </a:lnTo>
                    <a:lnTo>
                      <a:pt x="2320" y="1959"/>
                    </a:lnTo>
                    <a:lnTo>
                      <a:pt x="2331" y="1959"/>
                    </a:lnTo>
                    <a:lnTo>
                      <a:pt x="2342" y="1962"/>
                    </a:lnTo>
                    <a:lnTo>
                      <a:pt x="2351" y="1964"/>
                    </a:lnTo>
                    <a:lnTo>
                      <a:pt x="2361" y="1970"/>
                    </a:lnTo>
                    <a:lnTo>
                      <a:pt x="2367" y="1975"/>
                    </a:lnTo>
                    <a:lnTo>
                      <a:pt x="2375" y="1975"/>
                    </a:lnTo>
                    <a:lnTo>
                      <a:pt x="2381" y="1977"/>
                    </a:lnTo>
                    <a:lnTo>
                      <a:pt x="2388" y="1981"/>
                    </a:lnTo>
                    <a:lnTo>
                      <a:pt x="2395" y="1983"/>
                    </a:lnTo>
                    <a:lnTo>
                      <a:pt x="2405" y="1986"/>
                    </a:lnTo>
                    <a:lnTo>
                      <a:pt x="2414" y="1990"/>
                    </a:lnTo>
                    <a:lnTo>
                      <a:pt x="2425" y="1992"/>
                    </a:lnTo>
                    <a:lnTo>
                      <a:pt x="2436" y="1992"/>
                    </a:lnTo>
                    <a:lnTo>
                      <a:pt x="2435" y="1988"/>
                    </a:lnTo>
                    <a:lnTo>
                      <a:pt x="2433" y="1986"/>
                    </a:lnTo>
                    <a:lnTo>
                      <a:pt x="2433" y="1983"/>
                    </a:lnTo>
                    <a:lnTo>
                      <a:pt x="2433" y="1978"/>
                    </a:lnTo>
                    <a:lnTo>
                      <a:pt x="2433" y="1977"/>
                    </a:lnTo>
                    <a:lnTo>
                      <a:pt x="2433" y="1973"/>
                    </a:lnTo>
                    <a:lnTo>
                      <a:pt x="2435" y="1968"/>
                    </a:lnTo>
                    <a:lnTo>
                      <a:pt x="2435" y="1966"/>
                    </a:lnTo>
                    <a:lnTo>
                      <a:pt x="2436" y="1964"/>
                    </a:lnTo>
                    <a:lnTo>
                      <a:pt x="2436" y="1962"/>
                    </a:lnTo>
                    <a:lnTo>
                      <a:pt x="2435" y="1960"/>
                    </a:lnTo>
                    <a:lnTo>
                      <a:pt x="2433" y="1959"/>
                    </a:lnTo>
                    <a:lnTo>
                      <a:pt x="2428" y="1959"/>
                    </a:lnTo>
                    <a:lnTo>
                      <a:pt x="2425" y="1957"/>
                    </a:lnTo>
                    <a:lnTo>
                      <a:pt x="2420" y="1957"/>
                    </a:lnTo>
                    <a:lnTo>
                      <a:pt x="2425" y="1955"/>
                    </a:lnTo>
                    <a:lnTo>
                      <a:pt x="2433" y="1953"/>
                    </a:lnTo>
                    <a:lnTo>
                      <a:pt x="2438" y="1952"/>
                    </a:lnTo>
                    <a:lnTo>
                      <a:pt x="2445" y="1949"/>
                    </a:lnTo>
                    <a:lnTo>
                      <a:pt x="2451" y="1949"/>
                    </a:lnTo>
                    <a:lnTo>
                      <a:pt x="2458" y="1949"/>
                    </a:lnTo>
                    <a:lnTo>
                      <a:pt x="2471" y="1952"/>
                    </a:lnTo>
                    <a:lnTo>
                      <a:pt x="2484" y="1953"/>
                    </a:lnTo>
                    <a:lnTo>
                      <a:pt x="2497" y="1955"/>
                    </a:lnTo>
                    <a:lnTo>
                      <a:pt x="2510" y="1957"/>
                    </a:lnTo>
                    <a:lnTo>
                      <a:pt x="2523" y="1957"/>
                    </a:lnTo>
                    <a:lnTo>
                      <a:pt x="2523" y="1960"/>
                    </a:lnTo>
                    <a:lnTo>
                      <a:pt x="2523" y="1966"/>
                    </a:lnTo>
                    <a:lnTo>
                      <a:pt x="2525" y="1975"/>
                    </a:lnTo>
                    <a:lnTo>
                      <a:pt x="2529" y="1985"/>
                    </a:lnTo>
                    <a:lnTo>
                      <a:pt x="2530" y="1990"/>
                    </a:lnTo>
                    <a:lnTo>
                      <a:pt x="2534" y="1993"/>
                    </a:lnTo>
                    <a:lnTo>
                      <a:pt x="2535" y="1998"/>
                    </a:lnTo>
                    <a:lnTo>
                      <a:pt x="2540" y="2001"/>
                    </a:lnTo>
                    <a:lnTo>
                      <a:pt x="2542" y="2003"/>
                    </a:lnTo>
                    <a:lnTo>
                      <a:pt x="2545" y="2003"/>
                    </a:lnTo>
                    <a:lnTo>
                      <a:pt x="2547" y="2003"/>
                    </a:lnTo>
                    <a:lnTo>
                      <a:pt x="2550" y="2001"/>
                    </a:lnTo>
                    <a:lnTo>
                      <a:pt x="2555" y="1998"/>
                    </a:lnTo>
                    <a:lnTo>
                      <a:pt x="2556" y="1996"/>
                    </a:lnTo>
                    <a:lnTo>
                      <a:pt x="2558" y="1992"/>
                    </a:lnTo>
                    <a:lnTo>
                      <a:pt x="2558" y="1985"/>
                    </a:lnTo>
                    <a:lnTo>
                      <a:pt x="2558" y="1977"/>
                    </a:lnTo>
                    <a:lnTo>
                      <a:pt x="2558" y="1968"/>
                    </a:lnTo>
                    <a:lnTo>
                      <a:pt x="2560" y="1960"/>
                    </a:lnTo>
                    <a:lnTo>
                      <a:pt x="2562" y="1952"/>
                    </a:lnTo>
                    <a:lnTo>
                      <a:pt x="2563" y="1949"/>
                    </a:lnTo>
                    <a:lnTo>
                      <a:pt x="2563" y="1945"/>
                    </a:lnTo>
                    <a:lnTo>
                      <a:pt x="2565" y="1944"/>
                    </a:lnTo>
                    <a:lnTo>
                      <a:pt x="2569" y="1942"/>
                    </a:lnTo>
                    <a:lnTo>
                      <a:pt x="2571" y="1940"/>
                    </a:lnTo>
                    <a:lnTo>
                      <a:pt x="2575" y="1940"/>
                    </a:lnTo>
                    <a:lnTo>
                      <a:pt x="2582" y="1935"/>
                    </a:lnTo>
                    <a:lnTo>
                      <a:pt x="2589" y="1931"/>
                    </a:lnTo>
                    <a:lnTo>
                      <a:pt x="2599" y="1927"/>
                    </a:lnTo>
                    <a:lnTo>
                      <a:pt x="2608" y="1924"/>
                    </a:lnTo>
                    <a:lnTo>
                      <a:pt x="2619" y="1920"/>
                    </a:lnTo>
                    <a:lnTo>
                      <a:pt x="2628" y="1916"/>
                    </a:lnTo>
                    <a:lnTo>
                      <a:pt x="2636" y="1912"/>
                    </a:lnTo>
                    <a:lnTo>
                      <a:pt x="2642" y="1907"/>
                    </a:lnTo>
                    <a:lnTo>
                      <a:pt x="2663" y="1899"/>
                    </a:lnTo>
                    <a:lnTo>
                      <a:pt x="2682" y="1896"/>
                    </a:lnTo>
                    <a:lnTo>
                      <a:pt x="2702" y="1892"/>
                    </a:lnTo>
                    <a:lnTo>
                      <a:pt x="2721" y="1891"/>
                    </a:lnTo>
                    <a:lnTo>
                      <a:pt x="2741" y="1891"/>
                    </a:lnTo>
                    <a:lnTo>
                      <a:pt x="2759" y="1888"/>
                    </a:lnTo>
                    <a:lnTo>
                      <a:pt x="2798" y="1888"/>
                    </a:lnTo>
                    <a:lnTo>
                      <a:pt x="2810" y="1883"/>
                    </a:lnTo>
                    <a:lnTo>
                      <a:pt x="2820" y="1879"/>
                    </a:lnTo>
                    <a:lnTo>
                      <a:pt x="2830" y="1876"/>
                    </a:lnTo>
                    <a:lnTo>
                      <a:pt x="2838" y="1871"/>
                    </a:lnTo>
                    <a:lnTo>
                      <a:pt x="2846" y="1868"/>
                    </a:lnTo>
                    <a:lnTo>
                      <a:pt x="2853" y="1865"/>
                    </a:lnTo>
                    <a:lnTo>
                      <a:pt x="2861" y="1861"/>
                    </a:lnTo>
                    <a:lnTo>
                      <a:pt x="2866" y="1855"/>
                    </a:lnTo>
                    <a:lnTo>
                      <a:pt x="2874" y="1851"/>
                    </a:lnTo>
                    <a:lnTo>
                      <a:pt x="2879" y="1850"/>
                    </a:lnTo>
                    <a:lnTo>
                      <a:pt x="2884" y="1848"/>
                    </a:lnTo>
                    <a:lnTo>
                      <a:pt x="2891" y="1846"/>
                    </a:lnTo>
                    <a:lnTo>
                      <a:pt x="2899" y="1846"/>
                    </a:lnTo>
                    <a:lnTo>
                      <a:pt x="2909" y="1846"/>
                    </a:lnTo>
                    <a:lnTo>
                      <a:pt x="2920" y="1846"/>
                    </a:lnTo>
                    <a:lnTo>
                      <a:pt x="2929" y="1845"/>
                    </a:lnTo>
                    <a:lnTo>
                      <a:pt x="2935" y="1845"/>
                    </a:lnTo>
                    <a:lnTo>
                      <a:pt x="2940" y="1842"/>
                    </a:lnTo>
                    <a:lnTo>
                      <a:pt x="2945" y="1840"/>
                    </a:lnTo>
                    <a:lnTo>
                      <a:pt x="2953" y="1837"/>
                    </a:lnTo>
                    <a:lnTo>
                      <a:pt x="2955" y="1837"/>
                    </a:lnTo>
                    <a:lnTo>
                      <a:pt x="2962" y="1837"/>
                    </a:lnTo>
                    <a:lnTo>
                      <a:pt x="2970" y="1837"/>
                    </a:lnTo>
                    <a:lnTo>
                      <a:pt x="2971" y="1837"/>
                    </a:lnTo>
                    <a:lnTo>
                      <a:pt x="2973" y="1837"/>
                    </a:lnTo>
                    <a:lnTo>
                      <a:pt x="2977" y="1837"/>
                    </a:lnTo>
                    <a:lnTo>
                      <a:pt x="2981" y="1837"/>
                    </a:lnTo>
                    <a:lnTo>
                      <a:pt x="2986" y="1837"/>
                    </a:lnTo>
                    <a:lnTo>
                      <a:pt x="2999" y="1837"/>
                    </a:lnTo>
                    <a:lnTo>
                      <a:pt x="3006" y="1837"/>
                    </a:lnTo>
                    <a:lnTo>
                      <a:pt x="3012" y="1835"/>
                    </a:lnTo>
                    <a:lnTo>
                      <a:pt x="3019" y="1833"/>
                    </a:lnTo>
                    <a:lnTo>
                      <a:pt x="3024" y="1830"/>
                    </a:lnTo>
                    <a:lnTo>
                      <a:pt x="3032" y="1825"/>
                    </a:lnTo>
                    <a:lnTo>
                      <a:pt x="3037" y="1820"/>
                    </a:lnTo>
                    <a:lnTo>
                      <a:pt x="3064" y="1820"/>
                    </a:lnTo>
                    <a:lnTo>
                      <a:pt x="3077" y="1818"/>
                    </a:lnTo>
                    <a:lnTo>
                      <a:pt x="3088" y="1818"/>
                    </a:lnTo>
                    <a:lnTo>
                      <a:pt x="3098" y="1817"/>
                    </a:lnTo>
                    <a:lnTo>
                      <a:pt x="3108" y="1812"/>
                    </a:lnTo>
                    <a:lnTo>
                      <a:pt x="3118" y="1809"/>
                    </a:lnTo>
                    <a:lnTo>
                      <a:pt x="3125" y="1804"/>
                    </a:lnTo>
                    <a:lnTo>
                      <a:pt x="3125" y="1805"/>
                    </a:lnTo>
                    <a:lnTo>
                      <a:pt x="3126" y="1807"/>
                    </a:lnTo>
                    <a:lnTo>
                      <a:pt x="3128" y="1809"/>
                    </a:lnTo>
                    <a:lnTo>
                      <a:pt x="3130" y="1809"/>
                    </a:lnTo>
                    <a:lnTo>
                      <a:pt x="3134" y="1809"/>
                    </a:lnTo>
                    <a:lnTo>
                      <a:pt x="3136" y="1809"/>
                    </a:lnTo>
                    <a:lnTo>
                      <a:pt x="3139" y="1809"/>
                    </a:lnTo>
                    <a:lnTo>
                      <a:pt x="3143" y="1807"/>
                    </a:lnTo>
                    <a:lnTo>
                      <a:pt x="3152" y="1804"/>
                    </a:lnTo>
                    <a:lnTo>
                      <a:pt x="3161" y="1797"/>
                    </a:lnTo>
                    <a:lnTo>
                      <a:pt x="3169" y="1792"/>
                    </a:lnTo>
                    <a:lnTo>
                      <a:pt x="3176" y="1785"/>
                    </a:lnTo>
                    <a:lnTo>
                      <a:pt x="3189" y="1779"/>
                    </a:lnTo>
                    <a:lnTo>
                      <a:pt x="3202" y="1776"/>
                    </a:lnTo>
                    <a:lnTo>
                      <a:pt x="3215" y="1772"/>
                    </a:lnTo>
                    <a:lnTo>
                      <a:pt x="3228" y="1771"/>
                    </a:lnTo>
                    <a:lnTo>
                      <a:pt x="3241" y="1771"/>
                    </a:lnTo>
                    <a:lnTo>
                      <a:pt x="3253" y="1769"/>
                    </a:lnTo>
                    <a:lnTo>
                      <a:pt x="3266" y="1769"/>
                    </a:lnTo>
                    <a:lnTo>
                      <a:pt x="3268" y="1769"/>
                    </a:lnTo>
                    <a:lnTo>
                      <a:pt x="3271" y="1769"/>
                    </a:lnTo>
                    <a:lnTo>
                      <a:pt x="3274" y="1769"/>
                    </a:lnTo>
                    <a:lnTo>
                      <a:pt x="3276" y="1769"/>
                    </a:lnTo>
                    <a:lnTo>
                      <a:pt x="3278" y="1769"/>
                    </a:lnTo>
                    <a:lnTo>
                      <a:pt x="3279" y="1769"/>
                    </a:lnTo>
                    <a:lnTo>
                      <a:pt x="3281" y="1769"/>
                    </a:lnTo>
                    <a:lnTo>
                      <a:pt x="3286" y="1769"/>
                    </a:lnTo>
                    <a:lnTo>
                      <a:pt x="3296" y="1769"/>
                    </a:lnTo>
                    <a:lnTo>
                      <a:pt x="3306" y="1769"/>
                    </a:lnTo>
                    <a:lnTo>
                      <a:pt x="3309" y="1769"/>
                    </a:lnTo>
                    <a:lnTo>
                      <a:pt x="3312" y="1769"/>
                    </a:lnTo>
                    <a:lnTo>
                      <a:pt x="3320" y="1769"/>
                    </a:lnTo>
                    <a:lnTo>
                      <a:pt x="3329" y="1766"/>
                    </a:lnTo>
                    <a:lnTo>
                      <a:pt x="3339" y="1763"/>
                    </a:lnTo>
                    <a:lnTo>
                      <a:pt x="3348" y="1759"/>
                    </a:lnTo>
                    <a:lnTo>
                      <a:pt x="3357" y="1758"/>
                    </a:lnTo>
                    <a:lnTo>
                      <a:pt x="3366" y="1754"/>
                    </a:lnTo>
                    <a:lnTo>
                      <a:pt x="3375" y="1751"/>
                    </a:lnTo>
                    <a:lnTo>
                      <a:pt x="3381" y="1751"/>
                    </a:lnTo>
                    <a:lnTo>
                      <a:pt x="3381" y="1754"/>
                    </a:lnTo>
                    <a:lnTo>
                      <a:pt x="3379" y="1758"/>
                    </a:lnTo>
                    <a:lnTo>
                      <a:pt x="3378" y="1759"/>
                    </a:lnTo>
                    <a:lnTo>
                      <a:pt x="3378" y="1761"/>
                    </a:lnTo>
                    <a:lnTo>
                      <a:pt x="3379" y="1763"/>
                    </a:lnTo>
                    <a:lnTo>
                      <a:pt x="3381" y="1764"/>
                    </a:lnTo>
                    <a:lnTo>
                      <a:pt x="3383" y="1766"/>
                    </a:lnTo>
                    <a:lnTo>
                      <a:pt x="3385" y="1766"/>
                    </a:lnTo>
                    <a:lnTo>
                      <a:pt x="3388" y="1769"/>
                    </a:lnTo>
                    <a:lnTo>
                      <a:pt x="3394" y="1769"/>
                    </a:lnTo>
                    <a:lnTo>
                      <a:pt x="3399" y="1769"/>
                    </a:lnTo>
                    <a:lnTo>
                      <a:pt x="3390" y="1774"/>
                    </a:lnTo>
                    <a:lnTo>
                      <a:pt x="3379" y="1779"/>
                    </a:lnTo>
                    <a:lnTo>
                      <a:pt x="3368" y="1785"/>
                    </a:lnTo>
                    <a:lnTo>
                      <a:pt x="3359" y="1789"/>
                    </a:lnTo>
                    <a:lnTo>
                      <a:pt x="3348" y="1792"/>
                    </a:lnTo>
                    <a:lnTo>
                      <a:pt x="3337" y="1794"/>
                    </a:lnTo>
                    <a:lnTo>
                      <a:pt x="3312" y="1800"/>
                    </a:lnTo>
                    <a:lnTo>
                      <a:pt x="3291" y="1805"/>
                    </a:lnTo>
                    <a:lnTo>
                      <a:pt x="3268" y="1809"/>
                    </a:lnTo>
                    <a:lnTo>
                      <a:pt x="3248" y="1815"/>
                    </a:lnTo>
                    <a:lnTo>
                      <a:pt x="3228" y="1820"/>
                    </a:lnTo>
                    <a:lnTo>
                      <a:pt x="3215" y="1820"/>
                    </a:lnTo>
                    <a:lnTo>
                      <a:pt x="3202" y="1822"/>
                    </a:lnTo>
                    <a:lnTo>
                      <a:pt x="3189" y="1825"/>
                    </a:lnTo>
                    <a:lnTo>
                      <a:pt x="3176" y="1830"/>
                    </a:lnTo>
                    <a:lnTo>
                      <a:pt x="3164" y="1832"/>
                    </a:lnTo>
                    <a:lnTo>
                      <a:pt x="3151" y="1835"/>
                    </a:lnTo>
                    <a:lnTo>
                      <a:pt x="3138" y="1837"/>
                    </a:lnTo>
                    <a:lnTo>
                      <a:pt x="3125" y="1837"/>
                    </a:lnTo>
                    <a:lnTo>
                      <a:pt x="3125" y="1842"/>
                    </a:lnTo>
                    <a:lnTo>
                      <a:pt x="3121" y="1848"/>
                    </a:lnTo>
                    <a:lnTo>
                      <a:pt x="3119" y="1850"/>
                    </a:lnTo>
                    <a:lnTo>
                      <a:pt x="3113" y="1851"/>
                    </a:lnTo>
                    <a:lnTo>
                      <a:pt x="3108" y="1853"/>
                    </a:lnTo>
                    <a:lnTo>
                      <a:pt x="3103" y="1853"/>
                    </a:lnTo>
                    <a:lnTo>
                      <a:pt x="3090" y="1855"/>
                    </a:lnTo>
                    <a:lnTo>
                      <a:pt x="3084" y="1855"/>
                    </a:lnTo>
                    <a:lnTo>
                      <a:pt x="3080" y="1857"/>
                    </a:lnTo>
                    <a:lnTo>
                      <a:pt x="3077" y="1861"/>
                    </a:lnTo>
                    <a:lnTo>
                      <a:pt x="3073" y="1865"/>
                    </a:lnTo>
                    <a:lnTo>
                      <a:pt x="3069" y="1870"/>
                    </a:lnTo>
                    <a:lnTo>
                      <a:pt x="3065" y="1876"/>
                    </a:lnTo>
                    <a:lnTo>
                      <a:pt x="3062" y="1883"/>
                    </a:lnTo>
                    <a:lnTo>
                      <a:pt x="3057" y="1888"/>
                    </a:lnTo>
                    <a:lnTo>
                      <a:pt x="3058" y="1886"/>
                    </a:lnTo>
                    <a:lnTo>
                      <a:pt x="3062" y="1883"/>
                    </a:lnTo>
                    <a:lnTo>
                      <a:pt x="3067" y="1879"/>
                    </a:lnTo>
                    <a:lnTo>
                      <a:pt x="3072" y="1878"/>
                    </a:lnTo>
                    <a:lnTo>
                      <a:pt x="3077" y="1873"/>
                    </a:lnTo>
                    <a:lnTo>
                      <a:pt x="3084" y="1871"/>
                    </a:lnTo>
                    <a:lnTo>
                      <a:pt x="3080" y="1873"/>
                    </a:lnTo>
                    <a:lnTo>
                      <a:pt x="3077" y="1878"/>
                    </a:lnTo>
                    <a:lnTo>
                      <a:pt x="3073" y="1879"/>
                    </a:lnTo>
                    <a:lnTo>
                      <a:pt x="3069" y="1883"/>
                    </a:lnTo>
                    <a:lnTo>
                      <a:pt x="3065" y="1886"/>
                    </a:lnTo>
                    <a:lnTo>
                      <a:pt x="3062" y="1888"/>
                    </a:lnTo>
                    <a:lnTo>
                      <a:pt x="3058" y="1888"/>
                    </a:lnTo>
                    <a:lnTo>
                      <a:pt x="3057" y="1891"/>
                    </a:lnTo>
                    <a:lnTo>
                      <a:pt x="3051" y="1892"/>
                    </a:lnTo>
                    <a:lnTo>
                      <a:pt x="3042" y="1899"/>
                    </a:lnTo>
                    <a:lnTo>
                      <a:pt x="3036" y="1903"/>
                    </a:lnTo>
                    <a:lnTo>
                      <a:pt x="3032" y="1909"/>
                    </a:lnTo>
                    <a:lnTo>
                      <a:pt x="3027" y="1912"/>
                    </a:lnTo>
                    <a:lnTo>
                      <a:pt x="3024" y="1916"/>
                    </a:lnTo>
                    <a:lnTo>
                      <a:pt x="3021" y="1920"/>
                    </a:lnTo>
                    <a:lnTo>
                      <a:pt x="3021" y="1924"/>
                    </a:lnTo>
                    <a:lnTo>
                      <a:pt x="3034" y="1920"/>
                    </a:lnTo>
                    <a:lnTo>
                      <a:pt x="3047" y="1914"/>
                    </a:lnTo>
                    <a:lnTo>
                      <a:pt x="3058" y="1911"/>
                    </a:lnTo>
                    <a:lnTo>
                      <a:pt x="3069" y="1906"/>
                    </a:lnTo>
                    <a:lnTo>
                      <a:pt x="3093" y="1892"/>
                    </a:lnTo>
                    <a:lnTo>
                      <a:pt x="3113" y="1881"/>
                    </a:lnTo>
                    <a:lnTo>
                      <a:pt x="3134" y="1868"/>
                    </a:lnTo>
                    <a:lnTo>
                      <a:pt x="3154" y="1855"/>
                    </a:lnTo>
                    <a:lnTo>
                      <a:pt x="3164" y="1850"/>
                    </a:lnTo>
                    <a:lnTo>
                      <a:pt x="3174" y="1846"/>
                    </a:lnTo>
                    <a:lnTo>
                      <a:pt x="3184" y="1840"/>
                    </a:lnTo>
                    <a:lnTo>
                      <a:pt x="3192" y="1837"/>
                    </a:lnTo>
                    <a:lnTo>
                      <a:pt x="3220" y="1832"/>
                    </a:lnTo>
                    <a:lnTo>
                      <a:pt x="3248" y="1825"/>
                    </a:lnTo>
                    <a:lnTo>
                      <a:pt x="3276" y="1822"/>
                    </a:lnTo>
                    <a:lnTo>
                      <a:pt x="3306" y="1818"/>
                    </a:lnTo>
                    <a:lnTo>
                      <a:pt x="3333" y="1812"/>
                    </a:lnTo>
                    <a:lnTo>
                      <a:pt x="3348" y="1809"/>
                    </a:lnTo>
                    <a:lnTo>
                      <a:pt x="3363" y="1805"/>
                    </a:lnTo>
                    <a:lnTo>
                      <a:pt x="3375" y="1802"/>
                    </a:lnTo>
                    <a:lnTo>
                      <a:pt x="3390" y="1796"/>
                    </a:lnTo>
                    <a:lnTo>
                      <a:pt x="3403" y="1792"/>
                    </a:lnTo>
                    <a:lnTo>
                      <a:pt x="3416" y="1785"/>
                    </a:lnTo>
                    <a:lnTo>
                      <a:pt x="3409" y="1791"/>
                    </a:lnTo>
                    <a:lnTo>
                      <a:pt x="3401" y="1796"/>
                    </a:lnTo>
                    <a:lnTo>
                      <a:pt x="3393" y="1800"/>
                    </a:lnTo>
                    <a:lnTo>
                      <a:pt x="3383" y="1804"/>
                    </a:lnTo>
                    <a:lnTo>
                      <a:pt x="3372" y="1805"/>
                    </a:lnTo>
                    <a:lnTo>
                      <a:pt x="3363" y="1809"/>
                    </a:lnTo>
                    <a:lnTo>
                      <a:pt x="3355" y="1815"/>
                    </a:lnTo>
                    <a:lnTo>
                      <a:pt x="3348" y="1820"/>
                    </a:lnTo>
                    <a:lnTo>
                      <a:pt x="3350" y="1822"/>
                    </a:lnTo>
                    <a:lnTo>
                      <a:pt x="3352" y="1825"/>
                    </a:lnTo>
                    <a:lnTo>
                      <a:pt x="3357" y="1830"/>
                    </a:lnTo>
                    <a:lnTo>
                      <a:pt x="3365" y="1832"/>
                    </a:lnTo>
                    <a:lnTo>
                      <a:pt x="3372" y="1832"/>
                    </a:lnTo>
                    <a:lnTo>
                      <a:pt x="3379" y="1832"/>
                    </a:lnTo>
                    <a:lnTo>
                      <a:pt x="3388" y="1830"/>
                    </a:lnTo>
                    <a:lnTo>
                      <a:pt x="3398" y="1827"/>
                    </a:lnTo>
                    <a:lnTo>
                      <a:pt x="3409" y="1824"/>
                    </a:lnTo>
                    <a:lnTo>
                      <a:pt x="3427" y="1817"/>
                    </a:lnTo>
                    <a:lnTo>
                      <a:pt x="3436" y="1812"/>
                    </a:lnTo>
                    <a:lnTo>
                      <a:pt x="3444" y="1811"/>
                    </a:lnTo>
                    <a:lnTo>
                      <a:pt x="3453" y="1807"/>
                    </a:lnTo>
                    <a:lnTo>
                      <a:pt x="3459" y="1805"/>
                    </a:lnTo>
                    <a:lnTo>
                      <a:pt x="3464" y="1804"/>
                    </a:lnTo>
                    <a:lnTo>
                      <a:pt x="3468" y="1804"/>
                    </a:lnTo>
                    <a:lnTo>
                      <a:pt x="3475" y="1796"/>
                    </a:lnTo>
                    <a:lnTo>
                      <a:pt x="3480" y="1792"/>
                    </a:lnTo>
                    <a:lnTo>
                      <a:pt x="3488" y="1789"/>
                    </a:lnTo>
                    <a:lnTo>
                      <a:pt x="3493" y="1785"/>
                    </a:lnTo>
                    <a:lnTo>
                      <a:pt x="3501" y="1784"/>
                    </a:lnTo>
                    <a:lnTo>
                      <a:pt x="3506" y="1779"/>
                    </a:lnTo>
                    <a:lnTo>
                      <a:pt x="3514" y="1774"/>
                    </a:lnTo>
                    <a:lnTo>
                      <a:pt x="3520" y="1769"/>
                    </a:lnTo>
                    <a:lnTo>
                      <a:pt x="3533" y="1763"/>
                    </a:lnTo>
                    <a:lnTo>
                      <a:pt x="3546" y="1759"/>
                    </a:lnTo>
                    <a:lnTo>
                      <a:pt x="3558" y="1756"/>
                    </a:lnTo>
                    <a:lnTo>
                      <a:pt x="3571" y="1754"/>
                    </a:lnTo>
                    <a:lnTo>
                      <a:pt x="3584" y="1751"/>
                    </a:lnTo>
                    <a:lnTo>
                      <a:pt x="3590" y="1751"/>
                    </a:lnTo>
                    <a:lnTo>
                      <a:pt x="3590" y="1750"/>
                    </a:lnTo>
                    <a:lnTo>
                      <a:pt x="3592" y="1748"/>
                    </a:lnTo>
                    <a:lnTo>
                      <a:pt x="3594" y="1746"/>
                    </a:lnTo>
                    <a:lnTo>
                      <a:pt x="3595" y="1744"/>
                    </a:lnTo>
                    <a:lnTo>
                      <a:pt x="3600" y="1739"/>
                    </a:lnTo>
                    <a:lnTo>
                      <a:pt x="3607" y="1733"/>
                    </a:lnTo>
                    <a:lnTo>
                      <a:pt x="3602" y="1733"/>
                    </a:lnTo>
                    <a:lnTo>
                      <a:pt x="3600" y="1733"/>
                    </a:lnTo>
                    <a:lnTo>
                      <a:pt x="3597" y="1731"/>
                    </a:lnTo>
                    <a:lnTo>
                      <a:pt x="3595" y="1731"/>
                    </a:lnTo>
                    <a:lnTo>
                      <a:pt x="3594" y="1728"/>
                    </a:lnTo>
                    <a:lnTo>
                      <a:pt x="3595" y="1726"/>
                    </a:lnTo>
                    <a:lnTo>
                      <a:pt x="3597" y="1723"/>
                    </a:lnTo>
                    <a:lnTo>
                      <a:pt x="3600" y="1720"/>
                    </a:lnTo>
                    <a:lnTo>
                      <a:pt x="3605" y="1717"/>
                    </a:lnTo>
                    <a:lnTo>
                      <a:pt x="3608" y="1713"/>
                    </a:lnTo>
                    <a:lnTo>
                      <a:pt x="3612" y="1711"/>
                    </a:lnTo>
                    <a:lnTo>
                      <a:pt x="3623" y="1705"/>
                    </a:lnTo>
                    <a:lnTo>
                      <a:pt x="3628" y="1702"/>
                    </a:lnTo>
                    <a:lnTo>
                      <a:pt x="3632" y="1702"/>
                    </a:lnTo>
                    <a:lnTo>
                      <a:pt x="3636" y="1700"/>
                    </a:lnTo>
                    <a:lnTo>
                      <a:pt x="3640" y="1700"/>
                    </a:lnTo>
                    <a:lnTo>
                      <a:pt x="3653" y="1708"/>
                    </a:lnTo>
                    <a:lnTo>
                      <a:pt x="3658" y="1711"/>
                    </a:lnTo>
                    <a:lnTo>
                      <a:pt x="3661" y="1715"/>
                    </a:lnTo>
                    <a:lnTo>
                      <a:pt x="3668" y="1720"/>
                    </a:lnTo>
                    <a:lnTo>
                      <a:pt x="3671" y="1724"/>
                    </a:lnTo>
                    <a:lnTo>
                      <a:pt x="3674" y="1730"/>
                    </a:lnTo>
                    <a:lnTo>
                      <a:pt x="3676" y="1733"/>
                    </a:lnTo>
                    <a:lnTo>
                      <a:pt x="3678" y="1739"/>
                    </a:lnTo>
                    <a:lnTo>
                      <a:pt x="3681" y="1743"/>
                    </a:lnTo>
                    <a:lnTo>
                      <a:pt x="3682" y="1748"/>
                    </a:lnTo>
                    <a:lnTo>
                      <a:pt x="3682" y="1751"/>
                    </a:lnTo>
                    <a:lnTo>
                      <a:pt x="3681" y="1758"/>
                    </a:lnTo>
                    <a:lnTo>
                      <a:pt x="3681" y="1761"/>
                    </a:lnTo>
                    <a:lnTo>
                      <a:pt x="3678" y="1764"/>
                    </a:lnTo>
                    <a:lnTo>
                      <a:pt x="3674" y="1769"/>
                    </a:lnTo>
                    <a:lnTo>
                      <a:pt x="3668" y="1781"/>
                    </a:lnTo>
                    <a:lnTo>
                      <a:pt x="3660" y="1791"/>
                    </a:lnTo>
                    <a:lnTo>
                      <a:pt x="3653" y="1802"/>
                    </a:lnTo>
                    <a:lnTo>
                      <a:pt x="3648" y="1807"/>
                    </a:lnTo>
                    <a:lnTo>
                      <a:pt x="3647" y="1811"/>
                    </a:lnTo>
                    <a:lnTo>
                      <a:pt x="3645" y="1817"/>
                    </a:lnTo>
                    <a:lnTo>
                      <a:pt x="3643" y="1820"/>
                    </a:lnTo>
                    <a:lnTo>
                      <a:pt x="3643" y="1825"/>
                    </a:lnTo>
                    <a:lnTo>
                      <a:pt x="3643" y="1832"/>
                    </a:lnTo>
                    <a:lnTo>
                      <a:pt x="3645" y="1837"/>
                    </a:lnTo>
                    <a:lnTo>
                      <a:pt x="3647" y="1842"/>
                    </a:lnTo>
                    <a:lnTo>
                      <a:pt x="3653" y="1848"/>
                    </a:lnTo>
                    <a:lnTo>
                      <a:pt x="3658" y="1855"/>
                    </a:lnTo>
                    <a:lnTo>
                      <a:pt x="3661" y="1863"/>
                    </a:lnTo>
                    <a:lnTo>
                      <a:pt x="3666" y="1870"/>
                    </a:lnTo>
                    <a:lnTo>
                      <a:pt x="3671" y="1878"/>
                    </a:lnTo>
                    <a:lnTo>
                      <a:pt x="3676" y="1881"/>
                    </a:lnTo>
                    <a:lnTo>
                      <a:pt x="3682" y="1885"/>
                    </a:lnTo>
                    <a:lnTo>
                      <a:pt x="3689" y="1886"/>
                    </a:lnTo>
                    <a:lnTo>
                      <a:pt x="3694" y="1888"/>
                    </a:lnTo>
                    <a:lnTo>
                      <a:pt x="3702" y="1888"/>
                    </a:lnTo>
                    <a:lnTo>
                      <a:pt x="3709" y="1888"/>
                    </a:lnTo>
                    <a:lnTo>
                      <a:pt x="3717" y="1886"/>
                    </a:lnTo>
                    <a:lnTo>
                      <a:pt x="3724" y="1885"/>
                    </a:lnTo>
                    <a:lnTo>
                      <a:pt x="3732" y="1883"/>
                    </a:lnTo>
                    <a:lnTo>
                      <a:pt x="3747" y="1878"/>
                    </a:lnTo>
                    <a:lnTo>
                      <a:pt x="3761" y="1871"/>
                    </a:lnTo>
                    <a:lnTo>
                      <a:pt x="3714" y="1871"/>
                    </a:lnTo>
                    <a:lnTo>
                      <a:pt x="3719" y="1870"/>
                    </a:lnTo>
                    <a:lnTo>
                      <a:pt x="3724" y="1870"/>
                    </a:lnTo>
                    <a:lnTo>
                      <a:pt x="3732" y="1868"/>
                    </a:lnTo>
                    <a:lnTo>
                      <a:pt x="3747" y="1866"/>
                    </a:lnTo>
                    <a:lnTo>
                      <a:pt x="3754" y="1865"/>
                    </a:lnTo>
                    <a:lnTo>
                      <a:pt x="3761" y="1863"/>
                    </a:lnTo>
                    <a:lnTo>
                      <a:pt x="3767" y="1861"/>
                    </a:lnTo>
                    <a:lnTo>
                      <a:pt x="3770" y="1858"/>
                    </a:lnTo>
                    <a:lnTo>
                      <a:pt x="3775" y="1858"/>
                    </a:lnTo>
                    <a:lnTo>
                      <a:pt x="3776" y="1857"/>
                    </a:lnTo>
                    <a:lnTo>
                      <a:pt x="3776" y="1855"/>
                    </a:lnTo>
                    <a:lnTo>
                      <a:pt x="3775" y="1855"/>
                    </a:lnTo>
                    <a:lnTo>
                      <a:pt x="3773" y="1855"/>
                    </a:lnTo>
                    <a:lnTo>
                      <a:pt x="3768" y="1855"/>
                    </a:lnTo>
                    <a:lnTo>
                      <a:pt x="3765" y="1855"/>
                    </a:lnTo>
                    <a:lnTo>
                      <a:pt x="3761" y="1855"/>
                    </a:lnTo>
                    <a:lnTo>
                      <a:pt x="3765" y="1851"/>
                    </a:lnTo>
                    <a:lnTo>
                      <a:pt x="3768" y="1848"/>
                    </a:lnTo>
                    <a:lnTo>
                      <a:pt x="3775" y="1845"/>
                    </a:lnTo>
                    <a:lnTo>
                      <a:pt x="3778" y="1842"/>
                    </a:lnTo>
                    <a:lnTo>
                      <a:pt x="3791" y="1837"/>
                    </a:lnTo>
                    <a:lnTo>
                      <a:pt x="3804" y="1833"/>
                    </a:lnTo>
                    <a:lnTo>
                      <a:pt x="3809" y="1832"/>
                    </a:lnTo>
                    <a:lnTo>
                      <a:pt x="3816" y="1832"/>
                    </a:lnTo>
                    <a:lnTo>
                      <a:pt x="3822" y="1830"/>
                    </a:lnTo>
                    <a:lnTo>
                      <a:pt x="3828" y="1830"/>
                    </a:lnTo>
                    <a:lnTo>
                      <a:pt x="3834" y="1832"/>
                    </a:lnTo>
                    <a:lnTo>
                      <a:pt x="3839" y="1833"/>
                    </a:lnTo>
                    <a:lnTo>
                      <a:pt x="3842" y="1835"/>
                    </a:lnTo>
                    <a:lnTo>
                      <a:pt x="3846" y="1837"/>
                    </a:lnTo>
                    <a:lnTo>
                      <a:pt x="3841" y="1832"/>
                    </a:lnTo>
                    <a:lnTo>
                      <a:pt x="3837" y="1827"/>
                    </a:lnTo>
                    <a:lnTo>
                      <a:pt x="3834" y="1824"/>
                    </a:lnTo>
                    <a:lnTo>
                      <a:pt x="3829" y="1822"/>
                    </a:lnTo>
                    <a:lnTo>
                      <a:pt x="3826" y="1820"/>
                    </a:lnTo>
                    <a:lnTo>
                      <a:pt x="3822" y="1820"/>
                    </a:lnTo>
                    <a:lnTo>
                      <a:pt x="3819" y="1820"/>
                    </a:lnTo>
                    <a:lnTo>
                      <a:pt x="3813" y="1820"/>
                    </a:lnTo>
                    <a:lnTo>
                      <a:pt x="3816" y="1817"/>
                    </a:lnTo>
                    <a:lnTo>
                      <a:pt x="3821" y="1815"/>
                    </a:lnTo>
                    <a:lnTo>
                      <a:pt x="3826" y="1811"/>
                    </a:lnTo>
                    <a:lnTo>
                      <a:pt x="3834" y="1809"/>
                    </a:lnTo>
                    <a:lnTo>
                      <a:pt x="3841" y="1807"/>
                    </a:lnTo>
                    <a:lnTo>
                      <a:pt x="3849" y="1805"/>
                    </a:lnTo>
                    <a:lnTo>
                      <a:pt x="3867" y="1804"/>
                    </a:lnTo>
                    <a:lnTo>
                      <a:pt x="3883" y="1800"/>
                    </a:lnTo>
                    <a:lnTo>
                      <a:pt x="3902" y="1796"/>
                    </a:lnTo>
                    <a:lnTo>
                      <a:pt x="3911" y="1794"/>
                    </a:lnTo>
                    <a:lnTo>
                      <a:pt x="3918" y="1791"/>
                    </a:lnTo>
                    <a:lnTo>
                      <a:pt x="3920" y="1790"/>
                    </a:lnTo>
                    <a:lnTo>
                      <a:pt x="3915" y="1789"/>
                    </a:lnTo>
                    <a:lnTo>
                      <a:pt x="3900" y="1787"/>
                    </a:lnTo>
                    <a:lnTo>
                      <a:pt x="3908" y="1785"/>
                    </a:lnTo>
                    <a:lnTo>
                      <a:pt x="3920" y="1785"/>
                    </a:lnTo>
                    <a:lnTo>
                      <a:pt x="3933" y="1785"/>
                    </a:lnTo>
                    <a:lnTo>
                      <a:pt x="3926" y="1789"/>
                    </a:lnTo>
                    <a:lnTo>
                      <a:pt x="3920" y="1790"/>
                    </a:lnTo>
                    <a:lnTo>
                      <a:pt x="3923" y="1791"/>
                    </a:lnTo>
                    <a:lnTo>
                      <a:pt x="3931" y="1791"/>
                    </a:lnTo>
                    <a:lnTo>
                      <a:pt x="3939" y="1791"/>
                    </a:lnTo>
                    <a:lnTo>
                      <a:pt x="3944" y="1789"/>
                    </a:lnTo>
                    <a:lnTo>
                      <a:pt x="3956" y="1787"/>
                    </a:lnTo>
                    <a:lnTo>
                      <a:pt x="3966" y="1785"/>
                    </a:lnTo>
                    <a:lnTo>
                      <a:pt x="3957" y="1789"/>
                    </a:lnTo>
                    <a:lnTo>
                      <a:pt x="3948" y="1791"/>
                    </a:lnTo>
                    <a:lnTo>
                      <a:pt x="3941" y="1791"/>
                    </a:lnTo>
                    <a:lnTo>
                      <a:pt x="3939" y="1791"/>
                    </a:lnTo>
                    <a:lnTo>
                      <a:pt x="3935" y="1792"/>
                    </a:lnTo>
                    <a:lnTo>
                      <a:pt x="3926" y="1797"/>
                    </a:lnTo>
                    <a:lnTo>
                      <a:pt x="3918" y="1805"/>
                    </a:lnTo>
                    <a:lnTo>
                      <a:pt x="3911" y="1815"/>
                    </a:lnTo>
                    <a:lnTo>
                      <a:pt x="3905" y="1825"/>
                    </a:lnTo>
                    <a:lnTo>
                      <a:pt x="3898" y="1837"/>
                    </a:lnTo>
                    <a:lnTo>
                      <a:pt x="3903" y="1837"/>
                    </a:lnTo>
                    <a:lnTo>
                      <a:pt x="3908" y="1837"/>
                    </a:lnTo>
                    <a:lnTo>
                      <a:pt x="3913" y="1837"/>
                    </a:lnTo>
                    <a:lnTo>
                      <a:pt x="3915" y="1837"/>
                    </a:lnTo>
                    <a:lnTo>
                      <a:pt x="3918" y="1837"/>
                    </a:lnTo>
                    <a:lnTo>
                      <a:pt x="3921" y="1837"/>
                    </a:lnTo>
                    <a:lnTo>
                      <a:pt x="3928" y="1837"/>
                    </a:lnTo>
                    <a:lnTo>
                      <a:pt x="3933" y="1837"/>
                    </a:lnTo>
                    <a:lnTo>
                      <a:pt x="3920" y="1842"/>
                    </a:lnTo>
                    <a:lnTo>
                      <a:pt x="3907" y="1848"/>
                    </a:lnTo>
                    <a:lnTo>
                      <a:pt x="3895" y="1851"/>
                    </a:lnTo>
                    <a:lnTo>
                      <a:pt x="3882" y="1857"/>
                    </a:lnTo>
                    <a:lnTo>
                      <a:pt x="3868" y="1863"/>
                    </a:lnTo>
                    <a:lnTo>
                      <a:pt x="3861" y="1865"/>
                    </a:lnTo>
                    <a:lnTo>
                      <a:pt x="3855" y="1868"/>
                    </a:lnTo>
                    <a:lnTo>
                      <a:pt x="3849" y="1871"/>
                    </a:lnTo>
                    <a:lnTo>
                      <a:pt x="3842" y="1878"/>
                    </a:lnTo>
                    <a:lnTo>
                      <a:pt x="3835" y="1883"/>
                    </a:lnTo>
                    <a:lnTo>
                      <a:pt x="3829" y="1888"/>
                    </a:lnTo>
                    <a:lnTo>
                      <a:pt x="3868" y="1888"/>
                    </a:lnTo>
                    <a:lnTo>
                      <a:pt x="3887" y="1888"/>
                    </a:lnTo>
                    <a:lnTo>
                      <a:pt x="3905" y="1886"/>
                    </a:lnTo>
                    <a:lnTo>
                      <a:pt x="3921" y="1885"/>
                    </a:lnTo>
                    <a:lnTo>
                      <a:pt x="3938" y="1881"/>
                    </a:lnTo>
                    <a:lnTo>
                      <a:pt x="3953" y="1878"/>
                    </a:lnTo>
                    <a:lnTo>
                      <a:pt x="3966" y="1871"/>
                    </a:lnTo>
                    <a:lnTo>
                      <a:pt x="3992" y="1858"/>
                    </a:lnTo>
                    <a:lnTo>
                      <a:pt x="4007" y="1851"/>
                    </a:lnTo>
                    <a:lnTo>
                      <a:pt x="4022" y="1846"/>
                    </a:lnTo>
                    <a:lnTo>
                      <a:pt x="4036" y="1838"/>
                    </a:lnTo>
                    <a:lnTo>
                      <a:pt x="4051" y="1833"/>
                    </a:lnTo>
                    <a:lnTo>
                      <a:pt x="4069" y="1825"/>
                    </a:lnTo>
                    <a:lnTo>
                      <a:pt x="4088" y="1820"/>
                    </a:lnTo>
                    <a:lnTo>
                      <a:pt x="4094" y="1817"/>
                    </a:lnTo>
                    <a:lnTo>
                      <a:pt x="4101" y="1815"/>
                    </a:lnTo>
                    <a:lnTo>
                      <a:pt x="4106" y="1812"/>
                    </a:lnTo>
                    <a:lnTo>
                      <a:pt x="4114" y="1812"/>
                    </a:lnTo>
                    <a:lnTo>
                      <a:pt x="4119" y="1812"/>
                    </a:lnTo>
                    <a:lnTo>
                      <a:pt x="4127" y="1812"/>
                    </a:lnTo>
                    <a:lnTo>
                      <a:pt x="4142" y="1812"/>
                    </a:lnTo>
                    <a:lnTo>
                      <a:pt x="4156" y="1815"/>
                    </a:lnTo>
                    <a:lnTo>
                      <a:pt x="4171" y="1817"/>
                    </a:lnTo>
                    <a:lnTo>
                      <a:pt x="4190" y="1818"/>
                    </a:lnTo>
                    <a:lnTo>
                      <a:pt x="4208" y="1820"/>
                    </a:lnTo>
                    <a:lnTo>
                      <a:pt x="4217" y="1820"/>
                    </a:lnTo>
                    <a:lnTo>
                      <a:pt x="4224" y="1820"/>
                    </a:lnTo>
                    <a:lnTo>
                      <a:pt x="4234" y="1822"/>
                    </a:lnTo>
                    <a:lnTo>
                      <a:pt x="4241" y="1822"/>
                    </a:lnTo>
                    <a:lnTo>
                      <a:pt x="4247" y="1824"/>
                    </a:lnTo>
                    <a:lnTo>
                      <a:pt x="4254" y="1825"/>
                    </a:lnTo>
                    <a:lnTo>
                      <a:pt x="4265" y="1832"/>
                    </a:lnTo>
                    <a:lnTo>
                      <a:pt x="4277" y="1837"/>
                    </a:lnTo>
                    <a:lnTo>
                      <a:pt x="4287" y="1842"/>
                    </a:lnTo>
                    <a:lnTo>
                      <a:pt x="4298" y="1848"/>
                    </a:lnTo>
                    <a:lnTo>
                      <a:pt x="4311" y="1855"/>
                    </a:lnTo>
                    <a:lnTo>
                      <a:pt x="4317" y="1861"/>
                    </a:lnTo>
                    <a:lnTo>
                      <a:pt x="4323" y="1866"/>
                    </a:lnTo>
                    <a:lnTo>
                      <a:pt x="4328" y="1870"/>
                    </a:lnTo>
                    <a:lnTo>
                      <a:pt x="4333" y="1873"/>
                    </a:lnTo>
                    <a:lnTo>
                      <a:pt x="4339" y="1878"/>
                    </a:lnTo>
                    <a:lnTo>
                      <a:pt x="4344" y="1881"/>
                    </a:lnTo>
                    <a:lnTo>
                      <a:pt x="4350" y="1883"/>
                    </a:lnTo>
                    <a:lnTo>
                      <a:pt x="4356" y="1885"/>
                    </a:lnTo>
                    <a:lnTo>
                      <a:pt x="4369" y="1886"/>
                    </a:lnTo>
                    <a:lnTo>
                      <a:pt x="4374" y="1886"/>
                    </a:lnTo>
                    <a:lnTo>
                      <a:pt x="4381" y="1888"/>
                    </a:lnTo>
                    <a:lnTo>
                      <a:pt x="4389" y="1888"/>
                    </a:lnTo>
                    <a:lnTo>
                      <a:pt x="4396" y="1888"/>
                    </a:lnTo>
                    <a:lnTo>
                      <a:pt x="4405" y="1888"/>
                    </a:lnTo>
                    <a:lnTo>
                      <a:pt x="4415" y="1888"/>
                    </a:lnTo>
                    <a:lnTo>
                      <a:pt x="4425" y="1888"/>
                    </a:lnTo>
                    <a:lnTo>
                      <a:pt x="4437" y="1892"/>
                    </a:lnTo>
                    <a:lnTo>
                      <a:pt x="4448" y="1896"/>
                    </a:lnTo>
                    <a:lnTo>
                      <a:pt x="4459" y="1899"/>
                    </a:lnTo>
                    <a:lnTo>
                      <a:pt x="4470" y="1906"/>
                    </a:lnTo>
                    <a:lnTo>
                      <a:pt x="4478" y="1907"/>
                    </a:lnTo>
                    <a:lnTo>
                      <a:pt x="4484" y="1911"/>
                    </a:lnTo>
                    <a:lnTo>
                      <a:pt x="4492" y="1914"/>
                    </a:lnTo>
                    <a:lnTo>
                      <a:pt x="4499" y="1916"/>
                    </a:lnTo>
                    <a:lnTo>
                      <a:pt x="4507" y="1920"/>
                    </a:lnTo>
                    <a:lnTo>
                      <a:pt x="4517" y="1924"/>
                    </a:lnTo>
                    <a:lnTo>
                      <a:pt x="4524" y="1929"/>
                    </a:lnTo>
                    <a:lnTo>
                      <a:pt x="4532" y="1937"/>
                    </a:lnTo>
                    <a:lnTo>
                      <a:pt x="4542" y="1942"/>
                    </a:lnTo>
                    <a:lnTo>
                      <a:pt x="4553" y="1945"/>
                    </a:lnTo>
                    <a:lnTo>
                      <a:pt x="4566" y="1952"/>
                    </a:lnTo>
                    <a:lnTo>
                      <a:pt x="4577" y="1955"/>
                    </a:lnTo>
                    <a:lnTo>
                      <a:pt x="4590" y="1957"/>
                    </a:lnTo>
                    <a:lnTo>
                      <a:pt x="4603" y="1957"/>
                    </a:lnTo>
                    <a:lnTo>
                      <a:pt x="4606" y="1957"/>
                    </a:lnTo>
                    <a:lnTo>
                      <a:pt x="4612" y="1959"/>
                    </a:lnTo>
                    <a:lnTo>
                      <a:pt x="4619" y="1959"/>
                    </a:lnTo>
                    <a:lnTo>
                      <a:pt x="4627" y="1960"/>
                    </a:lnTo>
                    <a:lnTo>
                      <a:pt x="4636" y="1960"/>
                    </a:lnTo>
                    <a:lnTo>
                      <a:pt x="4644" y="1962"/>
                    </a:lnTo>
                    <a:lnTo>
                      <a:pt x="4664" y="1964"/>
                    </a:lnTo>
                    <a:lnTo>
                      <a:pt x="4682" y="1964"/>
                    </a:lnTo>
                    <a:lnTo>
                      <a:pt x="4692" y="1964"/>
                    </a:lnTo>
                    <a:lnTo>
                      <a:pt x="4700" y="1964"/>
                    </a:lnTo>
                    <a:lnTo>
                      <a:pt x="4708" y="1964"/>
                    </a:lnTo>
                    <a:lnTo>
                      <a:pt x="4713" y="1962"/>
                    </a:lnTo>
                    <a:lnTo>
                      <a:pt x="4719" y="1960"/>
                    </a:lnTo>
                    <a:lnTo>
                      <a:pt x="4723" y="1957"/>
                    </a:lnTo>
                    <a:lnTo>
                      <a:pt x="4726" y="1955"/>
                    </a:lnTo>
                    <a:lnTo>
                      <a:pt x="4730" y="1953"/>
                    </a:lnTo>
                    <a:lnTo>
                      <a:pt x="4733" y="1952"/>
                    </a:lnTo>
                    <a:lnTo>
                      <a:pt x="4736" y="1949"/>
                    </a:lnTo>
                    <a:lnTo>
                      <a:pt x="4743" y="1949"/>
                    </a:lnTo>
                    <a:lnTo>
                      <a:pt x="4749" y="1949"/>
                    </a:lnTo>
                    <a:lnTo>
                      <a:pt x="4756" y="1949"/>
                    </a:lnTo>
                    <a:lnTo>
                      <a:pt x="4761" y="1947"/>
                    </a:lnTo>
                    <a:lnTo>
                      <a:pt x="4766" y="1947"/>
                    </a:lnTo>
                    <a:lnTo>
                      <a:pt x="4769" y="1945"/>
                    </a:lnTo>
                    <a:lnTo>
                      <a:pt x="4772" y="1944"/>
                    </a:lnTo>
                    <a:lnTo>
                      <a:pt x="4774" y="1940"/>
                    </a:lnTo>
                    <a:lnTo>
                      <a:pt x="4787" y="1940"/>
                    </a:lnTo>
                    <a:lnTo>
                      <a:pt x="4799" y="1944"/>
                    </a:lnTo>
                    <a:lnTo>
                      <a:pt x="4807" y="1945"/>
                    </a:lnTo>
                    <a:lnTo>
                      <a:pt x="4819" y="1952"/>
                    </a:lnTo>
                    <a:lnTo>
                      <a:pt x="4828" y="1957"/>
                    </a:lnTo>
                    <a:lnTo>
                      <a:pt x="4837" y="1962"/>
                    </a:lnTo>
                    <a:lnTo>
                      <a:pt x="4848" y="1968"/>
                    </a:lnTo>
                    <a:lnTo>
                      <a:pt x="4861" y="1975"/>
                    </a:lnTo>
                    <a:lnTo>
                      <a:pt x="4865" y="1975"/>
                    </a:lnTo>
                    <a:lnTo>
                      <a:pt x="4868" y="1977"/>
                    </a:lnTo>
                    <a:lnTo>
                      <a:pt x="4874" y="1978"/>
                    </a:lnTo>
                    <a:lnTo>
                      <a:pt x="4878" y="1983"/>
                    </a:lnTo>
                    <a:lnTo>
                      <a:pt x="4883" y="1986"/>
                    </a:lnTo>
                    <a:lnTo>
                      <a:pt x="4889" y="1992"/>
                    </a:lnTo>
                    <a:lnTo>
                      <a:pt x="4893" y="1998"/>
                    </a:lnTo>
                    <a:lnTo>
                      <a:pt x="4898" y="2003"/>
                    </a:lnTo>
                    <a:lnTo>
                      <a:pt x="4902" y="2008"/>
                    </a:lnTo>
                    <a:lnTo>
                      <a:pt x="4904" y="2014"/>
                    </a:lnTo>
                    <a:lnTo>
                      <a:pt x="4906" y="2019"/>
                    </a:lnTo>
                    <a:lnTo>
                      <a:pt x="4907" y="2025"/>
                    </a:lnTo>
                    <a:lnTo>
                      <a:pt x="4906" y="2031"/>
                    </a:lnTo>
                    <a:lnTo>
                      <a:pt x="4904" y="2036"/>
                    </a:lnTo>
                    <a:lnTo>
                      <a:pt x="4899" y="2039"/>
                    </a:lnTo>
                    <a:lnTo>
                      <a:pt x="4898" y="2042"/>
                    </a:lnTo>
                    <a:lnTo>
                      <a:pt x="4896" y="2044"/>
                    </a:lnTo>
                    <a:lnTo>
                      <a:pt x="4889" y="2049"/>
                    </a:lnTo>
                    <a:lnTo>
                      <a:pt x="4881" y="2052"/>
                    </a:lnTo>
                    <a:lnTo>
                      <a:pt x="4876" y="2057"/>
                    </a:lnTo>
                    <a:lnTo>
                      <a:pt x="4868" y="2059"/>
                    </a:lnTo>
                    <a:lnTo>
                      <a:pt x="4863" y="2060"/>
                    </a:lnTo>
                    <a:lnTo>
                      <a:pt x="4856" y="2060"/>
                    </a:lnTo>
                    <a:lnTo>
                      <a:pt x="4845" y="2060"/>
                    </a:lnTo>
                    <a:lnTo>
                      <a:pt x="4832" y="2062"/>
                    </a:lnTo>
                    <a:lnTo>
                      <a:pt x="4817" y="2064"/>
                    </a:lnTo>
                    <a:lnTo>
                      <a:pt x="4806" y="2066"/>
                    </a:lnTo>
                    <a:lnTo>
                      <a:pt x="4792" y="2069"/>
                    </a:lnTo>
                    <a:lnTo>
                      <a:pt x="4780" y="2073"/>
                    </a:lnTo>
                    <a:lnTo>
                      <a:pt x="4767" y="2075"/>
                    </a:lnTo>
                    <a:lnTo>
                      <a:pt x="4754" y="2077"/>
                    </a:lnTo>
                    <a:lnTo>
                      <a:pt x="4741" y="2079"/>
                    </a:lnTo>
                    <a:lnTo>
                      <a:pt x="4734" y="2079"/>
                    </a:lnTo>
                    <a:lnTo>
                      <a:pt x="4730" y="2079"/>
                    </a:lnTo>
                    <a:lnTo>
                      <a:pt x="4726" y="2079"/>
                    </a:lnTo>
                    <a:lnTo>
                      <a:pt x="4723" y="2079"/>
                    </a:lnTo>
                    <a:lnTo>
                      <a:pt x="4721" y="2079"/>
                    </a:lnTo>
                    <a:lnTo>
                      <a:pt x="4719" y="2079"/>
                    </a:lnTo>
                    <a:lnTo>
                      <a:pt x="4718" y="2080"/>
                    </a:lnTo>
                    <a:lnTo>
                      <a:pt x="4715" y="2082"/>
                    </a:lnTo>
                    <a:lnTo>
                      <a:pt x="4713" y="2084"/>
                    </a:lnTo>
                    <a:lnTo>
                      <a:pt x="4713" y="2087"/>
                    </a:lnTo>
                    <a:lnTo>
                      <a:pt x="4712" y="2090"/>
                    </a:lnTo>
                    <a:lnTo>
                      <a:pt x="4710" y="2092"/>
                    </a:lnTo>
                    <a:lnTo>
                      <a:pt x="4706" y="2095"/>
                    </a:lnTo>
                    <a:lnTo>
                      <a:pt x="4698" y="2100"/>
                    </a:lnTo>
                    <a:lnTo>
                      <a:pt x="4692" y="2105"/>
                    </a:lnTo>
                    <a:lnTo>
                      <a:pt x="4682" y="2108"/>
                    </a:lnTo>
                    <a:lnTo>
                      <a:pt x="4672" y="2110"/>
                    </a:lnTo>
                    <a:lnTo>
                      <a:pt x="4662" y="2112"/>
                    </a:lnTo>
                    <a:lnTo>
                      <a:pt x="4652" y="2112"/>
                    </a:lnTo>
                    <a:lnTo>
                      <a:pt x="4645" y="2112"/>
                    </a:lnTo>
                    <a:lnTo>
                      <a:pt x="4644" y="2112"/>
                    </a:lnTo>
                    <a:lnTo>
                      <a:pt x="4651" y="2113"/>
                    </a:lnTo>
                    <a:lnTo>
                      <a:pt x="4659" y="2115"/>
                    </a:lnTo>
                    <a:lnTo>
                      <a:pt x="4665" y="2118"/>
                    </a:lnTo>
                    <a:lnTo>
                      <a:pt x="4682" y="2123"/>
                    </a:lnTo>
                    <a:lnTo>
                      <a:pt x="4698" y="2130"/>
                    </a:lnTo>
                    <a:lnTo>
                      <a:pt x="4718" y="2136"/>
                    </a:lnTo>
                    <a:lnTo>
                      <a:pt x="4736" y="2141"/>
                    </a:lnTo>
                    <a:lnTo>
                      <a:pt x="4746" y="2143"/>
                    </a:lnTo>
                    <a:lnTo>
                      <a:pt x="4756" y="2145"/>
                    </a:lnTo>
                    <a:lnTo>
                      <a:pt x="4766" y="2146"/>
                    </a:lnTo>
                    <a:lnTo>
                      <a:pt x="4774" y="2146"/>
                    </a:lnTo>
                    <a:lnTo>
                      <a:pt x="4852" y="2146"/>
                    </a:lnTo>
                    <a:lnTo>
                      <a:pt x="4929" y="2146"/>
                    </a:lnTo>
                    <a:lnTo>
                      <a:pt x="4955" y="2146"/>
                    </a:lnTo>
                    <a:lnTo>
                      <a:pt x="4981" y="2146"/>
                    </a:lnTo>
                    <a:lnTo>
                      <a:pt x="4988" y="2146"/>
                    </a:lnTo>
                    <a:lnTo>
                      <a:pt x="4996" y="2146"/>
                    </a:lnTo>
                    <a:lnTo>
                      <a:pt x="5005" y="2146"/>
                    </a:lnTo>
                    <a:lnTo>
                      <a:pt x="5013" y="2146"/>
                    </a:lnTo>
                    <a:lnTo>
                      <a:pt x="5021" y="2146"/>
                    </a:lnTo>
                    <a:lnTo>
                      <a:pt x="5024" y="2146"/>
                    </a:lnTo>
                    <a:lnTo>
                      <a:pt x="5027" y="2146"/>
                    </a:lnTo>
                    <a:lnTo>
                      <a:pt x="5029" y="2146"/>
                    </a:lnTo>
                    <a:lnTo>
                      <a:pt x="5031" y="2146"/>
                    </a:lnTo>
                    <a:lnTo>
                      <a:pt x="5033" y="2146"/>
                    </a:lnTo>
                    <a:lnTo>
                      <a:pt x="5036" y="2143"/>
                    </a:lnTo>
                    <a:lnTo>
                      <a:pt x="5039" y="2141"/>
                    </a:lnTo>
                    <a:lnTo>
                      <a:pt x="5042" y="2140"/>
                    </a:lnTo>
                    <a:lnTo>
                      <a:pt x="5046" y="2140"/>
                    </a:lnTo>
                    <a:lnTo>
                      <a:pt x="5049" y="2140"/>
                    </a:lnTo>
                    <a:lnTo>
                      <a:pt x="5051" y="2140"/>
                    </a:lnTo>
                    <a:lnTo>
                      <a:pt x="5059" y="2140"/>
                    </a:lnTo>
                    <a:lnTo>
                      <a:pt x="5064" y="2141"/>
                    </a:lnTo>
                    <a:lnTo>
                      <a:pt x="5072" y="2143"/>
                    </a:lnTo>
                    <a:lnTo>
                      <a:pt x="5077" y="2145"/>
                    </a:lnTo>
                    <a:lnTo>
                      <a:pt x="5085" y="2146"/>
                    </a:lnTo>
                    <a:lnTo>
                      <a:pt x="5088" y="2146"/>
                    </a:lnTo>
                    <a:lnTo>
                      <a:pt x="5094" y="2145"/>
                    </a:lnTo>
                    <a:lnTo>
                      <a:pt x="5100" y="2143"/>
                    </a:lnTo>
                    <a:lnTo>
                      <a:pt x="5105" y="2141"/>
                    </a:lnTo>
                    <a:lnTo>
                      <a:pt x="5118" y="2136"/>
                    </a:lnTo>
                    <a:lnTo>
                      <a:pt x="5123" y="2134"/>
                    </a:lnTo>
                    <a:lnTo>
                      <a:pt x="5129" y="2133"/>
                    </a:lnTo>
                    <a:lnTo>
                      <a:pt x="5134" y="2128"/>
                    </a:lnTo>
                    <a:lnTo>
                      <a:pt x="5140" y="2126"/>
                    </a:lnTo>
                    <a:lnTo>
                      <a:pt x="5141" y="2126"/>
                    </a:lnTo>
                    <a:lnTo>
                      <a:pt x="5138" y="2128"/>
                    </a:lnTo>
                    <a:lnTo>
                      <a:pt x="5136" y="2130"/>
                    </a:lnTo>
                    <a:lnTo>
                      <a:pt x="5162" y="2128"/>
                    </a:lnTo>
                    <a:lnTo>
                      <a:pt x="5175" y="2128"/>
                    </a:lnTo>
                    <a:lnTo>
                      <a:pt x="5187" y="2126"/>
                    </a:lnTo>
                    <a:lnTo>
                      <a:pt x="5201" y="2125"/>
                    </a:lnTo>
                    <a:lnTo>
                      <a:pt x="5214" y="2123"/>
                    </a:lnTo>
                    <a:lnTo>
                      <a:pt x="5227" y="2118"/>
                    </a:lnTo>
                    <a:lnTo>
                      <a:pt x="5240" y="2112"/>
                    </a:lnTo>
                    <a:lnTo>
                      <a:pt x="5241" y="2112"/>
                    </a:lnTo>
                    <a:lnTo>
                      <a:pt x="5243" y="2110"/>
                    </a:lnTo>
                    <a:lnTo>
                      <a:pt x="5247" y="2110"/>
                    </a:lnTo>
                    <a:lnTo>
                      <a:pt x="5253" y="2108"/>
                    </a:lnTo>
                    <a:lnTo>
                      <a:pt x="5256" y="2106"/>
                    </a:lnTo>
                    <a:lnTo>
                      <a:pt x="5268" y="2105"/>
                    </a:lnTo>
                    <a:lnTo>
                      <a:pt x="5278" y="2100"/>
                    </a:lnTo>
                    <a:lnTo>
                      <a:pt x="5289" y="2097"/>
                    </a:lnTo>
                    <a:lnTo>
                      <a:pt x="5293" y="2097"/>
                    </a:lnTo>
                    <a:lnTo>
                      <a:pt x="5294" y="2097"/>
                    </a:lnTo>
                    <a:lnTo>
                      <a:pt x="5297" y="2096"/>
                    </a:lnTo>
                    <a:lnTo>
                      <a:pt x="5293" y="2097"/>
                    </a:lnTo>
                    <a:lnTo>
                      <a:pt x="5299" y="2092"/>
                    </a:lnTo>
                    <a:lnTo>
                      <a:pt x="5306" y="2087"/>
                    </a:lnTo>
                    <a:lnTo>
                      <a:pt x="5312" y="2084"/>
                    </a:lnTo>
                    <a:lnTo>
                      <a:pt x="5319" y="2082"/>
                    </a:lnTo>
                    <a:lnTo>
                      <a:pt x="5327" y="2080"/>
                    </a:lnTo>
                    <a:lnTo>
                      <a:pt x="5329" y="2080"/>
                    </a:lnTo>
                    <a:lnTo>
                      <a:pt x="5329" y="2084"/>
                    </a:lnTo>
                    <a:lnTo>
                      <a:pt x="5324" y="2090"/>
                    </a:lnTo>
                    <a:lnTo>
                      <a:pt x="5321" y="2092"/>
                    </a:lnTo>
                    <a:lnTo>
                      <a:pt x="5317" y="2093"/>
                    </a:lnTo>
                    <a:lnTo>
                      <a:pt x="5312" y="2095"/>
                    </a:lnTo>
                    <a:lnTo>
                      <a:pt x="5308" y="2095"/>
                    </a:lnTo>
                    <a:lnTo>
                      <a:pt x="5308" y="2100"/>
                    </a:lnTo>
                    <a:lnTo>
                      <a:pt x="5308" y="2105"/>
                    </a:lnTo>
                    <a:lnTo>
                      <a:pt x="5308" y="2108"/>
                    </a:lnTo>
                    <a:lnTo>
                      <a:pt x="5306" y="2112"/>
                    </a:lnTo>
                    <a:lnTo>
                      <a:pt x="5304" y="2115"/>
                    </a:lnTo>
                    <a:lnTo>
                      <a:pt x="5301" y="2120"/>
                    </a:lnTo>
                    <a:lnTo>
                      <a:pt x="5297" y="2123"/>
                    </a:lnTo>
                    <a:lnTo>
                      <a:pt x="5291" y="2130"/>
                    </a:lnTo>
                    <a:lnTo>
                      <a:pt x="5294" y="2126"/>
                    </a:lnTo>
                    <a:lnTo>
                      <a:pt x="5297" y="2125"/>
                    </a:lnTo>
                    <a:lnTo>
                      <a:pt x="5301" y="2123"/>
                    </a:lnTo>
                    <a:lnTo>
                      <a:pt x="5302" y="2123"/>
                    </a:lnTo>
                    <a:lnTo>
                      <a:pt x="5306" y="2123"/>
                    </a:lnTo>
                    <a:lnTo>
                      <a:pt x="5308" y="2123"/>
                    </a:lnTo>
                    <a:lnTo>
                      <a:pt x="5309" y="2123"/>
                    </a:lnTo>
                    <a:lnTo>
                      <a:pt x="5312" y="2125"/>
                    </a:lnTo>
                    <a:lnTo>
                      <a:pt x="5314" y="2126"/>
                    </a:lnTo>
                    <a:lnTo>
                      <a:pt x="5315" y="2128"/>
                    </a:lnTo>
                    <a:lnTo>
                      <a:pt x="5315" y="2133"/>
                    </a:lnTo>
                    <a:lnTo>
                      <a:pt x="5315" y="2134"/>
                    </a:lnTo>
                    <a:lnTo>
                      <a:pt x="5314" y="2138"/>
                    </a:lnTo>
                    <a:lnTo>
                      <a:pt x="5314" y="2140"/>
                    </a:lnTo>
                    <a:lnTo>
                      <a:pt x="5312" y="2143"/>
                    </a:lnTo>
                    <a:lnTo>
                      <a:pt x="5308" y="2146"/>
                    </a:lnTo>
                    <a:lnTo>
                      <a:pt x="5321" y="2146"/>
                    </a:lnTo>
                    <a:lnTo>
                      <a:pt x="5330" y="2146"/>
                    </a:lnTo>
                    <a:lnTo>
                      <a:pt x="5341" y="2146"/>
                    </a:lnTo>
                    <a:lnTo>
                      <a:pt x="5348" y="2146"/>
                    </a:lnTo>
                    <a:lnTo>
                      <a:pt x="5355" y="2146"/>
                    </a:lnTo>
                    <a:lnTo>
                      <a:pt x="5363" y="2146"/>
                    </a:lnTo>
                    <a:lnTo>
                      <a:pt x="5376" y="2146"/>
                    </a:lnTo>
                    <a:lnTo>
                      <a:pt x="5376" y="2151"/>
                    </a:lnTo>
                    <a:lnTo>
                      <a:pt x="5375" y="2153"/>
                    </a:lnTo>
                    <a:lnTo>
                      <a:pt x="5375" y="2156"/>
                    </a:lnTo>
                    <a:lnTo>
                      <a:pt x="5373" y="2160"/>
                    </a:lnTo>
                    <a:lnTo>
                      <a:pt x="5367" y="2166"/>
                    </a:lnTo>
                    <a:lnTo>
                      <a:pt x="5362" y="2173"/>
                    </a:lnTo>
                    <a:lnTo>
                      <a:pt x="5358" y="2179"/>
                    </a:lnTo>
                    <a:lnTo>
                      <a:pt x="5355" y="2182"/>
                    </a:lnTo>
                    <a:lnTo>
                      <a:pt x="5355" y="2186"/>
                    </a:lnTo>
                    <a:lnTo>
                      <a:pt x="5354" y="2189"/>
                    </a:lnTo>
                    <a:lnTo>
                      <a:pt x="5355" y="2191"/>
                    </a:lnTo>
                    <a:lnTo>
                      <a:pt x="5358" y="2195"/>
                    </a:lnTo>
                    <a:lnTo>
                      <a:pt x="5360" y="2199"/>
                    </a:lnTo>
                    <a:lnTo>
                      <a:pt x="5363" y="2199"/>
                    </a:lnTo>
                    <a:lnTo>
                      <a:pt x="5365" y="2197"/>
                    </a:lnTo>
                    <a:lnTo>
                      <a:pt x="5368" y="2195"/>
                    </a:lnTo>
                    <a:lnTo>
                      <a:pt x="5373" y="2194"/>
                    </a:lnTo>
                    <a:lnTo>
                      <a:pt x="5378" y="2187"/>
                    </a:lnTo>
                    <a:lnTo>
                      <a:pt x="5385" y="2180"/>
                    </a:lnTo>
                    <a:lnTo>
                      <a:pt x="5391" y="2174"/>
                    </a:lnTo>
                    <a:lnTo>
                      <a:pt x="5398" y="2169"/>
                    </a:lnTo>
                    <a:lnTo>
                      <a:pt x="5402" y="2167"/>
                    </a:lnTo>
                    <a:lnTo>
                      <a:pt x="5404" y="2166"/>
                    </a:lnTo>
                    <a:lnTo>
                      <a:pt x="5408" y="2164"/>
                    </a:lnTo>
                    <a:lnTo>
                      <a:pt x="5411" y="2164"/>
                    </a:lnTo>
                    <a:lnTo>
                      <a:pt x="5411" y="2171"/>
                    </a:lnTo>
                    <a:lnTo>
                      <a:pt x="5409" y="2176"/>
                    </a:lnTo>
                    <a:lnTo>
                      <a:pt x="5406" y="2182"/>
                    </a:lnTo>
                    <a:lnTo>
                      <a:pt x="5402" y="2187"/>
                    </a:lnTo>
                    <a:lnTo>
                      <a:pt x="5400" y="2191"/>
                    </a:lnTo>
                    <a:lnTo>
                      <a:pt x="5396" y="2195"/>
                    </a:lnTo>
                    <a:lnTo>
                      <a:pt x="5395" y="2197"/>
                    </a:lnTo>
                    <a:lnTo>
                      <a:pt x="5395" y="2199"/>
                    </a:lnTo>
                    <a:lnTo>
                      <a:pt x="5400" y="2195"/>
                    </a:lnTo>
                    <a:lnTo>
                      <a:pt x="5406" y="2195"/>
                    </a:lnTo>
                    <a:lnTo>
                      <a:pt x="5411" y="2194"/>
                    </a:lnTo>
                    <a:lnTo>
                      <a:pt x="5416" y="2194"/>
                    </a:lnTo>
                    <a:lnTo>
                      <a:pt x="5421" y="2195"/>
                    </a:lnTo>
                    <a:lnTo>
                      <a:pt x="5424" y="2197"/>
                    </a:lnTo>
                    <a:lnTo>
                      <a:pt x="5428" y="2199"/>
                    </a:lnTo>
                    <a:lnTo>
                      <a:pt x="5429" y="2202"/>
                    </a:lnTo>
                    <a:lnTo>
                      <a:pt x="5434" y="2206"/>
                    </a:lnTo>
                    <a:lnTo>
                      <a:pt x="5434" y="2210"/>
                    </a:lnTo>
                    <a:lnTo>
                      <a:pt x="5436" y="2214"/>
                    </a:lnTo>
                    <a:lnTo>
                      <a:pt x="5436" y="2217"/>
                    </a:lnTo>
                    <a:lnTo>
                      <a:pt x="5436" y="2220"/>
                    </a:lnTo>
                    <a:lnTo>
                      <a:pt x="5434" y="2225"/>
                    </a:lnTo>
                    <a:lnTo>
                      <a:pt x="5431" y="2228"/>
                    </a:lnTo>
                    <a:lnTo>
                      <a:pt x="5428" y="2232"/>
                    </a:lnTo>
                    <a:lnTo>
                      <a:pt x="5424" y="2237"/>
                    </a:lnTo>
                    <a:lnTo>
                      <a:pt x="5421" y="2243"/>
                    </a:lnTo>
                    <a:lnTo>
                      <a:pt x="5415" y="2247"/>
                    </a:lnTo>
                    <a:lnTo>
                      <a:pt x="5409" y="2250"/>
                    </a:lnTo>
                    <a:lnTo>
                      <a:pt x="5404" y="2250"/>
                    </a:lnTo>
                    <a:lnTo>
                      <a:pt x="5400" y="2251"/>
                    </a:lnTo>
                    <a:lnTo>
                      <a:pt x="5400" y="2256"/>
                    </a:lnTo>
                    <a:lnTo>
                      <a:pt x="5398" y="2260"/>
                    </a:lnTo>
                    <a:lnTo>
                      <a:pt x="5398" y="2263"/>
                    </a:lnTo>
                    <a:lnTo>
                      <a:pt x="5396" y="2265"/>
                    </a:lnTo>
                    <a:lnTo>
                      <a:pt x="5395" y="2267"/>
                    </a:lnTo>
                    <a:lnTo>
                      <a:pt x="5393" y="2267"/>
                    </a:lnTo>
                    <a:lnTo>
                      <a:pt x="5388" y="2269"/>
                    </a:lnTo>
                    <a:lnTo>
                      <a:pt x="5383" y="2269"/>
                    </a:lnTo>
                    <a:lnTo>
                      <a:pt x="5383" y="2267"/>
                    </a:lnTo>
                    <a:lnTo>
                      <a:pt x="5385" y="2265"/>
                    </a:lnTo>
                    <a:lnTo>
                      <a:pt x="5388" y="2263"/>
                    </a:lnTo>
                    <a:lnTo>
                      <a:pt x="5389" y="2260"/>
                    </a:lnTo>
                    <a:lnTo>
                      <a:pt x="5395" y="2256"/>
                    </a:lnTo>
                    <a:lnTo>
                      <a:pt x="5398" y="2252"/>
                    </a:lnTo>
                    <a:lnTo>
                      <a:pt x="5393" y="2252"/>
                    </a:lnTo>
                    <a:lnTo>
                      <a:pt x="5385" y="2252"/>
                    </a:lnTo>
                    <a:lnTo>
                      <a:pt x="5380" y="2250"/>
                    </a:lnTo>
                    <a:lnTo>
                      <a:pt x="5373" y="2248"/>
                    </a:lnTo>
                    <a:lnTo>
                      <a:pt x="5362" y="2245"/>
                    </a:lnTo>
                    <a:lnTo>
                      <a:pt x="5355" y="2241"/>
                    </a:lnTo>
                    <a:lnTo>
                      <a:pt x="5350" y="2240"/>
                    </a:lnTo>
                    <a:lnTo>
                      <a:pt x="5347" y="2235"/>
                    </a:lnTo>
                    <a:lnTo>
                      <a:pt x="5343" y="2232"/>
                    </a:lnTo>
                    <a:lnTo>
                      <a:pt x="5339" y="2235"/>
                    </a:lnTo>
                    <a:lnTo>
                      <a:pt x="5337" y="2240"/>
                    </a:lnTo>
                    <a:lnTo>
                      <a:pt x="5337" y="2243"/>
                    </a:lnTo>
                    <a:lnTo>
                      <a:pt x="5337" y="2245"/>
                    </a:lnTo>
                    <a:lnTo>
                      <a:pt x="5339" y="2248"/>
                    </a:lnTo>
                    <a:lnTo>
                      <a:pt x="5341" y="2250"/>
                    </a:lnTo>
                    <a:lnTo>
                      <a:pt x="5343" y="2254"/>
                    </a:lnTo>
                    <a:lnTo>
                      <a:pt x="5347" y="2256"/>
                    </a:lnTo>
                    <a:lnTo>
                      <a:pt x="5354" y="2261"/>
                    </a:lnTo>
                    <a:lnTo>
                      <a:pt x="5362" y="2263"/>
                    </a:lnTo>
                    <a:lnTo>
                      <a:pt x="5368" y="2267"/>
                    </a:lnTo>
                    <a:lnTo>
                      <a:pt x="5376" y="2267"/>
                    </a:lnTo>
                    <a:lnTo>
                      <a:pt x="5375" y="2269"/>
                    </a:lnTo>
                    <a:lnTo>
                      <a:pt x="5370" y="2273"/>
                    </a:lnTo>
                    <a:lnTo>
                      <a:pt x="5365" y="2276"/>
                    </a:lnTo>
                    <a:lnTo>
                      <a:pt x="5362" y="2278"/>
                    </a:lnTo>
                    <a:lnTo>
                      <a:pt x="5355" y="2281"/>
                    </a:lnTo>
                    <a:lnTo>
                      <a:pt x="5348" y="2284"/>
                    </a:lnTo>
                    <a:lnTo>
                      <a:pt x="5343" y="2284"/>
                    </a:lnTo>
                    <a:lnTo>
                      <a:pt x="5348" y="2286"/>
                    </a:lnTo>
                    <a:lnTo>
                      <a:pt x="5354" y="2288"/>
                    </a:lnTo>
                    <a:lnTo>
                      <a:pt x="5360" y="2291"/>
                    </a:lnTo>
                    <a:lnTo>
                      <a:pt x="5363" y="2294"/>
                    </a:lnTo>
                    <a:lnTo>
                      <a:pt x="5365" y="2296"/>
                    </a:lnTo>
                    <a:lnTo>
                      <a:pt x="5367" y="2301"/>
                    </a:lnTo>
                    <a:lnTo>
                      <a:pt x="5367" y="2302"/>
                    </a:lnTo>
                    <a:lnTo>
                      <a:pt x="5367" y="2306"/>
                    </a:lnTo>
                    <a:lnTo>
                      <a:pt x="5365" y="2309"/>
                    </a:lnTo>
                    <a:lnTo>
                      <a:pt x="5365" y="2311"/>
                    </a:lnTo>
                    <a:lnTo>
                      <a:pt x="5363" y="2315"/>
                    </a:lnTo>
                    <a:lnTo>
                      <a:pt x="5360" y="2319"/>
                    </a:lnTo>
                    <a:lnTo>
                      <a:pt x="5362" y="2319"/>
                    </a:lnTo>
                    <a:lnTo>
                      <a:pt x="5362" y="2317"/>
                    </a:lnTo>
                    <a:lnTo>
                      <a:pt x="5363" y="2315"/>
                    </a:lnTo>
                    <a:lnTo>
                      <a:pt x="5367" y="2311"/>
                    </a:lnTo>
                    <a:lnTo>
                      <a:pt x="5370" y="2307"/>
                    </a:lnTo>
                    <a:lnTo>
                      <a:pt x="5376" y="2302"/>
                    </a:lnTo>
                    <a:lnTo>
                      <a:pt x="5376" y="2307"/>
                    </a:lnTo>
                    <a:lnTo>
                      <a:pt x="5376" y="2317"/>
                    </a:lnTo>
                    <a:lnTo>
                      <a:pt x="5378" y="2326"/>
                    </a:lnTo>
                    <a:lnTo>
                      <a:pt x="5378" y="2334"/>
                    </a:lnTo>
                    <a:lnTo>
                      <a:pt x="5382" y="2341"/>
                    </a:lnTo>
                    <a:lnTo>
                      <a:pt x="5382" y="2345"/>
                    </a:lnTo>
                    <a:lnTo>
                      <a:pt x="5383" y="2347"/>
                    </a:lnTo>
                    <a:lnTo>
                      <a:pt x="5385" y="2350"/>
                    </a:lnTo>
                    <a:lnTo>
                      <a:pt x="5388" y="2352"/>
                    </a:lnTo>
                    <a:lnTo>
                      <a:pt x="5391" y="2352"/>
                    </a:lnTo>
                    <a:lnTo>
                      <a:pt x="5395" y="2354"/>
                    </a:lnTo>
                    <a:lnTo>
                      <a:pt x="5393" y="2347"/>
                    </a:lnTo>
                    <a:lnTo>
                      <a:pt x="5391" y="2337"/>
                    </a:lnTo>
                    <a:lnTo>
                      <a:pt x="5389" y="2327"/>
                    </a:lnTo>
                    <a:lnTo>
                      <a:pt x="5388" y="2319"/>
                    </a:lnTo>
                    <a:lnTo>
                      <a:pt x="5385" y="2309"/>
                    </a:lnTo>
                    <a:lnTo>
                      <a:pt x="5385" y="2304"/>
                    </a:lnTo>
                    <a:lnTo>
                      <a:pt x="5388" y="2301"/>
                    </a:lnTo>
                    <a:lnTo>
                      <a:pt x="5388" y="2294"/>
                    </a:lnTo>
                    <a:lnTo>
                      <a:pt x="5389" y="2291"/>
                    </a:lnTo>
                    <a:lnTo>
                      <a:pt x="5391" y="2288"/>
                    </a:lnTo>
                    <a:lnTo>
                      <a:pt x="5395" y="2284"/>
                    </a:lnTo>
                    <a:lnTo>
                      <a:pt x="5400" y="2284"/>
                    </a:lnTo>
                    <a:lnTo>
                      <a:pt x="5404" y="2281"/>
                    </a:lnTo>
                    <a:lnTo>
                      <a:pt x="5408" y="2278"/>
                    </a:lnTo>
                    <a:lnTo>
                      <a:pt x="5411" y="2276"/>
                    </a:lnTo>
                    <a:lnTo>
                      <a:pt x="5415" y="2273"/>
                    </a:lnTo>
                    <a:lnTo>
                      <a:pt x="5419" y="2269"/>
                    </a:lnTo>
                    <a:lnTo>
                      <a:pt x="5422" y="2267"/>
                    </a:lnTo>
                    <a:lnTo>
                      <a:pt x="5428" y="2267"/>
                    </a:lnTo>
                    <a:lnTo>
                      <a:pt x="5428" y="2271"/>
                    </a:lnTo>
                    <a:lnTo>
                      <a:pt x="5428" y="2274"/>
                    </a:lnTo>
                    <a:lnTo>
                      <a:pt x="5429" y="2278"/>
                    </a:lnTo>
                    <a:lnTo>
                      <a:pt x="5429" y="2280"/>
                    </a:lnTo>
                    <a:lnTo>
                      <a:pt x="5431" y="2281"/>
                    </a:lnTo>
                    <a:lnTo>
                      <a:pt x="5431" y="2284"/>
                    </a:lnTo>
                    <a:lnTo>
                      <a:pt x="5434" y="2284"/>
                    </a:lnTo>
                    <a:lnTo>
                      <a:pt x="5437" y="2284"/>
                    </a:lnTo>
                    <a:lnTo>
                      <a:pt x="5441" y="2281"/>
                    </a:lnTo>
                    <a:lnTo>
                      <a:pt x="5444" y="2278"/>
                    </a:lnTo>
                    <a:lnTo>
                      <a:pt x="5449" y="2276"/>
                    </a:lnTo>
                    <a:lnTo>
                      <a:pt x="5452" y="2273"/>
                    </a:lnTo>
                    <a:lnTo>
                      <a:pt x="5456" y="2269"/>
                    </a:lnTo>
                    <a:lnTo>
                      <a:pt x="5461" y="2267"/>
                    </a:lnTo>
                    <a:lnTo>
                      <a:pt x="5465" y="2267"/>
                    </a:lnTo>
                    <a:lnTo>
                      <a:pt x="5467" y="2267"/>
                    </a:lnTo>
                    <a:lnTo>
                      <a:pt x="5469" y="2267"/>
                    </a:lnTo>
                    <a:lnTo>
                      <a:pt x="5470" y="2269"/>
                    </a:lnTo>
                    <a:lnTo>
                      <a:pt x="5472" y="2271"/>
                    </a:lnTo>
                    <a:lnTo>
                      <a:pt x="5474" y="2273"/>
                    </a:lnTo>
                    <a:lnTo>
                      <a:pt x="5475" y="2276"/>
                    </a:lnTo>
                    <a:lnTo>
                      <a:pt x="5477" y="2280"/>
                    </a:lnTo>
                    <a:lnTo>
                      <a:pt x="5480" y="2284"/>
                    </a:lnTo>
                    <a:lnTo>
                      <a:pt x="5480" y="2271"/>
                    </a:lnTo>
                    <a:lnTo>
                      <a:pt x="5482" y="2265"/>
                    </a:lnTo>
                    <a:lnTo>
                      <a:pt x="5482" y="2258"/>
                    </a:lnTo>
                    <a:lnTo>
                      <a:pt x="5485" y="2252"/>
                    </a:lnTo>
                    <a:lnTo>
                      <a:pt x="5487" y="2245"/>
                    </a:lnTo>
                    <a:lnTo>
                      <a:pt x="5488" y="2244"/>
                    </a:lnTo>
                    <a:lnTo>
                      <a:pt x="5485" y="2245"/>
                    </a:lnTo>
                    <a:lnTo>
                      <a:pt x="5482" y="2245"/>
                    </a:lnTo>
                    <a:lnTo>
                      <a:pt x="5477" y="2245"/>
                    </a:lnTo>
                    <a:lnTo>
                      <a:pt x="5474" y="2243"/>
                    </a:lnTo>
                    <a:lnTo>
                      <a:pt x="5470" y="2237"/>
                    </a:lnTo>
                    <a:lnTo>
                      <a:pt x="5465" y="2233"/>
                    </a:lnTo>
                    <a:lnTo>
                      <a:pt x="5470" y="2233"/>
                    </a:lnTo>
                    <a:lnTo>
                      <a:pt x="5474" y="2233"/>
                    </a:lnTo>
                    <a:lnTo>
                      <a:pt x="5477" y="2233"/>
                    </a:lnTo>
                    <a:lnTo>
                      <a:pt x="5480" y="2233"/>
                    </a:lnTo>
                    <a:lnTo>
                      <a:pt x="5482" y="2233"/>
                    </a:lnTo>
                    <a:lnTo>
                      <a:pt x="5487" y="2233"/>
                    </a:lnTo>
                    <a:lnTo>
                      <a:pt x="5492" y="2233"/>
                    </a:lnTo>
                    <a:lnTo>
                      <a:pt x="5495" y="2233"/>
                    </a:lnTo>
                    <a:lnTo>
                      <a:pt x="5496" y="2233"/>
                    </a:lnTo>
                    <a:lnTo>
                      <a:pt x="5498" y="2232"/>
                    </a:lnTo>
                    <a:lnTo>
                      <a:pt x="5500" y="2232"/>
                    </a:lnTo>
                    <a:lnTo>
                      <a:pt x="5502" y="2232"/>
                    </a:lnTo>
                    <a:lnTo>
                      <a:pt x="5502" y="2230"/>
                    </a:lnTo>
                    <a:lnTo>
                      <a:pt x="5502" y="2228"/>
                    </a:lnTo>
                    <a:lnTo>
                      <a:pt x="5500" y="2227"/>
                    </a:lnTo>
                    <a:lnTo>
                      <a:pt x="5498" y="2220"/>
                    </a:lnTo>
                    <a:lnTo>
                      <a:pt x="5495" y="2217"/>
                    </a:lnTo>
                    <a:lnTo>
                      <a:pt x="5492" y="2214"/>
                    </a:lnTo>
                    <a:lnTo>
                      <a:pt x="5492" y="2212"/>
                    </a:lnTo>
                    <a:lnTo>
                      <a:pt x="5492" y="2207"/>
                    </a:lnTo>
                    <a:lnTo>
                      <a:pt x="5492" y="2204"/>
                    </a:lnTo>
                    <a:lnTo>
                      <a:pt x="5495" y="2202"/>
                    </a:lnTo>
                    <a:lnTo>
                      <a:pt x="5498" y="2199"/>
                    </a:lnTo>
                    <a:lnTo>
                      <a:pt x="5503" y="2191"/>
                    </a:lnTo>
                    <a:lnTo>
                      <a:pt x="5507" y="2187"/>
                    </a:lnTo>
                    <a:lnTo>
                      <a:pt x="5510" y="2182"/>
                    </a:lnTo>
                    <a:lnTo>
                      <a:pt x="5511" y="2179"/>
                    </a:lnTo>
                    <a:lnTo>
                      <a:pt x="5513" y="2174"/>
                    </a:lnTo>
                    <a:lnTo>
                      <a:pt x="5513" y="2171"/>
                    </a:lnTo>
                    <a:lnTo>
                      <a:pt x="5513" y="2169"/>
                    </a:lnTo>
                    <a:lnTo>
                      <a:pt x="5513" y="2166"/>
                    </a:lnTo>
                    <a:lnTo>
                      <a:pt x="5511" y="2161"/>
                    </a:lnTo>
                    <a:lnTo>
                      <a:pt x="5510" y="2160"/>
                    </a:lnTo>
                    <a:lnTo>
                      <a:pt x="5510" y="2156"/>
                    </a:lnTo>
                    <a:lnTo>
                      <a:pt x="5510" y="2154"/>
                    </a:lnTo>
                    <a:lnTo>
                      <a:pt x="5510" y="2153"/>
                    </a:lnTo>
                    <a:lnTo>
                      <a:pt x="5511" y="2149"/>
                    </a:lnTo>
                    <a:lnTo>
                      <a:pt x="5515" y="2146"/>
                    </a:lnTo>
                    <a:lnTo>
                      <a:pt x="5518" y="2141"/>
                    </a:lnTo>
                    <a:lnTo>
                      <a:pt x="5522" y="2136"/>
                    </a:lnTo>
                    <a:lnTo>
                      <a:pt x="5526" y="2133"/>
                    </a:lnTo>
                    <a:lnTo>
                      <a:pt x="5529" y="2128"/>
                    </a:lnTo>
                    <a:lnTo>
                      <a:pt x="5535" y="2126"/>
                    </a:lnTo>
                    <a:lnTo>
                      <a:pt x="5538" y="2125"/>
                    </a:lnTo>
                    <a:lnTo>
                      <a:pt x="5548" y="2123"/>
                    </a:lnTo>
                    <a:lnTo>
                      <a:pt x="5559" y="2121"/>
                    </a:lnTo>
                    <a:lnTo>
                      <a:pt x="5568" y="2120"/>
                    </a:lnTo>
                    <a:lnTo>
                      <a:pt x="5572" y="2120"/>
                    </a:lnTo>
                    <a:lnTo>
                      <a:pt x="5576" y="2118"/>
                    </a:lnTo>
                    <a:lnTo>
                      <a:pt x="5579" y="2115"/>
                    </a:lnTo>
                    <a:lnTo>
                      <a:pt x="5582" y="2112"/>
                    </a:lnTo>
                    <a:lnTo>
                      <a:pt x="5577" y="2112"/>
                    </a:lnTo>
                    <a:lnTo>
                      <a:pt x="5574" y="2112"/>
                    </a:lnTo>
                    <a:lnTo>
                      <a:pt x="5569" y="2112"/>
                    </a:lnTo>
                    <a:lnTo>
                      <a:pt x="5568" y="2110"/>
                    </a:lnTo>
                    <a:lnTo>
                      <a:pt x="5566" y="2108"/>
                    </a:lnTo>
                    <a:lnTo>
                      <a:pt x="5566" y="2105"/>
                    </a:lnTo>
                    <a:lnTo>
                      <a:pt x="5566" y="2100"/>
                    </a:lnTo>
                    <a:lnTo>
                      <a:pt x="5566" y="2095"/>
                    </a:lnTo>
                    <a:lnTo>
                      <a:pt x="5574" y="2095"/>
                    </a:lnTo>
                    <a:lnTo>
                      <a:pt x="5581" y="2095"/>
                    </a:lnTo>
                    <a:lnTo>
                      <a:pt x="5582" y="2095"/>
                    </a:lnTo>
                    <a:lnTo>
                      <a:pt x="5589" y="2095"/>
                    </a:lnTo>
                    <a:lnTo>
                      <a:pt x="5590" y="2095"/>
                    </a:lnTo>
                    <a:lnTo>
                      <a:pt x="5592" y="2095"/>
                    </a:lnTo>
                    <a:lnTo>
                      <a:pt x="5594" y="2095"/>
                    </a:lnTo>
                    <a:lnTo>
                      <a:pt x="5596" y="2095"/>
                    </a:lnTo>
                    <a:lnTo>
                      <a:pt x="5597" y="2095"/>
                    </a:lnTo>
                    <a:lnTo>
                      <a:pt x="5599" y="2095"/>
                    </a:lnTo>
                    <a:lnTo>
                      <a:pt x="5609" y="2093"/>
                    </a:lnTo>
                    <a:lnTo>
                      <a:pt x="5620" y="2093"/>
                    </a:lnTo>
                    <a:lnTo>
                      <a:pt x="5630" y="2092"/>
                    </a:lnTo>
                    <a:lnTo>
                      <a:pt x="5643" y="2088"/>
                    </a:lnTo>
                    <a:lnTo>
                      <a:pt x="5656" y="2084"/>
                    </a:lnTo>
                    <a:lnTo>
                      <a:pt x="5670" y="2079"/>
                    </a:lnTo>
                    <a:lnTo>
                      <a:pt x="5681" y="2079"/>
                    </a:lnTo>
                    <a:lnTo>
                      <a:pt x="5691" y="2077"/>
                    </a:lnTo>
                    <a:lnTo>
                      <a:pt x="5703" y="2077"/>
                    </a:lnTo>
                    <a:lnTo>
                      <a:pt x="5712" y="2075"/>
                    </a:lnTo>
                    <a:lnTo>
                      <a:pt x="5721" y="2073"/>
                    </a:lnTo>
                    <a:lnTo>
                      <a:pt x="5732" y="2072"/>
                    </a:lnTo>
                    <a:lnTo>
                      <a:pt x="5744" y="2066"/>
                    </a:lnTo>
                    <a:lnTo>
                      <a:pt x="5755" y="2060"/>
                    </a:lnTo>
                    <a:lnTo>
                      <a:pt x="5767" y="2054"/>
                    </a:lnTo>
                    <a:lnTo>
                      <a:pt x="5780" y="2051"/>
                    </a:lnTo>
                    <a:lnTo>
                      <a:pt x="5793" y="2047"/>
                    </a:lnTo>
                    <a:lnTo>
                      <a:pt x="5806" y="2046"/>
                    </a:lnTo>
                    <a:lnTo>
                      <a:pt x="5819" y="2046"/>
                    </a:lnTo>
                    <a:lnTo>
                      <a:pt x="5832" y="2044"/>
                    </a:lnTo>
                    <a:lnTo>
                      <a:pt x="5857" y="2044"/>
                    </a:lnTo>
                    <a:lnTo>
                      <a:pt x="5871" y="2036"/>
                    </a:lnTo>
                    <a:lnTo>
                      <a:pt x="5880" y="2031"/>
                    </a:lnTo>
                    <a:lnTo>
                      <a:pt x="5891" y="2023"/>
                    </a:lnTo>
                    <a:lnTo>
                      <a:pt x="5898" y="2018"/>
                    </a:lnTo>
                    <a:lnTo>
                      <a:pt x="5905" y="2011"/>
                    </a:lnTo>
                    <a:lnTo>
                      <a:pt x="5913" y="2005"/>
                    </a:lnTo>
                    <a:lnTo>
                      <a:pt x="5928" y="1992"/>
                    </a:lnTo>
                    <a:lnTo>
                      <a:pt x="5920" y="1996"/>
                    </a:lnTo>
                    <a:lnTo>
                      <a:pt x="5911" y="1998"/>
                    </a:lnTo>
                    <a:lnTo>
                      <a:pt x="5902" y="1999"/>
                    </a:lnTo>
                    <a:lnTo>
                      <a:pt x="5893" y="2003"/>
                    </a:lnTo>
                    <a:lnTo>
                      <a:pt x="5884" y="2005"/>
                    </a:lnTo>
                    <a:lnTo>
                      <a:pt x="5872" y="2006"/>
                    </a:lnTo>
                    <a:lnTo>
                      <a:pt x="5852" y="2011"/>
                    </a:lnTo>
                    <a:lnTo>
                      <a:pt x="5841" y="2014"/>
                    </a:lnTo>
                    <a:lnTo>
                      <a:pt x="5832" y="2016"/>
                    </a:lnTo>
                    <a:lnTo>
                      <a:pt x="5823" y="2019"/>
                    </a:lnTo>
                    <a:lnTo>
                      <a:pt x="5813" y="2023"/>
                    </a:lnTo>
                    <a:lnTo>
                      <a:pt x="5806" y="2027"/>
                    </a:lnTo>
                    <a:lnTo>
                      <a:pt x="5798" y="2033"/>
                    </a:lnTo>
                    <a:lnTo>
                      <a:pt x="5793" y="2038"/>
                    </a:lnTo>
                    <a:lnTo>
                      <a:pt x="5790" y="2044"/>
                    </a:lnTo>
                    <a:lnTo>
                      <a:pt x="5777" y="2044"/>
                    </a:lnTo>
                    <a:lnTo>
                      <a:pt x="5771" y="2044"/>
                    </a:lnTo>
                    <a:lnTo>
                      <a:pt x="5765" y="2044"/>
                    </a:lnTo>
                    <a:lnTo>
                      <a:pt x="5762" y="2044"/>
                    </a:lnTo>
                    <a:lnTo>
                      <a:pt x="5758" y="2044"/>
                    </a:lnTo>
                    <a:lnTo>
                      <a:pt x="5757" y="2044"/>
                    </a:lnTo>
                    <a:lnTo>
                      <a:pt x="5755" y="2044"/>
                    </a:lnTo>
                    <a:lnTo>
                      <a:pt x="5747" y="2044"/>
                    </a:lnTo>
                    <a:lnTo>
                      <a:pt x="5740" y="2044"/>
                    </a:lnTo>
                    <a:lnTo>
                      <a:pt x="5730" y="2046"/>
                    </a:lnTo>
                    <a:lnTo>
                      <a:pt x="5724" y="2046"/>
                    </a:lnTo>
                    <a:lnTo>
                      <a:pt x="5716" y="2047"/>
                    </a:lnTo>
                    <a:lnTo>
                      <a:pt x="5712" y="2049"/>
                    </a:lnTo>
                    <a:lnTo>
                      <a:pt x="5709" y="2051"/>
                    </a:lnTo>
                    <a:lnTo>
                      <a:pt x="5706" y="2052"/>
                    </a:lnTo>
                    <a:lnTo>
                      <a:pt x="5704" y="2054"/>
                    </a:lnTo>
                    <a:lnTo>
                      <a:pt x="5703" y="2059"/>
                    </a:lnTo>
                    <a:lnTo>
                      <a:pt x="5703" y="2060"/>
                    </a:lnTo>
                    <a:lnTo>
                      <a:pt x="5697" y="2060"/>
                    </a:lnTo>
                    <a:lnTo>
                      <a:pt x="5690" y="2060"/>
                    </a:lnTo>
                    <a:lnTo>
                      <a:pt x="5684" y="2059"/>
                    </a:lnTo>
                    <a:lnTo>
                      <a:pt x="5679" y="2057"/>
                    </a:lnTo>
                    <a:lnTo>
                      <a:pt x="5666" y="2051"/>
                    </a:lnTo>
                    <a:lnTo>
                      <a:pt x="5655" y="2047"/>
                    </a:lnTo>
                    <a:lnTo>
                      <a:pt x="5650" y="2046"/>
                    </a:lnTo>
                    <a:lnTo>
                      <a:pt x="5643" y="2046"/>
                    </a:lnTo>
                    <a:lnTo>
                      <a:pt x="5638" y="2046"/>
                    </a:lnTo>
                    <a:lnTo>
                      <a:pt x="5633" y="2046"/>
                    </a:lnTo>
                    <a:lnTo>
                      <a:pt x="5629" y="2047"/>
                    </a:lnTo>
                    <a:lnTo>
                      <a:pt x="5625" y="2051"/>
                    </a:lnTo>
                    <a:lnTo>
                      <a:pt x="5622" y="2054"/>
                    </a:lnTo>
                    <a:lnTo>
                      <a:pt x="5618" y="2060"/>
                    </a:lnTo>
                    <a:lnTo>
                      <a:pt x="5618" y="2062"/>
                    </a:lnTo>
                    <a:lnTo>
                      <a:pt x="5618" y="2066"/>
                    </a:lnTo>
                    <a:lnTo>
                      <a:pt x="5618" y="2067"/>
                    </a:lnTo>
                    <a:lnTo>
                      <a:pt x="5618" y="2072"/>
                    </a:lnTo>
                    <a:lnTo>
                      <a:pt x="5618" y="2075"/>
                    </a:lnTo>
                    <a:lnTo>
                      <a:pt x="5617" y="2073"/>
                    </a:lnTo>
                    <a:lnTo>
                      <a:pt x="5617" y="2072"/>
                    </a:lnTo>
                    <a:lnTo>
                      <a:pt x="5614" y="2072"/>
                    </a:lnTo>
                    <a:lnTo>
                      <a:pt x="5612" y="2069"/>
                    </a:lnTo>
                    <a:lnTo>
                      <a:pt x="5610" y="2069"/>
                    </a:lnTo>
                    <a:lnTo>
                      <a:pt x="5607" y="2072"/>
                    </a:lnTo>
                    <a:lnTo>
                      <a:pt x="5602" y="2073"/>
                    </a:lnTo>
                    <a:lnTo>
                      <a:pt x="5596" y="2075"/>
                    </a:lnTo>
                    <a:lnTo>
                      <a:pt x="5590" y="2077"/>
                    </a:lnTo>
                    <a:lnTo>
                      <a:pt x="5582" y="2079"/>
                    </a:lnTo>
                    <a:lnTo>
                      <a:pt x="5579" y="2079"/>
                    </a:lnTo>
                    <a:lnTo>
                      <a:pt x="5574" y="2079"/>
                    </a:lnTo>
                    <a:lnTo>
                      <a:pt x="5568" y="2077"/>
                    </a:lnTo>
                    <a:lnTo>
                      <a:pt x="5563" y="2077"/>
                    </a:lnTo>
                    <a:lnTo>
                      <a:pt x="5551" y="2077"/>
                    </a:lnTo>
                    <a:lnTo>
                      <a:pt x="5546" y="2077"/>
                    </a:lnTo>
                    <a:lnTo>
                      <a:pt x="5541" y="2075"/>
                    </a:lnTo>
                    <a:lnTo>
                      <a:pt x="5535" y="2075"/>
                    </a:lnTo>
                    <a:lnTo>
                      <a:pt x="5533" y="2073"/>
                    </a:lnTo>
                    <a:lnTo>
                      <a:pt x="5531" y="2073"/>
                    </a:lnTo>
                    <a:lnTo>
                      <a:pt x="5529" y="2072"/>
                    </a:lnTo>
                    <a:lnTo>
                      <a:pt x="5531" y="2069"/>
                    </a:lnTo>
                    <a:lnTo>
                      <a:pt x="5531" y="2066"/>
                    </a:lnTo>
                    <a:lnTo>
                      <a:pt x="5531" y="2060"/>
                    </a:lnTo>
                    <a:lnTo>
                      <a:pt x="5528" y="2060"/>
                    </a:lnTo>
                    <a:lnTo>
                      <a:pt x="5526" y="2060"/>
                    </a:lnTo>
                    <a:lnTo>
                      <a:pt x="5520" y="2060"/>
                    </a:lnTo>
                    <a:lnTo>
                      <a:pt x="5515" y="2060"/>
                    </a:lnTo>
                    <a:lnTo>
                      <a:pt x="5510" y="2060"/>
                    </a:lnTo>
                    <a:lnTo>
                      <a:pt x="5498" y="2060"/>
                    </a:lnTo>
                    <a:lnTo>
                      <a:pt x="5516" y="2049"/>
                    </a:lnTo>
                    <a:lnTo>
                      <a:pt x="5536" y="2038"/>
                    </a:lnTo>
                    <a:lnTo>
                      <a:pt x="5556" y="2029"/>
                    </a:lnTo>
                    <a:lnTo>
                      <a:pt x="5576" y="2021"/>
                    </a:lnTo>
                    <a:lnTo>
                      <a:pt x="5594" y="2014"/>
                    </a:lnTo>
                    <a:lnTo>
                      <a:pt x="5614" y="2008"/>
                    </a:lnTo>
                    <a:lnTo>
                      <a:pt x="5635" y="2003"/>
                    </a:lnTo>
                    <a:lnTo>
                      <a:pt x="5655" y="1999"/>
                    </a:lnTo>
                    <a:lnTo>
                      <a:pt x="5675" y="1993"/>
                    </a:lnTo>
                    <a:lnTo>
                      <a:pt x="5696" y="1992"/>
                    </a:lnTo>
                    <a:lnTo>
                      <a:pt x="5736" y="1986"/>
                    </a:lnTo>
                    <a:lnTo>
                      <a:pt x="5778" y="1981"/>
                    </a:lnTo>
                    <a:lnTo>
                      <a:pt x="5824" y="1975"/>
                    </a:lnTo>
                    <a:lnTo>
                      <a:pt x="5837" y="1968"/>
                    </a:lnTo>
                    <a:lnTo>
                      <a:pt x="5852" y="1962"/>
                    </a:lnTo>
                    <a:lnTo>
                      <a:pt x="5867" y="1957"/>
                    </a:lnTo>
                    <a:lnTo>
                      <a:pt x="5884" y="1953"/>
                    </a:lnTo>
                    <a:lnTo>
                      <a:pt x="5891" y="1952"/>
                    </a:lnTo>
                    <a:lnTo>
                      <a:pt x="5900" y="1952"/>
                    </a:lnTo>
                    <a:lnTo>
                      <a:pt x="5908" y="1949"/>
                    </a:lnTo>
                    <a:lnTo>
                      <a:pt x="5915" y="1952"/>
                    </a:lnTo>
                    <a:lnTo>
                      <a:pt x="5923" y="1952"/>
                    </a:lnTo>
                    <a:lnTo>
                      <a:pt x="5930" y="1953"/>
                    </a:lnTo>
                    <a:lnTo>
                      <a:pt x="5938" y="1955"/>
                    </a:lnTo>
                    <a:lnTo>
                      <a:pt x="5944" y="1957"/>
                    </a:lnTo>
                    <a:lnTo>
                      <a:pt x="5950" y="1960"/>
                    </a:lnTo>
                    <a:lnTo>
                      <a:pt x="5954" y="1964"/>
                    </a:lnTo>
                    <a:lnTo>
                      <a:pt x="5958" y="1968"/>
                    </a:lnTo>
                    <a:lnTo>
                      <a:pt x="5961" y="1970"/>
                    </a:lnTo>
                    <a:lnTo>
                      <a:pt x="5963" y="1973"/>
                    </a:lnTo>
                    <a:lnTo>
                      <a:pt x="5963" y="1977"/>
                    </a:lnTo>
                    <a:lnTo>
                      <a:pt x="5963" y="1981"/>
                    </a:lnTo>
                    <a:lnTo>
                      <a:pt x="5963" y="1983"/>
                    </a:lnTo>
                    <a:lnTo>
                      <a:pt x="5963" y="1986"/>
                    </a:lnTo>
                    <a:lnTo>
                      <a:pt x="5961" y="1990"/>
                    </a:lnTo>
                    <a:lnTo>
                      <a:pt x="5956" y="1996"/>
                    </a:lnTo>
                    <a:lnTo>
                      <a:pt x="5950" y="2003"/>
                    </a:lnTo>
                    <a:lnTo>
                      <a:pt x="5944" y="2008"/>
                    </a:lnTo>
                    <a:lnTo>
                      <a:pt x="5944" y="2013"/>
                    </a:lnTo>
                    <a:lnTo>
                      <a:pt x="5944" y="2014"/>
                    </a:lnTo>
                    <a:lnTo>
                      <a:pt x="5944" y="2016"/>
                    </a:lnTo>
                    <a:lnTo>
                      <a:pt x="5943" y="2016"/>
                    </a:lnTo>
                    <a:lnTo>
                      <a:pt x="5943" y="2018"/>
                    </a:lnTo>
                    <a:lnTo>
                      <a:pt x="5939" y="2018"/>
                    </a:lnTo>
                    <a:lnTo>
                      <a:pt x="5938" y="2018"/>
                    </a:lnTo>
                    <a:lnTo>
                      <a:pt x="5935" y="2018"/>
                    </a:lnTo>
                    <a:lnTo>
                      <a:pt x="5933" y="2018"/>
                    </a:lnTo>
                    <a:lnTo>
                      <a:pt x="5930" y="2018"/>
                    </a:lnTo>
                    <a:lnTo>
                      <a:pt x="5926" y="2019"/>
                    </a:lnTo>
                    <a:lnTo>
                      <a:pt x="5920" y="2021"/>
                    </a:lnTo>
                    <a:lnTo>
                      <a:pt x="5915" y="2023"/>
                    </a:lnTo>
                    <a:lnTo>
                      <a:pt x="5910" y="2027"/>
                    </a:lnTo>
                    <a:lnTo>
                      <a:pt x="5915" y="2033"/>
                    </a:lnTo>
                    <a:lnTo>
                      <a:pt x="5920" y="2036"/>
                    </a:lnTo>
                    <a:lnTo>
                      <a:pt x="5926" y="2039"/>
                    </a:lnTo>
                    <a:lnTo>
                      <a:pt x="5930" y="2044"/>
                    </a:lnTo>
                    <a:lnTo>
                      <a:pt x="5933" y="2046"/>
                    </a:lnTo>
                    <a:lnTo>
                      <a:pt x="5938" y="2047"/>
                    </a:lnTo>
                    <a:lnTo>
                      <a:pt x="5941" y="2047"/>
                    </a:lnTo>
                    <a:lnTo>
                      <a:pt x="5944" y="2047"/>
                    </a:lnTo>
                    <a:lnTo>
                      <a:pt x="5950" y="2047"/>
                    </a:lnTo>
                    <a:lnTo>
                      <a:pt x="5958" y="2046"/>
                    </a:lnTo>
                    <a:lnTo>
                      <a:pt x="5963" y="2046"/>
                    </a:lnTo>
                    <a:lnTo>
                      <a:pt x="5966" y="2044"/>
                    </a:lnTo>
                    <a:lnTo>
                      <a:pt x="5972" y="2044"/>
                    </a:lnTo>
                    <a:lnTo>
                      <a:pt x="5978" y="2044"/>
                    </a:lnTo>
                    <a:lnTo>
                      <a:pt x="5978" y="2046"/>
                    </a:lnTo>
                    <a:lnTo>
                      <a:pt x="5976" y="2046"/>
                    </a:lnTo>
                    <a:lnTo>
                      <a:pt x="5974" y="2047"/>
                    </a:lnTo>
                    <a:lnTo>
                      <a:pt x="5971" y="2051"/>
                    </a:lnTo>
                    <a:lnTo>
                      <a:pt x="5966" y="2054"/>
                    </a:lnTo>
                    <a:lnTo>
                      <a:pt x="5961" y="2060"/>
                    </a:lnTo>
                    <a:lnTo>
                      <a:pt x="5974" y="2060"/>
                    </a:lnTo>
                    <a:lnTo>
                      <a:pt x="5979" y="2060"/>
                    </a:lnTo>
                    <a:lnTo>
                      <a:pt x="5985" y="2060"/>
                    </a:lnTo>
                    <a:lnTo>
                      <a:pt x="5989" y="2060"/>
                    </a:lnTo>
                    <a:lnTo>
                      <a:pt x="5992" y="2060"/>
                    </a:lnTo>
                    <a:lnTo>
                      <a:pt x="5994" y="2060"/>
                    </a:lnTo>
                    <a:lnTo>
                      <a:pt x="5996" y="2060"/>
                    </a:lnTo>
                    <a:lnTo>
                      <a:pt x="5991" y="2066"/>
                    </a:lnTo>
                    <a:lnTo>
                      <a:pt x="5985" y="2069"/>
                    </a:lnTo>
                    <a:lnTo>
                      <a:pt x="5984" y="2073"/>
                    </a:lnTo>
                    <a:lnTo>
                      <a:pt x="5981" y="2077"/>
                    </a:lnTo>
                    <a:lnTo>
                      <a:pt x="5981" y="2079"/>
                    </a:lnTo>
                    <a:lnTo>
                      <a:pt x="5984" y="2082"/>
                    </a:lnTo>
                    <a:lnTo>
                      <a:pt x="5985" y="2084"/>
                    </a:lnTo>
                    <a:lnTo>
                      <a:pt x="5989" y="2087"/>
                    </a:lnTo>
                    <a:lnTo>
                      <a:pt x="5992" y="2087"/>
                    </a:lnTo>
                    <a:lnTo>
                      <a:pt x="5999" y="2088"/>
                    </a:lnTo>
                    <a:lnTo>
                      <a:pt x="6004" y="2088"/>
                    </a:lnTo>
                    <a:lnTo>
                      <a:pt x="6009" y="2090"/>
                    </a:lnTo>
                    <a:lnTo>
                      <a:pt x="6017" y="2090"/>
                    </a:lnTo>
                    <a:lnTo>
                      <a:pt x="6024" y="2090"/>
                    </a:lnTo>
                    <a:lnTo>
                      <a:pt x="6038" y="2088"/>
                    </a:lnTo>
                    <a:lnTo>
                      <a:pt x="6055" y="2088"/>
                    </a:lnTo>
                    <a:lnTo>
                      <a:pt x="6071" y="2087"/>
                    </a:lnTo>
                    <a:lnTo>
                      <a:pt x="6086" y="2084"/>
                    </a:lnTo>
                    <a:lnTo>
                      <a:pt x="6096" y="2084"/>
                    </a:lnTo>
                    <a:lnTo>
                      <a:pt x="6101" y="2082"/>
                    </a:lnTo>
                    <a:lnTo>
                      <a:pt x="6109" y="2082"/>
                    </a:lnTo>
                    <a:lnTo>
                      <a:pt x="6114" y="2080"/>
                    </a:lnTo>
                    <a:lnTo>
                      <a:pt x="6120" y="2080"/>
                    </a:lnTo>
                    <a:lnTo>
                      <a:pt x="6125" y="2079"/>
                    </a:lnTo>
                    <a:lnTo>
                      <a:pt x="6129" y="2079"/>
                    </a:lnTo>
                    <a:lnTo>
                      <a:pt x="6131" y="2079"/>
                    </a:lnTo>
                    <a:lnTo>
                      <a:pt x="6127" y="2080"/>
                    </a:lnTo>
                    <a:lnTo>
                      <a:pt x="6124" y="2084"/>
                    </a:lnTo>
                    <a:lnTo>
                      <a:pt x="6122" y="2090"/>
                    </a:lnTo>
                    <a:lnTo>
                      <a:pt x="6122" y="2093"/>
                    </a:lnTo>
                    <a:lnTo>
                      <a:pt x="6122" y="2097"/>
                    </a:lnTo>
                    <a:lnTo>
                      <a:pt x="6124" y="2100"/>
                    </a:lnTo>
                    <a:lnTo>
                      <a:pt x="6127" y="2106"/>
                    </a:lnTo>
                    <a:lnTo>
                      <a:pt x="6131" y="2110"/>
                    </a:lnTo>
                    <a:lnTo>
                      <a:pt x="6135" y="2113"/>
                    </a:lnTo>
                    <a:lnTo>
                      <a:pt x="6140" y="2118"/>
                    </a:lnTo>
                    <a:lnTo>
                      <a:pt x="6145" y="2121"/>
                    </a:lnTo>
                    <a:lnTo>
                      <a:pt x="6150" y="2123"/>
                    </a:lnTo>
                    <a:lnTo>
                      <a:pt x="6155" y="2126"/>
                    </a:lnTo>
                    <a:lnTo>
                      <a:pt x="6160" y="2128"/>
                    </a:lnTo>
                    <a:lnTo>
                      <a:pt x="6164" y="2128"/>
                    </a:lnTo>
                    <a:lnTo>
                      <a:pt x="6168" y="2130"/>
                    </a:lnTo>
                    <a:lnTo>
                      <a:pt x="6173" y="2130"/>
                    </a:lnTo>
                    <a:lnTo>
                      <a:pt x="6181" y="2133"/>
                    </a:lnTo>
                    <a:lnTo>
                      <a:pt x="6186" y="2134"/>
                    </a:lnTo>
                    <a:lnTo>
                      <a:pt x="6193" y="2138"/>
                    </a:lnTo>
                    <a:lnTo>
                      <a:pt x="6199" y="2141"/>
                    </a:lnTo>
                    <a:lnTo>
                      <a:pt x="6206" y="2143"/>
                    </a:lnTo>
                    <a:lnTo>
                      <a:pt x="6213" y="2145"/>
                    </a:lnTo>
                    <a:lnTo>
                      <a:pt x="6219" y="2146"/>
                    </a:lnTo>
                    <a:lnTo>
                      <a:pt x="6223" y="2143"/>
                    </a:lnTo>
                    <a:lnTo>
                      <a:pt x="6227" y="2141"/>
                    </a:lnTo>
                    <a:lnTo>
                      <a:pt x="6233" y="2140"/>
                    </a:lnTo>
                    <a:lnTo>
                      <a:pt x="6238" y="2140"/>
                    </a:lnTo>
                    <a:lnTo>
                      <a:pt x="6244" y="2140"/>
                    </a:lnTo>
                    <a:lnTo>
                      <a:pt x="6251" y="2140"/>
                    </a:lnTo>
                    <a:lnTo>
                      <a:pt x="6264" y="2140"/>
                    </a:lnTo>
                    <a:lnTo>
                      <a:pt x="6279" y="2141"/>
                    </a:lnTo>
                    <a:lnTo>
                      <a:pt x="6293" y="2143"/>
                    </a:lnTo>
                    <a:lnTo>
                      <a:pt x="6308" y="2145"/>
                    </a:lnTo>
                    <a:lnTo>
                      <a:pt x="6323" y="2146"/>
                    </a:lnTo>
                    <a:lnTo>
                      <a:pt x="6333" y="2146"/>
                    </a:lnTo>
                    <a:lnTo>
                      <a:pt x="6343" y="2145"/>
                    </a:lnTo>
                    <a:lnTo>
                      <a:pt x="6353" y="2143"/>
                    </a:lnTo>
                    <a:lnTo>
                      <a:pt x="6364" y="2141"/>
                    </a:lnTo>
                    <a:lnTo>
                      <a:pt x="6386" y="2136"/>
                    </a:lnTo>
                    <a:lnTo>
                      <a:pt x="6407" y="2133"/>
                    </a:lnTo>
                    <a:lnTo>
                      <a:pt x="6430" y="2126"/>
                    </a:lnTo>
                    <a:lnTo>
                      <a:pt x="6441" y="2126"/>
                    </a:lnTo>
                    <a:lnTo>
                      <a:pt x="6452" y="2125"/>
                    </a:lnTo>
                    <a:lnTo>
                      <a:pt x="6463" y="2125"/>
                    </a:lnTo>
                    <a:lnTo>
                      <a:pt x="6474" y="2125"/>
                    </a:lnTo>
                    <a:lnTo>
                      <a:pt x="6483" y="2126"/>
                    </a:lnTo>
                    <a:lnTo>
                      <a:pt x="6494" y="2130"/>
                    </a:lnTo>
                    <a:lnTo>
                      <a:pt x="6506" y="2130"/>
                    </a:lnTo>
                    <a:lnTo>
                      <a:pt x="6517" y="2133"/>
                    </a:lnTo>
                    <a:lnTo>
                      <a:pt x="6527" y="2134"/>
                    </a:lnTo>
                    <a:lnTo>
                      <a:pt x="6537" y="2138"/>
                    </a:lnTo>
                    <a:lnTo>
                      <a:pt x="6547" y="2141"/>
                    </a:lnTo>
                    <a:lnTo>
                      <a:pt x="6557" y="2143"/>
                    </a:lnTo>
                    <a:lnTo>
                      <a:pt x="6568" y="2145"/>
                    </a:lnTo>
                    <a:lnTo>
                      <a:pt x="6581" y="2146"/>
                    </a:lnTo>
                    <a:lnTo>
                      <a:pt x="6593" y="2145"/>
                    </a:lnTo>
                    <a:lnTo>
                      <a:pt x="6605" y="2143"/>
                    </a:lnTo>
                    <a:lnTo>
                      <a:pt x="6618" y="2141"/>
                    </a:lnTo>
                    <a:lnTo>
                      <a:pt x="6631" y="2138"/>
                    </a:lnTo>
                    <a:lnTo>
                      <a:pt x="6644" y="2134"/>
                    </a:lnTo>
                    <a:lnTo>
                      <a:pt x="6657" y="2133"/>
                    </a:lnTo>
                    <a:lnTo>
                      <a:pt x="6670" y="2130"/>
                    </a:lnTo>
                    <a:lnTo>
                      <a:pt x="6682" y="2130"/>
                    </a:lnTo>
                    <a:lnTo>
                      <a:pt x="6681" y="2126"/>
                    </a:lnTo>
                    <a:lnTo>
                      <a:pt x="6677" y="2123"/>
                    </a:lnTo>
                    <a:lnTo>
                      <a:pt x="6674" y="2118"/>
                    </a:lnTo>
                    <a:lnTo>
                      <a:pt x="6672" y="2110"/>
                    </a:lnTo>
                    <a:lnTo>
                      <a:pt x="6672" y="2105"/>
                    </a:lnTo>
                    <a:lnTo>
                      <a:pt x="6674" y="2100"/>
                    </a:lnTo>
                    <a:lnTo>
                      <a:pt x="6675" y="2095"/>
                    </a:lnTo>
                    <a:lnTo>
                      <a:pt x="6677" y="2093"/>
                    </a:lnTo>
                    <a:lnTo>
                      <a:pt x="6681" y="2092"/>
                    </a:lnTo>
                    <a:lnTo>
                      <a:pt x="6685" y="2090"/>
                    </a:lnTo>
                    <a:lnTo>
                      <a:pt x="6690" y="2090"/>
                    </a:lnTo>
                    <a:lnTo>
                      <a:pt x="6695" y="2092"/>
                    </a:lnTo>
                    <a:lnTo>
                      <a:pt x="6700" y="2095"/>
                    </a:lnTo>
                    <a:lnTo>
                      <a:pt x="6703" y="2097"/>
                    </a:lnTo>
                    <a:lnTo>
                      <a:pt x="6705" y="2100"/>
                    </a:lnTo>
                    <a:lnTo>
                      <a:pt x="6707" y="2105"/>
                    </a:lnTo>
                    <a:lnTo>
                      <a:pt x="6710" y="2108"/>
                    </a:lnTo>
                    <a:lnTo>
                      <a:pt x="6712" y="2112"/>
                    </a:lnTo>
                    <a:lnTo>
                      <a:pt x="6715" y="2118"/>
                    </a:lnTo>
                    <a:lnTo>
                      <a:pt x="6716" y="2123"/>
                    </a:lnTo>
                    <a:lnTo>
                      <a:pt x="6718" y="2130"/>
                    </a:lnTo>
                    <a:lnTo>
                      <a:pt x="6720" y="2134"/>
                    </a:lnTo>
                    <a:lnTo>
                      <a:pt x="6721" y="2138"/>
                    </a:lnTo>
                    <a:lnTo>
                      <a:pt x="6725" y="2145"/>
                    </a:lnTo>
                    <a:lnTo>
                      <a:pt x="6731" y="2151"/>
                    </a:lnTo>
                    <a:lnTo>
                      <a:pt x="6736" y="2154"/>
                    </a:lnTo>
                    <a:lnTo>
                      <a:pt x="6741" y="2156"/>
                    </a:lnTo>
                    <a:lnTo>
                      <a:pt x="6749" y="2158"/>
                    </a:lnTo>
                    <a:lnTo>
                      <a:pt x="6756" y="2158"/>
                    </a:lnTo>
                    <a:lnTo>
                      <a:pt x="6762" y="2158"/>
                    </a:lnTo>
                    <a:lnTo>
                      <a:pt x="6769" y="2156"/>
                    </a:lnTo>
                    <a:lnTo>
                      <a:pt x="6777" y="2154"/>
                    </a:lnTo>
                    <a:lnTo>
                      <a:pt x="6794" y="2151"/>
                    </a:lnTo>
                    <a:lnTo>
                      <a:pt x="6807" y="2149"/>
                    </a:lnTo>
                    <a:lnTo>
                      <a:pt x="6814" y="2146"/>
                    </a:lnTo>
                    <a:lnTo>
                      <a:pt x="6822" y="2146"/>
                    </a:lnTo>
                    <a:lnTo>
                      <a:pt x="6817" y="2143"/>
                    </a:lnTo>
                    <a:lnTo>
                      <a:pt x="6815" y="2141"/>
                    </a:lnTo>
                    <a:lnTo>
                      <a:pt x="6815" y="2138"/>
                    </a:lnTo>
                    <a:lnTo>
                      <a:pt x="6815" y="2136"/>
                    </a:lnTo>
                    <a:lnTo>
                      <a:pt x="6815" y="2134"/>
                    </a:lnTo>
                    <a:lnTo>
                      <a:pt x="6817" y="2133"/>
                    </a:lnTo>
                    <a:lnTo>
                      <a:pt x="6819" y="2130"/>
                    </a:lnTo>
                    <a:lnTo>
                      <a:pt x="6819" y="2128"/>
                    </a:lnTo>
                    <a:lnTo>
                      <a:pt x="6819" y="2126"/>
                    </a:lnTo>
                    <a:lnTo>
                      <a:pt x="6819" y="2125"/>
                    </a:lnTo>
                    <a:lnTo>
                      <a:pt x="6817" y="2123"/>
                    </a:lnTo>
                    <a:lnTo>
                      <a:pt x="6815" y="2121"/>
                    </a:lnTo>
                    <a:lnTo>
                      <a:pt x="6814" y="2118"/>
                    </a:lnTo>
                    <a:lnTo>
                      <a:pt x="6810" y="2115"/>
                    </a:lnTo>
                    <a:lnTo>
                      <a:pt x="6804" y="2112"/>
                    </a:lnTo>
                    <a:lnTo>
                      <a:pt x="6801" y="2110"/>
                    </a:lnTo>
                    <a:lnTo>
                      <a:pt x="6795" y="2108"/>
                    </a:lnTo>
                    <a:lnTo>
                      <a:pt x="6792" y="2106"/>
                    </a:lnTo>
                    <a:lnTo>
                      <a:pt x="6786" y="2105"/>
                    </a:lnTo>
                    <a:lnTo>
                      <a:pt x="6781" y="2105"/>
                    </a:lnTo>
                    <a:lnTo>
                      <a:pt x="6773" y="2106"/>
                    </a:lnTo>
                    <a:lnTo>
                      <a:pt x="6768" y="2106"/>
                    </a:lnTo>
                    <a:lnTo>
                      <a:pt x="6761" y="2108"/>
                    </a:lnTo>
                    <a:lnTo>
                      <a:pt x="6748" y="2112"/>
                    </a:lnTo>
                    <a:lnTo>
                      <a:pt x="6736" y="2118"/>
                    </a:lnTo>
                    <a:lnTo>
                      <a:pt x="6731" y="2120"/>
                    </a:lnTo>
                    <a:lnTo>
                      <a:pt x="6725" y="2123"/>
                    </a:lnTo>
                    <a:lnTo>
                      <a:pt x="6721" y="2126"/>
                    </a:lnTo>
                    <a:lnTo>
                      <a:pt x="6718" y="2130"/>
                    </a:lnTo>
                    <a:lnTo>
                      <a:pt x="6718" y="2118"/>
                    </a:lnTo>
                    <a:lnTo>
                      <a:pt x="6718" y="2112"/>
                    </a:lnTo>
                    <a:lnTo>
                      <a:pt x="6716" y="2106"/>
                    </a:lnTo>
                    <a:lnTo>
                      <a:pt x="6715" y="2100"/>
                    </a:lnTo>
                    <a:lnTo>
                      <a:pt x="6710" y="2097"/>
                    </a:lnTo>
                    <a:lnTo>
                      <a:pt x="6707" y="2095"/>
                    </a:lnTo>
                    <a:lnTo>
                      <a:pt x="6702" y="2095"/>
                    </a:lnTo>
                    <a:lnTo>
                      <a:pt x="6702" y="2092"/>
                    </a:lnTo>
                    <a:lnTo>
                      <a:pt x="6702" y="2088"/>
                    </a:lnTo>
                    <a:lnTo>
                      <a:pt x="6703" y="2087"/>
                    </a:lnTo>
                    <a:lnTo>
                      <a:pt x="6705" y="2082"/>
                    </a:lnTo>
                    <a:lnTo>
                      <a:pt x="6710" y="2077"/>
                    </a:lnTo>
                    <a:lnTo>
                      <a:pt x="6716" y="2073"/>
                    </a:lnTo>
                    <a:lnTo>
                      <a:pt x="6718" y="2072"/>
                    </a:lnTo>
                    <a:lnTo>
                      <a:pt x="6720" y="2072"/>
                    </a:lnTo>
                    <a:lnTo>
                      <a:pt x="6721" y="2072"/>
                    </a:lnTo>
                    <a:lnTo>
                      <a:pt x="6723" y="2072"/>
                    </a:lnTo>
                    <a:lnTo>
                      <a:pt x="6721" y="2073"/>
                    </a:lnTo>
                    <a:lnTo>
                      <a:pt x="6720" y="2075"/>
                    </a:lnTo>
                    <a:lnTo>
                      <a:pt x="6718" y="2079"/>
                    </a:lnTo>
                    <a:lnTo>
                      <a:pt x="6723" y="2077"/>
                    </a:lnTo>
                    <a:lnTo>
                      <a:pt x="6727" y="2077"/>
                    </a:lnTo>
                    <a:lnTo>
                      <a:pt x="6731" y="2077"/>
                    </a:lnTo>
                    <a:lnTo>
                      <a:pt x="6733" y="2075"/>
                    </a:lnTo>
                    <a:lnTo>
                      <a:pt x="6733" y="2073"/>
                    </a:lnTo>
                    <a:lnTo>
                      <a:pt x="6733" y="2072"/>
                    </a:lnTo>
                    <a:lnTo>
                      <a:pt x="6733" y="2069"/>
                    </a:lnTo>
                    <a:lnTo>
                      <a:pt x="6731" y="2067"/>
                    </a:lnTo>
                    <a:lnTo>
                      <a:pt x="6727" y="2062"/>
                    </a:lnTo>
                    <a:lnTo>
                      <a:pt x="6723" y="2057"/>
                    </a:lnTo>
                    <a:lnTo>
                      <a:pt x="6721" y="2052"/>
                    </a:lnTo>
                    <a:lnTo>
                      <a:pt x="6720" y="2049"/>
                    </a:lnTo>
                    <a:lnTo>
                      <a:pt x="6718" y="2047"/>
                    </a:lnTo>
                    <a:lnTo>
                      <a:pt x="6718" y="2044"/>
                    </a:lnTo>
                    <a:lnTo>
                      <a:pt x="6731" y="2044"/>
                    </a:lnTo>
                    <a:lnTo>
                      <a:pt x="6740" y="2044"/>
                    </a:lnTo>
                    <a:lnTo>
                      <a:pt x="6751" y="2044"/>
                    </a:lnTo>
                    <a:lnTo>
                      <a:pt x="6761" y="2044"/>
                    </a:lnTo>
                    <a:lnTo>
                      <a:pt x="6769" y="2044"/>
                    </a:lnTo>
                    <a:lnTo>
                      <a:pt x="6781" y="2044"/>
                    </a:lnTo>
                    <a:lnTo>
                      <a:pt x="6792" y="2044"/>
                    </a:lnTo>
                    <a:lnTo>
                      <a:pt x="6804" y="2044"/>
                    </a:lnTo>
                    <a:lnTo>
                      <a:pt x="6807" y="2044"/>
                    </a:lnTo>
                    <a:lnTo>
                      <a:pt x="6810" y="2042"/>
                    </a:lnTo>
                    <a:lnTo>
                      <a:pt x="6812" y="2039"/>
                    </a:lnTo>
                    <a:lnTo>
                      <a:pt x="6814" y="2038"/>
                    </a:lnTo>
                    <a:lnTo>
                      <a:pt x="6817" y="2033"/>
                    </a:lnTo>
                    <a:lnTo>
                      <a:pt x="6822" y="2027"/>
                    </a:lnTo>
                    <a:lnTo>
                      <a:pt x="6825" y="2019"/>
                    </a:lnTo>
                    <a:lnTo>
                      <a:pt x="6829" y="2014"/>
                    </a:lnTo>
                    <a:lnTo>
                      <a:pt x="6830" y="2013"/>
                    </a:lnTo>
                    <a:lnTo>
                      <a:pt x="6832" y="2011"/>
                    </a:lnTo>
                    <a:lnTo>
                      <a:pt x="6834" y="2008"/>
                    </a:lnTo>
                    <a:lnTo>
                      <a:pt x="6838" y="2008"/>
                    </a:lnTo>
                    <a:lnTo>
                      <a:pt x="6845" y="2011"/>
                    </a:lnTo>
                    <a:lnTo>
                      <a:pt x="6853" y="2013"/>
                    </a:lnTo>
                    <a:lnTo>
                      <a:pt x="6862" y="2014"/>
                    </a:lnTo>
                    <a:lnTo>
                      <a:pt x="6871" y="2018"/>
                    </a:lnTo>
                    <a:lnTo>
                      <a:pt x="6878" y="2021"/>
                    </a:lnTo>
                    <a:lnTo>
                      <a:pt x="6880" y="2021"/>
                    </a:lnTo>
                    <a:lnTo>
                      <a:pt x="6884" y="2023"/>
                    </a:lnTo>
                    <a:lnTo>
                      <a:pt x="6886" y="2025"/>
                    </a:lnTo>
                    <a:lnTo>
                      <a:pt x="6888" y="2025"/>
                    </a:lnTo>
                    <a:lnTo>
                      <a:pt x="6889" y="2025"/>
                    </a:lnTo>
                    <a:lnTo>
                      <a:pt x="6889" y="2027"/>
                    </a:lnTo>
                    <a:lnTo>
                      <a:pt x="6893" y="2027"/>
                    </a:lnTo>
                    <a:lnTo>
                      <a:pt x="6897" y="2027"/>
                    </a:lnTo>
                    <a:lnTo>
                      <a:pt x="6901" y="2029"/>
                    </a:lnTo>
                    <a:lnTo>
                      <a:pt x="6904" y="2031"/>
                    </a:lnTo>
                    <a:lnTo>
                      <a:pt x="6912" y="2036"/>
                    </a:lnTo>
                    <a:lnTo>
                      <a:pt x="6916" y="2039"/>
                    </a:lnTo>
                    <a:lnTo>
                      <a:pt x="6917" y="2044"/>
                    </a:lnTo>
                    <a:lnTo>
                      <a:pt x="6919" y="2047"/>
                    </a:lnTo>
                    <a:lnTo>
                      <a:pt x="6921" y="2049"/>
                    </a:lnTo>
                    <a:lnTo>
                      <a:pt x="6921" y="2052"/>
                    </a:lnTo>
                    <a:lnTo>
                      <a:pt x="6921" y="2054"/>
                    </a:lnTo>
                    <a:lnTo>
                      <a:pt x="6919" y="2059"/>
                    </a:lnTo>
                    <a:lnTo>
                      <a:pt x="6917" y="2059"/>
                    </a:lnTo>
                    <a:lnTo>
                      <a:pt x="6914" y="2060"/>
                    </a:lnTo>
                    <a:lnTo>
                      <a:pt x="6922" y="2060"/>
                    </a:lnTo>
                    <a:lnTo>
                      <a:pt x="6932" y="2060"/>
                    </a:lnTo>
                    <a:lnTo>
                      <a:pt x="6941" y="2060"/>
                    </a:lnTo>
                    <a:lnTo>
                      <a:pt x="6950" y="2060"/>
                    </a:lnTo>
                    <a:lnTo>
                      <a:pt x="6960" y="2060"/>
                    </a:lnTo>
                    <a:lnTo>
                      <a:pt x="6969" y="2060"/>
                    </a:lnTo>
                    <a:lnTo>
                      <a:pt x="6976" y="2060"/>
                    </a:lnTo>
                    <a:lnTo>
                      <a:pt x="6969" y="2066"/>
                    </a:lnTo>
                    <a:lnTo>
                      <a:pt x="6960" y="2072"/>
                    </a:lnTo>
                    <a:lnTo>
                      <a:pt x="6950" y="2075"/>
                    </a:lnTo>
                    <a:lnTo>
                      <a:pt x="6941" y="2079"/>
                    </a:lnTo>
                    <a:lnTo>
                      <a:pt x="6932" y="2080"/>
                    </a:lnTo>
                    <a:lnTo>
                      <a:pt x="6922" y="2084"/>
                    </a:lnTo>
                    <a:lnTo>
                      <a:pt x="6914" y="2090"/>
                    </a:lnTo>
                    <a:lnTo>
                      <a:pt x="6908" y="2095"/>
                    </a:lnTo>
                    <a:lnTo>
                      <a:pt x="6914" y="2093"/>
                    </a:lnTo>
                    <a:lnTo>
                      <a:pt x="6919" y="2092"/>
                    </a:lnTo>
                    <a:lnTo>
                      <a:pt x="6926" y="2090"/>
                    </a:lnTo>
                    <a:lnTo>
                      <a:pt x="6932" y="2087"/>
                    </a:lnTo>
                    <a:lnTo>
                      <a:pt x="6939" y="2082"/>
                    </a:lnTo>
                    <a:lnTo>
                      <a:pt x="6945" y="2080"/>
                    </a:lnTo>
                    <a:lnTo>
                      <a:pt x="6952" y="2079"/>
                    </a:lnTo>
                    <a:lnTo>
                      <a:pt x="6958" y="2079"/>
                    </a:lnTo>
                    <a:lnTo>
                      <a:pt x="6965" y="2072"/>
                    </a:lnTo>
                    <a:lnTo>
                      <a:pt x="6975" y="2067"/>
                    </a:lnTo>
                    <a:lnTo>
                      <a:pt x="6983" y="2066"/>
                    </a:lnTo>
                    <a:lnTo>
                      <a:pt x="6995" y="2062"/>
                    </a:lnTo>
                    <a:lnTo>
                      <a:pt x="7006" y="2062"/>
                    </a:lnTo>
                    <a:lnTo>
                      <a:pt x="7019" y="2060"/>
                    </a:lnTo>
                    <a:lnTo>
                      <a:pt x="7039" y="2060"/>
                    </a:lnTo>
                    <a:lnTo>
                      <a:pt x="7031" y="2062"/>
                    </a:lnTo>
                    <a:lnTo>
                      <a:pt x="7024" y="2064"/>
                    </a:lnTo>
                    <a:lnTo>
                      <a:pt x="7019" y="2066"/>
                    </a:lnTo>
                    <a:lnTo>
                      <a:pt x="7013" y="2069"/>
                    </a:lnTo>
                    <a:lnTo>
                      <a:pt x="7006" y="2073"/>
                    </a:lnTo>
                    <a:lnTo>
                      <a:pt x="7000" y="2077"/>
                    </a:lnTo>
                    <a:lnTo>
                      <a:pt x="6993" y="2082"/>
                    </a:lnTo>
                    <a:lnTo>
                      <a:pt x="6980" y="2092"/>
                    </a:lnTo>
                    <a:lnTo>
                      <a:pt x="6967" y="2105"/>
                    </a:lnTo>
                    <a:lnTo>
                      <a:pt x="6954" y="2118"/>
                    </a:lnTo>
                    <a:lnTo>
                      <a:pt x="6941" y="2130"/>
                    </a:lnTo>
                    <a:lnTo>
                      <a:pt x="6934" y="2136"/>
                    </a:lnTo>
                    <a:lnTo>
                      <a:pt x="6926" y="2141"/>
                    </a:lnTo>
                    <a:lnTo>
                      <a:pt x="6917" y="2149"/>
                    </a:lnTo>
                    <a:lnTo>
                      <a:pt x="6906" y="2154"/>
                    </a:lnTo>
                    <a:lnTo>
                      <a:pt x="6897" y="2161"/>
                    </a:lnTo>
                    <a:lnTo>
                      <a:pt x="6888" y="2167"/>
                    </a:lnTo>
                    <a:lnTo>
                      <a:pt x="6880" y="2174"/>
                    </a:lnTo>
                    <a:lnTo>
                      <a:pt x="6873" y="2182"/>
                    </a:lnTo>
                    <a:lnTo>
                      <a:pt x="6875" y="2184"/>
                    </a:lnTo>
                    <a:lnTo>
                      <a:pt x="6878" y="2186"/>
                    </a:lnTo>
                    <a:lnTo>
                      <a:pt x="6884" y="2187"/>
                    </a:lnTo>
                    <a:lnTo>
                      <a:pt x="6888" y="2189"/>
                    </a:lnTo>
                    <a:lnTo>
                      <a:pt x="6891" y="2189"/>
                    </a:lnTo>
                    <a:lnTo>
                      <a:pt x="6895" y="2187"/>
                    </a:lnTo>
                    <a:lnTo>
                      <a:pt x="6897" y="2187"/>
                    </a:lnTo>
                    <a:lnTo>
                      <a:pt x="6901" y="2186"/>
                    </a:lnTo>
                    <a:lnTo>
                      <a:pt x="6904" y="2184"/>
                    </a:lnTo>
                    <a:lnTo>
                      <a:pt x="6908" y="2182"/>
                    </a:lnTo>
                    <a:lnTo>
                      <a:pt x="6901" y="2187"/>
                    </a:lnTo>
                    <a:lnTo>
                      <a:pt x="6895" y="2191"/>
                    </a:lnTo>
                    <a:lnTo>
                      <a:pt x="6888" y="2195"/>
                    </a:lnTo>
                    <a:lnTo>
                      <a:pt x="6884" y="2199"/>
                    </a:lnTo>
                    <a:lnTo>
                      <a:pt x="6878" y="2202"/>
                    </a:lnTo>
                    <a:lnTo>
                      <a:pt x="6875" y="2206"/>
                    </a:lnTo>
                    <a:lnTo>
                      <a:pt x="6873" y="2210"/>
                    </a:lnTo>
                    <a:lnTo>
                      <a:pt x="6873" y="2215"/>
                    </a:lnTo>
                    <a:lnTo>
                      <a:pt x="6876" y="2215"/>
                    </a:lnTo>
                    <a:lnTo>
                      <a:pt x="6880" y="2214"/>
                    </a:lnTo>
                    <a:lnTo>
                      <a:pt x="6884" y="2212"/>
                    </a:lnTo>
                    <a:lnTo>
                      <a:pt x="6888" y="2210"/>
                    </a:lnTo>
                    <a:lnTo>
                      <a:pt x="6897" y="2206"/>
                    </a:lnTo>
                    <a:lnTo>
                      <a:pt x="6906" y="2202"/>
                    </a:lnTo>
                    <a:lnTo>
                      <a:pt x="6912" y="2200"/>
                    </a:lnTo>
                    <a:lnTo>
                      <a:pt x="6917" y="2200"/>
                    </a:lnTo>
                    <a:lnTo>
                      <a:pt x="6921" y="2200"/>
                    </a:lnTo>
                    <a:lnTo>
                      <a:pt x="6926" y="2200"/>
                    </a:lnTo>
                    <a:lnTo>
                      <a:pt x="6930" y="2202"/>
                    </a:lnTo>
                    <a:lnTo>
                      <a:pt x="6934" y="2206"/>
                    </a:lnTo>
                    <a:lnTo>
                      <a:pt x="6937" y="2210"/>
                    </a:lnTo>
                    <a:lnTo>
                      <a:pt x="6941" y="2215"/>
                    </a:lnTo>
                    <a:lnTo>
                      <a:pt x="6929" y="2215"/>
                    </a:lnTo>
                    <a:lnTo>
                      <a:pt x="6922" y="2217"/>
                    </a:lnTo>
                    <a:lnTo>
                      <a:pt x="6916" y="2217"/>
                    </a:lnTo>
                    <a:lnTo>
                      <a:pt x="6909" y="2219"/>
                    </a:lnTo>
                    <a:lnTo>
                      <a:pt x="6902" y="2222"/>
                    </a:lnTo>
                    <a:lnTo>
                      <a:pt x="6897" y="2227"/>
                    </a:lnTo>
                    <a:lnTo>
                      <a:pt x="6889" y="2232"/>
                    </a:lnTo>
                    <a:lnTo>
                      <a:pt x="6897" y="2232"/>
                    </a:lnTo>
                    <a:lnTo>
                      <a:pt x="6902" y="2230"/>
                    </a:lnTo>
                    <a:lnTo>
                      <a:pt x="6909" y="2228"/>
                    </a:lnTo>
                    <a:lnTo>
                      <a:pt x="6916" y="2227"/>
                    </a:lnTo>
                    <a:lnTo>
                      <a:pt x="6922" y="2225"/>
                    </a:lnTo>
                    <a:lnTo>
                      <a:pt x="6924" y="2225"/>
                    </a:lnTo>
                    <a:lnTo>
                      <a:pt x="6929" y="2225"/>
                    </a:lnTo>
                    <a:lnTo>
                      <a:pt x="6932" y="2227"/>
                    </a:lnTo>
                    <a:lnTo>
                      <a:pt x="6936" y="2228"/>
                    </a:lnTo>
                    <a:lnTo>
                      <a:pt x="6937" y="2230"/>
                    </a:lnTo>
                    <a:lnTo>
                      <a:pt x="6941" y="2232"/>
                    </a:lnTo>
                    <a:lnTo>
                      <a:pt x="6941" y="2240"/>
                    </a:lnTo>
                    <a:lnTo>
                      <a:pt x="6937" y="2245"/>
                    </a:lnTo>
                    <a:lnTo>
                      <a:pt x="6936" y="2250"/>
                    </a:lnTo>
                    <a:lnTo>
                      <a:pt x="6930" y="2256"/>
                    </a:lnTo>
                    <a:lnTo>
                      <a:pt x="6924" y="2261"/>
                    </a:lnTo>
                    <a:lnTo>
                      <a:pt x="6919" y="2263"/>
                    </a:lnTo>
                    <a:lnTo>
                      <a:pt x="6914" y="2267"/>
                    </a:lnTo>
                    <a:lnTo>
                      <a:pt x="6919" y="2265"/>
                    </a:lnTo>
                    <a:lnTo>
                      <a:pt x="6924" y="2261"/>
                    </a:lnTo>
                    <a:lnTo>
                      <a:pt x="6930" y="2260"/>
                    </a:lnTo>
                    <a:lnTo>
                      <a:pt x="6936" y="2256"/>
                    </a:lnTo>
                    <a:lnTo>
                      <a:pt x="6939" y="2250"/>
                    </a:lnTo>
                    <a:lnTo>
                      <a:pt x="6950" y="2241"/>
                    </a:lnTo>
                    <a:lnTo>
                      <a:pt x="6960" y="2232"/>
                    </a:lnTo>
                    <a:lnTo>
                      <a:pt x="6965" y="2228"/>
                    </a:lnTo>
                    <a:lnTo>
                      <a:pt x="6969" y="2222"/>
                    </a:lnTo>
                    <a:lnTo>
                      <a:pt x="6975" y="2220"/>
                    </a:lnTo>
                    <a:lnTo>
                      <a:pt x="6980" y="2217"/>
                    </a:lnTo>
                    <a:lnTo>
                      <a:pt x="6987" y="2215"/>
                    </a:lnTo>
                    <a:lnTo>
                      <a:pt x="6993" y="2215"/>
                    </a:lnTo>
                    <a:lnTo>
                      <a:pt x="6990" y="2212"/>
                    </a:lnTo>
                    <a:lnTo>
                      <a:pt x="6987" y="2210"/>
                    </a:lnTo>
                    <a:lnTo>
                      <a:pt x="6987" y="2207"/>
                    </a:lnTo>
                    <a:lnTo>
                      <a:pt x="6985" y="2206"/>
                    </a:lnTo>
                    <a:lnTo>
                      <a:pt x="6985" y="2202"/>
                    </a:lnTo>
                    <a:lnTo>
                      <a:pt x="6987" y="2199"/>
                    </a:lnTo>
                    <a:lnTo>
                      <a:pt x="6990" y="2195"/>
                    </a:lnTo>
                    <a:lnTo>
                      <a:pt x="6991" y="2191"/>
                    </a:lnTo>
                    <a:lnTo>
                      <a:pt x="6993" y="2187"/>
                    </a:lnTo>
                    <a:lnTo>
                      <a:pt x="6993" y="2182"/>
                    </a:lnTo>
                    <a:lnTo>
                      <a:pt x="6996" y="2179"/>
                    </a:lnTo>
                    <a:lnTo>
                      <a:pt x="6998" y="2174"/>
                    </a:lnTo>
                    <a:lnTo>
                      <a:pt x="6998" y="2173"/>
                    </a:lnTo>
                    <a:lnTo>
                      <a:pt x="7000" y="2171"/>
                    </a:lnTo>
                    <a:lnTo>
                      <a:pt x="7000" y="2169"/>
                    </a:lnTo>
                    <a:lnTo>
                      <a:pt x="7000" y="2167"/>
                    </a:lnTo>
                    <a:lnTo>
                      <a:pt x="6998" y="2164"/>
                    </a:lnTo>
                    <a:lnTo>
                      <a:pt x="6996" y="2160"/>
                    </a:lnTo>
                    <a:lnTo>
                      <a:pt x="6995" y="2156"/>
                    </a:lnTo>
                    <a:lnTo>
                      <a:pt x="6993" y="2153"/>
                    </a:lnTo>
                    <a:lnTo>
                      <a:pt x="6993" y="2146"/>
                    </a:lnTo>
                    <a:lnTo>
                      <a:pt x="6993" y="2143"/>
                    </a:lnTo>
                    <a:lnTo>
                      <a:pt x="6996" y="2140"/>
                    </a:lnTo>
                    <a:lnTo>
                      <a:pt x="7000" y="2136"/>
                    </a:lnTo>
                    <a:lnTo>
                      <a:pt x="7004" y="2130"/>
                    </a:lnTo>
                    <a:lnTo>
                      <a:pt x="7010" y="2126"/>
                    </a:lnTo>
                    <a:lnTo>
                      <a:pt x="7015" y="2123"/>
                    </a:lnTo>
                    <a:lnTo>
                      <a:pt x="7023" y="2120"/>
                    </a:lnTo>
                    <a:lnTo>
                      <a:pt x="7029" y="2113"/>
                    </a:lnTo>
                    <a:lnTo>
                      <a:pt x="7044" y="2106"/>
                    </a:lnTo>
                    <a:lnTo>
                      <a:pt x="7052" y="2103"/>
                    </a:lnTo>
                    <a:lnTo>
                      <a:pt x="7057" y="2100"/>
                    </a:lnTo>
                    <a:lnTo>
                      <a:pt x="7065" y="2099"/>
                    </a:lnTo>
                    <a:lnTo>
                      <a:pt x="7070" y="2097"/>
                    </a:lnTo>
                    <a:lnTo>
                      <a:pt x="7074" y="2095"/>
                    </a:lnTo>
                    <a:lnTo>
                      <a:pt x="7080" y="2095"/>
                    </a:lnTo>
                    <a:lnTo>
                      <a:pt x="7098" y="2093"/>
                    </a:lnTo>
                    <a:lnTo>
                      <a:pt x="7118" y="2092"/>
                    </a:lnTo>
                    <a:lnTo>
                      <a:pt x="7136" y="2088"/>
                    </a:lnTo>
                    <a:lnTo>
                      <a:pt x="7157" y="2084"/>
                    </a:lnTo>
                    <a:lnTo>
                      <a:pt x="7176" y="2079"/>
                    </a:lnTo>
                    <a:lnTo>
                      <a:pt x="7196" y="2073"/>
                    </a:lnTo>
                    <a:lnTo>
                      <a:pt x="7235" y="2060"/>
                    </a:lnTo>
                    <a:lnTo>
                      <a:pt x="7253" y="2052"/>
                    </a:lnTo>
                    <a:lnTo>
                      <a:pt x="7271" y="2046"/>
                    </a:lnTo>
                    <a:lnTo>
                      <a:pt x="7291" y="2036"/>
                    </a:lnTo>
                    <a:lnTo>
                      <a:pt x="7311" y="2027"/>
                    </a:lnTo>
                    <a:lnTo>
                      <a:pt x="7331" y="2016"/>
                    </a:lnTo>
                    <a:lnTo>
                      <a:pt x="7349" y="2006"/>
                    </a:lnTo>
                    <a:lnTo>
                      <a:pt x="7364" y="2001"/>
                    </a:lnTo>
                    <a:lnTo>
                      <a:pt x="7364" y="2001"/>
                    </a:lnTo>
                    <a:lnTo>
                      <a:pt x="7360" y="1998"/>
                    </a:lnTo>
                    <a:lnTo>
                      <a:pt x="7355" y="1992"/>
                    </a:lnTo>
                    <a:lnTo>
                      <a:pt x="7358" y="1992"/>
                    </a:lnTo>
                    <a:lnTo>
                      <a:pt x="7362" y="1990"/>
                    </a:lnTo>
                    <a:lnTo>
                      <a:pt x="7365" y="1988"/>
                    </a:lnTo>
                    <a:lnTo>
                      <a:pt x="7371" y="1986"/>
                    </a:lnTo>
                    <a:lnTo>
                      <a:pt x="7377" y="1983"/>
                    </a:lnTo>
                    <a:lnTo>
                      <a:pt x="7382" y="1981"/>
                    </a:lnTo>
                    <a:lnTo>
                      <a:pt x="7393" y="1972"/>
                    </a:lnTo>
                    <a:lnTo>
                      <a:pt x="7397" y="1968"/>
                    </a:lnTo>
                    <a:lnTo>
                      <a:pt x="7401" y="1964"/>
                    </a:lnTo>
                    <a:lnTo>
                      <a:pt x="7405" y="1960"/>
                    </a:lnTo>
                    <a:lnTo>
                      <a:pt x="7406" y="1955"/>
                    </a:lnTo>
                    <a:lnTo>
                      <a:pt x="7408" y="1952"/>
                    </a:lnTo>
                    <a:lnTo>
                      <a:pt x="7408" y="1947"/>
                    </a:lnTo>
                    <a:lnTo>
                      <a:pt x="7408" y="1944"/>
                    </a:lnTo>
                    <a:lnTo>
                      <a:pt x="7406" y="1940"/>
                    </a:lnTo>
                    <a:lnTo>
                      <a:pt x="7403" y="1939"/>
                    </a:lnTo>
                    <a:lnTo>
                      <a:pt x="7398" y="1937"/>
                    </a:lnTo>
                    <a:lnTo>
                      <a:pt x="7395" y="1937"/>
                    </a:lnTo>
                    <a:lnTo>
                      <a:pt x="7390" y="1937"/>
                    </a:lnTo>
                    <a:lnTo>
                      <a:pt x="7386" y="1937"/>
                    </a:lnTo>
                    <a:lnTo>
                      <a:pt x="7382" y="1939"/>
                    </a:lnTo>
                    <a:lnTo>
                      <a:pt x="7377" y="1942"/>
                    </a:lnTo>
                    <a:lnTo>
                      <a:pt x="7373" y="1944"/>
                    </a:lnTo>
                    <a:lnTo>
                      <a:pt x="7365" y="1952"/>
                    </a:lnTo>
                    <a:lnTo>
                      <a:pt x="7362" y="1955"/>
                    </a:lnTo>
                    <a:lnTo>
                      <a:pt x="7360" y="1960"/>
                    </a:lnTo>
                    <a:lnTo>
                      <a:pt x="7357" y="1964"/>
                    </a:lnTo>
                    <a:lnTo>
                      <a:pt x="7355" y="1968"/>
                    </a:lnTo>
                    <a:lnTo>
                      <a:pt x="7355" y="1970"/>
                    </a:lnTo>
                    <a:lnTo>
                      <a:pt x="7357" y="1964"/>
                    </a:lnTo>
                    <a:lnTo>
                      <a:pt x="7360" y="1962"/>
                    </a:lnTo>
                    <a:lnTo>
                      <a:pt x="7364" y="1959"/>
                    </a:lnTo>
                    <a:lnTo>
                      <a:pt x="7370" y="1959"/>
                    </a:lnTo>
                    <a:lnTo>
                      <a:pt x="7375" y="1957"/>
                    </a:lnTo>
                    <a:lnTo>
                      <a:pt x="7388" y="1957"/>
                    </a:lnTo>
                    <a:lnTo>
                      <a:pt x="7375" y="1964"/>
                    </a:lnTo>
                    <a:lnTo>
                      <a:pt x="7360" y="1970"/>
                    </a:lnTo>
                    <a:lnTo>
                      <a:pt x="7344" y="1975"/>
                    </a:lnTo>
                    <a:lnTo>
                      <a:pt x="7329" y="1978"/>
                    </a:lnTo>
                    <a:lnTo>
                      <a:pt x="7319" y="1981"/>
                    </a:lnTo>
                    <a:lnTo>
                      <a:pt x="7312" y="1981"/>
                    </a:lnTo>
                    <a:lnTo>
                      <a:pt x="7304" y="1983"/>
                    </a:lnTo>
                    <a:lnTo>
                      <a:pt x="7296" y="1983"/>
                    </a:lnTo>
                    <a:lnTo>
                      <a:pt x="7288" y="1981"/>
                    </a:lnTo>
                    <a:lnTo>
                      <a:pt x="7281" y="1978"/>
                    </a:lnTo>
                    <a:lnTo>
                      <a:pt x="7275" y="1977"/>
                    </a:lnTo>
                    <a:lnTo>
                      <a:pt x="7268" y="1975"/>
                    </a:lnTo>
                    <a:lnTo>
                      <a:pt x="7270" y="1973"/>
                    </a:lnTo>
                    <a:lnTo>
                      <a:pt x="7271" y="1972"/>
                    </a:lnTo>
                    <a:lnTo>
                      <a:pt x="7273" y="1970"/>
                    </a:lnTo>
                    <a:lnTo>
                      <a:pt x="7278" y="1966"/>
                    </a:lnTo>
                    <a:lnTo>
                      <a:pt x="7279" y="1964"/>
                    </a:lnTo>
                    <a:lnTo>
                      <a:pt x="7288" y="1957"/>
                    </a:lnTo>
                    <a:lnTo>
                      <a:pt x="7296" y="1952"/>
                    </a:lnTo>
                    <a:lnTo>
                      <a:pt x="7304" y="1945"/>
                    </a:lnTo>
                    <a:lnTo>
                      <a:pt x="7309" y="1944"/>
                    </a:lnTo>
                    <a:lnTo>
                      <a:pt x="7312" y="1942"/>
                    </a:lnTo>
                    <a:lnTo>
                      <a:pt x="7316" y="1940"/>
                    </a:lnTo>
                    <a:lnTo>
                      <a:pt x="7319" y="1940"/>
                    </a:lnTo>
                    <a:lnTo>
                      <a:pt x="7327" y="1940"/>
                    </a:lnTo>
                    <a:lnTo>
                      <a:pt x="7334" y="1939"/>
                    </a:lnTo>
                    <a:lnTo>
                      <a:pt x="7344" y="1935"/>
                    </a:lnTo>
                    <a:lnTo>
                      <a:pt x="7355" y="1931"/>
                    </a:lnTo>
                    <a:lnTo>
                      <a:pt x="7364" y="1929"/>
                    </a:lnTo>
                    <a:lnTo>
                      <a:pt x="7373" y="1925"/>
                    </a:lnTo>
                    <a:lnTo>
                      <a:pt x="7380" y="1924"/>
                    </a:lnTo>
                    <a:lnTo>
                      <a:pt x="7388" y="1924"/>
                    </a:lnTo>
                    <a:lnTo>
                      <a:pt x="7388" y="1922"/>
                    </a:lnTo>
                    <a:lnTo>
                      <a:pt x="7386" y="1920"/>
                    </a:lnTo>
                    <a:lnTo>
                      <a:pt x="7382" y="1918"/>
                    </a:lnTo>
                    <a:lnTo>
                      <a:pt x="7380" y="1914"/>
                    </a:lnTo>
                    <a:lnTo>
                      <a:pt x="7377" y="1911"/>
                    </a:lnTo>
                    <a:lnTo>
                      <a:pt x="7373" y="1909"/>
                    </a:lnTo>
                    <a:lnTo>
                      <a:pt x="7371" y="1907"/>
                    </a:lnTo>
                    <a:lnTo>
                      <a:pt x="7375" y="1899"/>
                    </a:lnTo>
                    <a:lnTo>
                      <a:pt x="7380" y="1894"/>
                    </a:lnTo>
                    <a:lnTo>
                      <a:pt x="7386" y="1891"/>
                    </a:lnTo>
                    <a:lnTo>
                      <a:pt x="7391" y="1886"/>
                    </a:lnTo>
                    <a:lnTo>
                      <a:pt x="7398" y="1883"/>
                    </a:lnTo>
                    <a:lnTo>
                      <a:pt x="7406" y="1879"/>
                    </a:lnTo>
                    <a:lnTo>
                      <a:pt x="7416" y="1878"/>
                    </a:lnTo>
                    <a:lnTo>
                      <a:pt x="7423" y="1876"/>
                    </a:lnTo>
                    <a:lnTo>
                      <a:pt x="7439" y="1873"/>
                    </a:lnTo>
                    <a:lnTo>
                      <a:pt x="7447" y="1871"/>
                    </a:lnTo>
                    <a:lnTo>
                      <a:pt x="7452" y="1871"/>
                    </a:lnTo>
                    <a:lnTo>
                      <a:pt x="7459" y="1871"/>
                    </a:lnTo>
                    <a:lnTo>
                      <a:pt x="7465" y="1871"/>
                    </a:lnTo>
                    <a:lnTo>
                      <a:pt x="7471" y="1871"/>
                    </a:lnTo>
                    <a:lnTo>
                      <a:pt x="7474" y="1871"/>
                    </a:lnTo>
                    <a:lnTo>
                      <a:pt x="7467" y="1878"/>
                    </a:lnTo>
                    <a:lnTo>
                      <a:pt x="7458" y="1881"/>
                    </a:lnTo>
                    <a:lnTo>
                      <a:pt x="7451" y="1885"/>
                    </a:lnTo>
                    <a:lnTo>
                      <a:pt x="7441" y="1888"/>
                    </a:lnTo>
                    <a:lnTo>
                      <a:pt x="7434" y="1892"/>
                    </a:lnTo>
                    <a:lnTo>
                      <a:pt x="7431" y="1894"/>
                    </a:lnTo>
                    <a:lnTo>
                      <a:pt x="7428" y="1896"/>
                    </a:lnTo>
                    <a:lnTo>
                      <a:pt x="7426" y="1898"/>
                    </a:lnTo>
                    <a:lnTo>
                      <a:pt x="7425" y="1899"/>
                    </a:lnTo>
                    <a:lnTo>
                      <a:pt x="7423" y="1903"/>
                    </a:lnTo>
                    <a:lnTo>
                      <a:pt x="7423" y="1907"/>
                    </a:lnTo>
                    <a:lnTo>
                      <a:pt x="7431" y="1906"/>
                    </a:lnTo>
                    <a:lnTo>
                      <a:pt x="7438" y="1903"/>
                    </a:lnTo>
                    <a:lnTo>
                      <a:pt x="7447" y="1901"/>
                    </a:lnTo>
                    <a:lnTo>
                      <a:pt x="7458" y="1898"/>
                    </a:lnTo>
                    <a:lnTo>
                      <a:pt x="7467" y="1894"/>
                    </a:lnTo>
                    <a:lnTo>
                      <a:pt x="7477" y="1892"/>
                    </a:lnTo>
                    <a:lnTo>
                      <a:pt x="7484" y="1888"/>
                    </a:lnTo>
                    <a:lnTo>
                      <a:pt x="7480" y="1888"/>
                    </a:lnTo>
                    <a:lnTo>
                      <a:pt x="7484" y="1885"/>
                    </a:lnTo>
                    <a:lnTo>
                      <a:pt x="7487" y="1883"/>
                    </a:lnTo>
                    <a:lnTo>
                      <a:pt x="7489" y="1878"/>
                    </a:lnTo>
                    <a:lnTo>
                      <a:pt x="7492" y="1871"/>
                    </a:lnTo>
                    <a:lnTo>
                      <a:pt x="7492" y="1866"/>
                    </a:lnTo>
                    <a:lnTo>
                      <a:pt x="7492" y="1855"/>
                    </a:lnTo>
                    <a:lnTo>
                      <a:pt x="7484" y="1855"/>
                    </a:lnTo>
                    <a:lnTo>
                      <a:pt x="7477" y="1857"/>
                    </a:lnTo>
                    <a:lnTo>
                      <a:pt x="7467" y="1858"/>
                    </a:lnTo>
                    <a:lnTo>
                      <a:pt x="7458" y="1863"/>
                    </a:lnTo>
                    <a:lnTo>
                      <a:pt x="7447" y="1866"/>
                    </a:lnTo>
                    <a:lnTo>
                      <a:pt x="7438" y="1868"/>
                    </a:lnTo>
                    <a:lnTo>
                      <a:pt x="7431" y="1870"/>
                    </a:lnTo>
                    <a:lnTo>
                      <a:pt x="7423" y="1871"/>
                    </a:lnTo>
                    <a:lnTo>
                      <a:pt x="7416" y="1870"/>
                    </a:lnTo>
                    <a:lnTo>
                      <a:pt x="7410" y="1868"/>
                    </a:lnTo>
                    <a:lnTo>
                      <a:pt x="7405" y="1865"/>
                    </a:lnTo>
                    <a:lnTo>
                      <a:pt x="7398" y="1861"/>
                    </a:lnTo>
                    <a:lnTo>
                      <a:pt x="7395" y="1855"/>
                    </a:lnTo>
                    <a:lnTo>
                      <a:pt x="7391" y="1850"/>
                    </a:lnTo>
                    <a:lnTo>
                      <a:pt x="7390" y="1845"/>
                    </a:lnTo>
                    <a:lnTo>
                      <a:pt x="7388" y="1837"/>
                    </a:lnTo>
                    <a:lnTo>
                      <a:pt x="7380" y="1842"/>
                    </a:lnTo>
                    <a:lnTo>
                      <a:pt x="7373" y="1846"/>
                    </a:lnTo>
                    <a:lnTo>
                      <a:pt x="7364" y="1850"/>
                    </a:lnTo>
                    <a:lnTo>
                      <a:pt x="7355" y="1850"/>
                    </a:lnTo>
                    <a:lnTo>
                      <a:pt x="7344" y="1850"/>
                    </a:lnTo>
                    <a:lnTo>
                      <a:pt x="7334" y="1846"/>
                    </a:lnTo>
                    <a:lnTo>
                      <a:pt x="7327" y="1842"/>
                    </a:lnTo>
                    <a:lnTo>
                      <a:pt x="7319" y="1837"/>
                    </a:lnTo>
                    <a:lnTo>
                      <a:pt x="7314" y="1837"/>
                    </a:lnTo>
                    <a:lnTo>
                      <a:pt x="7311" y="1835"/>
                    </a:lnTo>
                    <a:lnTo>
                      <a:pt x="7306" y="1832"/>
                    </a:lnTo>
                    <a:lnTo>
                      <a:pt x="7303" y="1830"/>
                    </a:lnTo>
                    <a:lnTo>
                      <a:pt x="7299" y="1825"/>
                    </a:lnTo>
                    <a:lnTo>
                      <a:pt x="7296" y="1822"/>
                    </a:lnTo>
                    <a:lnTo>
                      <a:pt x="7290" y="1820"/>
                    </a:lnTo>
                    <a:lnTo>
                      <a:pt x="7284" y="1820"/>
                    </a:lnTo>
                    <a:lnTo>
                      <a:pt x="7271" y="1820"/>
                    </a:lnTo>
                    <a:lnTo>
                      <a:pt x="7266" y="1818"/>
                    </a:lnTo>
                    <a:lnTo>
                      <a:pt x="7263" y="1818"/>
                    </a:lnTo>
                    <a:lnTo>
                      <a:pt x="7257" y="1817"/>
                    </a:lnTo>
                    <a:lnTo>
                      <a:pt x="7253" y="1812"/>
                    </a:lnTo>
                    <a:lnTo>
                      <a:pt x="7251" y="1809"/>
                    </a:lnTo>
                    <a:lnTo>
                      <a:pt x="7251" y="1804"/>
                    </a:lnTo>
                    <a:lnTo>
                      <a:pt x="7251" y="1802"/>
                    </a:lnTo>
                    <a:lnTo>
                      <a:pt x="7251" y="1800"/>
                    </a:lnTo>
                    <a:lnTo>
                      <a:pt x="7251" y="1797"/>
                    </a:lnTo>
                    <a:lnTo>
                      <a:pt x="7251" y="1796"/>
                    </a:lnTo>
                    <a:lnTo>
                      <a:pt x="7251" y="1791"/>
                    </a:lnTo>
                    <a:lnTo>
                      <a:pt x="7251" y="1785"/>
                    </a:lnTo>
                    <a:lnTo>
                      <a:pt x="7245" y="1785"/>
                    </a:lnTo>
                    <a:lnTo>
                      <a:pt x="7240" y="1784"/>
                    </a:lnTo>
                    <a:lnTo>
                      <a:pt x="7238" y="1781"/>
                    </a:lnTo>
                    <a:lnTo>
                      <a:pt x="7237" y="1779"/>
                    </a:lnTo>
                    <a:lnTo>
                      <a:pt x="7237" y="1778"/>
                    </a:lnTo>
                    <a:lnTo>
                      <a:pt x="7237" y="1774"/>
                    </a:lnTo>
                    <a:lnTo>
                      <a:pt x="7238" y="1771"/>
                    </a:lnTo>
                    <a:lnTo>
                      <a:pt x="7240" y="1766"/>
                    </a:lnTo>
                    <a:lnTo>
                      <a:pt x="7242" y="1763"/>
                    </a:lnTo>
                    <a:lnTo>
                      <a:pt x="7245" y="1758"/>
                    </a:lnTo>
                    <a:lnTo>
                      <a:pt x="7253" y="1750"/>
                    </a:lnTo>
                    <a:lnTo>
                      <a:pt x="7260" y="1741"/>
                    </a:lnTo>
                    <a:lnTo>
                      <a:pt x="7268" y="1733"/>
                    </a:lnTo>
                    <a:lnTo>
                      <a:pt x="7294" y="1720"/>
                    </a:lnTo>
                    <a:lnTo>
                      <a:pt x="7309" y="1715"/>
                    </a:lnTo>
                    <a:lnTo>
                      <a:pt x="7321" y="1711"/>
                    </a:lnTo>
                    <a:lnTo>
                      <a:pt x="7336" y="1705"/>
                    </a:lnTo>
                    <a:lnTo>
                      <a:pt x="7352" y="1702"/>
                    </a:lnTo>
                    <a:lnTo>
                      <a:pt x="7370" y="1700"/>
                    </a:lnTo>
                    <a:lnTo>
                      <a:pt x="7388" y="1700"/>
                    </a:lnTo>
                    <a:lnTo>
                      <a:pt x="7388" y="1698"/>
                    </a:lnTo>
                    <a:lnTo>
                      <a:pt x="7386" y="1698"/>
                    </a:lnTo>
                    <a:lnTo>
                      <a:pt x="7385" y="1695"/>
                    </a:lnTo>
                    <a:lnTo>
                      <a:pt x="7380" y="1693"/>
                    </a:lnTo>
                    <a:lnTo>
                      <a:pt x="7377" y="1687"/>
                    </a:lnTo>
                    <a:lnTo>
                      <a:pt x="7375" y="1685"/>
                    </a:lnTo>
                    <a:lnTo>
                      <a:pt x="7364" y="1687"/>
                    </a:lnTo>
                    <a:lnTo>
                      <a:pt x="7358" y="1687"/>
                    </a:lnTo>
                    <a:lnTo>
                      <a:pt x="7355" y="1685"/>
                    </a:lnTo>
                    <a:lnTo>
                      <a:pt x="7349" y="1684"/>
                    </a:lnTo>
                    <a:lnTo>
                      <a:pt x="7345" y="1682"/>
                    </a:lnTo>
                    <a:lnTo>
                      <a:pt x="7342" y="1680"/>
                    </a:lnTo>
                    <a:lnTo>
                      <a:pt x="7337" y="1676"/>
                    </a:lnTo>
                    <a:lnTo>
                      <a:pt x="7337" y="1670"/>
                    </a:lnTo>
                    <a:lnTo>
                      <a:pt x="7336" y="1665"/>
                    </a:lnTo>
                    <a:lnTo>
                      <a:pt x="7337" y="1662"/>
                    </a:lnTo>
                    <a:lnTo>
                      <a:pt x="7337" y="1659"/>
                    </a:lnTo>
                    <a:lnTo>
                      <a:pt x="7342" y="1656"/>
                    </a:lnTo>
                    <a:lnTo>
                      <a:pt x="7345" y="1652"/>
                    </a:lnTo>
                    <a:lnTo>
                      <a:pt x="7349" y="1649"/>
                    </a:lnTo>
                    <a:lnTo>
                      <a:pt x="7355" y="1647"/>
                    </a:lnTo>
                    <a:lnTo>
                      <a:pt x="7364" y="1639"/>
                    </a:lnTo>
                    <a:lnTo>
                      <a:pt x="7377" y="1634"/>
                    </a:lnTo>
                    <a:lnTo>
                      <a:pt x="7388" y="1626"/>
                    </a:lnTo>
                    <a:lnTo>
                      <a:pt x="7393" y="1623"/>
                    </a:lnTo>
                    <a:lnTo>
                      <a:pt x="7397" y="1621"/>
                    </a:lnTo>
                    <a:lnTo>
                      <a:pt x="7403" y="1617"/>
                    </a:lnTo>
                    <a:lnTo>
                      <a:pt x="7406" y="1613"/>
                    </a:lnTo>
                    <a:lnTo>
                      <a:pt x="7419" y="1600"/>
                    </a:lnTo>
                    <a:lnTo>
                      <a:pt x="7425" y="1595"/>
                    </a:lnTo>
                    <a:lnTo>
                      <a:pt x="7434" y="1590"/>
                    </a:lnTo>
                    <a:lnTo>
                      <a:pt x="7441" y="1585"/>
                    </a:lnTo>
                    <a:lnTo>
                      <a:pt x="7451" y="1582"/>
                    </a:lnTo>
                    <a:lnTo>
                      <a:pt x="7462" y="1580"/>
                    </a:lnTo>
                    <a:lnTo>
                      <a:pt x="7474" y="1580"/>
                    </a:lnTo>
                    <a:lnTo>
                      <a:pt x="7480" y="1577"/>
                    </a:lnTo>
                    <a:lnTo>
                      <a:pt x="7485" y="1575"/>
                    </a:lnTo>
                    <a:lnTo>
                      <a:pt x="7492" y="1573"/>
                    </a:lnTo>
                    <a:lnTo>
                      <a:pt x="7495" y="1573"/>
                    </a:lnTo>
                    <a:lnTo>
                      <a:pt x="7498" y="1573"/>
                    </a:lnTo>
                    <a:lnTo>
                      <a:pt x="7500" y="1573"/>
                    </a:lnTo>
                    <a:lnTo>
                      <a:pt x="7504" y="1573"/>
                    </a:lnTo>
                    <a:lnTo>
                      <a:pt x="7505" y="1575"/>
                    </a:lnTo>
                    <a:lnTo>
                      <a:pt x="7512" y="1578"/>
                    </a:lnTo>
                    <a:lnTo>
                      <a:pt x="7515" y="1583"/>
                    </a:lnTo>
                    <a:lnTo>
                      <a:pt x="7520" y="1590"/>
                    </a:lnTo>
                    <a:lnTo>
                      <a:pt x="7526" y="1596"/>
                    </a:lnTo>
                    <a:lnTo>
                      <a:pt x="7530" y="1596"/>
                    </a:lnTo>
                    <a:lnTo>
                      <a:pt x="7532" y="1595"/>
                    </a:lnTo>
                    <a:lnTo>
                      <a:pt x="7535" y="1593"/>
                    </a:lnTo>
                    <a:lnTo>
                      <a:pt x="7539" y="1591"/>
                    </a:lnTo>
                    <a:lnTo>
                      <a:pt x="7545" y="1585"/>
                    </a:lnTo>
                    <a:lnTo>
                      <a:pt x="7552" y="1580"/>
                    </a:lnTo>
                    <a:lnTo>
                      <a:pt x="7558" y="1573"/>
                    </a:lnTo>
                    <a:lnTo>
                      <a:pt x="7565" y="1567"/>
                    </a:lnTo>
                    <a:lnTo>
                      <a:pt x="7569" y="1565"/>
                    </a:lnTo>
                    <a:lnTo>
                      <a:pt x="7571" y="1563"/>
                    </a:lnTo>
                    <a:lnTo>
                      <a:pt x="7574" y="1562"/>
                    </a:lnTo>
                    <a:lnTo>
                      <a:pt x="7565" y="1562"/>
                    </a:lnTo>
                    <a:lnTo>
                      <a:pt x="7558" y="1562"/>
                    </a:lnTo>
                    <a:lnTo>
                      <a:pt x="7552" y="1560"/>
                    </a:lnTo>
                    <a:lnTo>
                      <a:pt x="7545" y="1558"/>
                    </a:lnTo>
                    <a:lnTo>
                      <a:pt x="7539" y="1554"/>
                    </a:lnTo>
                    <a:lnTo>
                      <a:pt x="7532" y="1550"/>
                    </a:lnTo>
                    <a:lnTo>
                      <a:pt x="7526" y="1545"/>
                    </a:lnTo>
                    <a:lnTo>
                      <a:pt x="7532" y="1542"/>
                    </a:lnTo>
                    <a:lnTo>
                      <a:pt x="7539" y="1539"/>
                    </a:lnTo>
                    <a:lnTo>
                      <a:pt x="7545" y="1537"/>
                    </a:lnTo>
                    <a:lnTo>
                      <a:pt x="7552" y="1537"/>
                    </a:lnTo>
                    <a:lnTo>
                      <a:pt x="7563" y="1536"/>
                    </a:lnTo>
                    <a:lnTo>
                      <a:pt x="7576" y="1536"/>
                    </a:lnTo>
                    <a:lnTo>
                      <a:pt x="7586" y="1536"/>
                    </a:lnTo>
                    <a:lnTo>
                      <a:pt x="7596" y="1536"/>
                    </a:lnTo>
                    <a:lnTo>
                      <a:pt x="7600" y="1534"/>
                    </a:lnTo>
                    <a:lnTo>
                      <a:pt x="7604" y="1532"/>
                    </a:lnTo>
                    <a:lnTo>
                      <a:pt x="7607" y="1530"/>
                    </a:lnTo>
                    <a:lnTo>
                      <a:pt x="7611" y="1529"/>
                    </a:lnTo>
                    <a:lnTo>
                      <a:pt x="7619" y="1527"/>
                    </a:lnTo>
                    <a:lnTo>
                      <a:pt x="7624" y="1524"/>
                    </a:lnTo>
                    <a:lnTo>
                      <a:pt x="7632" y="1522"/>
                    </a:lnTo>
                    <a:lnTo>
                      <a:pt x="7637" y="1519"/>
                    </a:lnTo>
                    <a:lnTo>
                      <a:pt x="7645" y="1516"/>
                    </a:lnTo>
                    <a:lnTo>
                      <a:pt x="7650" y="1514"/>
                    </a:lnTo>
                    <a:lnTo>
                      <a:pt x="7657" y="1512"/>
                    </a:lnTo>
                    <a:lnTo>
                      <a:pt x="7663" y="1509"/>
                    </a:lnTo>
                    <a:lnTo>
                      <a:pt x="7676" y="1509"/>
                    </a:lnTo>
                    <a:lnTo>
                      <a:pt x="7683" y="1509"/>
                    </a:lnTo>
                    <a:lnTo>
                      <a:pt x="7688" y="1508"/>
                    </a:lnTo>
                    <a:lnTo>
                      <a:pt x="7696" y="1506"/>
                    </a:lnTo>
                    <a:lnTo>
                      <a:pt x="7701" y="1503"/>
                    </a:lnTo>
                    <a:lnTo>
                      <a:pt x="7709" y="1499"/>
                    </a:lnTo>
                    <a:lnTo>
                      <a:pt x="7714" y="1493"/>
                    </a:lnTo>
                    <a:lnTo>
                      <a:pt x="7707" y="1499"/>
                    </a:lnTo>
                    <a:lnTo>
                      <a:pt x="7699" y="1503"/>
                    </a:lnTo>
                    <a:lnTo>
                      <a:pt x="7691" y="1506"/>
                    </a:lnTo>
                    <a:lnTo>
                      <a:pt x="7681" y="1506"/>
                    </a:lnTo>
                    <a:lnTo>
                      <a:pt x="7670" y="1506"/>
                    </a:lnTo>
                    <a:lnTo>
                      <a:pt x="7661" y="1503"/>
                    </a:lnTo>
                    <a:lnTo>
                      <a:pt x="7653" y="1499"/>
                    </a:lnTo>
                    <a:lnTo>
                      <a:pt x="7646" y="1493"/>
                    </a:lnTo>
                    <a:lnTo>
                      <a:pt x="7652" y="1493"/>
                    </a:lnTo>
                    <a:lnTo>
                      <a:pt x="7660" y="1491"/>
                    </a:lnTo>
                    <a:lnTo>
                      <a:pt x="7665" y="1488"/>
                    </a:lnTo>
                    <a:lnTo>
                      <a:pt x="7672" y="1484"/>
                    </a:lnTo>
                    <a:lnTo>
                      <a:pt x="7678" y="1483"/>
                    </a:lnTo>
                    <a:lnTo>
                      <a:pt x="7685" y="1478"/>
                    </a:lnTo>
                    <a:lnTo>
                      <a:pt x="7687" y="1477"/>
                    </a:lnTo>
                    <a:lnTo>
                      <a:pt x="7686" y="1476"/>
                    </a:lnTo>
                    <a:lnTo>
                      <a:pt x="7693" y="1473"/>
                    </a:lnTo>
                    <a:lnTo>
                      <a:pt x="7699" y="1469"/>
                    </a:lnTo>
                    <a:lnTo>
                      <a:pt x="7706" y="1466"/>
                    </a:lnTo>
                    <a:lnTo>
                      <a:pt x="7713" y="1463"/>
                    </a:lnTo>
                    <a:lnTo>
                      <a:pt x="7718" y="1462"/>
                    </a:lnTo>
                    <a:lnTo>
                      <a:pt x="7703" y="1462"/>
                    </a:lnTo>
                    <a:lnTo>
                      <a:pt x="7707" y="1458"/>
                    </a:lnTo>
                    <a:lnTo>
                      <a:pt x="7711" y="1455"/>
                    </a:lnTo>
                    <a:lnTo>
                      <a:pt x="7716" y="1451"/>
                    </a:lnTo>
                    <a:lnTo>
                      <a:pt x="7722" y="1445"/>
                    </a:lnTo>
                    <a:lnTo>
                      <a:pt x="7731" y="1436"/>
                    </a:lnTo>
                    <a:lnTo>
                      <a:pt x="7742" y="1425"/>
                    </a:lnTo>
                    <a:lnTo>
                      <a:pt x="7746" y="1420"/>
                    </a:lnTo>
                    <a:lnTo>
                      <a:pt x="7749" y="1414"/>
                    </a:lnTo>
                    <a:lnTo>
                      <a:pt x="7753" y="1409"/>
                    </a:lnTo>
                    <a:lnTo>
                      <a:pt x="7757" y="1401"/>
                    </a:lnTo>
                    <a:lnTo>
                      <a:pt x="7757" y="1395"/>
                    </a:lnTo>
                    <a:lnTo>
                      <a:pt x="7759" y="1389"/>
                    </a:lnTo>
                    <a:lnTo>
                      <a:pt x="7757" y="1382"/>
                    </a:lnTo>
                    <a:lnTo>
                      <a:pt x="7755" y="1376"/>
                    </a:lnTo>
                    <a:lnTo>
                      <a:pt x="7753" y="1376"/>
                    </a:lnTo>
                    <a:lnTo>
                      <a:pt x="7753" y="1374"/>
                    </a:lnTo>
                    <a:lnTo>
                      <a:pt x="7752" y="1369"/>
                    </a:lnTo>
                    <a:lnTo>
                      <a:pt x="7753" y="1364"/>
                    </a:lnTo>
                    <a:lnTo>
                      <a:pt x="7755" y="1361"/>
                    </a:lnTo>
                    <a:lnTo>
                      <a:pt x="7759" y="1356"/>
                    </a:lnTo>
                    <a:lnTo>
                      <a:pt x="7762" y="1353"/>
                    </a:lnTo>
                    <a:lnTo>
                      <a:pt x="7768" y="1348"/>
                    </a:lnTo>
                    <a:lnTo>
                      <a:pt x="7773" y="1344"/>
                    </a:lnTo>
                    <a:lnTo>
                      <a:pt x="7785" y="1336"/>
                    </a:lnTo>
                    <a:lnTo>
                      <a:pt x="7790" y="1333"/>
                    </a:lnTo>
                    <a:lnTo>
                      <a:pt x="7796" y="1331"/>
                    </a:lnTo>
                    <a:lnTo>
                      <a:pt x="7800" y="1327"/>
                    </a:lnTo>
                    <a:lnTo>
                      <a:pt x="7803" y="1325"/>
                    </a:lnTo>
                    <a:lnTo>
                      <a:pt x="7805" y="1325"/>
                    </a:lnTo>
                    <a:lnTo>
                      <a:pt x="7806" y="1323"/>
                    </a:lnTo>
                    <a:lnTo>
                      <a:pt x="7818" y="1313"/>
                    </a:lnTo>
                    <a:lnTo>
                      <a:pt x="7829" y="1300"/>
                    </a:lnTo>
                    <a:lnTo>
                      <a:pt x="7838" y="1287"/>
                    </a:lnTo>
                    <a:lnTo>
                      <a:pt x="7849" y="1275"/>
                    </a:lnTo>
                    <a:lnTo>
                      <a:pt x="7859" y="1264"/>
                    </a:lnTo>
                    <a:lnTo>
                      <a:pt x="7867" y="1255"/>
                    </a:lnTo>
                    <a:lnTo>
                      <a:pt x="7879" y="1246"/>
                    </a:lnTo>
                    <a:lnTo>
                      <a:pt x="7892" y="1239"/>
                    </a:lnTo>
                    <a:lnTo>
                      <a:pt x="7899" y="1233"/>
                    </a:lnTo>
                    <a:lnTo>
                      <a:pt x="7907" y="1229"/>
                    </a:lnTo>
                    <a:lnTo>
                      <a:pt x="7915" y="1226"/>
                    </a:lnTo>
                    <a:lnTo>
                      <a:pt x="7923" y="1224"/>
                    </a:lnTo>
                    <a:lnTo>
                      <a:pt x="7930" y="1222"/>
                    </a:lnTo>
                    <a:lnTo>
                      <a:pt x="7934" y="1222"/>
                    </a:lnTo>
                    <a:lnTo>
                      <a:pt x="7936" y="1222"/>
                    </a:lnTo>
                    <a:lnTo>
                      <a:pt x="7940" y="1222"/>
                    </a:lnTo>
                    <a:lnTo>
                      <a:pt x="7941" y="1222"/>
                    </a:lnTo>
                    <a:lnTo>
                      <a:pt x="7943" y="1222"/>
                    </a:lnTo>
                    <a:lnTo>
                      <a:pt x="7949" y="1228"/>
                    </a:lnTo>
                    <a:lnTo>
                      <a:pt x="7954" y="1231"/>
                    </a:lnTo>
                    <a:lnTo>
                      <a:pt x="7961" y="1234"/>
                    </a:lnTo>
                    <a:lnTo>
                      <a:pt x="7969" y="1236"/>
                    </a:lnTo>
                    <a:lnTo>
                      <a:pt x="7974" y="1236"/>
                    </a:lnTo>
                    <a:lnTo>
                      <a:pt x="7982" y="1239"/>
                    </a:lnTo>
                    <a:lnTo>
                      <a:pt x="7987" y="1239"/>
                    </a:lnTo>
                    <a:lnTo>
                      <a:pt x="7984" y="1234"/>
                    </a:lnTo>
                    <a:lnTo>
                      <a:pt x="7982" y="1233"/>
                    </a:lnTo>
                    <a:lnTo>
                      <a:pt x="7982" y="1228"/>
                    </a:lnTo>
                    <a:lnTo>
                      <a:pt x="7982" y="1222"/>
                    </a:lnTo>
                    <a:lnTo>
                      <a:pt x="7984" y="1216"/>
                    </a:lnTo>
                    <a:lnTo>
                      <a:pt x="7987" y="1211"/>
                    </a:lnTo>
                    <a:lnTo>
                      <a:pt x="7995" y="1203"/>
                    </a:lnTo>
                    <a:lnTo>
                      <a:pt x="7994" y="1203"/>
                    </a:lnTo>
                    <a:lnTo>
                      <a:pt x="7989" y="1203"/>
                    </a:lnTo>
                    <a:lnTo>
                      <a:pt x="7987" y="1203"/>
                    </a:lnTo>
                    <a:lnTo>
                      <a:pt x="7986" y="1203"/>
                    </a:lnTo>
                    <a:lnTo>
                      <a:pt x="7982" y="1203"/>
                    </a:lnTo>
                    <a:lnTo>
                      <a:pt x="7981" y="1203"/>
                    </a:lnTo>
                    <a:lnTo>
                      <a:pt x="7974" y="1203"/>
                    </a:lnTo>
                    <a:lnTo>
                      <a:pt x="7971" y="1203"/>
                    </a:lnTo>
                    <a:lnTo>
                      <a:pt x="7966" y="1203"/>
                    </a:lnTo>
                    <a:lnTo>
                      <a:pt x="7960" y="1203"/>
                    </a:lnTo>
                    <a:lnTo>
                      <a:pt x="7966" y="1198"/>
                    </a:lnTo>
                    <a:lnTo>
                      <a:pt x="7974" y="1193"/>
                    </a:lnTo>
                    <a:lnTo>
                      <a:pt x="7982" y="1188"/>
                    </a:lnTo>
                    <a:lnTo>
                      <a:pt x="7991" y="1185"/>
                    </a:lnTo>
                    <a:lnTo>
                      <a:pt x="8001" y="1181"/>
                    </a:lnTo>
                    <a:lnTo>
                      <a:pt x="8010" y="1178"/>
                    </a:lnTo>
                    <a:lnTo>
                      <a:pt x="8021" y="1175"/>
                    </a:lnTo>
                    <a:lnTo>
                      <a:pt x="8030" y="1174"/>
                    </a:lnTo>
                    <a:lnTo>
                      <a:pt x="8052" y="1172"/>
                    </a:lnTo>
                    <a:lnTo>
                      <a:pt x="8073" y="1170"/>
                    </a:lnTo>
                    <a:lnTo>
                      <a:pt x="8093" y="1170"/>
                    </a:lnTo>
                    <a:lnTo>
                      <a:pt x="8113" y="1170"/>
                    </a:lnTo>
                    <a:lnTo>
                      <a:pt x="8121" y="1170"/>
                    </a:lnTo>
                    <a:lnTo>
                      <a:pt x="8129" y="1170"/>
                    </a:lnTo>
                    <a:lnTo>
                      <a:pt x="8139" y="1170"/>
                    </a:lnTo>
                    <a:lnTo>
                      <a:pt x="8150" y="1170"/>
                    </a:lnTo>
                    <a:lnTo>
                      <a:pt x="8162" y="1170"/>
                    </a:lnTo>
                    <a:lnTo>
                      <a:pt x="8174" y="1170"/>
                    </a:lnTo>
                    <a:lnTo>
                      <a:pt x="8200" y="1170"/>
                    </a:lnTo>
                    <a:lnTo>
                      <a:pt x="8202" y="1167"/>
                    </a:lnTo>
                    <a:lnTo>
                      <a:pt x="8205" y="1165"/>
                    </a:lnTo>
                    <a:lnTo>
                      <a:pt x="8209" y="1163"/>
                    </a:lnTo>
                    <a:lnTo>
                      <a:pt x="8213" y="1163"/>
                    </a:lnTo>
                    <a:lnTo>
                      <a:pt x="8215" y="1163"/>
                    </a:lnTo>
                    <a:lnTo>
                      <a:pt x="8218" y="1163"/>
                    </a:lnTo>
                    <a:lnTo>
                      <a:pt x="8228" y="1163"/>
                    </a:lnTo>
                    <a:lnTo>
                      <a:pt x="8235" y="1165"/>
                    </a:lnTo>
                    <a:lnTo>
                      <a:pt x="8244" y="1168"/>
                    </a:lnTo>
                    <a:lnTo>
                      <a:pt x="8256" y="1170"/>
                    </a:lnTo>
                    <a:lnTo>
                      <a:pt x="8269" y="1170"/>
                    </a:lnTo>
                    <a:lnTo>
                      <a:pt x="8272" y="1174"/>
                    </a:lnTo>
                    <a:lnTo>
                      <a:pt x="8274" y="1175"/>
                    </a:lnTo>
                    <a:lnTo>
                      <a:pt x="8277" y="1175"/>
                    </a:lnTo>
                    <a:lnTo>
                      <a:pt x="8281" y="1178"/>
                    </a:lnTo>
                    <a:lnTo>
                      <a:pt x="8287" y="1180"/>
                    </a:lnTo>
                    <a:lnTo>
                      <a:pt x="8290" y="1180"/>
                    </a:lnTo>
                    <a:lnTo>
                      <a:pt x="8295" y="1180"/>
                    </a:lnTo>
                    <a:lnTo>
                      <a:pt x="8300" y="1180"/>
                    </a:lnTo>
                    <a:lnTo>
                      <a:pt x="8300" y="1181"/>
                    </a:lnTo>
                    <a:lnTo>
                      <a:pt x="8302" y="1183"/>
                    </a:lnTo>
                    <a:lnTo>
                      <a:pt x="8302" y="1185"/>
                    </a:lnTo>
                    <a:lnTo>
                      <a:pt x="8302" y="1187"/>
                    </a:lnTo>
                    <a:lnTo>
                      <a:pt x="8305" y="1190"/>
                    </a:lnTo>
                    <a:lnTo>
                      <a:pt x="8309" y="1193"/>
                    </a:lnTo>
                    <a:lnTo>
                      <a:pt x="8312" y="1195"/>
                    </a:lnTo>
                    <a:lnTo>
                      <a:pt x="8318" y="1195"/>
                    </a:lnTo>
                    <a:lnTo>
                      <a:pt x="8322" y="1195"/>
                    </a:lnTo>
                    <a:lnTo>
                      <a:pt x="8327" y="1195"/>
                    </a:lnTo>
                    <a:lnTo>
                      <a:pt x="8336" y="1195"/>
                    </a:lnTo>
                    <a:lnTo>
                      <a:pt x="8346" y="1193"/>
                    </a:lnTo>
                    <a:lnTo>
                      <a:pt x="8355" y="1190"/>
                    </a:lnTo>
                    <a:lnTo>
                      <a:pt x="8363" y="1188"/>
                    </a:lnTo>
                    <a:lnTo>
                      <a:pt x="8369" y="1187"/>
                    </a:lnTo>
                    <a:lnTo>
                      <a:pt x="8381" y="1185"/>
                    </a:lnTo>
                    <a:lnTo>
                      <a:pt x="8389" y="1183"/>
                    </a:lnTo>
                    <a:lnTo>
                      <a:pt x="8401" y="1181"/>
                    </a:lnTo>
                    <a:lnTo>
                      <a:pt x="8410" y="1180"/>
                    </a:lnTo>
                    <a:lnTo>
                      <a:pt x="8422" y="1180"/>
                    </a:lnTo>
                    <a:lnTo>
                      <a:pt x="8432" y="1181"/>
                    </a:lnTo>
                    <a:lnTo>
                      <a:pt x="8443" y="1181"/>
                    </a:lnTo>
                    <a:lnTo>
                      <a:pt x="8453" y="1183"/>
                    </a:lnTo>
                    <a:lnTo>
                      <a:pt x="8473" y="1187"/>
                    </a:lnTo>
                    <a:lnTo>
                      <a:pt x="8484" y="1188"/>
                    </a:lnTo>
                    <a:lnTo>
                      <a:pt x="8493" y="1193"/>
                    </a:lnTo>
                    <a:lnTo>
                      <a:pt x="8501" y="1195"/>
                    </a:lnTo>
                    <a:lnTo>
                      <a:pt x="8509" y="1198"/>
                    </a:lnTo>
                    <a:lnTo>
                      <a:pt x="8517" y="1201"/>
                    </a:lnTo>
                    <a:lnTo>
                      <a:pt x="8524" y="1203"/>
                    </a:lnTo>
                    <a:lnTo>
                      <a:pt x="8514" y="1205"/>
                    </a:lnTo>
                    <a:lnTo>
                      <a:pt x="8506" y="1208"/>
                    </a:lnTo>
                    <a:lnTo>
                      <a:pt x="8497" y="1209"/>
                    </a:lnTo>
                    <a:lnTo>
                      <a:pt x="8488" y="1213"/>
                    </a:lnTo>
                    <a:lnTo>
                      <a:pt x="8480" y="1216"/>
                    </a:lnTo>
                    <a:lnTo>
                      <a:pt x="8473" y="1220"/>
                    </a:lnTo>
                    <a:lnTo>
                      <a:pt x="8458" y="1229"/>
                    </a:lnTo>
                    <a:lnTo>
                      <a:pt x="8443" y="1241"/>
                    </a:lnTo>
                    <a:lnTo>
                      <a:pt x="8437" y="1244"/>
                    </a:lnTo>
                    <a:lnTo>
                      <a:pt x="8430" y="1248"/>
                    </a:lnTo>
                    <a:lnTo>
                      <a:pt x="8423" y="1251"/>
                    </a:lnTo>
                    <a:lnTo>
                      <a:pt x="8417" y="1254"/>
                    </a:lnTo>
                    <a:lnTo>
                      <a:pt x="8410" y="1255"/>
                    </a:lnTo>
                    <a:lnTo>
                      <a:pt x="8404" y="1255"/>
                    </a:lnTo>
                    <a:lnTo>
                      <a:pt x="8396" y="1257"/>
                    </a:lnTo>
                    <a:lnTo>
                      <a:pt x="8386" y="1259"/>
                    </a:lnTo>
                    <a:lnTo>
                      <a:pt x="8377" y="1261"/>
                    </a:lnTo>
                    <a:lnTo>
                      <a:pt x="8369" y="1264"/>
                    </a:lnTo>
                    <a:lnTo>
                      <a:pt x="8361" y="1268"/>
                    </a:lnTo>
                    <a:lnTo>
                      <a:pt x="8353" y="1272"/>
                    </a:lnTo>
                    <a:lnTo>
                      <a:pt x="8338" y="1281"/>
                    </a:lnTo>
                    <a:lnTo>
                      <a:pt x="8323" y="1290"/>
                    </a:lnTo>
                    <a:lnTo>
                      <a:pt x="8318" y="1295"/>
                    </a:lnTo>
                    <a:lnTo>
                      <a:pt x="8310" y="1300"/>
                    </a:lnTo>
                    <a:lnTo>
                      <a:pt x="8303" y="1303"/>
                    </a:lnTo>
                    <a:lnTo>
                      <a:pt x="8297" y="1305"/>
                    </a:lnTo>
                    <a:lnTo>
                      <a:pt x="8290" y="1307"/>
                    </a:lnTo>
                    <a:lnTo>
                      <a:pt x="8294" y="1308"/>
                    </a:lnTo>
                    <a:lnTo>
                      <a:pt x="8295" y="1308"/>
                    </a:lnTo>
                    <a:lnTo>
                      <a:pt x="8295" y="1310"/>
                    </a:lnTo>
                    <a:lnTo>
                      <a:pt x="8294" y="1313"/>
                    </a:lnTo>
                    <a:lnTo>
                      <a:pt x="8290" y="1315"/>
                    </a:lnTo>
                    <a:lnTo>
                      <a:pt x="8287" y="1316"/>
                    </a:lnTo>
                    <a:lnTo>
                      <a:pt x="8282" y="1318"/>
                    </a:lnTo>
                    <a:lnTo>
                      <a:pt x="8277" y="1320"/>
                    </a:lnTo>
                    <a:lnTo>
                      <a:pt x="8269" y="1322"/>
                    </a:lnTo>
                    <a:lnTo>
                      <a:pt x="8259" y="1323"/>
                    </a:lnTo>
                    <a:lnTo>
                      <a:pt x="8254" y="1323"/>
                    </a:lnTo>
                    <a:lnTo>
                      <a:pt x="8249" y="1323"/>
                    </a:lnTo>
                    <a:lnTo>
                      <a:pt x="8244" y="1331"/>
                    </a:lnTo>
                    <a:lnTo>
                      <a:pt x="8241" y="1335"/>
                    </a:lnTo>
                    <a:lnTo>
                      <a:pt x="8236" y="1338"/>
                    </a:lnTo>
                    <a:lnTo>
                      <a:pt x="8233" y="1341"/>
                    </a:lnTo>
                    <a:lnTo>
                      <a:pt x="8229" y="1346"/>
                    </a:lnTo>
                    <a:lnTo>
                      <a:pt x="8226" y="1349"/>
                    </a:lnTo>
                    <a:lnTo>
                      <a:pt x="8221" y="1353"/>
                    </a:lnTo>
                    <a:lnTo>
                      <a:pt x="8216" y="1359"/>
                    </a:lnTo>
                    <a:lnTo>
                      <a:pt x="8203" y="1361"/>
                    </a:lnTo>
                    <a:lnTo>
                      <a:pt x="8190" y="1362"/>
                    </a:lnTo>
                    <a:lnTo>
                      <a:pt x="8178" y="1364"/>
                    </a:lnTo>
                    <a:lnTo>
                      <a:pt x="8167" y="1368"/>
                    </a:lnTo>
                    <a:lnTo>
                      <a:pt x="8155" y="1371"/>
                    </a:lnTo>
                    <a:lnTo>
                      <a:pt x="8147" y="1374"/>
                    </a:lnTo>
                    <a:lnTo>
                      <a:pt x="8137" y="1376"/>
                    </a:lnTo>
                    <a:lnTo>
                      <a:pt x="8132" y="1376"/>
                    </a:lnTo>
                    <a:lnTo>
                      <a:pt x="8114" y="1376"/>
                    </a:lnTo>
                    <a:lnTo>
                      <a:pt x="8101" y="1376"/>
                    </a:lnTo>
                    <a:lnTo>
                      <a:pt x="8083" y="1374"/>
                    </a:lnTo>
                    <a:lnTo>
                      <a:pt x="8068" y="1371"/>
                    </a:lnTo>
                    <a:lnTo>
                      <a:pt x="8041" y="1368"/>
                    </a:lnTo>
                    <a:lnTo>
                      <a:pt x="8014" y="1364"/>
                    </a:lnTo>
                    <a:lnTo>
                      <a:pt x="8001" y="1362"/>
                    </a:lnTo>
                    <a:lnTo>
                      <a:pt x="7986" y="1361"/>
                    </a:lnTo>
                    <a:lnTo>
                      <a:pt x="7973" y="1361"/>
                    </a:lnTo>
                    <a:lnTo>
                      <a:pt x="7960" y="1362"/>
                    </a:lnTo>
                    <a:lnTo>
                      <a:pt x="7947" y="1364"/>
                    </a:lnTo>
                    <a:lnTo>
                      <a:pt x="7934" y="1366"/>
                    </a:lnTo>
                    <a:lnTo>
                      <a:pt x="7921" y="1369"/>
                    </a:lnTo>
                    <a:lnTo>
                      <a:pt x="7908" y="1376"/>
                    </a:lnTo>
                    <a:lnTo>
                      <a:pt x="7913" y="1377"/>
                    </a:lnTo>
                    <a:lnTo>
                      <a:pt x="7921" y="1377"/>
                    </a:lnTo>
                    <a:lnTo>
                      <a:pt x="7927" y="1379"/>
                    </a:lnTo>
                    <a:lnTo>
                      <a:pt x="7933" y="1382"/>
                    </a:lnTo>
                    <a:lnTo>
                      <a:pt x="7938" y="1384"/>
                    </a:lnTo>
                    <a:lnTo>
                      <a:pt x="7941" y="1389"/>
                    </a:lnTo>
                    <a:lnTo>
                      <a:pt x="7947" y="1392"/>
                    </a:lnTo>
                    <a:lnTo>
                      <a:pt x="7949" y="1395"/>
                    </a:lnTo>
                    <a:lnTo>
                      <a:pt x="7951" y="1399"/>
                    </a:lnTo>
                    <a:lnTo>
                      <a:pt x="7953" y="1402"/>
                    </a:lnTo>
                    <a:lnTo>
                      <a:pt x="7951" y="1409"/>
                    </a:lnTo>
                    <a:lnTo>
                      <a:pt x="7949" y="1412"/>
                    </a:lnTo>
                    <a:lnTo>
                      <a:pt x="7945" y="1415"/>
                    </a:lnTo>
                    <a:lnTo>
                      <a:pt x="7941" y="1422"/>
                    </a:lnTo>
                    <a:lnTo>
                      <a:pt x="7938" y="1423"/>
                    </a:lnTo>
                    <a:lnTo>
                      <a:pt x="7934" y="1425"/>
                    </a:lnTo>
                    <a:lnTo>
                      <a:pt x="7930" y="1427"/>
                    </a:lnTo>
                    <a:lnTo>
                      <a:pt x="7925" y="1427"/>
                    </a:lnTo>
                    <a:lnTo>
                      <a:pt x="7912" y="1435"/>
                    </a:lnTo>
                    <a:lnTo>
                      <a:pt x="7897" y="1440"/>
                    </a:lnTo>
                    <a:lnTo>
                      <a:pt x="7882" y="1447"/>
                    </a:lnTo>
                    <a:lnTo>
                      <a:pt x="7866" y="1453"/>
                    </a:lnTo>
                    <a:lnTo>
                      <a:pt x="7849" y="1460"/>
                    </a:lnTo>
                    <a:lnTo>
                      <a:pt x="7834" y="1466"/>
                    </a:lnTo>
                    <a:lnTo>
                      <a:pt x="7820" y="1473"/>
                    </a:lnTo>
                    <a:lnTo>
                      <a:pt x="7817" y="1474"/>
                    </a:lnTo>
                    <a:lnTo>
                      <a:pt x="7816" y="1475"/>
                    </a:lnTo>
                    <a:lnTo>
                      <a:pt x="7813" y="1476"/>
                    </a:lnTo>
                    <a:lnTo>
                      <a:pt x="7810" y="1476"/>
                    </a:lnTo>
                    <a:lnTo>
                      <a:pt x="7814" y="1475"/>
                    </a:lnTo>
                    <a:lnTo>
                      <a:pt x="7816" y="1474"/>
                    </a:lnTo>
                    <a:lnTo>
                      <a:pt x="7806" y="1476"/>
                    </a:lnTo>
                    <a:lnTo>
                      <a:pt x="7800" y="1483"/>
                    </a:lnTo>
                    <a:lnTo>
                      <a:pt x="7793" y="1488"/>
                    </a:lnTo>
                    <a:lnTo>
                      <a:pt x="7788" y="1489"/>
                    </a:lnTo>
                    <a:lnTo>
                      <a:pt x="7783" y="1491"/>
                    </a:lnTo>
                    <a:lnTo>
                      <a:pt x="7777" y="1493"/>
                    </a:lnTo>
                    <a:lnTo>
                      <a:pt x="7775" y="1493"/>
                    </a:lnTo>
                    <a:lnTo>
                      <a:pt x="7772" y="1496"/>
                    </a:lnTo>
                    <a:lnTo>
                      <a:pt x="7749" y="1493"/>
                    </a:lnTo>
                    <a:lnTo>
                      <a:pt x="7744" y="1499"/>
                    </a:lnTo>
                    <a:lnTo>
                      <a:pt x="7739" y="1503"/>
                    </a:lnTo>
                    <a:lnTo>
                      <a:pt x="7735" y="1506"/>
                    </a:lnTo>
                    <a:lnTo>
                      <a:pt x="7732" y="1508"/>
                    </a:lnTo>
                    <a:lnTo>
                      <a:pt x="7729" y="1509"/>
                    </a:lnTo>
                    <a:lnTo>
                      <a:pt x="7726" y="1509"/>
                    </a:lnTo>
                    <a:lnTo>
                      <a:pt x="7720" y="1509"/>
                    </a:lnTo>
                    <a:lnTo>
                      <a:pt x="7726" y="1512"/>
                    </a:lnTo>
                    <a:lnTo>
                      <a:pt x="7729" y="1512"/>
                    </a:lnTo>
                    <a:lnTo>
                      <a:pt x="7731" y="1514"/>
                    </a:lnTo>
                    <a:lnTo>
                      <a:pt x="7732" y="1514"/>
                    </a:lnTo>
                    <a:lnTo>
                      <a:pt x="7735" y="1516"/>
                    </a:lnTo>
                    <a:lnTo>
                      <a:pt x="7735" y="1517"/>
                    </a:lnTo>
                    <a:lnTo>
                      <a:pt x="7735" y="1518"/>
                    </a:lnTo>
                    <a:lnTo>
                      <a:pt x="7739" y="1517"/>
                    </a:lnTo>
                    <a:lnTo>
                      <a:pt x="7747" y="1516"/>
                    </a:lnTo>
                    <a:lnTo>
                      <a:pt x="7759" y="1516"/>
                    </a:lnTo>
                    <a:lnTo>
                      <a:pt x="7768" y="1516"/>
                    </a:lnTo>
                    <a:lnTo>
                      <a:pt x="7777" y="1517"/>
                    </a:lnTo>
                    <a:lnTo>
                      <a:pt x="7788" y="1521"/>
                    </a:lnTo>
                    <a:lnTo>
                      <a:pt x="7801" y="1529"/>
                    </a:lnTo>
                    <a:lnTo>
                      <a:pt x="7800" y="1529"/>
                    </a:lnTo>
                    <a:lnTo>
                      <a:pt x="7800" y="1530"/>
                    </a:lnTo>
                    <a:lnTo>
                      <a:pt x="7798" y="1532"/>
                    </a:lnTo>
                    <a:lnTo>
                      <a:pt x="7793" y="1534"/>
                    </a:lnTo>
                    <a:lnTo>
                      <a:pt x="7790" y="1539"/>
                    </a:lnTo>
                    <a:lnTo>
                      <a:pt x="7785" y="1545"/>
                    </a:lnTo>
                    <a:lnTo>
                      <a:pt x="7796" y="1550"/>
                    </a:lnTo>
                    <a:lnTo>
                      <a:pt x="7801" y="1554"/>
                    </a:lnTo>
                    <a:lnTo>
                      <a:pt x="7806" y="1558"/>
                    </a:lnTo>
                    <a:lnTo>
                      <a:pt x="7810" y="1562"/>
                    </a:lnTo>
                    <a:lnTo>
                      <a:pt x="7814" y="1563"/>
                    </a:lnTo>
                    <a:lnTo>
                      <a:pt x="7818" y="1567"/>
                    </a:lnTo>
                    <a:lnTo>
                      <a:pt x="7820" y="1571"/>
                    </a:lnTo>
                    <a:lnTo>
                      <a:pt x="7823" y="1575"/>
                    </a:lnTo>
                    <a:lnTo>
                      <a:pt x="7823" y="1577"/>
                    </a:lnTo>
                    <a:lnTo>
                      <a:pt x="7825" y="1580"/>
                    </a:lnTo>
                    <a:lnTo>
                      <a:pt x="7825" y="1583"/>
                    </a:lnTo>
                    <a:lnTo>
                      <a:pt x="7825" y="1588"/>
                    </a:lnTo>
                    <a:lnTo>
                      <a:pt x="7823" y="1590"/>
                    </a:lnTo>
                    <a:lnTo>
                      <a:pt x="7821" y="1593"/>
                    </a:lnTo>
                    <a:lnTo>
                      <a:pt x="7818" y="1596"/>
                    </a:lnTo>
                    <a:lnTo>
                      <a:pt x="7818" y="1603"/>
                    </a:lnTo>
                    <a:lnTo>
                      <a:pt x="7816" y="1610"/>
                    </a:lnTo>
                    <a:lnTo>
                      <a:pt x="7814" y="1615"/>
                    </a:lnTo>
                    <a:lnTo>
                      <a:pt x="7813" y="1623"/>
                    </a:lnTo>
                    <a:lnTo>
                      <a:pt x="7808" y="1628"/>
                    </a:lnTo>
                    <a:lnTo>
                      <a:pt x="7805" y="1634"/>
                    </a:lnTo>
                    <a:lnTo>
                      <a:pt x="7801" y="1639"/>
                    </a:lnTo>
                    <a:lnTo>
                      <a:pt x="7798" y="1643"/>
                    </a:lnTo>
                    <a:lnTo>
                      <a:pt x="7792" y="1649"/>
                    </a:lnTo>
                    <a:lnTo>
                      <a:pt x="7787" y="1652"/>
                    </a:lnTo>
                    <a:lnTo>
                      <a:pt x="7781" y="1656"/>
                    </a:lnTo>
                    <a:lnTo>
                      <a:pt x="7775" y="1659"/>
                    </a:lnTo>
                    <a:lnTo>
                      <a:pt x="7768" y="1662"/>
                    </a:lnTo>
                    <a:lnTo>
                      <a:pt x="7762" y="1664"/>
                    </a:lnTo>
                    <a:lnTo>
                      <a:pt x="7755" y="1665"/>
                    </a:lnTo>
                    <a:lnTo>
                      <a:pt x="7759" y="1665"/>
                    </a:lnTo>
                    <a:lnTo>
                      <a:pt x="7762" y="1665"/>
                    </a:lnTo>
                    <a:lnTo>
                      <a:pt x="7767" y="1665"/>
                    </a:lnTo>
                    <a:lnTo>
                      <a:pt x="7770" y="1665"/>
                    </a:lnTo>
                    <a:lnTo>
                      <a:pt x="7773" y="1665"/>
                    </a:lnTo>
                    <a:lnTo>
                      <a:pt x="7777" y="1665"/>
                    </a:lnTo>
                    <a:lnTo>
                      <a:pt x="7783" y="1665"/>
                    </a:lnTo>
                    <a:lnTo>
                      <a:pt x="7783" y="1667"/>
                    </a:lnTo>
                    <a:lnTo>
                      <a:pt x="7781" y="1667"/>
                    </a:lnTo>
                    <a:lnTo>
                      <a:pt x="7779" y="1669"/>
                    </a:lnTo>
                    <a:lnTo>
                      <a:pt x="7777" y="1672"/>
                    </a:lnTo>
                    <a:lnTo>
                      <a:pt x="7772" y="1676"/>
                    </a:lnTo>
                    <a:lnTo>
                      <a:pt x="7767" y="1682"/>
                    </a:lnTo>
                    <a:lnTo>
                      <a:pt x="7773" y="1682"/>
                    </a:lnTo>
                    <a:lnTo>
                      <a:pt x="7779" y="1684"/>
                    </a:lnTo>
                    <a:lnTo>
                      <a:pt x="7785" y="1684"/>
                    </a:lnTo>
                    <a:lnTo>
                      <a:pt x="7788" y="1685"/>
                    </a:lnTo>
                    <a:lnTo>
                      <a:pt x="7792" y="1687"/>
                    </a:lnTo>
                    <a:lnTo>
                      <a:pt x="7796" y="1689"/>
                    </a:lnTo>
                    <a:lnTo>
                      <a:pt x="7800" y="1690"/>
                    </a:lnTo>
                    <a:lnTo>
                      <a:pt x="7801" y="1693"/>
                    </a:lnTo>
                    <a:lnTo>
                      <a:pt x="7803" y="1697"/>
                    </a:lnTo>
                    <a:lnTo>
                      <a:pt x="7803" y="1698"/>
                    </a:lnTo>
                    <a:lnTo>
                      <a:pt x="7801" y="1702"/>
                    </a:lnTo>
                    <a:lnTo>
                      <a:pt x="7801" y="1704"/>
                    </a:lnTo>
                    <a:lnTo>
                      <a:pt x="7798" y="1708"/>
                    </a:lnTo>
                    <a:lnTo>
                      <a:pt x="7793" y="1711"/>
                    </a:lnTo>
                    <a:lnTo>
                      <a:pt x="7790" y="1713"/>
                    </a:lnTo>
                    <a:lnTo>
                      <a:pt x="7785" y="1717"/>
                    </a:lnTo>
                    <a:lnTo>
                      <a:pt x="7790" y="1717"/>
                    </a:lnTo>
                    <a:lnTo>
                      <a:pt x="7793" y="1717"/>
                    </a:lnTo>
                    <a:lnTo>
                      <a:pt x="7798" y="1718"/>
                    </a:lnTo>
                    <a:lnTo>
                      <a:pt x="7801" y="1718"/>
                    </a:lnTo>
                    <a:lnTo>
                      <a:pt x="7803" y="1720"/>
                    </a:lnTo>
                    <a:lnTo>
                      <a:pt x="7803" y="1723"/>
                    </a:lnTo>
                    <a:lnTo>
                      <a:pt x="7803" y="1724"/>
                    </a:lnTo>
                    <a:lnTo>
                      <a:pt x="7803" y="1726"/>
                    </a:lnTo>
                    <a:lnTo>
                      <a:pt x="7801" y="1728"/>
                    </a:lnTo>
                    <a:lnTo>
                      <a:pt x="7796" y="1731"/>
                    </a:lnTo>
                    <a:lnTo>
                      <a:pt x="7790" y="1733"/>
                    </a:lnTo>
                    <a:lnTo>
                      <a:pt x="7785" y="1733"/>
                    </a:lnTo>
                    <a:lnTo>
                      <a:pt x="7787" y="1738"/>
                    </a:lnTo>
                    <a:lnTo>
                      <a:pt x="7790" y="1739"/>
                    </a:lnTo>
                    <a:lnTo>
                      <a:pt x="7793" y="1741"/>
                    </a:lnTo>
                    <a:lnTo>
                      <a:pt x="7796" y="1741"/>
                    </a:lnTo>
                    <a:lnTo>
                      <a:pt x="7800" y="1741"/>
                    </a:lnTo>
                    <a:lnTo>
                      <a:pt x="7803" y="1741"/>
                    </a:lnTo>
                    <a:lnTo>
                      <a:pt x="7810" y="1741"/>
                    </a:lnTo>
                    <a:lnTo>
                      <a:pt x="7816" y="1739"/>
                    </a:lnTo>
                    <a:lnTo>
                      <a:pt x="7823" y="1738"/>
                    </a:lnTo>
                    <a:lnTo>
                      <a:pt x="7829" y="1735"/>
                    </a:lnTo>
                    <a:lnTo>
                      <a:pt x="7825" y="1738"/>
                    </a:lnTo>
                    <a:lnTo>
                      <a:pt x="7823" y="1741"/>
                    </a:lnTo>
                    <a:lnTo>
                      <a:pt x="7823" y="1744"/>
                    </a:lnTo>
                    <a:lnTo>
                      <a:pt x="7823" y="1750"/>
                    </a:lnTo>
                    <a:lnTo>
                      <a:pt x="7825" y="1756"/>
                    </a:lnTo>
                    <a:lnTo>
                      <a:pt x="7829" y="1761"/>
                    </a:lnTo>
                    <a:lnTo>
                      <a:pt x="7836" y="1769"/>
                    </a:lnTo>
                    <a:lnTo>
                      <a:pt x="7816" y="1769"/>
                    </a:lnTo>
                    <a:lnTo>
                      <a:pt x="7798" y="1766"/>
                    </a:lnTo>
                    <a:lnTo>
                      <a:pt x="7779" y="1764"/>
                    </a:lnTo>
                    <a:lnTo>
                      <a:pt x="7760" y="1764"/>
                    </a:lnTo>
                    <a:lnTo>
                      <a:pt x="7752" y="1764"/>
                    </a:lnTo>
                    <a:lnTo>
                      <a:pt x="7742" y="1764"/>
                    </a:lnTo>
                    <a:lnTo>
                      <a:pt x="7735" y="1766"/>
                    </a:lnTo>
                    <a:lnTo>
                      <a:pt x="7727" y="1769"/>
                    </a:lnTo>
                    <a:lnTo>
                      <a:pt x="7718" y="1771"/>
                    </a:lnTo>
                    <a:lnTo>
                      <a:pt x="7711" y="1774"/>
                    </a:lnTo>
                    <a:lnTo>
                      <a:pt x="7707" y="1778"/>
                    </a:lnTo>
                    <a:lnTo>
                      <a:pt x="7711" y="1776"/>
                    </a:lnTo>
                    <a:lnTo>
                      <a:pt x="7716" y="1774"/>
                    </a:lnTo>
                    <a:lnTo>
                      <a:pt x="7724" y="1772"/>
                    </a:lnTo>
                    <a:lnTo>
                      <a:pt x="7729" y="1774"/>
                    </a:lnTo>
                    <a:lnTo>
                      <a:pt x="7737" y="1776"/>
                    </a:lnTo>
                    <a:lnTo>
                      <a:pt x="7742" y="1779"/>
                    </a:lnTo>
                    <a:lnTo>
                      <a:pt x="7749" y="1785"/>
                    </a:lnTo>
                    <a:lnTo>
                      <a:pt x="7731" y="1792"/>
                    </a:lnTo>
                    <a:lnTo>
                      <a:pt x="7713" y="1797"/>
                    </a:lnTo>
                    <a:lnTo>
                      <a:pt x="7696" y="1805"/>
                    </a:lnTo>
                    <a:lnTo>
                      <a:pt x="7681" y="1811"/>
                    </a:lnTo>
                    <a:lnTo>
                      <a:pt x="7665" y="1818"/>
                    </a:lnTo>
                    <a:lnTo>
                      <a:pt x="7648" y="1824"/>
                    </a:lnTo>
                    <a:lnTo>
                      <a:pt x="7630" y="1832"/>
                    </a:lnTo>
                    <a:lnTo>
                      <a:pt x="7611" y="1837"/>
                    </a:lnTo>
                    <a:lnTo>
                      <a:pt x="7617" y="1837"/>
                    </a:lnTo>
                    <a:lnTo>
                      <a:pt x="7622" y="1837"/>
                    </a:lnTo>
                    <a:lnTo>
                      <a:pt x="7625" y="1837"/>
                    </a:lnTo>
                    <a:lnTo>
                      <a:pt x="7630" y="1837"/>
                    </a:lnTo>
                    <a:lnTo>
                      <a:pt x="7633" y="1837"/>
                    </a:lnTo>
                    <a:lnTo>
                      <a:pt x="7637" y="1837"/>
                    </a:lnTo>
                    <a:lnTo>
                      <a:pt x="7640" y="1837"/>
                    </a:lnTo>
                    <a:lnTo>
                      <a:pt x="7646" y="1837"/>
                    </a:lnTo>
                    <a:lnTo>
                      <a:pt x="7663" y="1837"/>
                    </a:lnTo>
                    <a:lnTo>
                      <a:pt x="7668" y="1838"/>
                    </a:lnTo>
                    <a:lnTo>
                      <a:pt x="7674" y="1840"/>
                    </a:lnTo>
                    <a:lnTo>
                      <a:pt x="7678" y="1842"/>
                    </a:lnTo>
                    <a:lnTo>
                      <a:pt x="7681" y="1846"/>
                    </a:lnTo>
                    <a:lnTo>
                      <a:pt x="7683" y="1850"/>
                    </a:lnTo>
                    <a:lnTo>
                      <a:pt x="7686" y="1851"/>
                    </a:lnTo>
                    <a:lnTo>
                      <a:pt x="7693" y="1853"/>
                    </a:lnTo>
                    <a:lnTo>
                      <a:pt x="7698" y="1855"/>
                    </a:lnTo>
                    <a:lnTo>
                      <a:pt x="7703" y="1857"/>
                    </a:lnTo>
                    <a:lnTo>
                      <a:pt x="7711" y="1857"/>
                    </a:lnTo>
                    <a:lnTo>
                      <a:pt x="7716" y="1857"/>
                    </a:lnTo>
                    <a:lnTo>
                      <a:pt x="7720" y="1857"/>
                    </a:lnTo>
                    <a:lnTo>
                      <a:pt x="7726" y="1855"/>
                    </a:lnTo>
                    <a:lnTo>
                      <a:pt x="7731" y="1851"/>
                    </a:lnTo>
                    <a:lnTo>
                      <a:pt x="7740" y="1846"/>
                    </a:lnTo>
                    <a:lnTo>
                      <a:pt x="7749" y="1838"/>
                    </a:lnTo>
                    <a:lnTo>
                      <a:pt x="7755" y="1837"/>
                    </a:lnTo>
                    <a:lnTo>
                      <a:pt x="7760" y="1835"/>
                    </a:lnTo>
                    <a:lnTo>
                      <a:pt x="7767" y="1833"/>
                    </a:lnTo>
                    <a:lnTo>
                      <a:pt x="7768" y="1833"/>
                    </a:lnTo>
                    <a:lnTo>
                      <a:pt x="7768" y="1830"/>
                    </a:lnTo>
                    <a:lnTo>
                      <a:pt x="7770" y="1822"/>
                    </a:lnTo>
                    <a:lnTo>
                      <a:pt x="7773" y="1817"/>
                    </a:lnTo>
                    <a:lnTo>
                      <a:pt x="7777" y="1811"/>
                    </a:lnTo>
                    <a:lnTo>
                      <a:pt x="7779" y="1805"/>
                    </a:lnTo>
                    <a:lnTo>
                      <a:pt x="7783" y="1802"/>
                    </a:lnTo>
                    <a:lnTo>
                      <a:pt x="7785" y="1800"/>
                    </a:lnTo>
                    <a:lnTo>
                      <a:pt x="7787" y="1800"/>
                    </a:lnTo>
                    <a:lnTo>
                      <a:pt x="7787" y="1805"/>
                    </a:lnTo>
                    <a:lnTo>
                      <a:pt x="7785" y="1809"/>
                    </a:lnTo>
                    <a:lnTo>
                      <a:pt x="7785" y="1815"/>
                    </a:lnTo>
                    <a:lnTo>
                      <a:pt x="7783" y="1818"/>
                    </a:lnTo>
                    <a:lnTo>
                      <a:pt x="7781" y="1820"/>
                    </a:lnTo>
                    <a:lnTo>
                      <a:pt x="7777" y="1825"/>
                    </a:lnTo>
                    <a:lnTo>
                      <a:pt x="7773" y="1830"/>
                    </a:lnTo>
                    <a:lnTo>
                      <a:pt x="7771" y="1833"/>
                    </a:lnTo>
                    <a:lnTo>
                      <a:pt x="7772" y="1833"/>
                    </a:lnTo>
                    <a:lnTo>
                      <a:pt x="7777" y="1835"/>
                    </a:lnTo>
                    <a:lnTo>
                      <a:pt x="7785" y="1837"/>
                    </a:lnTo>
                    <a:lnTo>
                      <a:pt x="7777" y="1842"/>
                    </a:lnTo>
                    <a:lnTo>
                      <a:pt x="7773" y="1848"/>
                    </a:lnTo>
                    <a:lnTo>
                      <a:pt x="7770" y="1850"/>
                    </a:lnTo>
                    <a:lnTo>
                      <a:pt x="7767" y="1851"/>
                    </a:lnTo>
                    <a:lnTo>
                      <a:pt x="7762" y="1853"/>
                    </a:lnTo>
                    <a:lnTo>
                      <a:pt x="7759" y="1853"/>
                    </a:lnTo>
                    <a:lnTo>
                      <a:pt x="7755" y="1855"/>
                    </a:lnTo>
                    <a:lnTo>
                      <a:pt x="7762" y="1855"/>
                    </a:lnTo>
                    <a:lnTo>
                      <a:pt x="7777" y="1855"/>
                    </a:lnTo>
                    <a:lnTo>
                      <a:pt x="7793" y="1855"/>
                    </a:lnTo>
                    <a:lnTo>
                      <a:pt x="7808" y="1857"/>
                    </a:lnTo>
                    <a:lnTo>
                      <a:pt x="7825" y="1858"/>
                    </a:lnTo>
                    <a:lnTo>
                      <a:pt x="7842" y="1861"/>
                    </a:lnTo>
                    <a:lnTo>
                      <a:pt x="7857" y="1866"/>
                    </a:lnTo>
                    <a:lnTo>
                      <a:pt x="7869" y="1871"/>
                    </a:lnTo>
                    <a:lnTo>
                      <a:pt x="7862" y="1871"/>
                    </a:lnTo>
                    <a:lnTo>
                      <a:pt x="7854" y="1871"/>
                    </a:lnTo>
                    <a:lnTo>
                      <a:pt x="7846" y="1871"/>
                    </a:lnTo>
                    <a:lnTo>
                      <a:pt x="7834" y="1873"/>
                    </a:lnTo>
                    <a:lnTo>
                      <a:pt x="7825" y="1876"/>
                    </a:lnTo>
                    <a:lnTo>
                      <a:pt x="7816" y="1879"/>
                    </a:lnTo>
                    <a:lnTo>
                      <a:pt x="7808" y="1883"/>
                    </a:lnTo>
                    <a:lnTo>
                      <a:pt x="7801" y="1888"/>
                    </a:lnTo>
                    <a:lnTo>
                      <a:pt x="7800" y="1888"/>
                    </a:lnTo>
                    <a:lnTo>
                      <a:pt x="7796" y="1891"/>
                    </a:lnTo>
                    <a:lnTo>
                      <a:pt x="7793" y="1891"/>
                    </a:lnTo>
                    <a:lnTo>
                      <a:pt x="7790" y="1892"/>
                    </a:lnTo>
                    <a:lnTo>
                      <a:pt x="7785" y="1894"/>
                    </a:lnTo>
                    <a:lnTo>
                      <a:pt x="7777" y="1896"/>
                    </a:lnTo>
                    <a:lnTo>
                      <a:pt x="7773" y="1896"/>
                    </a:lnTo>
                    <a:lnTo>
                      <a:pt x="7770" y="1896"/>
                    </a:lnTo>
                    <a:lnTo>
                      <a:pt x="7767" y="1896"/>
                    </a:lnTo>
                    <a:lnTo>
                      <a:pt x="7764" y="1896"/>
                    </a:lnTo>
                    <a:lnTo>
                      <a:pt x="7762" y="1896"/>
                    </a:lnTo>
                    <a:lnTo>
                      <a:pt x="7762" y="1894"/>
                    </a:lnTo>
                    <a:lnTo>
                      <a:pt x="7764" y="1892"/>
                    </a:lnTo>
                    <a:lnTo>
                      <a:pt x="7767" y="1888"/>
                    </a:lnTo>
                    <a:lnTo>
                      <a:pt x="7760" y="1888"/>
                    </a:lnTo>
                    <a:lnTo>
                      <a:pt x="7757" y="1888"/>
                    </a:lnTo>
                    <a:lnTo>
                      <a:pt x="7753" y="1888"/>
                    </a:lnTo>
                    <a:lnTo>
                      <a:pt x="7749" y="1888"/>
                    </a:lnTo>
                    <a:lnTo>
                      <a:pt x="7746" y="1888"/>
                    </a:lnTo>
                    <a:lnTo>
                      <a:pt x="7742" y="1888"/>
                    </a:lnTo>
                    <a:lnTo>
                      <a:pt x="7739" y="1888"/>
                    </a:lnTo>
                    <a:lnTo>
                      <a:pt x="7732" y="1888"/>
                    </a:lnTo>
                    <a:lnTo>
                      <a:pt x="7735" y="1892"/>
                    </a:lnTo>
                    <a:lnTo>
                      <a:pt x="7740" y="1896"/>
                    </a:lnTo>
                    <a:lnTo>
                      <a:pt x="7744" y="1901"/>
                    </a:lnTo>
                    <a:lnTo>
                      <a:pt x="7749" y="1907"/>
                    </a:lnTo>
                    <a:lnTo>
                      <a:pt x="7759" y="1918"/>
                    </a:lnTo>
                    <a:lnTo>
                      <a:pt x="7762" y="1925"/>
                    </a:lnTo>
                    <a:lnTo>
                      <a:pt x="7767" y="1931"/>
                    </a:lnTo>
                    <a:lnTo>
                      <a:pt x="7770" y="1939"/>
                    </a:lnTo>
                    <a:lnTo>
                      <a:pt x="7772" y="1944"/>
                    </a:lnTo>
                    <a:lnTo>
                      <a:pt x="7772" y="1952"/>
                    </a:lnTo>
                    <a:lnTo>
                      <a:pt x="7770" y="1957"/>
                    </a:lnTo>
                    <a:lnTo>
                      <a:pt x="7768" y="1962"/>
                    </a:lnTo>
                    <a:lnTo>
                      <a:pt x="7767" y="1964"/>
                    </a:lnTo>
                    <a:lnTo>
                      <a:pt x="7764" y="1966"/>
                    </a:lnTo>
                    <a:lnTo>
                      <a:pt x="7760" y="1970"/>
                    </a:lnTo>
                    <a:lnTo>
                      <a:pt x="7757" y="1972"/>
                    </a:lnTo>
                    <a:lnTo>
                      <a:pt x="7753" y="1973"/>
                    </a:lnTo>
                    <a:lnTo>
                      <a:pt x="7749" y="1975"/>
                    </a:lnTo>
                    <a:lnTo>
                      <a:pt x="7752" y="1975"/>
                    </a:lnTo>
                    <a:lnTo>
                      <a:pt x="7755" y="1975"/>
                    </a:lnTo>
                    <a:lnTo>
                      <a:pt x="7759" y="1975"/>
                    </a:lnTo>
                    <a:lnTo>
                      <a:pt x="7760" y="1977"/>
                    </a:lnTo>
                    <a:lnTo>
                      <a:pt x="7760" y="1978"/>
                    </a:lnTo>
                    <a:lnTo>
                      <a:pt x="7759" y="1981"/>
                    </a:lnTo>
                    <a:lnTo>
                      <a:pt x="7757" y="1983"/>
                    </a:lnTo>
                    <a:lnTo>
                      <a:pt x="7753" y="1986"/>
                    </a:lnTo>
                    <a:lnTo>
                      <a:pt x="7746" y="1990"/>
                    </a:lnTo>
                    <a:lnTo>
                      <a:pt x="7740" y="1996"/>
                    </a:lnTo>
                    <a:lnTo>
                      <a:pt x="7737" y="1999"/>
                    </a:lnTo>
                    <a:lnTo>
                      <a:pt x="7735" y="2003"/>
                    </a:lnTo>
                    <a:lnTo>
                      <a:pt x="7732" y="2006"/>
                    </a:lnTo>
                    <a:lnTo>
                      <a:pt x="7732" y="2008"/>
                    </a:lnTo>
                    <a:lnTo>
                      <a:pt x="7726" y="2014"/>
                    </a:lnTo>
                    <a:lnTo>
                      <a:pt x="7722" y="2019"/>
                    </a:lnTo>
                    <a:lnTo>
                      <a:pt x="7718" y="2021"/>
                    </a:lnTo>
                    <a:lnTo>
                      <a:pt x="7714" y="2023"/>
                    </a:lnTo>
                    <a:lnTo>
                      <a:pt x="7713" y="2025"/>
                    </a:lnTo>
                    <a:lnTo>
                      <a:pt x="7709" y="2025"/>
                    </a:lnTo>
                    <a:lnTo>
                      <a:pt x="7703" y="2027"/>
                    </a:lnTo>
                    <a:lnTo>
                      <a:pt x="7698" y="2027"/>
                    </a:lnTo>
                    <a:lnTo>
                      <a:pt x="7703" y="2029"/>
                    </a:lnTo>
                    <a:lnTo>
                      <a:pt x="7709" y="2033"/>
                    </a:lnTo>
                    <a:lnTo>
                      <a:pt x="7713" y="2034"/>
                    </a:lnTo>
                    <a:lnTo>
                      <a:pt x="7716" y="2036"/>
                    </a:lnTo>
                    <a:lnTo>
                      <a:pt x="7720" y="2038"/>
                    </a:lnTo>
                    <a:lnTo>
                      <a:pt x="7722" y="2039"/>
                    </a:lnTo>
                    <a:lnTo>
                      <a:pt x="7724" y="2039"/>
                    </a:lnTo>
                    <a:lnTo>
                      <a:pt x="7724" y="2042"/>
                    </a:lnTo>
                    <a:lnTo>
                      <a:pt x="7722" y="2044"/>
                    </a:lnTo>
                    <a:lnTo>
                      <a:pt x="7720" y="2044"/>
                    </a:lnTo>
                    <a:lnTo>
                      <a:pt x="7716" y="2044"/>
                    </a:lnTo>
                    <a:lnTo>
                      <a:pt x="7718" y="2046"/>
                    </a:lnTo>
                    <a:lnTo>
                      <a:pt x="7720" y="2046"/>
                    </a:lnTo>
                    <a:lnTo>
                      <a:pt x="7718" y="2047"/>
                    </a:lnTo>
                    <a:lnTo>
                      <a:pt x="7716" y="2051"/>
                    </a:lnTo>
                    <a:lnTo>
                      <a:pt x="7716" y="2054"/>
                    </a:lnTo>
                    <a:lnTo>
                      <a:pt x="7714" y="2060"/>
                    </a:lnTo>
                    <a:lnTo>
                      <a:pt x="7722" y="2060"/>
                    </a:lnTo>
                    <a:lnTo>
                      <a:pt x="7727" y="2059"/>
                    </a:lnTo>
                    <a:lnTo>
                      <a:pt x="7735" y="2054"/>
                    </a:lnTo>
                    <a:lnTo>
                      <a:pt x="7740" y="2052"/>
                    </a:lnTo>
                    <a:lnTo>
                      <a:pt x="7747" y="2049"/>
                    </a:lnTo>
                    <a:lnTo>
                      <a:pt x="7753" y="2046"/>
                    </a:lnTo>
                    <a:lnTo>
                      <a:pt x="7760" y="2044"/>
                    </a:lnTo>
                    <a:lnTo>
                      <a:pt x="7767" y="2044"/>
                    </a:lnTo>
                    <a:lnTo>
                      <a:pt x="7773" y="2038"/>
                    </a:lnTo>
                    <a:lnTo>
                      <a:pt x="7781" y="2033"/>
                    </a:lnTo>
                    <a:lnTo>
                      <a:pt x="7790" y="2029"/>
                    </a:lnTo>
                    <a:lnTo>
                      <a:pt x="7798" y="2027"/>
                    </a:lnTo>
                    <a:lnTo>
                      <a:pt x="7800" y="2025"/>
                    </a:lnTo>
                    <a:lnTo>
                      <a:pt x="7803" y="2023"/>
                    </a:lnTo>
                    <a:lnTo>
                      <a:pt x="7805" y="2021"/>
                    </a:lnTo>
                    <a:lnTo>
                      <a:pt x="7805" y="2019"/>
                    </a:lnTo>
                    <a:lnTo>
                      <a:pt x="7805" y="2018"/>
                    </a:lnTo>
                    <a:lnTo>
                      <a:pt x="7805" y="2014"/>
                    </a:lnTo>
                    <a:lnTo>
                      <a:pt x="7803" y="2013"/>
                    </a:lnTo>
                    <a:lnTo>
                      <a:pt x="7801" y="2008"/>
                    </a:lnTo>
                    <a:lnTo>
                      <a:pt x="7806" y="2003"/>
                    </a:lnTo>
                    <a:lnTo>
                      <a:pt x="7814" y="1999"/>
                    </a:lnTo>
                    <a:lnTo>
                      <a:pt x="7820" y="1996"/>
                    </a:lnTo>
                    <a:lnTo>
                      <a:pt x="7827" y="1992"/>
                    </a:lnTo>
                    <a:lnTo>
                      <a:pt x="7833" y="1988"/>
                    </a:lnTo>
                    <a:lnTo>
                      <a:pt x="7840" y="1985"/>
                    </a:lnTo>
                    <a:lnTo>
                      <a:pt x="7846" y="1981"/>
                    </a:lnTo>
                    <a:lnTo>
                      <a:pt x="7853" y="1975"/>
                    </a:lnTo>
                    <a:lnTo>
                      <a:pt x="7859" y="1968"/>
                    </a:lnTo>
                    <a:lnTo>
                      <a:pt x="7862" y="1962"/>
                    </a:lnTo>
                    <a:lnTo>
                      <a:pt x="7866" y="1957"/>
                    </a:lnTo>
                    <a:lnTo>
                      <a:pt x="7869" y="1952"/>
                    </a:lnTo>
                    <a:lnTo>
                      <a:pt x="7874" y="1945"/>
                    </a:lnTo>
                    <a:lnTo>
                      <a:pt x="7877" y="1944"/>
                    </a:lnTo>
                    <a:lnTo>
                      <a:pt x="7880" y="1940"/>
                    </a:lnTo>
                    <a:lnTo>
                      <a:pt x="7888" y="1940"/>
                    </a:lnTo>
                    <a:lnTo>
                      <a:pt x="7899" y="1932"/>
                    </a:lnTo>
                    <a:lnTo>
                      <a:pt x="7912" y="1925"/>
                    </a:lnTo>
                    <a:lnTo>
                      <a:pt x="7925" y="1918"/>
                    </a:lnTo>
                    <a:lnTo>
                      <a:pt x="7938" y="1911"/>
                    </a:lnTo>
                    <a:lnTo>
                      <a:pt x="7945" y="1907"/>
                    </a:lnTo>
                    <a:lnTo>
                      <a:pt x="7951" y="1906"/>
                    </a:lnTo>
                    <a:lnTo>
                      <a:pt x="7958" y="1903"/>
                    </a:lnTo>
                    <a:lnTo>
                      <a:pt x="7964" y="1901"/>
                    </a:lnTo>
                    <a:lnTo>
                      <a:pt x="7971" y="1901"/>
                    </a:lnTo>
                    <a:lnTo>
                      <a:pt x="7976" y="1901"/>
                    </a:lnTo>
                    <a:lnTo>
                      <a:pt x="7984" y="1903"/>
                    </a:lnTo>
                    <a:lnTo>
                      <a:pt x="7989" y="1907"/>
                    </a:lnTo>
                    <a:lnTo>
                      <a:pt x="8002" y="1912"/>
                    </a:lnTo>
                    <a:lnTo>
                      <a:pt x="8015" y="1922"/>
                    </a:lnTo>
                    <a:lnTo>
                      <a:pt x="8027" y="1931"/>
                    </a:lnTo>
                    <a:lnTo>
                      <a:pt x="8030" y="1937"/>
                    </a:lnTo>
                    <a:lnTo>
                      <a:pt x="8035" y="1942"/>
                    </a:lnTo>
                    <a:lnTo>
                      <a:pt x="8040" y="1947"/>
                    </a:lnTo>
                    <a:lnTo>
                      <a:pt x="8041" y="1955"/>
                    </a:lnTo>
                    <a:lnTo>
                      <a:pt x="8045" y="1960"/>
                    </a:lnTo>
                    <a:lnTo>
                      <a:pt x="8045" y="1966"/>
                    </a:lnTo>
                    <a:lnTo>
                      <a:pt x="8047" y="1973"/>
                    </a:lnTo>
                    <a:lnTo>
                      <a:pt x="8045" y="1978"/>
                    </a:lnTo>
                    <a:lnTo>
                      <a:pt x="8045" y="1986"/>
                    </a:lnTo>
                    <a:lnTo>
                      <a:pt x="8041" y="1992"/>
                    </a:lnTo>
                    <a:lnTo>
                      <a:pt x="8035" y="2005"/>
                    </a:lnTo>
                    <a:lnTo>
                      <a:pt x="8028" y="2019"/>
                    </a:lnTo>
                    <a:lnTo>
                      <a:pt x="8021" y="2033"/>
                    </a:lnTo>
                    <a:lnTo>
                      <a:pt x="8015" y="2039"/>
                    </a:lnTo>
                    <a:lnTo>
                      <a:pt x="8012" y="2046"/>
                    </a:lnTo>
                    <a:lnTo>
                      <a:pt x="8006" y="2051"/>
                    </a:lnTo>
                    <a:lnTo>
                      <a:pt x="8001" y="2054"/>
                    </a:lnTo>
                    <a:lnTo>
                      <a:pt x="7995" y="2059"/>
                    </a:lnTo>
                    <a:lnTo>
                      <a:pt x="7987" y="2062"/>
                    </a:lnTo>
                    <a:lnTo>
                      <a:pt x="7982" y="2064"/>
                    </a:lnTo>
                    <a:lnTo>
                      <a:pt x="7973" y="2064"/>
                    </a:lnTo>
                    <a:lnTo>
                      <a:pt x="7966" y="2064"/>
                    </a:lnTo>
                    <a:lnTo>
                      <a:pt x="7956" y="2060"/>
                    </a:lnTo>
                    <a:lnTo>
                      <a:pt x="7958" y="2059"/>
                    </a:lnTo>
                    <a:lnTo>
                      <a:pt x="7960" y="2057"/>
                    </a:lnTo>
                    <a:lnTo>
                      <a:pt x="7964" y="2052"/>
                    </a:lnTo>
                    <a:lnTo>
                      <a:pt x="7967" y="2049"/>
                    </a:lnTo>
                    <a:lnTo>
                      <a:pt x="7973" y="2044"/>
                    </a:lnTo>
                    <a:lnTo>
                      <a:pt x="7960" y="2051"/>
                    </a:lnTo>
                    <a:lnTo>
                      <a:pt x="7945" y="2060"/>
                    </a:lnTo>
                    <a:lnTo>
                      <a:pt x="7930" y="2069"/>
                    </a:lnTo>
                    <a:lnTo>
                      <a:pt x="7918" y="2082"/>
                    </a:lnTo>
                    <a:lnTo>
                      <a:pt x="7910" y="2088"/>
                    </a:lnTo>
                    <a:lnTo>
                      <a:pt x="7905" y="2095"/>
                    </a:lnTo>
                    <a:lnTo>
                      <a:pt x="7900" y="2103"/>
                    </a:lnTo>
                    <a:lnTo>
                      <a:pt x="7895" y="2112"/>
                    </a:lnTo>
                    <a:lnTo>
                      <a:pt x="7892" y="2120"/>
                    </a:lnTo>
                    <a:lnTo>
                      <a:pt x="7890" y="2128"/>
                    </a:lnTo>
                    <a:lnTo>
                      <a:pt x="7888" y="2138"/>
                    </a:lnTo>
                    <a:lnTo>
                      <a:pt x="7888" y="2146"/>
                    </a:lnTo>
                    <a:lnTo>
                      <a:pt x="7890" y="2153"/>
                    </a:lnTo>
                    <a:lnTo>
                      <a:pt x="7895" y="2160"/>
                    </a:lnTo>
                    <a:lnTo>
                      <a:pt x="7905" y="2173"/>
                    </a:lnTo>
                    <a:lnTo>
                      <a:pt x="7913" y="2184"/>
                    </a:lnTo>
                    <a:lnTo>
                      <a:pt x="7918" y="2189"/>
                    </a:lnTo>
                    <a:lnTo>
                      <a:pt x="7921" y="2197"/>
                    </a:lnTo>
                    <a:lnTo>
                      <a:pt x="7925" y="2202"/>
                    </a:lnTo>
                    <a:lnTo>
                      <a:pt x="7927" y="2206"/>
                    </a:lnTo>
                    <a:lnTo>
                      <a:pt x="7927" y="2212"/>
                    </a:lnTo>
                    <a:lnTo>
                      <a:pt x="7925" y="2217"/>
                    </a:lnTo>
                    <a:lnTo>
                      <a:pt x="7923" y="2220"/>
                    </a:lnTo>
                    <a:lnTo>
                      <a:pt x="7921" y="2222"/>
                    </a:lnTo>
                    <a:lnTo>
                      <a:pt x="7920" y="2225"/>
                    </a:lnTo>
                    <a:lnTo>
                      <a:pt x="7915" y="2227"/>
                    </a:lnTo>
                    <a:lnTo>
                      <a:pt x="7912" y="2228"/>
                    </a:lnTo>
                    <a:lnTo>
                      <a:pt x="7908" y="2230"/>
                    </a:lnTo>
                    <a:lnTo>
                      <a:pt x="7905" y="2232"/>
                    </a:lnTo>
                    <a:lnTo>
                      <a:pt x="7908" y="2235"/>
                    </a:lnTo>
                    <a:lnTo>
                      <a:pt x="7912" y="2237"/>
                    </a:lnTo>
                    <a:lnTo>
                      <a:pt x="7915" y="2240"/>
                    </a:lnTo>
                    <a:lnTo>
                      <a:pt x="7920" y="2240"/>
                    </a:lnTo>
                    <a:lnTo>
                      <a:pt x="7923" y="2240"/>
                    </a:lnTo>
                    <a:lnTo>
                      <a:pt x="7928" y="2240"/>
                    </a:lnTo>
                    <a:lnTo>
                      <a:pt x="7933" y="2237"/>
                    </a:lnTo>
                    <a:lnTo>
                      <a:pt x="7936" y="2237"/>
                    </a:lnTo>
                    <a:lnTo>
                      <a:pt x="7943" y="2233"/>
                    </a:lnTo>
                    <a:lnTo>
                      <a:pt x="7947" y="2230"/>
                    </a:lnTo>
                    <a:lnTo>
                      <a:pt x="7951" y="2228"/>
                    </a:lnTo>
                    <a:lnTo>
                      <a:pt x="7953" y="2225"/>
                    </a:lnTo>
                    <a:lnTo>
                      <a:pt x="7954" y="2220"/>
                    </a:lnTo>
                    <a:lnTo>
                      <a:pt x="7956" y="2219"/>
                    </a:lnTo>
                    <a:lnTo>
                      <a:pt x="7956" y="2215"/>
                    </a:lnTo>
                    <a:lnTo>
                      <a:pt x="7961" y="2215"/>
                    </a:lnTo>
                    <a:lnTo>
                      <a:pt x="7967" y="2214"/>
                    </a:lnTo>
                    <a:lnTo>
                      <a:pt x="7973" y="2212"/>
                    </a:lnTo>
                    <a:lnTo>
                      <a:pt x="7979" y="2210"/>
                    </a:lnTo>
                    <a:lnTo>
                      <a:pt x="7987" y="2206"/>
                    </a:lnTo>
                    <a:lnTo>
                      <a:pt x="7997" y="2200"/>
                    </a:lnTo>
                    <a:lnTo>
                      <a:pt x="8004" y="2197"/>
                    </a:lnTo>
                    <a:lnTo>
                      <a:pt x="8007" y="2195"/>
                    </a:lnTo>
                    <a:lnTo>
                      <a:pt x="8012" y="2194"/>
                    </a:lnTo>
                    <a:lnTo>
                      <a:pt x="8015" y="2194"/>
                    </a:lnTo>
                    <a:lnTo>
                      <a:pt x="8017" y="2195"/>
                    </a:lnTo>
                    <a:lnTo>
                      <a:pt x="8021" y="2195"/>
                    </a:lnTo>
                    <a:lnTo>
                      <a:pt x="8025" y="2199"/>
                    </a:lnTo>
                    <a:lnTo>
                      <a:pt x="8027" y="2199"/>
                    </a:lnTo>
                    <a:lnTo>
                      <a:pt x="8028" y="2200"/>
                    </a:lnTo>
                    <a:lnTo>
                      <a:pt x="8030" y="2200"/>
                    </a:lnTo>
                    <a:lnTo>
                      <a:pt x="8034" y="2200"/>
                    </a:lnTo>
                    <a:lnTo>
                      <a:pt x="8035" y="2199"/>
                    </a:lnTo>
                    <a:lnTo>
                      <a:pt x="8040" y="2199"/>
                    </a:lnTo>
                    <a:lnTo>
                      <a:pt x="8045" y="2195"/>
                    </a:lnTo>
                    <a:lnTo>
                      <a:pt x="8052" y="2189"/>
                    </a:lnTo>
                    <a:lnTo>
                      <a:pt x="8060" y="2184"/>
                    </a:lnTo>
                    <a:lnTo>
                      <a:pt x="8068" y="2176"/>
                    </a:lnTo>
                    <a:lnTo>
                      <a:pt x="8076" y="2171"/>
                    </a:lnTo>
                    <a:lnTo>
                      <a:pt x="8093" y="2156"/>
                    </a:lnTo>
                    <a:lnTo>
                      <a:pt x="8101" y="2149"/>
                    </a:lnTo>
                    <a:lnTo>
                      <a:pt x="8106" y="2143"/>
                    </a:lnTo>
                    <a:lnTo>
                      <a:pt x="8113" y="2138"/>
                    </a:lnTo>
                    <a:lnTo>
                      <a:pt x="8119" y="2134"/>
                    </a:lnTo>
                    <a:lnTo>
                      <a:pt x="8124" y="2130"/>
                    </a:lnTo>
                    <a:lnTo>
                      <a:pt x="8126" y="2130"/>
                    </a:lnTo>
                    <a:lnTo>
                      <a:pt x="8128" y="2130"/>
                    </a:lnTo>
                    <a:lnTo>
                      <a:pt x="8154" y="2118"/>
                    </a:lnTo>
                    <a:lnTo>
                      <a:pt x="8178" y="2106"/>
                    </a:lnTo>
                    <a:lnTo>
                      <a:pt x="8203" y="2093"/>
                    </a:lnTo>
                    <a:lnTo>
                      <a:pt x="8226" y="2082"/>
                    </a:lnTo>
                    <a:lnTo>
                      <a:pt x="8236" y="2075"/>
                    </a:lnTo>
                    <a:lnTo>
                      <a:pt x="8248" y="2067"/>
                    </a:lnTo>
                    <a:lnTo>
                      <a:pt x="8259" y="2060"/>
                    </a:lnTo>
                    <a:lnTo>
                      <a:pt x="8269" y="2052"/>
                    </a:lnTo>
                    <a:lnTo>
                      <a:pt x="8277" y="2044"/>
                    </a:lnTo>
                    <a:lnTo>
                      <a:pt x="8285" y="2033"/>
                    </a:lnTo>
                    <a:lnTo>
                      <a:pt x="8292" y="2021"/>
                    </a:lnTo>
                    <a:lnTo>
                      <a:pt x="8300" y="2008"/>
                    </a:lnTo>
                    <a:lnTo>
                      <a:pt x="8303" y="2005"/>
                    </a:lnTo>
                    <a:lnTo>
                      <a:pt x="8307" y="2001"/>
                    </a:lnTo>
                    <a:lnTo>
                      <a:pt x="8309" y="1998"/>
                    </a:lnTo>
                    <a:lnTo>
                      <a:pt x="8312" y="1993"/>
                    </a:lnTo>
                    <a:lnTo>
                      <a:pt x="8316" y="1992"/>
                    </a:lnTo>
                    <a:lnTo>
                      <a:pt x="8320" y="1990"/>
                    </a:lnTo>
                    <a:lnTo>
                      <a:pt x="8328" y="1986"/>
                    </a:lnTo>
                    <a:lnTo>
                      <a:pt x="8336" y="1985"/>
                    </a:lnTo>
                    <a:lnTo>
                      <a:pt x="8343" y="1985"/>
                    </a:lnTo>
                    <a:lnTo>
                      <a:pt x="8353" y="1985"/>
                    </a:lnTo>
                    <a:lnTo>
                      <a:pt x="8363" y="1985"/>
                    </a:lnTo>
                    <a:lnTo>
                      <a:pt x="8381" y="1986"/>
                    </a:lnTo>
                    <a:lnTo>
                      <a:pt x="8389" y="1988"/>
                    </a:lnTo>
                    <a:lnTo>
                      <a:pt x="8399" y="1988"/>
                    </a:lnTo>
                    <a:lnTo>
                      <a:pt x="8409" y="1986"/>
                    </a:lnTo>
                    <a:lnTo>
                      <a:pt x="8417" y="1985"/>
                    </a:lnTo>
                    <a:lnTo>
                      <a:pt x="8427" y="1981"/>
                    </a:lnTo>
                    <a:lnTo>
                      <a:pt x="8432" y="1977"/>
                    </a:lnTo>
                    <a:lnTo>
                      <a:pt x="8438" y="1975"/>
                    </a:lnTo>
                    <a:lnTo>
                      <a:pt x="8425" y="1975"/>
                    </a:lnTo>
                    <a:lnTo>
                      <a:pt x="8419" y="1973"/>
                    </a:lnTo>
                    <a:lnTo>
                      <a:pt x="8414" y="1973"/>
                    </a:lnTo>
                    <a:lnTo>
                      <a:pt x="8409" y="1970"/>
                    </a:lnTo>
                    <a:lnTo>
                      <a:pt x="8404" y="1968"/>
                    </a:lnTo>
                    <a:lnTo>
                      <a:pt x="8402" y="1962"/>
                    </a:lnTo>
                    <a:lnTo>
                      <a:pt x="8402" y="1957"/>
                    </a:lnTo>
                    <a:lnTo>
                      <a:pt x="8404" y="1960"/>
                    </a:lnTo>
                    <a:lnTo>
                      <a:pt x="8409" y="1962"/>
                    </a:lnTo>
                    <a:lnTo>
                      <a:pt x="8410" y="1964"/>
                    </a:lnTo>
                    <a:lnTo>
                      <a:pt x="8412" y="1964"/>
                    </a:lnTo>
                    <a:lnTo>
                      <a:pt x="8414" y="1964"/>
                    </a:lnTo>
                    <a:lnTo>
                      <a:pt x="8416" y="1964"/>
                    </a:lnTo>
                    <a:lnTo>
                      <a:pt x="8417" y="1964"/>
                    </a:lnTo>
                    <a:lnTo>
                      <a:pt x="8419" y="1962"/>
                    </a:lnTo>
                    <a:lnTo>
                      <a:pt x="8419" y="1960"/>
                    </a:lnTo>
                    <a:lnTo>
                      <a:pt x="8419" y="1959"/>
                    </a:lnTo>
                    <a:lnTo>
                      <a:pt x="8419" y="1957"/>
                    </a:lnTo>
                    <a:lnTo>
                      <a:pt x="8419" y="1955"/>
                    </a:lnTo>
                    <a:lnTo>
                      <a:pt x="8422" y="1953"/>
                    </a:lnTo>
                    <a:lnTo>
                      <a:pt x="8423" y="1952"/>
                    </a:lnTo>
                    <a:lnTo>
                      <a:pt x="8425" y="1949"/>
                    </a:lnTo>
                    <a:lnTo>
                      <a:pt x="8430" y="1949"/>
                    </a:lnTo>
                    <a:lnTo>
                      <a:pt x="8438" y="1949"/>
                    </a:lnTo>
                    <a:lnTo>
                      <a:pt x="8443" y="1949"/>
                    </a:lnTo>
                    <a:lnTo>
                      <a:pt x="8449" y="1947"/>
                    </a:lnTo>
                    <a:lnTo>
                      <a:pt x="8450" y="1947"/>
                    </a:lnTo>
                    <a:lnTo>
                      <a:pt x="8453" y="1945"/>
                    </a:lnTo>
                    <a:lnTo>
                      <a:pt x="8455" y="1944"/>
                    </a:lnTo>
                    <a:lnTo>
                      <a:pt x="8455" y="1940"/>
                    </a:lnTo>
                    <a:lnTo>
                      <a:pt x="8456" y="1940"/>
                    </a:lnTo>
                    <a:lnTo>
                      <a:pt x="8462" y="1940"/>
                    </a:lnTo>
                    <a:lnTo>
                      <a:pt x="8471" y="1940"/>
                    </a:lnTo>
                    <a:lnTo>
                      <a:pt x="8480" y="1940"/>
                    </a:lnTo>
                    <a:lnTo>
                      <a:pt x="8486" y="1940"/>
                    </a:lnTo>
                    <a:lnTo>
                      <a:pt x="8490" y="1940"/>
                    </a:lnTo>
                    <a:lnTo>
                      <a:pt x="8486" y="1937"/>
                    </a:lnTo>
                    <a:lnTo>
                      <a:pt x="8480" y="1935"/>
                    </a:lnTo>
                    <a:lnTo>
                      <a:pt x="8471" y="1931"/>
                    </a:lnTo>
                    <a:lnTo>
                      <a:pt x="8462" y="1927"/>
                    </a:lnTo>
                    <a:lnTo>
                      <a:pt x="8456" y="1925"/>
                    </a:lnTo>
                    <a:lnTo>
                      <a:pt x="8453" y="1924"/>
                    </a:lnTo>
                    <a:lnTo>
                      <a:pt x="8449" y="1922"/>
                    </a:lnTo>
                    <a:lnTo>
                      <a:pt x="8445" y="1920"/>
                    </a:lnTo>
                    <a:lnTo>
                      <a:pt x="8443" y="1918"/>
                    </a:lnTo>
                    <a:lnTo>
                      <a:pt x="8443" y="1916"/>
                    </a:lnTo>
                    <a:lnTo>
                      <a:pt x="8443" y="1914"/>
                    </a:lnTo>
                    <a:lnTo>
                      <a:pt x="8445" y="1912"/>
                    </a:lnTo>
                    <a:lnTo>
                      <a:pt x="8442" y="1912"/>
                    </a:lnTo>
                    <a:lnTo>
                      <a:pt x="8438" y="1912"/>
                    </a:lnTo>
                    <a:lnTo>
                      <a:pt x="8437" y="1912"/>
                    </a:lnTo>
                    <a:lnTo>
                      <a:pt x="8432" y="1912"/>
                    </a:lnTo>
                    <a:lnTo>
                      <a:pt x="8430" y="1911"/>
                    </a:lnTo>
                    <a:lnTo>
                      <a:pt x="8427" y="1907"/>
                    </a:lnTo>
                    <a:lnTo>
                      <a:pt x="8423" y="1901"/>
                    </a:lnTo>
                    <a:lnTo>
                      <a:pt x="8422" y="1896"/>
                    </a:lnTo>
                    <a:lnTo>
                      <a:pt x="8419" y="1888"/>
                    </a:lnTo>
                    <a:lnTo>
                      <a:pt x="8422" y="1888"/>
                    </a:lnTo>
                    <a:lnTo>
                      <a:pt x="8425" y="1888"/>
                    </a:lnTo>
                    <a:lnTo>
                      <a:pt x="8427" y="1888"/>
                    </a:lnTo>
                    <a:lnTo>
                      <a:pt x="8430" y="1888"/>
                    </a:lnTo>
                    <a:lnTo>
                      <a:pt x="8438" y="1888"/>
                    </a:lnTo>
                    <a:lnTo>
                      <a:pt x="8438" y="1883"/>
                    </a:lnTo>
                    <a:lnTo>
                      <a:pt x="8438" y="1879"/>
                    </a:lnTo>
                    <a:lnTo>
                      <a:pt x="8438" y="1876"/>
                    </a:lnTo>
                    <a:lnTo>
                      <a:pt x="8440" y="1873"/>
                    </a:lnTo>
                    <a:lnTo>
                      <a:pt x="8442" y="1871"/>
                    </a:lnTo>
                    <a:lnTo>
                      <a:pt x="8443" y="1870"/>
                    </a:lnTo>
                    <a:lnTo>
                      <a:pt x="8445" y="1866"/>
                    </a:lnTo>
                    <a:lnTo>
                      <a:pt x="8449" y="1865"/>
                    </a:lnTo>
                    <a:lnTo>
                      <a:pt x="8456" y="1858"/>
                    </a:lnTo>
                    <a:lnTo>
                      <a:pt x="8460" y="1857"/>
                    </a:lnTo>
                    <a:lnTo>
                      <a:pt x="8463" y="1855"/>
                    </a:lnTo>
                    <a:lnTo>
                      <a:pt x="8468" y="1855"/>
                    </a:lnTo>
                    <a:lnTo>
                      <a:pt x="8471" y="1855"/>
                    </a:lnTo>
                    <a:lnTo>
                      <a:pt x="8470" y="1851"/>
                    </a:lnTo>
                    <a:lnTo>
                      <a:pt x="8468" y="1848"/>
                    </a:lnTo>
                    <a:lnTo>
                      <a:pt x="8468" y="1845"/>
                    </a:lnTo>
                    <a:lnTo>
                      <a:pt x="8470" y="1842"/>
                    </a:lnTo>
                    <a:lnTo>
                      <a:pt x="8471" y="1838"/>
                    </a:lnTo>
                    <a:lnTo>
                      <a:pt x="8473" y="1837"/>
                    </a:lnTo>
                    <a:lnTo>
                      <a:pt x="8480" y="1832"/>
                    </a:lnTo>
                    <a:lnTo>
                      <a:pt x="8486" y="1825"/>
                    </a:lnTo>
                    <a:lnTo>
                      <a:pt x="8490" y="1824"/>
                    </a:lnTo>
                    <a:lnTo>
                      <a:pt x="8491" y="1822"/>
                    </a:lnTo>
                    <a:lnTo>
                      <a:pt x="8491" y="1820"/>
                    </a:lnTo>
                    <a:lnTo>
                      <a:pt x="8514" y="1820"/>
                    </a:lnTo>
                    <a:lnTo>
                      <a:pt x="8541" y="1820"/>
                    </a:lnTo>
                    <a:lnTo>
                      <a:pt x="8552" y="1818"/>
                    </a:lnTo>
                    <a:lnTo>
                      <a:pt x="8565" y="1817"/>
                    </a:lnTo>
                    <a:lnTo>
                      <a:pt x="8578" y="1815"/>
                    </a:lnTo>
                    <a:lnTo>
                      <a:pt x="8590" y="1811"/>
                    </a:lnTo>
                    <a:lnTo>
                      <a:pt x="8600" y="1807"/>
                    </a:lnTo>
                    <a:lnTo>
                      <a:pt x="8610" y="1805"/>
                    </a:lnTo>
                    <a:lnTo>
                      <a:pt x="8619" y="1804"/>
                    </a:lnTo>
                    <a:lnTo>
                      <a:pt x="8626" y="1804"/>
                    </a:lnTo>
                    <a:lnTo>
                      <a:pt x="8639" y="1809"/>
                    </a:lnTo>
                    <a:lnTo>
                      <a:pt x="8652" y="1815"/>
                    </a:lnTo>
                    <a:lnTo>
                      <a:pt x="8665" y="1818"/>
                    </a:lnTo>
                    <a:lnTo>
                      <a:pt x="8677" y="1822"/>
                    </a:lnTo>
                    <a:lnTo>
                      <a:pt x="8690" y="1825"/>
                    </a:lnTo>
                    <a:lnTo>
                      <a:pt x="8702" y="1830"/>
                    </a:lnTo>
                    <a:lnTo>
                      <a:pt x="8715" y="1832"/>
                    </a:lnTo>
                    <a:lnTo>
                      <a:pt x="8728" y="1833"/>
                    </a:lnTo>
                    <a:lnTo>
                      <a:pt x="8751" y="1835"/>
                    </a:lnTo>
                    <a:lnTo>
                      <a:pt x="8774" y="1837"/>
                    </a:lnTo>
                    <a:lnTo>
                      <a:pt x="8796" y="1837"/>
                    </a:lnTo>
                    <a:lnTo>
                      <a:pt x="8817" y="1837"/>
                    </a:lnTo>
                    <a:lnTo>
                      <a:pt x="8814" y="1838"/>
                    </a:lnTo>
                    <a:lnTo>
                      <a:pt x="8812" y="1840"/>
                    </a:lnTo>
                    <a:lnTo>
                      <a:pt x="8811" y="1842"/>
                    </a:lnTo>
                    <a:lnTo>
                      <a:pt x="8807" y="1846"/>
                    </a:lnTo>
                    <a:lnTo>
                      <a:pt x="8804" y="1850"/>
                    </a:lnTo>
                    <a:lnTo>
                      <a:pt x="8802" y="1851"/>
                    </a:lnTo>
                    <a:lnTo>
                      <a:pt x="8799" y="1853"/>
                    </a:lnTo>
                    <a:lnTo>
                      <a:pt x="8798" y="1855"/>
                    </a:lnTo>
                    <a:lnTo>
                      <a:pt x="8794" y="1857"/>
                    </a:lnTo>
                    <a:lnTo>
                      <a:pt x="8791" y="1858"/>
                    </a:lnTo>
                    <a:lnTo>
                      <a:pt x="8787" y="1861"/>
                    </a:lnTo>
                    <a:lnTo>
                      <a:pt x="8783" y="1861"/>
                    </a:lnTo>
                    <a:lnTo>
                      <a:pt x="8778" y="1863"/>
                    </a:lnTo>
                    <a:lnTo>
                      <a:pt x="8772" y="1863"/>
                    </a:lnTo>
                    <a:lnTo>
                      <a:pt x="8761" y="1861"/>
                    </a:lnTo>
                    <a:lnTo>
                      <a:pt x="8750" y="1858"/>
                    </a:lnTo>
                    <a:lnTo>
                      <a:pt x="8737" y="1857"/>
                    </a:lnTo>
                    <a:lnTo>
                      <a:pt x="8726" y="1855"/>
                    </a:lnTo>
                    <a:lnTo>
                      <a:pt x="8713" y="1855"/>
                    </a:lnTo>
                    <a:lnTo>
                      <a:pt x="8726" y="1861"/>
                    </a:lnTo>
                    <a:lnTo>
                      <a:pt x="8738" y="1865"/>
                    </a:lnTo>
                    <a:lnTo>
                      <a:pt x="8751" y="1868"/>
                    </a:lnTo>
                    <a:lnTo>
                      <a:pt x="8764" y="1870"/>
                    </a:lnTo>
                    <a:lnTo>
                      <a:pt x="8778" y="1870"/>
                    </a:lnTo>
                    <a:lnTo>
                      <a:pt x="8789" y="1871"/>
                    </a:lnTo>
                    <a:lnTo>
                      <a:pt x="8805" y="1871"/>
                    </a:lnTo>
                    <a:lnTo>
                      <a:pt x="8804" y="1873"/>
                    </a:lnTo>
                    <a:lnTo>
                      <a:pt x="8804" y="1876"/>
                    </a:lnTo>
                    <a:lnTo>
                      <a:pt x="8804" y="1878"/>
                    </a:lnTo>
                    <a:lnTo>
                      <a:pt x="8805" y="1879"/>
                    </a:lnTo>
                    <a:lnTo>
                      <a:pt x="8807" y="1883"/>
                    </a:lnTo>
                    <a:lnTo>
                      <a:pt x="8809" y="1885"/>
                    </a:lnTo>
                    <a:lnTo>
                      <a:pt x="8809" y="1886"/>
                    </a:lnTo>
                    <a:lnTo>
                      <a:pt x="8811" y="1891"/>
                    </a:lnTo>
                    <a:lnTo>
                      <a:pt x="8811" y="1894"/>
                    </a:lnTo>
                    <a:lnTo>
                      <a:pt x="8809" y="1896"/>
                    </a:lnTo>
                    <a:lnTo>
                      <a:pt x="8807" y="1899"/>
                    </a:lnTo>
                    <a:lnTo>
                      <a:pt x="8804" y="1903"/>
                    </a:lnTo>
                    <a:lnTo>
                      <a:pt x="8802" y="1906"/>
                    </a:lnTo>
                    <a:lnTo>
                      <a:pt x="8798" y="1907"/>
                    </a:lnTo>
                    <a:lnTo>
                      <a:pt x="8850" y="1907"/>
                    </a:lnTo>
                    <a:lnTo>
                      <a:pt x="8875" y="1907"/>
                    </a:lnTo>
                    <a:lnTo>
                      <a:pt x="8901" y="1907"/>
                    </a:lnTo>
                    <a:lnTo>
                      <a:pt x="8898" y="1914"/>
                    </a:lnTo>
                    <a:lnTo>
                      <a:pt x="8891" y="1924"/>
                    </a:lnTo>
                    <a:lnTo>
                      <a:pt x="8885" y="1929"/>
                    </a:lnTo>
                    <a:lnTo>
                      <a:pt x="8878" y="1937"/>
                    </a:lnTo>
                    <a:lnTo>
                      <a:pt x="8870" y="1940"/>
                    </a:lnTo>
                    <a:lnTo>
                      <a:pt x="8860" y="1944"/>
                    </a:lnTo>
                    <a:lnTo>
                      <a:pt x="8852" y="1947"/>
                    </a:lnTo>
                    <a:lnTo>
                      <a:pt x="8840" y="1952"/>
                    </a:lnTo>
                    <a:lnTo>
                      <a:pt x="8831" y="1953"/>
                    </a:lnTo>
                    <a:lnTo>
                      <a:pt x="8822" y="1955"/>
                    </a:lnTo>
                    <a:lnTo>
                      <a:pt x="8812" y="1955"/>
                    </a:lnTo>
                    <a:lnTo>
                      <a:pt x="8805" y="1957"/>
                    </a:lnTo>
                    <a:lnTo>
                      <a:pt x="8814" y="1957"/>
                    </a:lnTo>
                    <a:lnTo>
                      <a:pt x="8825" y="1957"/>
                    </a:lnTo>
                    <a:lnTo>
                      <a:pt x="8835" y="1957"/>
                    </a:lnTo>
                    <a:lnTo>
                      <a:pt x="8842" y="1957"/>
                    </a:lnTo>
                    <a:lnTo>
                      <a:pt x="8850" y="1957"/>
                    </a:lnTo>
                    <a:lnTo>
                      <a:pt x="8850" y="1966"/>
                    </a:lnTo>
                    <a:lnTo>
                      <a:pt x="8848" y="1975"/>
                    </a:lnTo>
                    <a:lnTo>
                      <a:pt x="8844" y="1981"/>
                    </a:lnTo>
                    <a:lnTo>
                      <a:pt x="8840" y="1986"/>
                    </a:lnTo>
                    <a:lnTo>
                      <a:pt x="8837" y="1992"/>
                    </a:lnTo>
                    <a:lnTo>
                      <a:pt x="8831" y="1996"/>
                    </a:lnTo>
                    <a:lnTo>
                      <a:pt x="8825" y="1999"/>
                    </a:lnTo>
                    <a:lnTo>
                      <a:pt x="8820" y="2003"/>
                    </a:lnTo>
                    <a:lnTo>
                      <a:pt x="8812" y="2005"/>
                    </a:lnTo>
                    <a:lnTo>
                      <a:pt x="8805" y="2006"/>
                    </a:lnTo>
                    <a:lnTo>
                      <a:pt x="8792" y="2008"/>
                    </a:lnTo>
                    <a:lnTo>
                      <a:pt x="8778" y="2008"/>
                    </a:lnTo>
                    <a:lnTo>
                      <a:pt x="8764" y="2008"/>
                    </a:lnTo>
                    <a:lnTo>
                      <a:pt x="8758" y="2013"/>
                    </a:lnTo>
                    <a:lnTo>
                      <a:pt x="8751" y="2014"/>
                    </a:lnTo>
                    <a:lnTo>
                      <a:pt x="8748" y="2018"/>
                    </a:lnTo>
                    <a:lnTo>
                      <a:pt x="8744" y="2019"/>
                    </a:lnTo>
                    <a:lnTo>
                      <a:pt x="8741" y="2021"/>
                    </a:lnTo>
                    <a:lnTo>
                      <a:pt x="8737" y="2021"/>
                    </a:lnTo>
                    <a:lnTo>
                      <a:pt x="8731" y="2023"/>
                    </a:lnTo>
                    <a:lnTo>
                      <a:pt x="8728" y="2025"/>
                    </a:lnTo>
                    <a:lnTo>
                      <a:pt x="8722" y="2025"/>
                    </a:lnTo>
                    <a:lnTo>
                      <a:pt x="8718" y="2027"/>
                    </a:lnTo>
                    <a:lnTo>
                      <a:pt x="8713" y="2027"/>
                    </a:lnTo>
                    <a:lnTo>
                      <a:pt x="8711" y="2027"/>
                    </a:lnTo>
                    <a:lnTo>
                      <a:pt x="8709" y="2027"/>
                    </a:lnTo>
                    <a:lnTo>
                      <a:pt x="8705" y="2027"/>
                    </a:lnTo>
                    <a:lnTo>
                      <a:pt x="8704" y="2027"/>
                    </a:lnTo>
                    <a:lnTo>
                      <a:pt x="8700" y="2027"/>
                    </a:lnTo>
                    <a:lnTo>
                      <a:pt x="8694" y="2027"/>
                    </a:lnTo>
                    <a:lnTo>
                      <a:pt x="8689" y="2027"/>
                    </a:lnTo>
                    <a:lnTo>
                      <a:pt x="8684" y="2027"/>
                    </a:lnTo>
                    <a:lnTo>
                      <a:pt x="8676" y="2027"/>
                    </a:lnTo>
                    <a:lnTo>
                      <a:pt x="8667" y="2027"/>
                    </a:lnTo>
                    <a:lnTo>
                      <a:pt x="8656" y="2027"/>
                    </a:lnTo>
                    <a:lnTo>
                      <a:pt x="8643" y="2027"/>
                    </a:lnTo>
                    <a:lnTo>
                      <a:pt x="8651" y="2033"/>
                    </a:lnTo>
                    <a:lnTo>
                      <a:pt x="8656" y="2036"/>
                    </a:lnTo>
                    <a:lnTo>
                      <a:pt x="8659" y="2039"/>
                    </a:lnTo>
                    <a:lnTo>
                      <a:pt x="8661" y="2042"/>
                    </a:lnTo>
                    <a:lnTo>
                      <a:pt x="8663" y="2044"/>
                    </a:lnTo>
                    <a:lnTo>
                      <a:pt x="8663" y="2046"/>
                    </a:lnTo>
                    <a:lnTo>
                      <a:pt x="8663" y="2047"/>
                    </a:lnTo>
                    <a:lnTo>
                      <a:pt x="8661" y="2049"/>
                    </a:lnTo>
                    <a:lnTo>
                      <a:pt x="8659" y="2051"/>
                    </a:lnTo>
                    <a:lnTo>
                      <a:pt x="8657" y="2052"/>
                    </a:lnTo>
                    <a:lnTo>
                      <a:pt x="8654" y="2054"/>
                    </a:lnTo>
                    <a:lnTo>
                      <a:pt x="8648" y="2059"/>
                    </a:lnTo>
                    <a:lnTo>
                      <a:pt x="8643" y="2060"/>
                    </a:lnTo>
                    <a:lnTo>
                      <a:pt x="8648" y="2060"/>
                    </a:lnTo>
                    <a:lnTo>
                      <a:pt x="8654" y="2060"/>
                    </a:lnTo>
                    <a:lnTo>
                      <a:pt x="8657" y="2060"/>
                    </a:lnTo>
                    <a:lnTo>
                      <a:pt x="8659" y="2060"/>
                    </a:lnTo>
                    <a:lnTo>
                      <a:pt x="8661" y="2062"/>
                    </a:lnTo>
                    <a:lnTo>
                      <a:pt x="8663" y="2062"/>
                    </a:lnTo>
                    <a:lnTo>
                      <a:pt x="8661" y="2064"/>
                    </a:lnTo>
                    <a:lnTo>
                      <a:pt x="8659" y="2066"/>
                    </a:lnTo>
                    <a:lnTo>
                      <a:pt x="8656" y="2067"/>
                    </a:lnTo>
                    <a:lnTo>
                      <a:pt x="8651" y="2072"/>
                    </a:lnTo>
                    <a:lnTo>
                      <a:pt x="8643" y="2079"/>
                    </a:lnTo>
                    <a:lnTo>
                      <a:pt x="8656" y="2079"/>
                    </a:lnTo>
                    <a:lnTo>
                      <a:pt x="8661" y="2079"/>
                    </a:lnTo>
                    <a:lnTo>
                      <a:pt x="8667" y="2079"/>
                    </a:lnTo>
                    <a:lnTo>
                      <a:pt x="8672" y="2079"/>
                    </a:lnTo>
                    <a:lnTo>
                      <a:pt x="8674" y="2079"/>
                    </a:lnTo>
                    <a:lnTo>
                      <a:pt x="8669" y="2080"/>
                    </a:lnTo>
                    <a:lnTo>
                      <a:pt x="8665" y="2082"/>
                    </a:lnTo>
                    <a:lnTo>
                      <a:pt x="8663" y="2084"/>
                    </a:lnTo>
                    <a:lnTo>
                      <a:pt x="8657" y="2090"/>
                    </a:lnTo>
                    <a:lnTo>
                      <a:pt x="8654" y="2093"/>
                    </a:lnTo>
                    <a:lnTo>
                      <a:pt x="8652" y="2099"/>
                    </a:lnTo>
                    <a:lnTo>
                      <a:pt x="8651" y="2103"/>
                    </a:lnTo>
                    <a:lnTo>
                      <a:pt x="8651" y="2108"/>
                    </a:lnTo>
                    <a:lnTo>
                      <a:pt x="8652" y="2113"/>
                    </a:lnTo>
                    <a:lnTo>
                      <a:pt x="8654" y="2120"/>
                    </a:lnTo>
                    <a:lnTo>
                      <a:pt x="8656" y="2126"/>
                    </a:lnTo>
                    <a:lnTo>
                      <a:pt x="8659" y="2133"/>
                    </a:lnTo>
                    <a:lnTo>
                      <a:pt x="8663" y="2138"/>
                    </a:lnTo>
                    <a:lnTo>
                      <a:pt x="8671" y="2151"/>
                    </a:lnTo>
                    <a:lnTo>
                      <a:pt x="8677" y="2164"/>
                    </a:lnTo>
                    <a:lnTo>
                      <a:pt x="8682" y="2167"/>
                    </a:lnTo>
                    <a:lnTo>
                      <a:pt x="8684" y="2171"/>
                    </a:lnTo>
                    <a:lnTo>
                      <a:pt x="8685" y="2174"/>
                    </a:lnTo>
                    <a:lnTo>
                      <a:pt x="8685" y="2176"/>
                    </a:lnTo>
                    <a:lnTo>
                      <a:pt x="8685" y="2180"/>
                    </a:lnTo>
                    <a:lnTo>
                      <a:pt x="8685" y="2184"/>
                    </a:lnTo>
                    <a:lnTo>
                      <a:pt x="8685" y="2187"/>
                    </a:lnTo>
                    <a:lnTo>
                      <a:pt x="8684" y="2191"/>
                    </a:lnTo>
                    <a:lnTo>
                      <a:pt x="8680" y="2199"/>
                    </a:lnTo>
                    <a:lnTo>
                      <a:pt x="8674" y="2206"/>
                    </a:lnTo>
                    <a:lnTo>
                      <a:pt x="8669" y="2214"/>
                    </a:lnTo>
                    <a:lnTo>
                      <a:pt x="8661" y="2219"/>
                    </a:lnTo>
                    <a:lnTo>
                      <a:pt x="8652" y="2227"/>
                    </a:lnTo>
                    <a:lnTo>
                      <a:pt x="8643" y="2232"/>
                    </a:lnTo>
                    <a:lnTo>
                      <a:pt x="8633" y="2237"/>
                    </a:lnTo>
                    <a:lnTo>
                      <a:pt x="8624" y="2241"/>
                    </a:lnTo>
                    <a:lnTo>
                      <a:pt x="8615" y="2245"/>
                    </a:lnTo>
                    <a:lnTo>
                      <a:pt x="8606" y="2248"/>
                    </a:lnTo>
                    <a:lnTo>
                      <a:pt x="8598" y="2248"/>
                    </a:lnTo>
                    <a:lnTo>
                      <a:pt x="8591" y="2250"/>
                    </a:lnTo>
                    <a:lnTo>
                      <a:pt x="8580" y="2250"/>
                    </a:lnTo>
                    <a:lnTo>
                      <a:pt x="8569" y="2252"/>
                    </a:lnTo>
                    <a:lnTo>
                      <a:pt x="8560" y="2256"/>
                    </a:lnTo>
                    <a:lnTo>
                      <a:pt x="8550" y="2261"/>
                    </a:lnTo>
                    <a:lnTo>
                      <a:pt x="8544" y="2265"/>
                    </a:lnTo>
                    <a:lnTo>
                      <a:pt x="8536" y="2271"/>
                    </a:lnTo>
                    <a:lnTo>
                      <a:pt x="8523" y="2284"/>
                    </a:lnTo>
                    <a:lnTo>
                      <a:pt x="8517" y="2288"/>
                    </a:lnTo>
                    <a:lnTo>
                      <a:pt x="8511" y="2289"/>
                    </a:lnTo>
                    <a:lnTo>
                      <a:pt x="8506" y="2293"/>
                    </a:lnTo>
                    <a:lnTo>
                      <a:pt x="8503" y="2294"/>
                    </a:lnTo>
                    <a:lnTo>
                      <a:pt x="8495" y="2296"/>
                    </a:lnTo>
                    <a:lnTo>
                      <a:pt x="8488" y="2298"/>
                    </a:lnTo>
                    <a:lnTo>
                      <a:pt x="8483" y="2301"/>
                    </a:lnTo>
                    <a:lnTo>
                      <a:pt x="8475" y="2301"/>
                    </a:lnTo>
                    <a:lnTo>
                      <a:pt x="8471" y="2301"/>
                    </a:lnTo>
                    <a:lnTo>
                      <a:pt x="8465" y="2302"/>
                    </a:lnTo>
                    <a:lnTo>
                      <a:pt x="8460" y="2302"/>
                    </a:lnTo>
                    <a:lnTo>
                      <a:pt x="8455" y="2302"/>
                    </a:lnTo>
                    <a:lnTo>
                      <a:pt x="8434" y="2313"/>
                    </a:lnTo>
                    <a:lnTo>
                      <a:pt x="8412" y="2326"/>
                    </a:lnTo>
                    <a:lnTo>
                      <a:pt x="8389" y="2337"/>
                    </a:lnTo>
                    <a:lnTo>
                      <a:pt x="8377" y="2342"/>
                    </a:lnTo>
                    <a:lnTo>
                      <a:pt x="8366" y="2347"/>
                    </a:lnTo>
                    <a:lnTo>
                      <a:pt x="8353" y="2350"/>
                    </a:lnTo>
                    <a:lnTo>
                      <a:pt x="8342" y="2354"/>
                    </a:lnTo>
                    <a:lnTo>
                      <a:pt x="8328" y="2355"/>
                    </a:lnTo>
                    <a:lnTo>
                      <a:pt x="8316" y="2357"/>
                    </a:lnTo>
                    <a:lnTo>
                      <a:pt x="8303" y="2357"/>
                    </a:lnTo>
                    <a:lnTo>
                      <a:pt x="8290" y="2357"/>
                    </a:lnTo>
                    <a:lnTo>
                      <a:pt x="8277" y="2355"/>
                    </a:lnTo>
                    <a:lnTo>
                      <a:pt x="8264" y="2354"/>
                    </a:lnTo>
                    <a:lnTo>
                      <a:pt x="8270" y="2350"/>
                    </a:lnTo>
                    <a:lnTo>
                      <a:pt x="8275" y="2347"/>
                    </a:lnTo>
                    <a:lnTo>
                      <a:pt x="8277" y="2345"/>
                    </a:lnTo>
                    <a:lnTo>
                      <a:pt x="8279" y="2342"/>
                    </a:lnTo>
                    <a:lnTo>
                      <a:pt x="8281" y="2341"/>
                    </a:lnTo>
                    <a:lnTo>
                      <a:pt x="8281" y="2339"/>
                    </a:lnTo>
                    <a:lnTo>
                      <a:pt x="8279" y="2337"/>
                    </a:lnTo>
                    <a:lnTo>
                      <a:pt x="8277" y="2335"/>
                    </a:lnTo>
                    <a:lnTo>
                      <a:pt x="8274" y="2334"/>
                    </a:lnTo>
                    <a:lnTo>
                      <a:pt x="8270" y="2330"/>
                    </a:lnTo>
                    <a:lnTo>
                      <a:pt x="8269" y="2326"/>
                    </a:lnTo>
                    <a:lnTo>
                      <a:pt x="8266" y="2324"/>
                    </a:lnTo>
                    <a:lnTo>
                      <a:pt x="8264" y="2322"/>
                    </a:lnTo>
                    <a:lnTo>
                      <a:pt x="8264" y="2319"/>
                    </a:lnTo>
                    <a:lnTo>
                      <a:pt x="8266" y="2319"/>
                    </a:lnTo>
                    <a:lnTo>
                      <a:pt x="8266" y="2317"/>
                    </a:lnTo>
                    <a:lnTo>
                      <a:pt x="8270" y="2315"/>
                    </a:lnTo>
                    <a:lnTo>
                      <a:pt x="8272" y="2313"/>
                    </a:lnTo>
                    <a:lnTo>
                      <a:pt x="8274" y="2309"/>
                    </a:lnTo>
                    <a:lnTo>
                      <a:pt x="8275" y="2307"/>
                    </a:lnTo>
                    <a:lnTo>
                      <a:pt x="8279" y="2304"/>
                    </a:lnTo>
                    <a:lnTo>
                      <a:pt x="8282" y="2301"/>
                    </a:lnTo>
                    <a:lnTo>
                      <a:pt x="8289" y="2294"/>
                    </a:lnTo>
                    <a:lnTo>
                      <a:pt x="8294" y="2291"/>
                    </a:lnTo>
                    <a:lnTo>
                      <a:pt x="8300" y="2284"/>
                    </a:lnTo>
                    <a:lnTo>
                      <a:pt x="8294" y="2286"/>
                    </a:lnTo>
                    <a:lnTo>
                      <a:pt x="8287" y="2288"/>
                    </a:lnTo>
                    <a:lnTo>
                      <a:pt x="8281" y="2289"/>
                    </a:lnTo>
                    <a:lnTo>
                      <a:pt x="8274" y="2293"/>
                    </a:lnTo>
                    <a:lnTo>
                      <a:pt x="8269" y="2296"/>
                    </a:lnTo>
                    <a:lnTo>
                      <a:pt x="8261" y="2298"/>
                    </a:lnTo>
                    <a:lnTo>
                      <a:pt x="8256" y="2301"/>
                    </a:lnTo>
                    <a:lnTo>
                      <a:pt x="8248" y="2302"/>
                    </a:lnTo>
                    <a:lnTo>
                      <a:pt x="8242" y="2301"/>
                    </a:lnTo>
                    <a:lnTo>
                      <a:pt x="8239" y="2298"/>
                    </a:lnTo>
                    <a:lnTo>
                      <a:pt x="8236" y="2296"/>
                    </a:lnTo>
                    <a:lnTo>
                      <a:pt x="8235" y="2293"/>
                    </a:lnTo>
                    <a:lnTo>
                      <a:pt x="8236" y="2289"/>
                    </a:lnTo>
                    <a:lnTo>
                      <a:pt x="8239" y="2288"/>
                    </a:lnTo>
                    <a:lnTo>
                      <a:pt x="8242" y="2286"/>
                    </a:lnTo>
                    <a:lnTo>
                      <a:pt x="8248" y="2284"/>
                    </a:lnTo>
                    <a:lnTo>
                      <a:pt x="8248" y="2278"/>
                    </a:lnTo>
                    <a:lnTo>
                      <a:pt x="8248" y="2274"/>
                    </a:lnTo>
                    <a:lnTo>
                      <a:pt x="8248" y="2271"/>
                    </a:lnTo>
                    <a:lnTo>
                      <a:pt x="8246" y="2269"/>
                    </a:lnTo>
                    <a:lnTo>
                      <a:pt x="8244" y="2269"/>
                    </a:lnTo>
                    <a:lnTo>
                      <a:pt x="8241" y="2267"/>
                    </a:lnTo>
                    <a:lnTo>
                      <a:pt x="8242" y="2267"/>
                    </a:lnTo>
                    <a:lnTo>
                      <a:pt x="8244" y="2267"/>
                    </a:lnTo>
                    <a:lnTo>
                      <a:pt x="8242" y="2265"/>
                    </a:lnTo>
                    <a:lnTo>
                      <a:pt x="8236" y="2265"/>
                    </a:lnTo>
                    <a:lnTo>
                      <a:pt x="8233" y="2263"/>
                    </a:lnTo>
                    <a:lnTo>
                      <a:pt x="8228" y="2263"/>
                    </a:lnTo>
                    <a:lnTo>
                      <a:pt x="8218" y="2261"/>
                    </a:lnTo>
                    <a:lnTo>
                      <a:pt x="8213" y="2260"/>
                    </a:lnTo>
                    <a:lnTo>
                      <a:pt x="8209" y="2260"/>
                    </a:lnTo>
                    <a:lnTo>
                      <a:pt x="8208" y="2260"/>
                    </a:lnTo>
                    <a:lnTo>
                      <a:pt x="8205" y="2260"/>
                    </a:lnTo>
                    <a:lnTo>
                      <a:pt x="8203" y="2261"/>
                    </a:lnTo>
                    <a:lnTo>
                      <a:pt x="8202" y="2261"/>
                    </a:lnTo>
                    <a:lnTo>
                      <a:pt x="8198" y="2260"/>
                    </a:lnTo>
                    <a:lnTo>
                      <a:pt x="8195" y="2260"/>
                    </a:lnTo>
                    <a:lnTo>
                      <a:pt x="8188" y="2260"/>
                    </a:lnTo>
                    <a:lnTo>
                      <a:pt x="8183" y="2261"/>
                    </a:lnTo>
                    <a:lnTo>
                      <a:pt x="8180" y="2263"/>
                    </a:lnTo>
                    <a:lnTo>
                      <a:pt x="8170" y="2267"/>
                    </a:lnTo>
                    <a:lnTo>
                      <a:pt x="8162" y="2273"/>
                    </a:lnTo>
                    <a:lnTo>
                      <a:pt x="8152" y="2278"/>
                    </a:lnTo>
                    <a:lnTo>
                      <a:pt x="8144" y="2284"/>
                    </a:lnTo>
                    <a:lnTo>
                      <a:pt x="8148" y="2284"/>
                    </a:lnTo>
                    <a:lnTo>
                      <a:pt x="8152" y="2281"/>
                    </a:lnTo>
                    <a:lnTo>
                      <a:pt x="8155" y="2281"/>
                    </a:lnTo>
                    <a:lnTo>
                      <a:pt x="8162" y="2280"/>
                    </a:lnTo>
                    <a:lnTo>
                      <a:pt x="8170" y="2274"/>
                    </a:lnTo>
                    <a:lnTo>
                      <a:pt x="8180" y="2269"/>
                    </a:lnTo>
                    <a:lnTo>
                      <a:pt x="8188" y="2265"/>
                    </a:lnTo>
                    <a:lnTo>
                      <a:pt x="8195" y="2263"/>
                    </a:lnTo>
                    <a:lnTo>
                      <a:pt x="8198" y="2263"/>
                    </a:lnTo>
                    <a:lnTo>
                      <a:pt x="8202" y="2261"/>
                    </a:lnTo>
                    <a:lnTo>
                      <a:pt x="8208" y="2263"/>
                    </a:lnTo>
                    <a:lnTo>
                      <a:pt x="8211" y="2265"/>
                    </a:lnTo>
                    <a:lnTo>
                      <a:pt x="8209" y="2263"/>
                    </a:lnTo>
                    <a:lnTo>
                      <a:pt x="8208" y="2263"/>
                    </a:lnTo>
                    <a:lnTo>
                      <a:pt x="8205" y="2261"/>
                    </a:lnTo>
                    <a:lnTo>
                      <a:pt x="8208" y="2261"/>
                    </a:lnTo>
                    <a:lnTo>
                      <a:pt x="8211" y="2263"/>
                    </a:lnTo>
                    <a:lnTo>
                      <a:pt x="8215" y="2267"/>
                    </a:lnTo>
                    <a:lnTo>
                      <a:pt x="8209" y="2267"/>
                    </a:lnTo>
                    <a:lnTo>
                      <a:pt x="8205" y="2267"/>
                    </a:lnTo>
                    <a:lnTo>
                      <a:pt x="8203" y="2267"/>
                    </a:lnTo>
                    <a:lnTo>
                      <a:pt x="8202" y="2267"/>
                    </a:lnTo>
                    <a:lnTo>
                      <a:pt x="8200" y="2269"/>
                    </a:lnTo>
                    <a:lnTo>
                      <a:pt x="8198" y="2269"/>
                    </a:lnTo>
                    <a:lnTo>
                      <a:pt x="8200" y="2271"/>
                    </a:lnTo>
                    <a:lnTo>
                      <a:pt x="8203" y="2273"/>
                    </a:lnTo>
                    <a:lnTo>
                      <a:pt x="8208" y="2274"/>
                    </a:lnTo>
                    <a:lnTo>
                      <a:pt x="8211" y="2276"/>
                    </a:lnTo>
                    <a:lnTo>
                      <a:pt x="8215" y="2278"/>
                    </a:lnTo>
                    <a:lnTo>
                      <a:pt x="8218" y="2278"/>
                    </a:lnTo>
                    <a:lnTo>
                      <a:pt x="8220" y="2280"/>
                    </a:lnTo>
                    <a:lnTo>
                      <a:pt x="8220" y="2281"/>
                    </a:lnTo>
                    <a:lnTo>
                      <a:pt x="8218" y="2281"/>
                    </a:lnTo>
                    <a:lnTo>
                      <a:pt x="8216" y="2284"/>
                    </a:lnTo>
                    <a:lnTo>
                      <a:pt x="8220" y="2284"/>
                    </a:lnTo>
                    <a:lnTo>
                      <a:pt x="8224" y="2284"/>
                    </a:lnTo>
                    <a:lnTo>
                      <a:pt x="8228" y="2284"/>
                    </a:lnTo>
                    <a:lnTo>
                      <a:pt x="8229" y="2284"/>
                    </a:lnTo>
                    <a:lnTo>
                      <a:pt x="8231" y="2284"/>
                    </a:lnTo>
                    <a:lnTo>
                      <a:pt x="8229" y="2291"/>
                    </a:lnTo>
                    <a:lnTo>
                      <a:pt x="8229" y="2296"/>
                    </a:lnTo>
                    <a:lnTo>
                      <a:pt x="8228" y="2302"/>
                    </a:lnTo>
                    <a:lnTo>
                      <a:pt x="8226" y="2307"/>
                    </a:lnTo>
                    <a:lnTo>
                      <a:pt x="8228" y="2309"/>
                    </a:lnTo>
                    <a:lnTo>
                      <a:pt x="8228" y="2313"/>
                    </a:lnTo>
                    <a:lnTo>
                      <a:pt x="8229" y="2315"/>
                    </a:lnTo>
                    <a:lnTo>
                      <a:pt x="8231" y="2315"/>
                    </a:lnTo>
                    <a:lnTo>
                      <a:pt x="8233" y="2317"/>
                    </a:lnTo>
                    <a:lnTo>
                      <a:pt x="8236" y="2319"/>
                    </a:lnTo>
                    <a:lnTo>
                      <a:pt x="8231" y="2319"/>
                    </a:lnTo>
                    <a:lnTo>
                      <a:pt x="8236" y="2326"/>
                    </a:lnTo>
                    <a:lnTo>
                      <a:pt x="8241" y="2334"/>
                    </a:lnTo>
                    <a:lnTo>
                      <a:pt x="8242" y="2342"/>
                    </a:lnTo>
                    <a:lnTo>
                      <a:pt x="8244" y="2354"/>
                    </a:lnTo>
                    <a:lnTo>
                      <a:pt x="8242" y="2363"/>
                    </a:lnTo>
                    <a:lnTo>
                      <a:pt x="8241" y="2372"/>
                    </a:lnTo>
                    <a:lnTo>
                      <a:pt x="8236" y="2380"/>
                    </a:lnTo>
                    <a:lnTo>
                      <a:pt x="8231" y="2387"/>
                    </a:lnTo>
                    <a:lnTo>
                      <a:pt x="8224" y="2387"/>
                    </a:lnTo>
                    <a:lnTo>
                      <a:pt x="8218" y="2385"/>
                    </a:lnTo>
                    <a:lnTo>
                      <a:pt x="8213" y="2381"/>
                    </a:lnTo>
                    <a:lnTo>
                      <a:pt x="8208" y="2380"/>
                    </a:lnTo>
                    <a:lnTo>
                      <a:pt x="8203" y="2376"/>
                    </a:lnTo>
                    <a:lnTo>
                      <a:pt x="8200" y="2372"/>
                    </a:lnTo>
                    <a:lnTo>
                      <a:pt x="8196" y="2370"/>
                    </a:lnTo>
                    <a:lnTo>
                      <a:pt x="8190" y="2370"/>
                    </a:lnTo>
                    <a:lnTo>
                      <a:pt x="8183" y="2372"/>
                    </a:lnTo>
                    <a:lnTo>
                      <a:pt x="8178" y="2375"/>
                    </a:lnTo>
                    <a:lnTo>
                      <a:pt x="8172" y="2375"/>
                    </a:lnTo>
                    <a:lnTo>
                      <a:pt x="8170" y="2375"/>
                    </a:lnTo>
                    <a:lnTo>
                      <a:pt x="8168" y="2375"/>
                    </a:lnTo>
                    <a:lnTo>
                      <a:pt x="8167" y="2372"/>
                    </a:lnTo>
                    <a:lnTo>
                      <a:pt x="8165" y="2370"/>
                    </a:lnTo>
                    <a:lnTo>
                      <a:pt x="8163" y="2367"/>
                    </a:lnTo>
                    <a:lnTo>
                      <a:pt x="8163" y="2363"/>
                    </a:lnTo>
                    <a:lnTo>
                      <a:pt x="8163" y="2360"/>
                    </a:lnTo>
                    <a:lnTo>
                      <a:pt x="8163" y="2354"/>
                    </a:lnTo>
                    <a:lnTo>
                      <a:pt x="8155" y="2354"/>
                    </a:lnTo>
                    <a:lnTo>
                      <a:pt x="8152" y="2355"/>
                    </a:lnTo>
                    <a:lnTo>
                      <a:pt x="8150" y="2360"/>
                    </a:lnTo>
                    <a:lnTo>
                      <a:pt x="8150" y="2363"/>
                    </a:lnTo>
                    <a:lnTo>
                      <a:pt x="8150" y="2368"/>
                    </a:lnTo>
                    <a:lnTo>
                      <a:pt x="8152" y="2375"/>
                    </a:lnTo>
                    <a:lnTo>
                      <a:pt x="8155" y="2381"/>
                    </a:lnTo>
                    <a:lnTo>
                      <a:pt x="8163" y="2387"/>
                    </a:lnTo>
                    <a:lnTo>
                      <a:pt x="8150" y="2387"/>
                    </a:lnTo>
                    <a:lnTo>
                      <a:pt x="8135" y="2385"/>
                    </a:lnTo>
                    <a:lnTo>
                      <a:pt x="8124" y="2381"/>
                    </a:lnTo>
                    <a:lnTo>
                      <a:pt x="8111" y="2380"/>
                    </a:lnTo>
                    <a:lnTo>
                      <a:pt x="8098" y="2376"/>
                    </a:lnTo>
                    <a:lnTo>
                      <a:pt x="8086" y="2372"/>
                    </a:lnTo>
                    <a:lnTo>
                      <a:pt x="8073" y="2370"/>
                    </a:lnTo>
                    <a:lnTo>
                      <a:pt x="8060" y="2370"/>
                    </a:lnTo>
                    <a:lnTo>
                      <a:pt x="8061" y="2363"/>
                    </a:lnTo>
                    <a:lnTo>
                      <a:pt x="8065" y="2357"/>
                    </a:lnTo>
                    <a:lnTo>
                      <a:pt x="8067" y="2352"/>
                    </a:lnTo>
                    <a:lnTo>
                      <a:pt x="8067" y="2348"/>
                    </a:lnTo>
                    <a:lnTo>
                      <a:pt x="8068" y="2342"/>
                    </a:lnTo>
                    <a:lnTo>
                      <a:pt x="8068" y="2339"/>
                    </a:lnTo>
                    <a:lnTo>
                      <a:pt x="8068" y="2337"/>
                    </a:lnTo>
                    <a:lnTo>
                      <a:pt x="8067" y="2334"/>
                    </a:lnTo>
                    <a:lnTo>
                      <a:pt x="8065" y="2332"/>
                    </a:lnTo>
                    <a:lnTo>
                      <a:pt x="8063" y="2330"/>
                    </a:lnTo>
                    <a:lnTo>
                      <a:pt x="8058" y="2330"/>
                    </a:lnTo>
                    <a:lnTo>
                      <a:pt x="8055" y="2330"/>
                    </a:lnTo>
                    <a:lnTo>
                      <a:pt x="8048" y="2330"/>
                    </a:lnTo>
                    <a:lnTo>
                      <a:pt x="8041" y="2332"/>
                    </a:lnTo>
                    <a:lnTo>
                      <a:pt x="8034" y="2334"/>
                    </a:lnTo>
                    <a:lnTo>
                      <a:pt x="8025" y="2335"/>
                    </a:lnTo>
                    <a:lnTo>
                      <a:pt x="8021" y="2335"/>
                    </a:lnTo>
                    <a:lnTo>
                      <a:pt x="8015" y="2335"/>
                    </a:lnTo>
                    <a:lnTo>
                      <a:pt x="8010" y="2335"/>
                    </a:lnTo>
                    <a:lnTo>
                      <a:pt x="8002" y="2335"/>
                    </a:lnTo>
                    <a:lnTo>
                      <a:pt x="7995" y="2335"/>
                    </a:lnTo>
                    <a:lnTo>
                      <a:pt x="7987" y="2335"/>
                    </a:lnTo>
                    <a:lnTo>
                      <a:pt x="7971" y="2335"/>
                    </a:lnTo>
                    <a:lnTo>
                      <a:pt x="7953" y="2335"/>
                    </a:lnTo>
                    <a:lnTo>
                      <a:pt x="7934" y="2335"/>
                    </a:lnTo>
                    <a:lnTo>
                      <a:pt x="7927" y="2335"/>
                    </a:lnTo>
                    <a:lnTo>
                      <a:pt x="7918" y="2335"/>
                    </a:lnTo>
                    <a:lnTo>
                      <a:pt x="7910" y="2335"/>
                    </a:lnTo>
                    <a:lnTo>
                      <a:pt x="7905" y="2335"/>
                    </a:lnTo>
                    <a:lnTo>
                      <a:pt x="7905" y="2337"/>
                    </a:lnTo>
                    <a:lnTo>
                      <a:pt x="7905" y="2339"/>
                    </a:lnTo>
                    <a:lnTo>
                      <a:pt x="7903" y="2341"/>
                    </a:lnTo>
                    <a:lnTo>
                      <a:pt x="7903" y="2345"/>
                    </a:lnTo>
                    <a:lnTo>
                      <a:pt x="7900" y="2348"/>
                    </a:lnTo>
                    <a:lnTo>
                      <a:pt x="7897" y="2350"/>
                    </a:lnTo>
                    <a:lnTo>
                      <a:pt x="7894" y="2352"/>
                    </a:lnTo>
                    <a:lnTo>
                      <a:pt x="7888" y="2354"/>
                    </a:lnTo>
                    <a:lnTo>
                      <a:pt x="7890" y="2360"/>
                    </a:lnTo>
                    <a:lnTo>
                      <a:pt x="7895" y="2363"/>
                    </a:lnTo>
                    <a:lnTo>
                      <a:pt x="7899" y="2367"/>
                    </a:lnTo>
                    <a:lnTo>
                      <a:pt x="7905" y="2370"/>
                    </a:lnTo>
                    <a:lnTo>
                      <a:pt x="7910" y="2372"/>
                    </a:lnTo>
                    <a:lnTo>
                      <a:pt x="7915" y="2375"/>
                    </a:lnTo>
                    <a:lnTo>
                      <a:pt x="7928" y="2376"/>
                    </a:lnTo>
                    <a:lnTo>
                      <a:pt x="7938" y="2378"/>
                    </a:lnTo>
                    <a:lnTo>
                      <a:pt x="7943" y="2378"/>
                    </a:lnTo>
                    <a:lnTo>
                      <a:pt x="7947" y="2380"/>
                    </a:lnTo>
                    <a:lnTo>
                      <a:pt x="7951" y="2381"/>
                    </a:lnTo>
                    <a:lnTo>
                      <a:pt x="7954" y="2383"/>
                    </a:lnTo>
                    <a:lnTo>
                      <a:pt x="7954" y="2385"/>
                    </a:lnTo>
                    <a:lnTo>
                      <a:pt x="7956" y="2387"/>
                    </a:lnTo>
                    <a:lnTo>
                      <a:pt x="7949" y="2395"/>
                    </a:lnTo>
                    <a:lnTo>
                      <a:pt x="7943" y="2398"/>
                    </a:lnTo>
                    <a:lnTo>
                      <a:pt x="7936" y="2403"/>
                    </a:lnTo>
                    <a:lnTo>
                      <a:pt x="7930" y="2408"/>
                    </a:lnTo>
                    <a:lnTo>
                      <a:pt x="7923" y="2411"/>
                    </a:lnTo>
                    <a:lnTo>
                      <a:pt x="7918" y="2415"/>
                    </a:lnTo>
                    <a:lnTo>
                      <a:pt x="7905" y="2421"/>
                    </a:lnTo>
                    <a:lnTo>
                      <a:pt x="7892" y="2424"/>
                    </a:lnTo>
                    <a:lnTo>
                      <a:pt x="7879" y="2428"/>
                    </a:lnTo>
                    <a:lnTo>
                      <a:pt x="7866" y="2433"/>
                    </a:lnTo>
                    <a:lnTo>
                      <a:pt x="7853" y="2439"/>
                    </a:lnTo>
                    <a:lnTo>
                      <a:pt x="7846" y="2444"/>
                    </a:lnTo>
                    <a:lnTo>
                      <a:pt x="7840" y="2449"/>
                    </a:lnTo>
                    <a:lnTo>
                      <a:pt x="7833" y="2455"/>
                    </a:lnTo>
                    <a:lnTo>
                      <a:pt x="7827" y="2459"/>
                    </a:lnTo>
                    <a:lnTo>
                      <a:pt x="7820" y="2462"/>
                    </a:lnTo>
                    <a:lnTo>
                      <a:pt x="7814" y="2467"/>
                    </a:lnTo>
                    <a:lnTo>
                      <a:pt x="7801" y="2472"/>
                    </a:lnTo>
                    <a:lnTo>
                      <a:pt x="7788" y="2475"/>
                    </a:lnTo>
                    <a:lnTo>
                      <a:pt x="7775" y="2479"/>
                    </a:lnTo>
                    <a:lnTo>
                      <a:pt x="7762" y="2485"/>
                    </a:lnTo>
                    <a:lnTo>
                      <a:pt x="7749" y="2490"/>
                    </a:lnTo>
                    <a:lnTo>
                      <a:pt x="7742" y="2495"/>
                    </a:lnTo>
                    <a:lnTo>
                      <a:pt x="7737" y="2502"/>
                    </a:lnTo>
                    <a:lnTo>
                      <a:pt x="7729" y="2507"/>
                    </a:lnTo>
                    <a:lnTo>
                      <a:pt x="7724" y="2510"/>
                    </a:lnTo>
                    <a:lnTo>
                      <a:pt x="7716" y="2515"/>
                    </a:lnTo>
                    <a:lnTo>
                      <a:pt x="7709" y="2516"/>
                    </a:lnTo>
                    <a:lnTo>
                      <a:pt x="7703" y="2518"/>
                    </a:lnTo>
                    <a:lnTo>
                      <a:pt x="7696" y="2520"/>
                    </a:lnTo>
                    <a:lnTo>
                      <a:pt x="7681" y="2523"/>
                    </a:lnTo>
                    <a:lnTo>
                      <a:pt x="7665" y="2523"/>
                    </a:lnTo>
                    <a:lnTo>
                      <a:pt x="7648" y="2525"/>
                    </a:lnTo>
                    <a:lnTo>
                      <a:pt x="7650" y="2525"/>
                    </a:lnTo>
                    <a:lnTo>
                      <a:pt x="7663" y="2528"/>
                    </a:lnTo>
                    <a:lnTo>
                      <a:pt x="7676" y="2529"/>
                    </a:lnTo>
                    <a:lnTo>
                      <a:pt x="7683" y="2531"/>
                    </a:lnTo>
                    <a:lnTo>
                      <a:pt x="7688" y="2533"/>
                    </a:lnTo>
                    <a:lnTo>
                      <a:pt x="7693" y="2536"/>
                    </a:lnTo>
                    <a:lnTo>
                      <a:pt x="7696" y="2540"/>
                    </a:lnTo>
                    <a:lnTo>
                      <a:pt x="7699" y="2544"/>
                    </a:lnTo>
                    <a:lnTo>
                      <a:pt x="7699" y="2548"/>
                    </a:lnTo>
                    <a:lnTo>
                      <a:pt x="7699" y="2553"/>
                    </a:lnTo>
                    <a:lnTo>
                      <a:pt x="7699" y="2556"/>
                    </a:lnTo>
                    <a:lnTo>
                      <a:pt x="7698" y="2559"/>
                    </a:lnTo>
                    <a:lnTo>
                      <a:pt x="7694" y="2566"/>
                    </a:lnTo>
                    <a:lnTo>
                      <a:pt x="7691" y="2571"/>
                    </a:lnTo>
                    <a:lnTo>
                      <a:pt x="7685" y="2577"/>
                    </a:lnTo>
                    <a:lnTo>
                      <a:pt x="7679" y="2582"/>
                    </a:lnTo>
                    <a:lnTo>
                      <a:pt x="7674" y="2586"/>
                    </a:lnTo>
                    <a:lnTo>
                      <a:pt x="7666" y="2592"/>
                    </a:lnTo>
                    <a:lnTo>
                      <a:pt x="7652" y="2599"/>
                    </a:lnTo>
                    <a:lnTo>
                      <a:pt x="7637" y="2609"/>
                    </a:lnTo>
                    <a:lnTo>
                      <a:pt x="7622" y="2614"/>
                    </a:lnTo>
                    <a:lnTo>
                      <a:pt x="7607" y="2622"/>
                    </a:lnTo>
                    <a:lnTo>
                      <a:pt x="7594" y="2629"/>
                    </a:lnTo>
                    <a:lnTo>
                      <a:pt x="7587" y="2629"/>
                    </a:lnTo>
                    <a:lnTo>
                      <a:pt x="7581" y="2629"/>
                    </a:lnTo>
                    <a:lnTo>
                      <a:pt x="7574" y="2630"/>
                    </a:lnTo>
                    <a:lnTo>
                      <a:pt x="7566" y="2635"/>
                    </a:lnTo>
                    <a:lnTo>
                      <a:pt x="7558" y="2636"/>
                    </a:lnTo>
                    <a:lnTo>
                      <a:pt x="7550" y="2640"/>
                    </a:lnTo>
                    <a:lnTo>
                      <a:pt x="7543" y="2645"/>
                    </a:lnTo>
                    <a:lnTo>
                      <a:pt x="7533" y="2650"/>
                    </a:lnTo>
                    <a:lnTo>
                      <a:pt x="7518" y="2660"/>
                    </a:lnTo>
                    <a:lnTo>
                      <a:pt x="7502" y="2671"/>
                    </a:lnTo>
                    <a:lnTo>
                      <a:pt x="7487" y="2684"/>
                    </a:lnTo>
                    <a:lnTo>
                      <a:pt x="7474" y="2697"/>
                    </a:lnTo>
                    <a:lnTo>
                      <a:pt x="7472" y="2699"/>
                    </a:lnTo>
                    <a:lnTo>
                      <a:pt x="7469" y="2701"/>
                    </a:lnTo>
                    <a:lnTo>
                      <a:pt x="7465" y="2703"/>
                    </a:lnTo>
                    <a:lnTo>
                      <a:pt x="7462" y="2704"/>
                    </a:lnTo>
                    <a:lnTo>
                      <a:pt x="7458" y="2709"/>
                    </a:lnTo>
                    <a:lnTo>
                      <a:pt x="7452" y="2710"/>
                    </a:lnTo>
                    <a:lnTo>
                      <a:pt x="7447" y="2714"/>
                    </a:lnTo>
                    <a:lnTo>
                      <a:pt x="7439" y="2716"/>
                    </a:lnTo>
                    <a:lnTo>
                      <a:pt x="7426" y="2724"/>
                    </a:lnTo>
                    <a:lnTo>
                      <a:pt x="7411" y="2729"/>
                    </a:lnTo>
                    <a:lnTo>
                      <a:pt x="7395" y="2732"/>
                    </a:lnTo>
                    <a:lnTo>
                      <a:pt x="7380" y="2737"/>
                    </a:lnTo>
                    <a:lnTo>
                      <a:pt x="7364" y="2742"/>
                    </a:lnTo>
                    <a:lnTo>
                      <a:pt x="7347" y="2744"/>
                    </a:lnTo>
                    <a:lnTo>
                      <a:pt x="7332" y="2744"/>
                    </a:lnTo>
                    <a:lnTo>
                      <a:pt x="7327" y="2744"/>
                    </a:lnTo>
                    <a:lnTo>
                      <a:pt x="7319" y="2744"/>
                    </a:lnTo>
                    <a:lnTo>
                      <a:pt x="7314" y="2742"/>
                    </a:lnTo>
                    <a:lnTo>
                      <a:pt x="7306" y="2740"/>
                    </a:lnTo>
                    <a:lnTo>
                      <a:pt x="7303" y="2736"/>
                    </a:lnTo>
                    <a:lnTo>
                      <a:pt x="7298" y="2734"/>
                    </a:lnTo>
                    <a:lnTo>
                      <a:pt x="7294" y="2730"/>
                    </a:lnTo>
                    <a:lnTo>
                      <a:pt x="7290" y="2725"/>
                    </a:lnTo>
                    <a:lnTo>
                      <a:pt x="7286" y="2719"/>
                    </a:lnTo>
                    <a:lnTo>
                      <a:pt x="7284" y="2714"/>
                    </a:lnTo>
                    <a:lnTo>
                      <a:pt x="7284" y="2719"/>
                    </a:lnTo>
                    <a:lnTo>
                      <a:pt x="7284" y="2725"/>
                    </a:lnTo>
                    <a:lnTo>
                      <a:pt x="7284" y="2729"/>
                    </a:lnTo>
                    <a:lnTo>
                      <a:pt x="7284" y="2730"/>
                    </a:lnTo>
                    <a:lnTo>
                      <a:pt x="7284" y="2734"/>
                    </a:lnTo>
                    <a:lnTo>
                      <a:pt x="7284" y="2737"/>
                    </a:lnTo>
                    <a:lnTo>
                      <a:pt x="7284" y="2744"/>
                    </a:lnTo>
                    <a:lnTo>
                      <a:pt x="7284" y="2749"/>
                    </a:lnTo>
                    <a:lnTo>
                      <a:pt x="7283" y="2747"/>
                    </a:lnTo>
                    <a:lnTo>
                      <a:pt x="7283" y="2745"/>
                    </a:lnTo>
                    <a:lnTo>
                      <a:pt x="7279" y="2744"/>
                    </a:lnTo>
                    <a:lnTo>
                      <a:pt x="7278" y="2742"/>
                    </a:lnTo>
                    <a:lnTo>
                      <a:pt x="7273" y="2740"/>
                    </a:lnTo>
                    <a:lnTo>
                      <a:pt x="7266" y="2736"/>
                    </a:lnTo>
                    <a:lnTo>
                      <a:pt x="7263" y="2734"/>
                    </a:lnTo>
                    <a:lnTo>
                      <a:pt x="7257" y="2734"/>
                    </a:lnTo>
                    <a:lnTo>
                      <a:pt x="7253" y="2732"/>
                    </a:lnTo>
                    <a:lnTo>
                      <a:pt x="7250" y="2734"/>
                    </a:lnTo>
                    <a:lnTo>
                      <a:pt x="7245" y="2736"/>
                    </a:lnTo>
                    <a:lnTo>
                      <a:pt x="7240" y="2737"/>
                    </a:lnTo>
                    <a:lnTo>
                      <a:pt x="7237" y="2744"/>
                    </a:lnTo>
                    <a:lnTo>
                      <a:pt x="7235" y="2749"/>
                    </a:lnTo>
                    <a:lnTo>
                      <a:pt x="7235" y="2744"/>
                    </a:lnTo>
                    <a:lnTo>
                      <a:pt x="7233" y="2737"/>
                    </a:lnTo>
                    <a:lnTo>
                      <a:pt x="7233" y="2734"/>
                    </a:lnTo>
                    <a:lnTo>
                      <a:pt x="7230" y="2730"/>
                    </a:lnTo>
                    <a:lnTo>
                      <a:pt x="7229" y="2729"/>
                    </a:lnTo>
                    <a:lnTo>
                      <a:pt x="7227" y="2725"/>
                    </a:lnTo>
                    <a:lnTo>
                      <a:pt x="7222" y="2719"/>
                    </a:lnTo>
                    <a:lnTo>
                      <a:pt x="7217" y="2714"/>
                    </a:lnTo>
                    <a:lnTo>
                      <a:pt x="7214" y="2714"/>
                    </a:lnTo>
                    <a:lnTo>
                      <a:pt x="7210" y="2714"/>
                    </a:lnTo>
                    <a:lnTo>
                      <a:pt x="7205" y="2714"/>
                    </a:lnTo>
                    <a:lnTo>
                      <a:pt x="7202" y="2714"/>
                    </a:lnTo>
                    <a:lnTo>
                      <a:pt x="7199" y="2714"/>
                    </a:lnTo>
                    <a:lnTo>
                      <a:pt x="7199" y="2727"/>
                    </a:lnTo>
                    <a:lnTo>
                      <a:pt x="7199" y="2732"/>
                    </a:lnTo>
                    <a:lnTo>
                      <a:pt x="7199" y="2737"/>
                    </a:lnTo>
                    <a:lnTo>
                      <a:pt x="7199" y="2742"/>
                    </a:lnTo>
                    <a:lnTo>
                      <a:pt x="7199" y="2745"/>
                    </a:lnTo>
                    <a:lnTo>
                      <a:pt x="7199" y="2747"/>
                    </a:lnTo>
                    <a:lnTo>
                      <a:pt x="7199" y="2749"/>
                    </a:lnTo>
                    <a:lnTo>
                      <a:pt x="7194" y="2745"/>
                    </a:lnTo>
                    <a:lnTo>
                      <a:pt x="7189" y="2745"/>
                    </a:lnTo>
                    <a:lnTo>
                      <a:pt x="7183" y="2744"/>
                    </a:lnTo>
                    <a:lnTo>
                      <a:pt x="7179" y="2744"/>
                    </a:lnTo>
                    <a:lnTo>
                      <a:pt x="7176" y="2745"/>
                    </a:lnTo>
                    <a:lnTo>
                      <a:pt x="7172" y="2747"/>
                    </a:lnTo>
                    <a:lnTo>
                      <a:pt x="7171" y="2749"/>
                    </a:lnTo>
                    <a:lnTo>
                      <a:pt x="7166" y="2752"/>
                    </a:lnTo>
                    <a:lnTo>
                      <a:pt x="7163" y="2760"/>
                    </a:lnTo>
                    <a:lnTo>
                      <a:pt x="7159" y="2767"/>
                    </a:lnTo>
                    <a:lnTo>
                      <a:pt x="7153" y="2775"/>
                    </a:lnTo>
                    <a:lnTo>
                      <a:pt x="7148" y="2782"/>
                    </a:lnTo>
                    <a:lnTo>
                      <a:pt x="7143" y="2783"/>
                    </a:lnTo>
                    <a:lnTo>
                      <a:pt x="7136" y="2786"/>
                    </a:lnTo>
                    <a:lnTo>
                      <a:pt x="7133" y="2788"/>
                    </a:lnTo>
                    <a:lnTo>
                      <a:pt x="7131" y="2791"/>
                    </a:lnTo>
                    <a:lnTo>
                      <a:pt x="7128" y="2795"/>
                    </a:lnTo>
                    <a:lnTo>
                      <a:pt x="7123" y="2797"/>
                    </a:lnTo>
                    <a:lnTo>
                      <a:pt x="7118" y="2798"/>
                    </a:lnTo>
                    <a:lnTo>
                      <a:pt x="7113" y="2801"/>
                    </a:lnTo>
                    <a:lnTo>
                      <a:pt x="7100" y="2801"/>
                    </a:lnTo>
                    <a:lnTo>
                      <a:pt x="7095" y="2798"/>
                    </a:lnTo>
                    <a:lnTo>
                      <a:pt x="7087" y="2798"/>
                    </a:lnTo>
                    <a:lnTo>
                      <a:pt x="7082" y="2795"/>
                    </a:lnTo>
                    <a:lnTo>
                      <a:pt x="7074" y="2793"/>
                    </a:lnTo>
                    <a:lnTo>
                      <a:pt x="7069" y="2788"/>
                    </a:lnTo>
                    <a:lnTo>
                      <a:pt x="7061" y="2782"/>
                    </a:lnTo>
                    <a:lnTo>
                      <a:pt x="7061" y="2788"/>
                    </a:lnTo>
                    <a:lnTo>
                      <a:pt x="7061" y="2791"/>
                    </a:lnTo>
                    <a:lnTo>
                      <a:pt x="7059" y="2795"/>
                    </a:lnTo>
                    <a:lnTo>
                      <a:pt x="7057" y="2797"/>
                    </a:lnTo>
                    <a:lnTo>
                      <a:pt x="7056" y="2801"/>
                    </a:lnTo>
                    <a:lnTo>
                      <a:pt x="7052" y="2803"/>
                    </a:lnTo>
                    <a:lnTo>
                      <a:pt x="7044" y="2804"/>
                    </a:lnTo>
                    <a:lnTo>
                      <a:pt x="7037" y="2806"/>
                    </a:lnTo>
                    <a:lnTo>
                      <a:pt x="7028" y="2806"/>
                    </a:lnTo>
                    <a:lnTo>
                      <a:pt x="7019" y="2804"/>
                    </a:lnTo>
                    <a:lnTo>
                      <a:pt x="7008" y="2803"/>
                    </a:lnTo>
                    <a:lnTo>
                      <a:pt x="6996" y="2798"/>
                    </a:lnTo>
                    <a:lnTo>
                      <a:pt x="6987" y="2797"/>
                    </a:lnTo>
                    <a:lnTo>
                      <a:pt x="6976" y="2793"/>
                    </a:lnTo>
                    <a:lnTo>
                      <a:pt x="6967" y="2790"/>
                    </a:lnTo>
                    <a:lnTo>
                      <a:pt x="6958" y="2788"/>
                    </a:lnTo>
                    <a:lnTo>
                      <a:pt x="6950" y="2783"/>
                    </a:lnTo>
                    <a:lnTo>
                      <a:pt x="6945" y="2783"/>
                    </a:lnTo>
                    <a:lnTo>
                      <a:pt x="6943" y="2782"/>
                    </a:lnTo>
                    <a:lnTo>
                      <a:pt x="6941" y="2782"/>
                    </a:lnTo>
                    <a:lnTo>
                      <a:pt x="6936" y="2780"/>
                    </a:lnTo>
                    <a:lnTo>
                      <a:pt x="6930" y="2780"/>
                    </a:lnTo>
                    <a:lnTo>
                      <a:pt x="6919" y="2778"/>
                    </a:lnTo>
                    <a:lnTo>
                      <a:pt x="6904" y="2777"/>
                    </a:lnTo>
                    <a:lnTo>
                      <a:pt x="6889" y="2775"/>
                    </a:lnTo>
                    <a:lnTo>
                      <a:pt x="6875" y="2773"/>
                    </a:lnTo>
                    <a:lnTo>
                      <a:pt x="6858" y="2771"/>
                    </a:lnTo>
                    <a:lnTo>
                      <a:pt x="6842" y="2770"/>
                    </a:lnTo>
                    <a:lnTo>
                      <a:pt x="6825" y="2767"/>
                    </a:lnTo>
                    <a:lnTo>
                      <a:pt x="6810" y="2765"/>
                    </a:lnTo>
                    <a:lnTo>
                      <a:pt x="6794" y="2762"/>
                    </a:lnTo>
                    <a:lnTo>
                      <a:pt x="6781" y="2757"/>
                    </a:lnTo>
                    <a:lnTo>
                      <a:pt x="6768" y="2750"/>
                    </a:lnTo>
                    <a:lnTo>
                      <a:pt x="6762" y="2747"/>
                    </a:lnTo>
                    <a:lnTo>
                      <a:pt x="6756" y="2744"/>
                    </a:lnTo>
                    <a:lnTo>
                      <a:pt x="6751" y="2740"/>
                    </a:lnTo>
                    <a:lnTo>
                      <a:pt x="6748" y="2736"/>
                    </a:lnTo>
                    <a:lnTo>
                      <a:pt x="6743" y="2730"/>
                    </a:lnTo>
                    <a:lnTo>
                      <a:pt x="6740" y="2725"/>
                    </a:lnTo>
                    <a:lnTo>
                      <a:pt x="6740" y="2729"/>
                    </a:lnTo>
                    <a:lnTo>
                      <a:pt x="6740" y="2732"/>
                    </a:lnTo>
                    <a:lnTo>
                      <a:pt x="6738" y="2734"/>
                    </a:lnTo>
                    <a:lnTo>
                      <a:pt x="6736" y="2736"/>
                    </a:lnTo>
                    <a:lnTo>
                      <a:pt x="6735" y="2736"/>
                    </a:lnTo>
                    <a:lnTo>
                      <a:pt x="6731" y="2737"/>
                    </a:lnTo>
                    <a:lnTo>
                      <a:pt x="6723" y="2740"/>
                    </a:lnTo>
                    <a:lnTo>
                      <a:pt x="6716" y="2742"/>
                    </a:lnTo>
                    <a:lnTo>
                      <a:pt x="6712" y="2742"/>
                    </a:lnTo>
                    <a:lnTo>
                      <a:pt x="6707" y="2744"/>
                    </a:lnTo>
                    <a:lnTo>
                      <a:pt x="6703" y="2745"/>
                    </a:lnTo>
                    <a:lnTo>
                      <a:pt x="6702" y="2749"/>
                    </a:lnTo>
                    <a:lnTo>
                      <a:pt x="6700" y="2749"/>
                    </a:lnTo>
                    <a:lnTo>
                      <a:pt x="6697" y="2749"/>
                    </a:lnTo>
                    <a:lnTo>
                      <a:pt x="6697" y="2750"/>
                    </a:lnTo>
                    <a:lnTo>
                      <a:pt x="6700" y="2750"/>
                    </a:lnTo>
                    <a:lnTo>
                      <a:pt x="6702" y="2752"/>
                    </a:lnTo>
                    <a:lnTo>
                      <a:pt x="6705" y="2755"/>
                    </a:lnTo>
                    <a:lnTo>
                      <a:pt x="6708" y="2758"/>
                    </a:lnTo>
                    <a:lnTo>
                      <a:pt x="6715" y="2760"/>
                    </a:lnTo>
                    <a:lnTo>
                      <a:pt x="6720" y="2762"/>
                    </a:lnTo>
                    <a:lnTo>
                      <a:pt x="6725" y="2762"/>
                    </a:lnTo>
                    <a:lnTo>
                      <a:pt x="6731" y="2763"/>
                    </a:lnTo>
                    <a:lnTo>
                      <a:pt x="6736" y="2763"/>
                    </a:lnTo>
                    <a:lnTo>
                      <a:pt x="6741" y="2763"/>
                    </a:lnTo>
                    <a:lnTo>
                      <a:pt x="6746" y="2762"/>
                    </a:lnTo>
                    <a:lnTo>
                      <a:pt x="6749" y="2758"/>
                    </a:lnTo>
                    <a:lnTo>
                      <a:pt x="6751" y="2755"/>
                    </a:lnTo>
                    <a:lnTo>
                      <a:pt x="6753" y="2749"/>
                    </a:lnTo>
                    <a:lnTo>
                      <a:pt x="6766" y="2755"/>
                    </a:lnTo>
                    <a:lnTo>
                      <a:pt x="6781" y="2762"/>
                    </a:lnTo>
                    <a:lnTo>
                      <a:pt x="6795" y="2767"/>
                    </a:lnTo>
                    <a:lnTo>
                      <a:pt x="6812" y="2771"/>
                    </a:lnTo>
                    <a:lnTo>
                      <a:pt x="6829" y="2777"/>
                    </a:lnTo>
                    <a:lnTo>
                      <a:pt x="6843" y="2780"/>
                    </a:lnTo>
                    <a:lnTo>
                      <a:pt x="6858" y="2782"/>
                    </a:lnTo>
                    <a:lnTo>
                      <a:pt x="6873" y="2782"/>
                    </a:lnTo>
                    <a:lnTo>
                      <a:pt x="6871" y="2783"/>
                    </a:lnTo>
                    <a:lnTo>
                      <a:pt x="6869" y="2788"/>
                    </a:lnTo>
                    <a:lnTo>
                      <a:pt x="6865" y="2790"/>
                    </a:lnTo>
                    <a:lnTo>
                      <a:pt x="6862" y="2795"/>
                    </a:lnTo>
                    <a:lnTo>
                      <a:pt x="6856" y="2801"/>
                    </a:lnTo>
                    <a:lnTo>
                      <a:pt x="6868" y="2798"/>
                    </a:lnTo>
                    <a:lnTo>
                      <a:pt x="6880" y="2797"/>
                    </a:lnTo>
                    <a:lnTo>
                      <a:pt x="6891" y="2795"/>
                    </a:lnTo>
                    <a:lnTo>
                      <a:pt x="6902" y="2793"/>
                    </a:lnTo>
                    <a:lnTo>
                      <a:pt x="6908" y="2793"/>
                    </a:lnTo>
                    <a:lnTo>
                      <a:pt x="6912" y="2793"/>
                    </a:lnTo>
                    <a:lnTo>
                      <a:pt x="6916" y="2793"/>
                    </a:lnTo>
                    <a:lnTo>
                      <a:pt x="6919" y="2793"/>
                    </a:lnTo>
                    <a:lnTo>
                      <a:pt x="6921" y="2793"/>
                    </a:lnTo>
                    <a:lnTo>
                      <a:pt x="6922" y="2795"/>
                    </a:lnTo>
                    <a:lnTo>
                      <a:pt x="6924" y="2797"/>
                    </a:lnTo>
                    <a:lnTo>
                      <a:pt x="6924" y="2801"/>
                    </a:lnTo>
                    <a:lnTo>
                      <a:pt x="6930" y="2801"/>
                    </a:lnTo>
                    <a:lnTo>
                      <a:pt x="6934" y="2803"/>
                    </a:lnTo>
                    <a:lnTo>
                      <a:pt x="6937" y="2806"/>
                    </a:lnTo>
                    <a:lnTo>
                      <a:pt x="6941" y="2808"/>
                    </a:lnTo>
                    <a:lnTo>
                      <a:pt x="6945" y="2811"/>
                    </a:lnTo>
                    <a:lnTo>
                      <a:pt x="6949" y="2816"/>
                    </a:lnTo>
                    <a:lnTo>
                      <a:pt x="6952" y="2817"/>
                    </a:lnTo>
                    <a:lnTo>
                      <a:pt x="6958" y="2817"/>
                    </a:lnTo>
                    <a:lnTo>
                      <a:pt x="6962" y="2821"/>
                    </a:lnTo>
                    <a:lnTo>
                      <a:pt x="6965" y="2823"/>
                    </a:lnTo>
                    <a:lnTo>
                      <a:pt x="6969" y="2824"/>
                    </a:lnTo>
                    <a:lnTo>
                      <a:pt x="6970" y="2824"/>
                    </a:lnTo>
                    <a:lnTo>
                      <a:pt x="6978" y="2826"/>
                    </a:lnTo>
                    <a:lnTo>
                      <a:pt x="6983" y="2826"/>
                    </a:lnTo>
                    <a:lnTo>
                      <a:pt x="6991" y="2826"/>
                    </a:lnTo>
                    <a:lnTo>
                      <a:pt x="6996" y="2826"/>
                    </a:lnTo>
                    <a:lnTo>
                      <a:pt x="7000" y="2828"/>
                    </a:lnTo>
                    <a:lnTo>
                      <a:pt x="7004" y="2831"/>
                    </a:lnTo>
                    <a:lnTo>
                      <a:pt x="7008" y="2832"/>
                    </a:lnTo>
                    <a:lnTo>
                      <a:pt x="7010" y="2834"/>
                    </a:lnTo>
                    <a:lnTo>
                      <a:pt x="7004" y="2834"/>
                    </a:lnTo>
                    <a:lnTo>
                      <a:pt x="7000" y="2836"/>
                    </a:lnTo>
                    <a:lnTo>
                      <a:pt x="6996" y="2836"/>
                    </a:lnTo>
                    <a:lnTo>
                      <a:pt x="6995" y="2837"/>
                    </a:lnTo>
                    <a:lnTo>
                      <a:pt x="6995" y="2839"/>
                    </a:lnTo>
                    <a:lnTo>
                      <a:pt x="6995" y="2841"/>
                    </a:lnTo>
                    <a:lnTo>
                      <a:pt x="6995" y="2843"/>
                    </a:lnTo>
                    <a:lnTo>
                      <a:pt x="6995" y="2844"/>
                    </a:lnTo>
                    <a:lnTo>
                      <a:pt x="6996" y="2851"/>
                    </a:lnTo>
                    <a:lnTo>
                      <a:pt x="6998" y="2852"/>
                    </a:lnTo>
                    <a:lnTo>
                      <a:pt x="6998" y="2856"/>
                    </a:lnTo>
                    <a:lnTo>
                      <a:pt x="6998" y="2859"/>
                    </a:lnTo>
                    <a:lnTo>
                      <a:pt x="6996" y="2862"/>
                    </a:lnTo>
                    <a:lnTo>
                      <a:pt x="6995" y="2865"/>
                    </a:lnTo>
                    <a:lnTo>
                      <a:pt x="6993" y="2869"/>
                    </a:lnTo>
                    <a:lnTo>
                      <a:pt x="6993" y="2874"/>
                    </a:lnTo>
                    <a:lnTo>
                      <a:pt x="6990" y="2882"/>
                    </a:lnTo>
                    <a:lnTo>
                      <a:pt x="6987" y="2887"/>
                    </a:lnTo>
                    <a:lnTo>
                      <a:pt x="6982" y="2893"/>
                    </a:lnTo>
                    <a:lnTo>
                      <a:pt x="6976" y="2897"/>
                    </a:lnTo>
                    <a:lnTo>
                      <a:pt x="6970" y="2900"/>
                    </a:lnTo>
                    <a:lnTo>
                      <a:pt x="6965" y="2902"/>
                    </a:lnTo>
                    <a:lnTo>
                      <a:pt x="6958" y="2904"/>
                    </a:lnTo>
                    <a:lnTo>
                      <a:pt x="6952" y="2910"/>
                    </a:lnTo>
                    <a:lnTo>
                      <a:pt x="6945" y="2913"/>
                    </a:lnTo>
                    <a:lnTo>
                      <a:pt x="6939" y="2917"/>
                    </a:lnTo>
                    <a:lnTo>
                      <a:pt x="6932" y="2918"/>
                    </a:lnTo>
                    <a:lnTo>
                      <a:pt x="6926" y="2918"/>
                    </a:lnTo>
                    <a:lnTo>
                      <a:pt x="6919" y="2920"/>
                    </a:lnTo>
                    <a:lnTo>
                      <a:pt x="6908" y="2920"/>
                    </a:lnTo>
                    <a:lnTo>
                      <a:pt x="6901" y="2920"/>
                    </a:lnTo>
                    <a:lnTo>
                      <a:pt x="6891" y="2923"/>
                    </a:lnTo>
                    <a:lnTo>
                      <a:pt x="6883" y="2926"/>
                    </a:lnTo>
                    <a:lnTo>
                      <a:pt x="6873" y="2930"/>
                    </a:lnTo>
                    <a:lnTo>
                      <a:pt x="6863" y="2931"/>
                    </a:lnTo>
                    <a:lnTo>
                      <a:pt x="6855" y="2935"/>
                    </a:lnTo>
                    <a:lnTo>
                      <a:pt x="6845" y="2938"/>
                    </a:lnTo>
                    <a:lnTo>
                      <a:pt x="6838" y="2938"/>
                    </a:lnTo>
                    <a:lnTo>
                      <a:pt x="6825" y="2938"/>
                    </a:lnTo>
                    <a:lnTo>
                      <a:pt x="6815" y="2938"/>
                    </a:lnTo>
                    <a:lnTo>
                      <a:pt x="6804" y="2938"/>
                    </a:lnTo>
                    <a:lnTo>
                      <a:pt x="6795" y="2938"/>
                    </a:lnTo>
                    <a:lnTo>
                      <a:pt x="6786" y="2938"/>
                    </a:lnTo>
                    <a:lnTo>
                      <a:pt x="6775" y="2938"/>
                    </a:lnTo>
                    <a:lnTo>
                      <a:pt x="6764" y="2938"/>
                    </a:lnTo>
                    <a:lnTo>
                      <a:pt x="6753" y="2938"/>
                    </a:lnTo>
                    <a:lnTo>
                      <a:pt x="6746" y="2938"/>
                    </a:lnTo>
                    <a:lnTo>
                      <a:pt x="6740" y="2938"/>
                    </a:lnTo>
                    <a:lnTo>
                      <a:pt x="6736" y="2939"/>
                    </a:lnTo>
                    <a:lnTo>
                      <a:pt x="6733" y="2939"/>
                    </a:lnTo>
                    <a:lnTo>
                      <a:pt x="6728" y="2939"/>
                    </a:lnTo>
                    <a:lnTo>
                      <a:pt x="6727" y="2939"/>
                    </a:lnTo>
                    <a:lnTo>
                      <a:pt x="6725" y="2941"/>
                    </a:lnTo>
                    <a:lnTo>
                      <a:pt x="6723" y="2941"/>
                    </a:lnTo>
                    <a:lnTo>
                      <a:pt x="6721" y="2941"/>
                    </a:lnTo>
                    <a:lnTo>
                      <a:pt x="6721" y="2943"/>
                    </a:lnTo>
                    <a:lnTo>
                      <a:pt x="6723" y="2944"/>
                    </a:lnTo>
                    <a:lnTo>
                      <a:pt x="6725" y="2946"/>
                    </a:lnTo>
                    <a:lnTo>
                      <a:pt x="6728" y="2948"/>
                    </a:lnTo>
                    <a:lnTo>
                      <a:pt x="6733" y="2950"/>
                    </a:lnTo>
                    <a:lnTo>
                      <a:pt x="6738" y="2954"/>
                    </a:lnTo>
                    <a:lnTo>
                      <a:pt x="6749" y="2959"/>
                    </a:lnTo>
                    <a:lnTo>
                      <a:pt x="6755" y="2963"/>
                    </a:lnTo>
                    <a:lnTo>
                      <a:pt x="6761" y="2964"/>
                    </a:lnTo>
                    <a:lnTo>
                      <a:pt x="6766" y="2969"/>
                    </a:lnTo>
                    <a:lnTo>
                      <a:pt x="6769" y="2972"/>
                    </a:lnTo>
                    <a:lnTo>
                      <a:pt x="6762" y="2972"/>
                    </a:lnTo>
                    <a:lnTo>
                      <a:pt x="6756" y="2974"/>
                    </a:lnTo>
                    <a:lnTo>
                      <a:pt x="6751" y="2976"/>
                    </a:lnTo>
                    <a:lnTo>
                      <a:pt x="6746" y="2978"/>
                    </a:lnTo>
                    <a:lnTo>
                      <a:pt x="6741" y="2979"/>
                    </a:lnTo>
                    <a:lnTo>
                      <a:pt x="6740" y="2979"/>
                    </a:lnTo>
                    <a:lnTo>
                      <a:pt x="6738" y="2979"/>
                    </a:lnTo>
                    <a:lnTo>
                      <a:pt x="6736" y="2978"/>
                    </a:lnTo>
                    <a:lnTo>
                      <a:pt x="6736" y="2976"/>
                    </a:lnTo>
                    <a:lnTo>
                      <a:pt x="6735" y="2974"/>
                    </a:lnTo>
                    <a:lnTo>
                      <a:pt x="6735" y="2972"/>
                    </a:lnTo>
                    <a:lnTo>
                      <a:pt x="6728" y="2972"/>
                    </a:lnTo>
                    <a:lnTo>
                      <a:pt x="6721" y="2974"/>
                    </a:lnTo>
                    <a:lnTo>
                      <a:pt x="6716" y="2976"/>
                    </a:lnTo>
                    <a:lnTo>
                      <a:pt x="6708" y="2978"/>
                    </a:lnTo>
                    <a:lnTo>
                      <a:pt x="6703" y="2979"/>
                    </a:lnTo>
                    <a:lnTo>
                      <a:pt x="6700" y="2979"/>
                    </a:lnTo>
                    <a:lnTo>
                      <a:pt x="6695" y="2979"/>
                    </a:lnTo>
                    <a:lnTo>
                      <a:pt x="6692" y="2978"/>
                    </a:lnTo>
                    <a:lnTo>
                      <a:pt x="6690" y="2976"/>
                    </a:lnTo>
                    <a:lnTo>
                      <a:pt x="6687" y="2974"/>
                    </a:lnTo>
                    <a:lnTo>
                      <a:pt x="6682" y="2972"/>
                    </a:lnTo>
                    <a:lnTo>
                      <a:pt x="6679" y="2972"/>
                    </a:lnTo>
                    <a:lnTo>
                      <a:pt x="6675" y="2974"/>
                    </a:lnTo>
                    <a:lnTo>
                      <a:pt x="6672" y="2976"/>
                    </a:lnTo>
                    <a:lnTo>
                      <a:pt x="6667" y="2978"/>
                    </a:lnTo>
                    <a:lnTo>
                      <a:pt x="6659" y="2984"/>
                    </a:lnTo>
                    <a:lnTo>
                      <a:pt x="6649" y="2989"/>
                    </a:lnTo>
                    <a:lnTo>
                      <a:pt x="6639" y="2996"/>
                    </a:lnTo>
                    <a:lnTo>
                      <a:pt x="6629" y="3002"/>
                    </a:lnTo>
                    <a:lnTo>
                      <a:pt x="6626" y="3004"/>
                    </a:lnTo>
                    <a:lnTo>
                      <a:pt x="6621" y="3005"/>
                    </a:lnTo>
                    <a:lnTo>
                      <a:pt x="6618" y="3005"/>
                    </a:lnTo>
                    <a:lnTo>
                      <a:pt x="6614" y="3007"/>
                    </a:lnTo>
                    <a:lnTo>
                      <a:pt x="6616" y="3007"/>
                    </a:lnTo>
                    <a:lnTo>
                      <a:pt x="6616" y="3009"/>
                    </a:lnTo>
                    <a:lnTo>
                      <a:pt x="6618" y="3011"/>
                    </a:lnTo>
                    <a:lnTo>
                      <a:pt x="6621" y="3013"/>
                    </a:lnTo>
                    <a:lnTo>
                      <a:pt x="6626" y="3018"/>
                    </a:lnTo>
                    <a:lnTo>
                      <a:pt x="6631" y="3024"/>
                    </a:lnTo>
                    <a:lnTo>
                      <a:pt x="6631" y="3025"/>
                    </a:lnTo>
                    <a:lnTo>
                      <a:pt x="6631" y="3030"/>
                    </a:lnTo>
                    <a:lnTo>
                      <a:pt x="6629" y="3032"/>
                    </a:lnTo>
                    <a:lnTo>
                      <a:pt x="6628" y="3035"/>
                    </a:lnTo>
                    <a:lnTo>
                      <a:pt x="6624" y="3038"/>
                    </a:lnTo>
                    <a:lnTo>
                      <a:pt x="6620" y="3040"/>
                    </a:lnTo>
                    <a:lnTo>
                      <a:pt x="6614" y="3040"/>
                    </a:lnTo>
                    <a:lnTo>
                      <a:pt x="6614" y="3035"/>
                    </a:lnTo>
                    <a:lnTo>
                      <a:pt x="6611" y="3032"/>
                    </a:lnTo>
                    <a:lnTo>
                      <a:pt x="6609" y="3028"/>
                    </a:lnTo>
                    <a:lnTo>
                      <a:pt x="6603" y="3025"/>
                    </a:lnTo>
                    <a:lnTo>
                      <a:pt x="6598" y="3024"/>
                    </a:lnTo>
                    <a:lnTo>
                      <a:pt x="6593" y="3024"/>
                    </a:lnTo>
                    <a:lnTo>
                      <a:pt x="6590" y="3024"/>
                    </a:lnTo>
                    <a:lnTo>
                      <a:pt x="6593" y="3025"/>
                    </a:lnTo>
                    <a:lnTo>
                      <a:pt x="6595" y="3025"/>
                    </a:lnTo>
                    <a:lnTo>
                      <a:pt x="6595" y="3028"/>
                    </a:lnTo>
                    <a:lnTo>
                      <a:pt x="6595" y="3030"/>
                    </a:lnTo>
                    <a:lnTo>
                      <a:pt x="6593" y="3032"/>
                    </a:lnTo>
                    <a:lnTo>
                      <a:pt x="6590" y="3032"/>
                    </a:lnTo>
                    <a:lnTo>
                      <a:pt x="6588" y="3033"/>
                    </a:lnTo>
                    <a:lnTo>
                      <a:pt x="6585" y="3035"/>
                    </a:lnTo>
                    <a:lnTo>
                      <a:pt x="6578" y="3038"/>
                    </a:lnTo>
                    <a:lnTo>
                      <a:pt x="6570" y="3040"/>
                    </a:lnTo>
                    <a:lnTo>
                      <a:pt x="6563" y="3040"/>
                    </a:lnTo>
                    <a:lnTo>
                      <a:pt x="6559" y="3040"/>
                    </a:lnTo>
                    <a:lnTo>
                      <a:pt x="6557" y="3043"/>
                    </a:lnTo>
                    <a:lnTo>
                      <a:pt x="6555" y="3045"/>
                    </a:lnTo>
                    <a:lnTo>
                      <a:pt x="6552" y="3048"/>
                    </a:lnTo>
                    <a:lnTo>
                      <a:pt x="6548" y="3055"/>
                    </a:lnTo>
                    <a:lnTo>
                      <a:pt x="6544" y="3063"/>
                    </a:lnTo>
                    <a:lnTo>
                      <a:pt x="6540" y="3065"/>
                    </a:lnTo>
                    <a:lnTo>
                      <a:pt x="6539" y="3068"/>
                    </a:lnTo>
                    <a:lnTo>
                      <a:pt x="6535" y="3068"/>
                    </a:lnTo>
                    <a:lnTo>
                      <a:pt x="6532" y="3070"/>
                    </a:lnTo>
                    <a:lnTo>
                      <a:pt x="6527" y="3068"/>
                    </a:lnTo>
                    <a:lnTo>
                      <a:pt x="6522" y="3066"/>
                    </a:lnTo>
                    <a:lnTo>
                      <a:pt x="6517" y="3063"/>
                    </a:lnTo>
                    <a:lnTo>
                      <a:pt x="6514" y="3061"/>
                    </a:lnTo>
                    <a:lnTo>
                      <a:pt x="6511" y="3058"/>
                    </a:lnTo>
                    <a:lnTo>
                      <a:pt x="6511" y="3063"/>
                    </a:lnTo>
                    <a:lnTo>
                      <a:pt x="6509" y="3068"/>
                    </a:lnTo>
                    <a:lnTo>
                      <a:pt x="6507" y="3073"/>
                    </a:lnTo>
                    <a:lnTo>
                      <a:pt x="6506" y="3076"/>
                    </a:lnTo>
                    <a:lnTo>
                      <a:pt x="6502" y="3078"/>
                    </a:lnTo>
                    <a:lnTo>
                      <a:pt x="6501" y="3079"/>
                    </a:lnTo>
                    <a:lnTo>
                      <a:pt x="6496" y="3079"/>
                    </a:lnTo>
                    <a:lnTo>
                      <a:pt x="6493" y="3079"/>
                    </a:lnTo>
                    <a:lnTo>
                      <a:pt x="6483" y="3079"/>
                    </a:lnTo>
                    <a:lnTo>
                      <a:pt x="6476" y="3078"/>
                    </a:lnTo>
                    <a:lnTo>
                      <a:pt x="6467" y="3076"/>
                    </a:lnTo>
                    <a:lnTo>
                      <a:pt x="6460" y="3076"/>
                    </a:lnTo>
                    <a:lnTo>
                      <a:pt x="6460" y="3089"/>
                    </a:lnTo>
                    <a:lnTo>
                      <a:pt x="6461" y="3094"/>
                    </a:lnTo>
                    <a:lnTo>
                      <a:pt x="6461" y="3098"/>
                    </a:lnTo>
                    <a:lnTo>
                      <a:pt x="6465" y="3104"/>
                    </a:lnTo>
                    <a:lnTo>
                      <a:pt x="6467" y="3107"/>
                    </a:lnTo>
                    <a:lnTo>
                      <a:pt x="6471" y="3109"/>
                    </a:lnTo>
                    <a:lnTo>
                      <a:pt x="6478" y="3109"/>
                    </a:lnTo>
                    <a:lnTo>
                      <a:pt x="6474" y="3112"/>
                    </a:lnTo>
                    <a:lnTo>
                      <a:pt x="6473" y="3116"/>
                    </a:lnTo>
                    <a:lnTo>
                      <a:pt x="6468" y="3119"/>
                    </a:lnTo>
                    <a:lnTo>
                      <a:pt x="6465" y="3120"/>
                    </a:lnTo>
                    <a:lnTo>
                      <a:pt x="6461" y="3124"/>
                    </a:lnTo>
                    <a:lnTo>
                      <a:pt x="6456" y="3126"/>
                    </a:lnTo>
                    <a:lnTo>
                      <a:pt x="6447" y="3129"/>
                    </a:lnTo>
                    <a:lnTo>
                      <a:pt x="6433" y="3132"/>
                    </a:lnTo>
                    <a:lnTo>
                      <a:pt x="6420" y="3137"/>
                    </a:lnTo>
                    <a:lnTo>
                      <a:pt x="6395" y="3144"/>
                    </a:lnTo>
                    <a:lnTo>
                      <a:pt x="6382" y="3147"/>
                    </a:lnTo>
                    <a:lnTo>
                      <a:pt x="6371" y="3152"/>
                    </a:lnTo>
                    <a:lnTo>
                      <a:pt x="6359" y="3153"/>
                    </a:lnTo>
                    <a:lnTo>
                      <a:pt x="6356" y="3155"/>
                    </a:lnTo>
                    <a:lnTo>
                      <a:pt x="6351" y="3159"/>
                    </a:lnTo>
                    <a:lnTo>
                      <a:pt x="6346" y="3160"/>
                    </a:lnTo>
                    <a:lnTo>
                      <a:pt x="6345" y="3162"/>
                    </a:lnTo>
                    <a:lnTo>
                      <a:pt x="6341" y="3165"/>
                    </a:lnTo>
                    <a:lnTo>
                      <a:pt x="6340" y="3166"/>
                    </a:lnTo>
                    <a:lnTo>
                      <a:pt x="6340" y="3170"/>
                    </a:lnTo>
                    <a:lnTo>
                      <a:pt x="6338" y="3172"/>
                    </a:lnTo>
                    <a:lnTo>
                      <a:pt x="6338" y="3175"/>
                    </a:lnTo>
                    <a:lnTo>
                      <a:pt x="6340" y="3180"/>
                    </a:lnTo>
                    <a:lnTo>
                      <a:pt x="6340" y="3181"/>
                    </a:lnTo>
                    <a:lnTo>
                      <a:pt x="6338" y="3183"/>
                    </a:lnTo>
                    <a:lnTo>
                      <a:pt x="6336" y="3185"/>
                    </a:lnTo>
                    <a:lnTo>
                      <a:pt x="6334" y="3186"/>
                    </a:lnTo>
                    <a:lnTo>
                      <a:pt x="6330" y="3186"/>
                    </a:lnTo>
                    <a:lnTo>
                      <a:pt x="6325" y="3186"/>
                    </a:lnTo>
                    <a:lnTo>
                      <a:pt x="6321" y="3186"/>
                    </a:lnTo>
                    <a:lnTo>
                      <a:pt x="6320" y="3186"/>
                    </a:lnTo>
                    <a:lnTo>
                      <a:pt x="6318" y="3188"/>
                    </a:lnTo>
                    <a:lnTo>
                      <a:pt x="6318" y="3190"/>
                    </a:lnTo>
                    <a:lnTo>
                      <a:pt x="6320" y="3192"/>
                    </a:lnTo>
                    <a:lnTo>
                      <a:pt x="6323" y="3196"/>
                    </a:lnTo>
                    <a:lnTo>
                      <a:pt x="6321" y="3196"/>
                    </a:lnTo>
                    <a:lnTo>
                      <a:pt x="6321" y="3198"/>
                    </a:lnTo>
                    <a:lnTo>
                      <a:pt x="6318" y="3200"/>
                    </a:lnTo>
                    <a:lnTo>
                      <a:pt x="6315" y="3201"/>
                    </a:lnTo>
                    <a:lnTo>
                      <a:pt x="6313" y="3203"/>
                    </a:lnTo>
                    <a:lnTo>
                      <a:pt x="6312" y="3206"/>
                    </a:lnTo>
                    <a:lnTo>
                      <a:pt x="6308" y="3211"/>
                    </a:lnTo>
                    <a:lnTo>
                      <a:pt x="6305" y="3214"/>
                    </a:lnTo>
                    <a:lnTo>
                      <a:pt x="6299" y="3218"/>
                    </a:lnTo>
                    <a:lnTo>
                      <a:pt x="6293" y="3223"/>
                    </a:lnTo>
                    <a:lnTo>
                      <a:pt x="6288" y="3231"/>
                    </a:lnTo>
                    <a:lnTo>
                      <a:pt x="6279" y="3234"/>
                    </a:lnTo>
                    <a:lnTo>
                      <a:pt x="6269" y="3240"/>
                    </a:lnTo>
                    <a:lnTo>
                      <a:pt x="6259" y="3246"/>
                    </a:lnTo>
                    <a:lnTo>
                      <a:pt x="6249" y="3253"/>
                    </a:lnTo>
                    <a:lnTo>
                      <a:pt x="6239" y="3260"/>
                    </a:lnTo>
                    <a:lnTo>
                      <a:pt x="6231" y="3269"/>
                    </a:lnTo>
                    <a:lnTo>
                      <a:pt x="6211" y="3287"/>
                    </a:lnTo>
                    <a:lnTo>
                      <a:pt x="6201" y="3293"/>
                    </a:lnTo>
                    <a:lnTo>
                      <a:pt x="6192" y="3301"/>
                    </a:lnTo>
                    <a:lnTo>
                      <a:pt x="6181" y="3307"/>
                    </a:lnTo>
                    <a:lnTo>
                      <a:pt x="6172" y="3312"/>
                    </a:lnTo>
                    <a:lnTo>
                      <a:pt x="6162" y="3316"/>
                    </a:lnTo>
                    <a:lnTo>
                      <a:pt x="6157" y="3318"/>
                    </a:lnTo>
                    <a:lnTo>
                      <a:pt x="6153" y="3318"/>
                    </a:lnTo>
                    <a:lnTo>
                      <a:pt x="6147" y="3318"/>
                    </a:lnTo>
                    <a:lnTo>
                      <a:pt x="6142" y="3318"/>
                    </a:lnTo>
                    <a:lnTo>
                      <a:pt x="6139" y="3318"/>
                    </a:lnTo>
                    <a:lnTo>
                      <a:pt x="6132" y="3316"/>
                    </a:lnTo>
                    <a:lnTo>
                      <a:pt x="6132" y="3321"/>
                    </a:lnTo>
                    <a:lnTo>
                      <a:pt x="6132" y="3325"/>
                    </a:lnTo>
                    <a:lnTo>
                      <a:pt x="6132" y="3328"/>
                    </a:lnTo>
                    <a:lnTo>
                      <a:pt x="6131" y="3328"/>
                    </a:lnTo>
                    <a:lnTo>
                      <a:pt x="6129" y="3328"/>
                    </a:lnTo>
                    <a:lnTo>
                      <a:pt x="6125" y="3325"/>
                    </a:lnTo>
                    <a:lnTo>
                      <a:pt x="6122" y="3321"/>
                    </a:lnTo>
                    <a:lnTo>
                      <a:pt x="6116" y="3316"/>
                    </a:lnTo>
                    <a:lnTo>
                      <a:pt x="6118" y="3320"/>
                    </a:lnTo>
                    <a:lnTo>
                      <a:pt x="6120" y="3323"/>
                    </a:lnTo>
                    <a:lnTo>
                      <a:pt x="6122" y="3327"/>
                    </a:lnTo>
                    <a:lnTo>
                      <a:pt x="6122" y="3331"/>
                    </a:lnTo>
                    <a:lnTo>
                      <a:pt x="6122" y="3336"/>
                    </a:lnTo>
                    <a:lnTo>
                      <a:pt x="6120" y="3340"/>
                    </a:lnTo>
                    <a:lnTo>
                      <a:pt x="6118" y="3345"/>
                    </a:lnTo>
                    <a:lnTo>
                      <a:pt x="6116" y="3349"/>
                    </a:lnTo>
                    <a:lnTo>
                      <a:pt x="6114" y="3354"/>
                    </a:lnTo>
                    <a:lnTo>
                      <a:pt x="6111" y="3360"/>
                    </a:lnTo>
                    <a:lnTo>
                      <a:pt x="6103" y="3369"/>
                    </a:lnTo>
                    <a:lnTo>
                      <a:pt x="6094" y="3381"/>
                    </a:lnTo>
                    <a:lnTo>
                      <a:pt x="6083" y="3392"/>
                    </a:lnTo>
                    <a:lnTo>
                      <a:pt x="6074" y="3400"/>
                    </a:lnTo>
                    <a:lnTo>
                      <a:pt x="6063" y="3412"/>
                    </a:lnTo>
                    <a:lnTo>
                      <a:pt x="6052" y="3420"/>
                    </a:lnTo>
                    <a:lnTo>
                      <a:pt x="6040" y="3430"/>
                    </a:lnTo>
                    <a:lnTo>
                      <a:pt x="6032" y="3438"/>
                    </a:lnTo>
                    <a:lnTo>
                      <a:pt x="6024" y="3443"/>
                    </a:lnTo>
                    <a:lnTo>
                      <a:pt x="6020" y="3447"/>
                    </a:lnTo>
                    <a:lnTo>
                      <a:pt x="6017" y="3448"/>
                    </a:lnTo>
                    <a:lnTo>
                      <a:pt x="6015" y="3453"/>
                    </a:lnTo>
                    <a:lnTo>
                      <a:pt x="6013" y="3455"/>
                    </a:lnTo>
                    <a:lnTo>
                      <a:pt x="6007" y="3460"/>
                    </a:lnTo>
                    <a:lnTo>
                      <a:pt x="6004" y="3469"/>
                    </a:lnTo>
                    <a:lnTo>
                      <a:pt x="6000" y="3478"/>
                    </a:lnTo>
                    <a:lnTo>
                      <a:pt x="5996" y="3488"/>
                    </a:lnTo>
                    <a:lnTo>
                      <a:pt x="5992" y="3496"/>
                    </a:lnTo>
                    <a:lnTo>
                      <a:pt x="5989" y="3506"/>
                    </a:lnTo>
                    <a:lnTo>
                      <a:pt x="5984" y="3515"/>
                    </a:lnTo>
                    <a:lnTo>
                      <a:pt x="5978" y="3522"/>
                    </a:lnTo>
                    <a:lnTo>
                      <a:pt x="5972" y="3522"/>
                    </a:lnTo>
                    <a:lnTo>
                      <a:pt x="5964" y="3524"/>
                    </a:lnTo>
                    <a:lnTo>
                      <a:pt x="5959" y="3527"/>
                    </a:lnTo>
                    <a:lnTo>
                      <a:pt x="5956" y="3534"/>
                    </a:lnTo>
                    <a:lnTo>
                      <a:pt x="5950" y="3537"/>
                    </a:lnTo>
                    <a:lnTo>
                      <a:pt x="5946" y="3545"/>
                    </a:lnTo>
                    <a:lnTo>
                      <a:pt x="5944" y="3550"/>
                    </a:lnTo>
                    <a:lnTo>
                      <a:pt x="5944" y="3557"/>
                    </a:lnTo>
                    <a:lnTo>
                      <a:pt x="5944" y="3560"/>
                    </a:lnTo>
                    <a:lnTo>
                      <a:pt x="5943" y="3562"/>
                    </a:lnTo>
                    <a:lnTo>
                      <a:pt x="5941" y="3563"/>
                    </a:lnTo>
                    <a:lnTo>
                      <a:pt x="5939" y="3565"/>
                    </a:lnTo>
                    <a:lnTo>
                      <a:pt x="5933" y="3565"/>
                    </a:lnTo>
                    <a:lnTo>
                      <a:pt x="5926" y="3565"/>
                    </a:lnTo>
                    <a:lnTo>
                      <a:pt x="5920" y="3565"/>
                    </a:lnTo>
                    <a:lnTo>
                      <a:pt x="5915" y="3567"/>
                    </a:lnTo>
                    <a:lnTo>
                      <a:pt x="5913" y="3567"/>
                    </a:lnTo>
                    <a:lnTo>
                      <a:pt x="5911" y="3568"/>
                    </a:lnTo>
                    <a:lnTo>
                      <a:pt x="5910" y="3570"/>
                    </a:lnTo>
                    <a:lnTo>
                      <a:pt x="5910" y="3575"/>
                    </a:lnTo>
                    <a:lnTo>
                      <a:pt x="5915" y="3575"/>
                    </a:lnTo>
                    <a:lnTo>
                      <a:pt x="5920" y="3575"/>
                    </a:lnTo>
                    <a:lnTo>
                      <a:pt x="5925" y="3575"/>
                    </a:lnTo>
                    <a:lnTo>
                      <a:pt x="5926" y="3575"/>
                    </a:lnTo>
                    <a:lnTo>
                      <a:pt x="5930" y="3575"/>
                    </a:lnTo>
                    <a:lnTo>
                      <a:pt x="5933" y="3575"/>
                    </a:lnTo>
                    <a:lnTo>
                      <a:pt x="5939" y="3575"/>
                    </a:lnTo>
                    <a:lnTo>
                      <a:pt x="5944" y="3575"/>
                    </a:lnTo>
                    <a:lnTo>
                      <a:pt x="5939" y="3580"/>
                    </a:lnTo>
                    <a:lnTo>
                      <a:pt x="5933" y="3583"/>
                    </a:lnTo>
                    <a:lnTo>
                      <a:pt x="5931" y="3587"/>
                    </a:lnTo>
                    <a:lnTo>
                      <a:pt x="5930" y="3589"/>
                    </a:lnTo>
                    <a:lnTo>
                      <a:pt x="5928" y="3591"/>
                    </a:lnTo>
                    <a:lnTo>
                      <a:pt x="5930" y="3591"/>
                    </a:lnTo>
                    <a:lnTo>
                      <a:pt x="5933" y="3593"/>
                    </a:lnTo>
                    <a:lnTo>
                      <a:pt x="5935" y="3595"/>
                    </a:lnTo>
                    <a:lnTo>
                      <a:pt x="5938" y="3596"/>
                    </a:lnTo>
                    <a:lnTo>
                      <a:pt x="5941" y="3601"/>
                    </a:lnTo>
                    <a:lnTo>
                      <a:pt x="5944" y="3608"/>
                    </a:lnTo>
                    <a:lnTo>
                      <a:pt x="5948" y="3615"/>
                    </a:lnTo>
                    <a:lnTo>
                      <a:pt x="5952" y="3621"/>
                    </a:lnTo>
                    <a:lnTo>
                      <a:pt x="5954" y="3622"/>
                    </a:lnTo>
                    <a:lnTo>
                      <a:pt x="5956" y="3624"/>
                    </a:lnTo>
                    <a:lnTo>
                      <a:pt x="5958" y="3626"/>
                    </a:lnTo>
                    <a:lnTo>
                      <a:pt x="5961" y="3626"/>
                    </a:lnTo>
                    <a:lnTo>
                      <a:pt x="5961" y="3624"/>
                    </a:lnTo>
                    <a:lnTo>
                      <a:pt x="5964" y="3622"/>
                    </a:lnTo>
                    <a:lnTo>
                      <a:pt x="5966" y="3621"/>
                    </a:lnTo>
                    <a:lnTo>
                      <a:pt x="5972" y="3616"/>
                    </a:lnTo>
                    <a:lnTo>
                      <a:pt x="5978" y="3613"/>
                    </a:lnTo>
                    <a:lnTo>
                      <a:pt x="5984" y="3611"/>
                    </a:lnTo>
                    <a:lnTo>
                      <a:pt x="5989" y="3609"/>
                    </a:lnTo>
                    <a:lnTo>
                      <a:pt x="5996" y="3608"/>
                    </a:lnTo>
                    <a:lnTo>
                      <a:pt x="6004" y="3608"/>
                    </a:lnTo>
                    <a:lnTo>
                      <a:pt x="6011" y="3608"/>
                    </a:lnTo>
                    <a:lnTo>
                      <a:pt x="6020" y="3609"/>
                    </a:lnTo>
                    <a:lnTo>
                      <a:pt x="6030" y="3609"/>
                    </a:lnTo>
                    <a:lnTo>
                      <a:pt x="6038" y="3613"/>
                    </a:lnTo>
                    <a:lnTo>
                      <a:pt x="6048" y="3615"/>
                    </a:lnTo>
                    <a:lnTo>
                      <a:pt x="6057" y="3621"/>
                    </a:lnTo>
                    <a:lnTo>
                      <a:pt x="6065" y="3626"/>
                    </a:lnTo>
                    <a:lnTo>
                      <a:pt x="6071" y="3624"/>
                    </a:lnTo>
                    <a:lnTo>
                      <a:pt x="6079" y="3624"/>
                    </a:lnTo>
                    <a:lnTo>
                      <a:pt x="6086" y="3622"/>
                    </a:lnTo>
                    <a:lnTo>
                      <a:pt x="6094" y="3621"/>
                    </a:lnTo>
                    <a:lnTo>
                      <a:pt x="6098" y="3621"/>
                    </a:lnTo>
                    <a:lnTo>
                      <a:pt x="6099" y="3622"/>
                    </a:lnTo>
                    <a:lnTo>
                      <a:pt x="6101" y="3624"/>
                    </a:lnTo>
                    <a:lnTo>
                      <a:pt x="6103" y="3626"/>
                    </a:lnTo>
                    <a:lnTo>
                      <a:pt x="6103" y="3628"/>
                    </a:lnTo>
                    <a:lnTo>
                      <a:pt x="6103" y="3631"/>
                    </a:lnTo>
                    <a:lnTo>
                      <a:pt x="6101" y="3637"/>
                    </a:lnTo>
                    <a:lnTo>
                      <a:pt x="6099" y="3642"/>
                    </a:lnTo>
                    <a:lnTo>
                      <a:pt x="6086" y="3662"/>
                    </a:lnTo>
                    <a:lnTo>
                      <a:pt x="6076" y="3683"/>
                    </a:lnTo>
                    <a:lnTo>
                      <a:pt x="6068" y="3705"/>
                    </a:lnTo>
                    <a:lnTo>
                      <a:pt x="6061" y="3729"/>
                    </a:lnTo>
                    <a:lnTo>
                      <a:pt x="6055" y="3751"/>
                    </a:lnTo>
                    <a:lnTo>
                      <a:pt x="6050" y="3774"/>
                    </a:lnTo>
                    <a:lnTo>
                      <a:pt x="6048" y="3794"/>
                    </a:lnTo>
                    <a:lnTo>
                      <a:pt x="6048" y="3814"/>
                    </a:lnTo>
                    <a:lnTo>
                      <a:pt x="6045" y="3827"/>
                    </a:lnTo>
                    <a:lnTo>
                      <a:pt x="6038" y="3838"/>
                    </a:lnTo>
                    <a:lnTo>
                      <a:pt x="6033" y="3850"/>
                    </a:lnTo>
                    <a:lnTo>
                      <a:pt x="6028" y="3860"/>
                    </a:lnTo>
                    <a:lnTo>
                      <a:pt x="6022" y="3870"/>
                    </a:lnTo>
                    <a:lnTo>
                      <a:pt x="6015" y="3879"/>
                    </a:lnTo>
                    <a:lnTo>
                      <a:pt x="6007" y="3886"/>
                    </a:lnTo>
                    <a:lnTo>
                      <a:pt x="6000" y="3894"/>
                    </a:lnTo>
                    <a:lnTo>
                      <a:pt x="5991" y="3901"/>
                    </a:lnTo>
                    <a:lnTo>
                      <a:pt x="5984" y="3906"/>
                    </a:lnTo>
                    <a:lnTo>
                      <a:pt x="5974" y="3914"/>
                    </a:lnTo>
                    <a:lnTo>
                      <a:pt x="5964" y="3917"/>
                    </a:lnTo>
                    <a:lnTo>
                      <a:pt x="5956" y="3924"/>
                    </a:lnTo>
                    <a:lnTo>
                      <a:pt x="5946" y="3927"/>
                    </a:lnTo>
                    <a:lnTo>
                      <a:pt x="5928" y="3934"/>
                    </a:lnTo>
                    <a:lnTo>
                      <a:pt x="5933" y="3934"/>
                    </a:lnTo>
                    <a:lnTo>
                      <a:pt x="5939" y="3932"/>
                    </a:lnTo>
                    <a:lnTo>
                      <a:pt x="5946" y="3932"/>
                    </a:lnTo>
                    <a:lnTo>
                      <a:pt x="5952" y="3929"/>
                    </a:lnTo>
                    <a:lnTo>
                      <a:pt x="5964" y="3924"/>
                    </a:lnTo>
                    <a:lnTo>
                      <a:pt x="5978" y="3917"/>
                    </a:lnTo>
                    <a:lnTo>
                      <a:pt x="5991" y="3911"/>
                    </a:lnTo>
                    <a:lnTo>
                      <a:pt x="6004" y="3904"/>
                    </a:lnTo>
                    <a:lnTo>
                      <a:pt x="6011" y="3903"/>
                    </a:lnTo>
                    <a:lnTo>
                      <a:pt x="6017" y="3901"/>
                    </a:lnTo>
                    <a:lnTo>
                      <a:pt x="6024" y="3901"/>
                    </a:lnTo>
                    <a:lnTo>
                      <a:pt x="6030" y="3901"/>
                    </a:lnTo>
                    <a:lnTo>
                      <a:pt x="6024" y="3906"/>
                    </a:lnTo>
                    <a:lnTo>
                      <a:pt x="6017" y="3911"/>
                    </a:lnTo>
                    <a:lnTo>
                      <a:pt x="6011" y="3914"/>
                    </a:lnTo>
                    <a:lnTo>
                      <a:pt x="6004" y="3917"/>
                    </a:lnTo>
                    <a:lnTo>
                      <a:pt x="5999" y="3921"/>
                    </a:lnTo>
                    <a:lnTo>
                      <a:pt x="5991" y="3925"/>
                    </a:lnTo>
                    <a:lnTo>
                      <a:pt x="5985" y="3929"/>
                    </a:lnTo>
                    <a:lnTo>
                      <a:pt x="5978" y="3934"/>
                    </a:lnTo>
                    <a:lnTo>
                      <a:pt x="6004" y="3927"/>
                    </a:lnTo>
                    <a:lnTo>
                      <a:pt x="6028" y="3919"/>
                    </a:lnTo>
                    <a:lnTo>
                      <a:pt x="6050" y="3911"/>
                    </a:lnTo>
                    <a:lnTo>
                      <a:pt x="6074" y="3903"/>
                    </a:lnTo>
                    <a:lnTo>
                      <a:pt x="6096" y="3896"/>
                    </a:lnTo>
                    <a:lnTo>
                      <a:pt x="6107" y="3891"/>
                    </a:lnTo>
                    <a:lnTo>
                      <a:pt x="6118" y="3888"/>
                    </a:lnTo>
                    <a:lnTo>
                      <a:pt x="6131" y="3886"/>
                    </a:lnTo>
                    <a:lnTo>
                      <a:pt x="6142" y="3884"/>
                    </a:lnTo>
                    <a:lnTo>
                      <a:pt x="6155" y="3883"/>
                    </a:lnTo>
                    <a:lnTo>
                      <a:pt x="6168" y="3883"/>
                    </a:lnTo>
                    <a:lnTo>
                      <a:pt x="6183" y="3881"/>
                    </a:lnTo>
                    <a:lnTo>
                      <a:pt x="6198" y="3879"/>
                    </a:lnTo>
                    <a:lnTo>
                      <a:pt x="6211" y="3881"/>
                    </a:lnTo>
                    <a:lnTo>
                      <a:pt x="6223" y="3881"/>
                    </a:lnTo>
                    <a:lnTo>
                      <a:pt x="6236" y="3884"/>
                    </a:lnTo>
                    <a:lnTo>
                      <a:pt x="6247" y="3888"/>
                    </a:lnTo>
                    <a:lnTo>
                      <a:pt x="6259" y="3891"/>
                    </a:lnTo>
                    <a:lnTo>
                      <a:pt x="6269" y="3896"/>
                    </a:lnTo>
                    <a:lnTo>
                      <a:pt x="6290" y="3906"/>
                    </a:lnTo>
                    <a:lnTo>
                      <a:pt x="6310" y="3917"/>
                    </a:lnTo>
                    <a:lnTo>
                      <a:pt x="6321" y="3921"/>
                    </a:lnTo>
                    <a:lnTo>
                      <a:pt x="6333" y="3927"/>
                    </a:lnTo>
                    <a:lnTo>
                      <a:pt x="6343" y="3930"/>
                    </a:lnTo>
                    <a:lnTo>
                      <a:pt x="6356" y="3934"/>
                    </a:lnTo>
                    <a:lnTo>
                      <a:pt x="6369" y="3934"/>
                    </a:lnTo>
                    <a:lnTo>
                      <a:pt x="6380" y="3934"/>
                    </a:lnTo>
                    <a:lnTo>
                      <a:pt x="6389" y="3934"/>
                    </a:lnTo>
                    <a:lnTo>
                      <a:pt x="6397" y="3934"/>
                    </a:lnTo>
                    <a:lnTo>
                      <a:pt x="6406" y="3934"/>
                    </a:lnTo>
                    <a:lnTo>
                      <a:pt x="6412" y="3934"/>
                    </a:lnTo>
                    <a:lnTo>
                      <a:pt x="6427" y="3934"/>
                    </a:lnTo>
                    <a:lnTo>
                      <a:pt x="6432" y="3938"/>
                    </a:lnTo>
                    <a:lnTo>
                      <a:pt x="6437" y="3942"/>
                    </a:lnTo>
                    <a:lnTo>
                      <a:pt x="6441" y="3944"/>
                    </a:lnTo>
                    <a:lnTo>
                      <a:pt x="6447" y="3947"/>
                    </a:lnTo>
                    <a:lnTo>
                      <a:pt x="6448" y="3950"/>
                    </a:lnTo>
                    <a:lnTo>
                      <a:pt x="6452" y="3955"/>
                    </a:lnTo>
                    <a:lnTo>
                      <a:pt x="6458" y="3960"/>
                    </a:lnTo>
                    <a:lnTo>
                      <a:pt x="6463" y="3967"/>
                    </a:lnTo>
                    <a:lnTo>
                      <a:pt x="6467" y="3973"/>
                    </a:lnTo>
                    <a:lnTo>
                      <a:pt x="6471" y="3980"/>
                    </a:lnTo>
                    <a:lnTo>
                      <a:pt x="6478" y="3986"/>
                    </a:lnTo>
                    <a:lnTo>
                      <a:pt x="6483" y="3990"/>
                    </a:lnTo>
                    <a:lnTo>
                      <a:pt x="6491" y="3995"/>
                    </a:lnTo>
                    <a:lnTo>
                      <a:pt x="6498" y="3999"/>
                    </a:lnTo>
                    <a:lnTo>
                      <a:pt x="6504" y="4004"/>
                    </a:lnTo>
                    <a:lnTo>
                      <a:pt x="6511" y="4011"/>
                    </a:lnTo>
                    <a:lnTo>
                      <a:pt x="6517" y="4018"/>
                    </a:lnTo>
                    <a:lnTo>
                      <a:pt x="6524" y="4024"/>
                    </a:lnTo>
                    <a:lnTo>
                      <a:pt x="6527" y="4032"/>
                    </a:lnTo>
                    <a:lnTo>
                      <a:pt x="6534" y="4039"/>
                    </a:lnTo>
                    <a:lnTo>
                      <a:pt x="6537" y="4047"/>
                    </a:lnTo>
                    <a:lnTo>
                      <a:pt x="6539" y="4054"/>
                    </a:lnTo>
                    <a:lnTo>
                      <a:pt x="6540" y="4062"/>
                    </a:lnTo>
                    <a:lnTo>
                      <a:pt x="6539" y="4069"/>
                    </a:lnTo>
                    <a:lnTo>
                      <a:pt x="6537" y="4077"/>
                    </a:lnTo>
                    <a:lnTo>
                      <a:pt x="6537" y="4080"/>
                    </a:lnTo>
                    <a:lnTo>
                      <a:pt x="6534" y="4082"/>
                    </a:lnTo>
                    <a:lnTo>
                      <a:pt x="6532" y="4085"/>
                    </a:lnTo>
                    <a:lnTo>
                      <a:pt x="6529" y="4090"/>
                    </a:lnTo>
                    <a:lnTo>
                      <a:pt x="6534" y="4087"/>
                    </a:lnTo>
                    <a:lnTo>
                      <a:pt x="6539" y="4085"/>
                    </a:lnTo>
                    <a:lnTo>
                      <a:pt x="6544" y="4085"/>
                    </a:lnTo>
                    <a:lnTo>
                      <a:pt x="6552" y="4087"/>
                    </a:lnTo>
                    <a:lnTo>
                      <a:pt x="6560" y="4090"/>
                    </a:lnTo>
                    <a:lnTo>
                      <a:pt x="6570" y="4093"/>
                    </a:lnTo>
                    <a:lnTo>
                      <a:pt x="6581" y="4097"/>
                    </a:lnTo>
                    <a:lnTo>
                      <a:pt x="6590" y="4100"/>
                    </a:lnTo>
                    <a:lnTo>
                      <a:pt x="6613" y="4108"/>
                    </a:lnTo>
                    <a:lnTo>
                      <a:pt x="6621" y="4113"/>
                    </a:lnTo>
                    <a:lnTo>
                      <a:pt x="6633" y="4117"/>
                    </a:lnTo>
                    <a:lnTo>
                      <a:pt x="6642" y="4118"/>
                    </a:lnTo>
                    <a:lnTo>
                      <a:pt x="6651" y="4123"/>
                    </a:lnTo>
                    <a:lnTo>
                      <a:pt x="6659" y="4123"/>
                    </a:lnTo>
                    <a:lnTo>
                      <a:pt x="6666" y="4125"/>
                    </a:lnTo>
                    <a:lnTo>
                      <a:pt x="6674" y="4130"/>
                    </a:lnTo>
                    <a:lnTo>
                      <a:pt x="6681" y="4133"/>
                    </a:lnTo>
                    <a:lnTo>
                      <a:pt x="6690" y="4138"/>
                    </a:lnTo>
                    <a:lnTo>
                      <a:pt x="6702" y="4141"/>
                    </a:lnTo>
                    <a:lnTo>
                      <a:pt x="6710" y="4145"/>
                    </a:lnTo>
                    <a:lnTo>
                      <a:pt x="6720" y="4148"/>
                    </a:lnTo>
                    <a:lnTo>
                      <a:pt x="6727" y="4152"/>
                    </a:lnTo>
                    <a:lnTo>
                      <a:pt x="6735" y="4158"/>
                    </a:lnTo>
                    <a:lnTo>
                      <a:pt x="6740" y="4166"/>
                    </a:lnTo>
                    <a:lnTo>
                      <a:pt x="6746" y="4171"/>
                    </a:lnTo>
                    <a:lnTo>
                      <a:pt x="6749" y="4176"/>
                    </a:lnTo>
                    <a:lnTo>
                      <a:pt x="6755" y="4182"/>
                    </a:lnTo>
                    <a:lnTo>
                      <a:pt x="6761" y="4187"/>
                    </a:lnTo>
                    <a:lnTo>
                      <a:pt x="6762" y="4189"/>
                    </a:lnTo>
                    <a:lnTo>
                      <a:pt x="6766" y="4189"/>
                    </a:lnTo>
                    <a:lnTo>
                      <a:pt x="6771" y="4191"/>
                    </a:lnTo>
                    <a:lnTo>
                      <a:pt x="6775" y="4192"/>
                    </a:lnTo>
                    <a:lnTo>
                      <a:pt x="6781" y="4192"/>
                    </a:lnTo>
                    <a:lnTo>
                      <a:pt x="6786" y="4192"/>
                    </a:lnTo>
                    <a:lnTo>
                      <a:pt x="6779" y="4205"/>
                    </a:lnTo>
                    <a:lnTo>
                      <a:pt x="6771" y="4215"/>
                    </a:lnTo>
                    <a:lnTo>
                      <a:pt x="6761" y="4224"/>
                    </a:lnTo>
                    <a:lnTo>
                      <a:pt x="6749" y="4233"/>
                    </a:lnTo>
                    <a:lnTo>
                      <a:pt x="6738" y="4240"/>
                    </a:lnTo>
                    <a:lnTo>
                      <a:pt x="6725" y="4248"/>
                    </a:lnTo>
                    <a:lnTo>
                      <a:pt x="6702" y="4261"/>
                    </a:lnTo>
                    <a:lnTo>
                      <a:pt x="6707" y="4261"/>
                    </a:lnTo>
                    <a:lnTo>
                      <a:pt x="6712" y="4259"/>
                    </a:lnTo>
                    <a:lnTo>
                      <a:pt x="6718" y="4259"/>
                    </a:lnTo>
                    <a:lnTo>
                      <a:pt x="6723" y="4255"/>
                    </a:lnTo>
                    <a:lnTo>
                      <a:pt x="6733" y="4250"/>
                    </a:lnTo>
                    <a:lnTo>
                      <a:pt x="6741" y="4245"/>
                    </a:lnTo>
                    <a:lnTo>
                      <a:pt x="6749" y="4237"/>
                    </a:lnTo>
                    <a:lnTo>
                      <a:pt x="6756" y="4232"/>
                    </a:lnTo>
                    <a:lnTo>
                      <a:pt x="6761" y="4230"/>
                    </a:lnTo>
                    <a:lnTo>
                      <a:pt x="6762" y="4228"/>
                    </a:lnTo>
                    <a:lnTo>
                      <a:pt x="6766" y="4228"/>
                    </a:lnTo>
                    <a:lnTo>
                      <a:pt x="6769" y="4228"/>
                    </a:lnTo>
                    <a:lnTo>
                      <a:pt x="6775" y="4224"/>
                    </a:lnTo>
                    <a:lnTo>
                      <a:pt x="6781" y="4222"/>
                    </a:lnTo>
                    <a:lnTo>
                      <a:pt x="6786" y="4220"/>
                    </a:lnTo>
                    <a:lnTo>
                      <a:pt x="6792" y="4220"/>
                    </a:lnTo>
                    <a:lnTo>
                      <a:pt x="6797" y="4219"/>
                    </a:lnTo>
                    <a:lnTo>
                      <a:pt x="6802" y="4219"/>
                    </a:lnTo>
                    <a:lnTo>
                      <a:pt x="6812" y="4220"/>
                    </a:lnTo>
                    <a:lnTo>
                      <a:pt x="6822" y="4222"/>
                    </a:lnTo>
                    <a:lnTo>
                      <a:pt x="6832" y="4224"/>
                    </a:lnTo>
                    <a:lnTo>
                      <a:pt x="6843" y="4225"/>
                    </a:lnTo>
                    <a:lnTo>
                      <a:pt x="6856" y="4228"/>
                    </a:lnTo>
                    <a:lnTo>
                      <a:pt x="6862" y="4228"/>
                    </a:lnTo>
                    <a:lnTo>
                      <a:pt x="6871" y="4225"/>
                    </a:lnTo>
                    <a:lnTo>
                      <a:pt x="6880" y="4225"/>
                    </a:lnTo>
                    <a:lnTo>
                      <a:pt x="6889" y="4224"/>
                    </a:lnTo>
                    <a:lnTo>
                      <a:pt x="6899" y="4222"/>
                    </a:lnTo>
                    <a:lnTo>
                      <a:pt x="6908" y="4220"/>
                    </a:lnTo>
                    <a:lnTo>
                      <a:pt x="6917" y="4215"/>
                    </a:lnTo>
                    <a:lnTo>
                      <a:pt x="6924" y="4209"/>
                    </a:lnTo>
                    <a:lnTo>
                      <a:pt x="6930" y="4209"/>
                    </a:lnTo>
                    <a:lnTo>
                      <a:pt x="6936" y="4212"/>
                    </a:lnTo>
                    <a:lnTo>
                      <a:pt x="6939" y="4212"/>
                    </a:lnTo>
                    <a:lnTo>
                      <a:pt x="6945" y="4213"/>
                    </a:lnTo>
                    <a:lnTo>
                      <a:pt x="6949" y="4213"/>
                    </a:lnTo>
                    <a:lnTo>
                      <a:pt x="6950" y="4215"/>
                    </a:lnTo>
                    <a:lnTo>
                      <a:pt x="6955" y="4219"/>
                    </a:lnTo>
                    <a:lnTo>
                      <a:pt x="6962" y="4222"/>
                    </a:lnTo>
                    <a:lnTo>
                      <a:pt x="6965" y="4224"/>
                    </a:lnTo>
                    <a:lnTo>
                      <a:pt x="6970" y="4225"/>
                    </a:lnTo>
                    <a:lnTo>
                      <a:pt x="6976" y="4228"/>
                    </a:lnTo>
                    <a:lnTo>
                      <a:pt x="6976" y="4224"/>
                    </a:lnTo>
                    <a:lnTo>
                      <a:pt x="6976" y="4222"/>
                    </a:lnTo>
                    <a:lnTo>
                      <a:pt x="6978" y="4220"/>
                    </a:lnTo>
                    <a:lnTo>
                      <a:pt x="6980" y="4219"/>
                    </a:lnTo>
                    <a:lnTo>
                      <a:pt x="6982" y="4219"/>
                    </a:lnTo>
                    <a:lnTo>
                      <a:pt x="6987" y="4220"/>
                    </a:lnTo>
                    <a:lnTo>
                      <a:pt x="6991" y="4222"/>
                    </a:lnTo>
                    <a:lnTo>
                      <a:pt x="6996" y="4224"/>
                    </a:lnTo>
                    <a:lnTo>
                      <a:pt x="7004" y="4225"/>
                    </a:lnTo>
                    <a:lnTo>
                      <a:pt x="7010" y="4228"/>
                    </a:lnTo>
                    <a:lnTo>
                      <a:pt x="7016" y="4228"/>
                    </a:lnTo>
                    <a:lnTo>
                      <a:pt x="7026" y="4228"/>
                    </a:lnTo>
                    <a:lnTo>
                      <a:pt x="7036" y="4228"/>
                    </a:lnTo>
                    <a:lnTo>
                      <a:pt x="7044" y="4228"/>
                    </a:lnTo>
                    <a:lnTo>
                      <a:pt x="7054" y="4228"/>
                    </a:lnTo>
                    <a:lnTo>
                      <a:pt x="7063" y="4228"/>
                    </a:lnTo>
                    <a:lnTo>
                      <a:pt x="7072" y="4228"/>
                    </a:lnTo>
                    <a:lnTo>
                      <a:pt x="7077" y="4228"/>
                    </a:lnTo>
                    <a:lnTo>
                      <a:pt x="7076" y="4230"/>
                    </a:lnTo>
                    <a:lnTo>
                      <a:pt x="7074" y="4232"/>
                    </a:lnTo>
                    <a:lnTo>
                      <a:pt x="7072" y="4233"/>
                    </a:lnTo>
                    <a:lnTo>
                      <a:pt x="7067" y="4238"/>
                    </a:lnTo>
                    <a:lnTo>
                      <a:pt x="7063" y="4243"/>
                    </a:lnTo>
                    <a:lnTo>
                      <a:pt x="7065" y="4243"/>
                    </a:lnTo>
                    <a:lnTo>
                      <a:pt x="7067" y="4240"/>
                    </a:lnTo>
                    <a:lnTo>
                      <a:pt x="7070" y="4240"/>
                    </a:lnTo>
                    <a:lnTo>
                      <a:pt x="7074" y="4238"/>
                    </a:lnTo>
                    <a:lnTo>
                      <a:pt x="7082" y="4235"/>
                    </a:lnTo>
                    <a:lnTo>
                      <a:pt x="7089" y="4232"/>
                    </a:lnTo>
                    <a:lnTo>
                      <a:pt x="7098" y="4230"/>
                    </a:lnTo>
                    <a:lnTo>
                      <a:pt x="7105" y="4228"/>
                    </a:lnTo>
                    <a:lnTo>
                      <a:pt x="7113" y="4228"/>
                    </a:lnTo>
                    <a:lnTo>
                      <a:pt x="7118" y="4233"/>
                    </a:lnTo>
                    <a:lnTo>
                      <a:pt x="7123" y="4238"/>
                    </a:lnTo>
                    <a:lnTo>
                      <a:pt x="7128" y="4245"/>
                    </a:lnTo>
                    <a:lnTo>
                      <a:pt x="7131" y="4248"/>
                    </a:lnTo>
                    <a:lnTo>
                      <a:pt x="7131" y="4250"/>
                    </a:lnTo>
                    <a:lnTo>
                      <a:pt x="7133" y="4250"/>
                    </a:lnTo>
                    <a:lnTo>
                      <a:pt x="7135" y="4252"/>
                    </a:lnTo>
                    <a:lnTo>
                      <a:pt x="7136" y="4252"/>
                    </a:lnTo>
                    <a:lnTo>
                      <a:pt x="7138" y="4250"/>
                    </a:lnTo>
                    <a:lnTo>
                      <a:pt x="7143" y="4248"/>
                    </a:lnTo>
                    <a:lnTo>
                      <a:pt x="7144" y="4246"/>
                    </a:lnTo>
                    <a:lnTo>
                      <a:pt x="7148" y="4245"/>
                    </a:lnTo>
                    <a:lnTo>
                      <a:pt x="7143" y="4252"/>
                    </a:lnTo>
                    <a:lnTo>
                      <a:pt x="7136" y="4259"/>
                    </a:lnTo>
                    <a:lnTo>
                      <a:pt x="7133" y="4268"/>
                    </a:lnTo>
                    <a:lnTo>
                      <a:pt x="7131" y="4278"/>
                    </a:lnTo>
                    <a:lnTo>
                      <a:pt x="7128" y="4289"/>
                    </a:lnTo>
                    <a:lnTo>
                      <a:pt x="7123" y="4298"/>
                    </a:lnTo>
                    <a:lnTo>
                      <a:pt x="7118" y="4306"/>
                    </a:lnTo>
                    <a:lnTo>
                      <a:pt x="7113" y="4312"/>
                    </a:lnTo>
                    <a:lnTo>
                      <a:pt x="7105" y="4326"/>
                    </a:lnTo>
                    <a:lnTo>
                      <a:pt x="7098" y="4337"/>
                    </a:lnTo>
                    <a:lnTo>
                      <a:pt x="7089" y="4346"/>
                    </a:lnTo>
                    <a:lnTo>
                      <a:pt x="7080" y="4355"/>
                    </a:lnTo>
                    <a:lnTo>
                      <a:pt x="7069" y="4367"/>
                    </a:lnTo>
                    <a:lnTo>
                      <a:pt x="7059" y="4375"/>
                    </a:lnTo>
                    <a:lnTo>
                      <a:pt x="7052" y="4386"/>
                    </a:lnTo>
                    <a:lnTo>
                      <a:pt x="7044" y="4400"/>
                    </a:lnTo>
                    <a:lnTo>
                      <a:pt x="7041" y="4403"/>
                    </a:lnTo>
                    <a:lnTo>
                      <a:pt x="7039" y="4406"/>
                    </a:lnTo>
                    <a:lnTo>
                      <a:pt x="7037" y="4411"/>
                    </a:lnTo>
                    <a:lnTo>
                      <a:pt x="7037" y="4414"/>
                    </a:lnTo>
                    <a:lnTo>
                      <a:pt x="7036" y="4426"/>
                    </a:lnTo>
                    <a:lnTo>
                      <a:pt x="7036" y="4434"/>
                    </a:lnTo>
                    <a:lnTo>
                      <a:pt x="7036" y="4447"/>
                    </a:lnTo>
                    <a:lnTo>
                      <a:pt x="7036" y="4459"/>
                    </a:lnTo>
                    <a:lnTo>
                      <a:pt x="7034" y="4466"/>
                    </a:lnTo>
                    <a:lnTo>
                      <a:pt x="7031" y="4472"/>
                    </a:lnTo>
                    <a:lnTo>
                      <a:pt x="7029" y="4479"/>
                    </a:lnTo>
                    <a:lnTo>
                      <a:pt x="7028" y="4485"/>
                    </a:lnTo>
                    <a:lnTo>
                      <a:pt x="7021" y="4492"/>
                    </a:lnTo>
                    <a:lnTo>
                      <a:pt x="7015" y="4501"/>
                    </a:lnTo>
                    <a:lnTo>
                      <a:pt x="7008" y="4510"/>
                    </a:lnTo>
                    <a:lnTo>
                      <a:pt x="7002" y="4520"/>
                    </a:lnTo>
                    <a:lnTo>
                      <a:pt x="6995" y="4528"/>
                    </a:lnTo>
                    <a:lnTo>
                      <a:pt x="6990" y="4538"/>
                    </a:lnTo>
                    <a:lnTo>
                      <a:pt x="6982" y="4548"/>
                    </a:lnTo>
                    <a:lnTo>
                      <a:pt x="6976" y="4554"/>
                    </a:lnTo>
                    <a:lnTo>
                      <a:pt x="6969" y="4566"/>
                    </a:lnTo>
                    <a:lnTo>
                      <a:pt x="6963" y="4577"/>
                    </a:lnTo>
                    <a:lnTo>
                      <a:pt x="6955" y="4586"/>
                    </a:lnTo>
                    <a:lnTo>
                      <a:pt x="6950" y="4595"/>
                    </a:lnTo>
                    <a:lnTo>
                      <a:pt x="6943" y="4602"/>
                    </a:lnTo>
                    <a:lnTo>
                      <a:pt x="6937" y="4610"/>
                    </a:lnTo>
                    <a:lnTo>
                      <a:pt x="6924" y="4623"/>
                    </a:lnTo>
                    <a:lnTo>
                      <a:pt x="6930" y="4628"/>
                    </a:lnTo>
                    <a:lnTo>
                      <a:pt x="6934" y="4636"/>
                    </a:lnTo>
                    <a:lnTo>
                      <a:pt x="6937" y="4641"/>
                    </a:lnTo>
                    <a:lnTo>
                      <a:pt x="6941" y="4648"/>
                    </a:lnTo>
                    <a:lnTo>
                      <a:pt x="6945" y="4655"/>
                    </a:lnTo>
                    <a:lnTo>
                      <a:pt x="6949" y="4661"/>
                    </a:lnTo>
                    <a:lnTo>
                      <a:pt x="6952" y="4668"/>
                    </a:lnTo>
                    <a:lnTo>
                      <a:pt x="6958" y="4675"/>
                    </a:lnTo>
                    <a:lnTo>
                      <a:pt x="6960" y="4682"/>
                    </a:lnTo>
                    <a:lnTo>
                      <a:pt x="6962" y="4689"/>
                    </a:lnTo>
                    <a:lnTo>
                      <a:pt x="6963" y="4699"/>
                    </a:lnTo>
                    <a:lnTo>
                      <a:pt x="6965" y="4708"/>
                    </a:lnTo>
                    <a:lnTo>
                      <a:pt x="6965" y="4717"/>
                    </a:lnTo>
                    <a:lnTo>
                      <a:pt x="6965" y="4722"/>
                    </a:lnTo>
                    <a:lnTo>
                      <a:pt x="6965" y="4727"/>
                    </a:lnTo>
                    <a:lnTo>
                      <a:pt x="6965" y="4732"/>
                    </a:lnTo>
                    <a:lnTo>
                      <a:pt x="6963" y="4735"/>
                    </a:lnTo>
                    <a:lnTo>
                      <a:pt x="6962" y="4739"/>
                    </a:lnTo>
                    <a:lnTo>
                      <a:pt x="6958" y="4743"/>
                    </a:lnTo>
                    <a:lnTo>
                      <a:pt x="6945" y="4743"/>
                    </a:lnTo>
                    <a:lnTo>
                      <a:pt x="6939" y="4745"/>
                    </a:lnTo>
                    <a:lnTo>
                      <a:pt x="6932" y="4745"/>
                    </a:lnTo>
                    <a:lnTo>
                      <a:pt x="6926" y="4747"/>
                    </a:lnTo>
                    <a:lnTo>
                      <a:pt x="6919" y="4750"/>
                    </a:lnTo>
                    <a:lnTo>
                      <a:pt x="6914" y="4754"/>
                    </a:lnTo>
                    <a:lnTo>
                      <a:pt x="6908" y="4760"/>
                    </a:lnTo>
                    <a:lnTo>
                      <a:pt x="6919" y="4754"/>
                    </a:lnTo>
                    <a:lnTo>
                      <a:pt x="6924" y="4752"/>
                    </a:lnTo>
                    <a:lnTo>
                      <a:pt x="6930" y="4750"/>
                    </a:lnTo>
                    <a:lnTo>
                      <a:pt x="6934" y="4750"/>
                    </a:lnTo>
                    <a:lnTo>
                      <a:pt x="6939" y="4749"/>
                    </a:lnTo>
                    <a:lnTo>
                      <a:pt x="6943" y="4749"/>
                    </a:lnTo>
                    <a:lnTo>
                      <a:pt x="6949" y="4749"/>
                    </a:lnTo>
                    <a:lnTo>
                      <a:pt x="6952" y="4750"/>
                    </a:lnTo>
                    <a:lnTo>
                      <a:pt x="6955" y="4752"/>
                    </a:lnTo>
                    <a:lnTo>
                      <a:pt x="6960" y="4754"/>
                    </a:lnTo>
                    <a:lnTo>
                      <a:pt x="6963" y="4758"/>
                    </a:lnTo>
                    <a:lnTo>
                      <a:pt x="6965" y="4762"/>
                    </a:lnTo>
                    <a:lnTo>
                      <a:pt x="6969" y="4765"/>
                    </a:lnTo>
                    <a:lnTo>
                      <a:pt x="6973" y="4770"/>
                    </a:lnTo>
                    <a:lnTo>
                      <a:pt x="6976" y="4778"/>
                    </a:lnTo>
                    <a:lnTo>
                      <a:pt x="6983" y="4783"/>
                    </a:lnTo>
                    <a:lnTo>
                      <a:pt x="6991" y="4788"/>
                    </a:lnTo>
                    <a:lnTo>
                      <a:pt x="7000" y="4793"/>
                    </a:lnTo>
                    <a:lnTo>
                      <a:pt x="7010" y="4796"/>
                    </a:lnTo>
                    <a:lnTo>
                      <a:pt x="7019" y="4803"/>
                    </a:lnTo>
                    <a:lnTo>
                      <a:pt x="7024" y="4806"/>
                    </a:lnTo>
                    <a:lnTo>
                      <a:pt x="7028" y="4809"/>
                    </a:lnTo>
                    <a:lnTo>
                      <a:pt x="7034" y="4813"/>
                    </a:lnTo>
                    <a:lnTo>
                      <a:pt x="7037" y="4816"/>
                    </a:lnTo>
                    <a:lnTo>
                      <a:pt x="7041" y="4822"/>
                    </a:lnTo>
                    <a:lnTo>
                      <a:pt x="7044" y="4829"/>
                    </a:lnTo>
                    <a:lnTo>
                      <a:pt x="7046" y="4837"/>
                    </a:lnTo>
                    <a:lnTo>
                      <a:pt x="7046" y="4844"/>
                    </a:lnTo>
                    <a:lnTo>
                      <a:pt x="7046" y="4852"/>
                    </a:lnTo>
                    <a:lnTo>
                      <a:pt x="7046" y="4857"/>
                    </a:lnTo>
                    <a:lnTo>
                      <a:pt x="7046" y="4865"/>
                    </a:lnTo>
                    <a:lnTo>
                      <a:pt x="7044" y="4870"/>
                    </a:lnTo>
                    <a:lnTo>
                      <a:pt x="7041" y="4882"/>
                    </a:lnTo>
                    <a:lnTo>
                      <a:pt x="7036" y="4892"/>
                    </a:lnTo>
                    <a:lnTo>
                      <a:pt x="7028" y="4902"/>
                    </a:lnTo>
                    <a:lnTo>
                      <a:pt x="7019" y="4910"/>
                    </a:lnTo>
                    <a:lnTo>
                      <a:pt x="7010" y="4916"/>
                    </a:lnTo>
                    <a:lnTo>
                      <a:pt x="7002" y="4921"/>
                    </a:lnTo>
                    <a:lnTo>
                      <a:pt x="7008" y="4920"/>
                    </a:lnTo>
                    <a:lnTo>
                      <a:pt x="7015" y="4916"/>
                    </a:lnTo>
                    <a:lnTo>
                      <a:pt x="7021" y="4915"/>
                    </a:lnTo>
                    <a:lnTo>
                      <a:pt x="7028" y="4915"/>
                    </a:lnTo>
                    <a:lnTo>
                      <a:pt x="7037" y="4915"/>
                    </a:lnTo>
                    <a:lnTo>
                      <a:pt x="7046" y="4916"/>
                    </a:lnTo>
                    <a:lnTo>
                      <a:pt x="7056" y="4920"/>
                    </a:lnTo>
                    <a:lnTo>
                      <a:pt x="7065" y="4924"/>
                    </a:lnTo>
                    <a:lnTo>
                      <a:pt x="7074" y="4928"/>
                    </a:lnTo>
                    <a:lnTo>
                      <a:pt x="7083" y="4933"/>
                    </a:lnTo>
                    <a:lnTo>
                      <a:pt x="7090" y="4941"/>
                    </a:lnTo>
                    <a:lnTo>
                      <a:pt x="7098" y="4948"/>
                    </a:lnTo>
                    <a:lnTo>
                      <a:pt x="7105" y="4956"/>
                    </a:lnTo>
                    <a:lnTo>
                      <a:pt x="7111" y="4963"/>
                    </a:lnTo>
                    <a:lnTo>
                      <a:pt x="7117" y="4972"/>
                    </a:lnTo>
                    <a:lnTo>
                      <a:pt x="7117" y="4966"/>
                    </a:lnTo>
                    <a:lnTo>
                      <a:pt x="7115" y="4961"/>
                    </a:lnTo>
                    <a:lnTo>
                      <a:pt x="7115" y="4956"/>
                    </a:lnTo>
                    <a:lnTo>
                      <a:pt x="7117" y="4948"/>
                    </a:lnTo>
                    <a:lnTo>
                      <a:pt x="7118" y="4941"/>
                    </a:lnTo>
                    <a:lnTo>
                      <a:pt x="7120" y="4933"/>
                    </a:lnTo>
                    <a:lnTo>
                      <a:pt x="7123" y="4924"/>
                    </a:lnTo>
                    <a:lnTo>
                      <a:pt x="7131" y="4915"/>
                    </a:lnTo>
                    <a:lnTo>
                      <a:pt x="7133" y="4911"/>
                    </a:lnTo>
                    <a:lnTo>
                      <a:pt x="7136" y="4907"/>
                    </a:lnTo>
                    <a:lnTo>
                      <a:pt x="7143" y="4902"/>
                    </a:lnTo>
                    <a:lnTo>
                      <a:pt x="7146" y="4896"/>
                    </a:lnTo>
                    <a:lnTo>
                      <a:pt x="7156" y="4887"/>
                    </a:lnTo>
                    <a:lnTo>
                      <a:pt x="7166" y="4876"/>
                    </a:lnTo>
                    <a:lnTo>
                      <a:pt x="7172" y="4872"/>
                    </a:lnTo>
                    <a:lnTo>
                      <a:pt x="7179" y="4867"/>
                    </a:lnTo>
                    <a:lnTo>
                      <a:pt x="7184" y="4865"/>
                    </a:lnTo>
                    <a:lnTo>
                      <a:pt x="7191" y="4861"/>
                    </a:lnTo>
                    <a:lnTo>
                      <a:pt x="7197" y="4859"/>
                    </a:lnTo>
                    <a:lnTo>
                      <a:pt x="7204" y="4859"/>
                    </a:lnTo>
                    <a:lnTo>
                      <a:pt x="7210" y="4861"/>
                    </a:lnTo>
                    <a:lnTo>
                      <a:pt x="7217" y="4862"/>
                    </a:lnTo>
                    <a:lnTo>
                      <a:pt x="7214" y="4867"/>
                    </a:lnTo>
                    <a:lnTo>
                      <a:pt x="7212" y="4869"/>
                    </a:lnTo>
                    <a:lnTo>
                      <a:pt x="7210" y="4870"/>
                    </a:lnTo>
                    <a:lnTo>
                      <a:pt x="7212" y="4870"/>
                    </a:lnTo>
                    <a:lnTo>
                      <a:pt x="7212" y="4872"/>
                    </a:lnTo>
                    <a:lnTo>
                      <a:pt x="7214" y="4872"/>
                    </a:lnTo>
                    <a:lnTo>
                      <a:pt x="7218" y="4874"/>
                    </a:lnTo>
                    <a:lnTo>
                      <a:pt x="7224" y="4876"/>
                    </a:lnTo>
                    <a:lnTo>
                      <a:pt x="7225" y="4877"/>
                    </a:lnTo>
                    <a:lnTo>
                      <a:pt x="7229" y="4880"/>
                    </a:lnTo>
                    <a:lnTo>
                      <a:pt x="7230" y="4883"/>
                    </a:lnTo>
                    <a:lnTo>
                      <a:pt x="7233" y="4887"/>
                    </a:lnTo>
                    <a:lnTo>
                      <a:pt x="7233" y="4892"/>
                    </a:lnTo>
                    <a:lnTo>
                      <a:pt x="7235" y="4898"/>
                    </a:lnTo>
                    <a:lnTo>
                      <a:pt x="7233" y="4903"/>
                    </a:lnTo>
                    <a:lnTo>
                      <a:pt x="7230" y="4911"/>
                    </a:lnTo>
                    <a:lnTo>
                      <a:pt x="7229" y="4916"/>
                    </a:lnTo>
                    <a:lnTo>
                      <a:pt x="7227" y="4920"/>
                    </a:lnTo>
                    <a:lnTo>
                      <a:pt x="7225" y="4926"/>
                    </a:lnTo>
                    <a:lnTo>
                      <a:pt x="7225" y="4928"/>
                    </a:lnTo>
                    <a:lnTo>
                      <a:pt x="7227" y="4930"/>
                    </a:lnTo>
                    <a:lnTo>
                      <a:pt x="7229" y="4931"/>
                    </a:lnTo>
                    <a:lnTo>
                      <a:pt x="7230" y="4931"/>
                    </a:lnTo>
                    <a:lnTo>
                      <a:pt x="7235" y="4931"/>
                    </a:lnTo>
                    <a:lnTo>
                      <a:pt x="7235" y="4928"/>
                    </a:lnTo>
                    <a:lnTo>
                      <a:pt x="7235" y="4924"/>
                    </a:lnTo>
                    <a:lnTo>
                      <a:pt x="7237" y="4920"/>
                    </a:lnTo>
                    <a:lnTo>
                      <a:pt x="7240" y="4916"/>
                    </a:lnTo>
                    <a:lnTo>
                      <a:pt x="7242" y="4913"/>
                    </a:lnTo>
                    <a:lnTo>
                      <a:pt x="7245" y="4907"/>
                    </a:lnTo>
                    <a:lnTo>
                      <a:pt x="7253" y="4900"/>
                    </a:lnTo>
                    <a:lnTo>
                      <a:pt x="7260" y="4892"/>
                    </a:lnTo>
                    <a:lnTo>
                      <a:pt x="7266" y="4889"/>
                    </a:lnTo>
                    <a:lnTo>
                      <a:pt x="7270" y="4887"/>
                    </a:lnTo>
                    <a:lnTo>
                      <a:pt x="7273" y="4883"/>
                    </a:lnTo>
                    <a:lnTo>
                      <a:pt x="7278" y="4882"/>
                    </a:lnTo>
                    <a:lnTo>
                      <a:pt x="7281" y="4882"/>
                    </a:lnTo>
                    <a:lnTo>
                      <a:pt x="7284" y="4882"/>
                    </a:lnTo>
                    <a:lnTo>
                      <a:pt x="7279" y="4880"/>
                    </a:lnTo>
                    <a:lnTo>
                      <a:pt x="7275" y="4880"/>
                    </a:lnTo>
                    <a:lnTo>
                      <a:pt x="7271" y="4880"/>
                    </a:lnTo>
                    <a:lnTo>
                      <a:pt x="7270" y="4877"/>
                    </a:lnTo>
                    <a:lnTo>
                      <a:pt x="7270" y="4876"/>
                    </a:lnTo>
                    <a:lnTo>
                      <a:pt x="7270" y="4874"/>
                    </a:lnTo>
                    <a:lnTo>
                      <a:pt x="7270" y="4872"/>
                    </a:lnTo>
                    <a:lnTo>
                      <a:pt x="7270" y="4870"/>
                    </a:lnTo>
                    <a:lnTo>
                      <a:pt x="7271" y="4865"/>
                    </a:lnTo>
                    <a:lnTo>
                      <a:pt x="7273" y="4861"/>
                    </a:lnTo>
                    <a:lnTo>
                      <a:pt x="7273" y="4859"/>
                    </a:lnTo>
                    <a:lnTo>
                      <a:pt x="7273" y="4856"/>
                    </a:lnTo>
                    <a:lnTo>
                      <a:pt x="7271" y="4852"/>
                    </a:lnTo>
                    <a:lnTo>
                      <a:pt x="7270" y="4850"/>
                    </a:lnTo>
                    <a:lnTo>
                      <a:pt x="7268" y="4846"/>
                    </a:lnTo>
                    <a:lnTo>
                      <a:pt x="7268" y="4842"/>
                    </a:lnTo>
                    <a:lnTo>
                      <a:pt x="7270" y="4841"/>
                    </a:lnTo>
                    <a:lnTo>
                      <a:pt x="7271" y="4837"/>
                    </a:lnTo>
                    <a:lnTo>
                      <a:pt x="7273" y="4836"/>
                    </a:lnTo>
                    <a:lnTo>
                      <a:pt x="7279" y="4831"/>
                    </a:lnTo>
                    <a:lnTo>
                      <a:pt x="7284" y="4829"/>
                    </a:lnTo>
                    <a:lnTo>
                      <a:pt x="7291" y="4826"/>
                    </a:lnTo>
                    <a:lnTo>
                      <a:pt x="7298" y="4822"/>
                    </a:lnTo>
                    <a:lnTo>
                      <a:pt x="7299" y="4821"/>
                    </a:lnTo>
                    <a:lnTo>
                      <a:pt x="7301" y="4816"/>
                    </a:lnTo>
                    <a:lnTo>
                      <a:pt x="7303" y="4815"/>
                    </a:lnTo>
                    <a:lnTo>
                      <a:pt x="7303" y="4811"/>
                    </a:lnTo>
                    <a:lnTo>
                      <a:pt x="7303" y="4806"/>
                    </a:lnTo>
                    <a:lnTo>
                      <a:pt x="7303" y="4803"/>
                    </a:lnTo>
                    <a:lnTo>
                      <a:pt x="7303" y="4798"/>
                    </a:lnTo>
                    <a:lnTo>
                      <a:pt x="7304" y="4796"/>
                    </a:lnTo>
                    <a:lnTo>
                      <a:pt x="7306" y="4795"/>
                    </a:lnTo>
                    <a:lnTo>
                      <a:pt x="7311" y="4795"/>
                    </a:lnTo>
                    <a:lnTo>
                      <a:pt x="7314" y="4795"/>
                    </a:lnTo>
                    <a:lnTo>
                      <a:pt x="7319" y="4795"/>
                    </a:lnTo>
                    <a:lnTo>
                      <a:pt x="7324" y="4795"/>
                    </a:lnTo>
                    <a:lnTo>
                      <a:pt x="7327" y="4793"/>
                    </a:lnTo>
                    <a:lnTo>
                      <a:pt x="7329" y="4791"/>
                    </a:lnTo>
                    <a:lnTo>
                      <a:pt x="7332" y="4789"/>
                    </a:lnTo>
                    <a:lnTo>
                      <a:pt x="7336" y="4785"/>
                    </a:lnTo>
                    <a:lnTo>
                      <a:pt x="7340" y="4782"/>
                    </a:lnTo>
                    <a:lnTo>
                      <a:pt x="7347" y="4775"/>
                    </a:lnTo>
                    <a:lnTo>
                      <a:pt x="7357" y="4767"/>
                    </a:lnTo>
                    <a:lnTo>
                      <a:pt x="7365" y="4758"/>
                    </a:lnTo>
                    <a:lnTo>
                      <a:pt x="7377" y="4750"/>
                    </a:lnTo>
                    <a:lnTo>
                      <a:pt x="7388" y="4743"/>
                    </a:lnTo>
                    <a:lnTo>
                      <a:pt x="7386" y="4743"/>
                    </a:lnTo>
                    <a:lnTo>
                      <a:pt x="7385" y="4743"/>
                    </a:lnTo>
                    <a:lnTo>
                      <a:pt x="7382" y="4743"/>
                    </a:lnTo>
                    <a:lnTo>
                      <a:pt x="7380" y="4743"/>
                    </a:lnTo>
                    <a:lnTo>
                      <a:pt x="7382" y="4742"/>
                    </a:lnTo>
                    <a:lnTo>
                      <a:pt x="7385" y="4739"/>
                    </a:lnTo>
                    <a:lnTo>
                      <a:pt x="7386" y="4735"/>
                    </a:lnTo>
                    <a:lnTo>
                      <a:pt x="7388" y="4732"/>
                    </a:lnTo>
                    <a:lnTo>
                      <a:pt x="7388" y="4727"/>
                    </a:lnTo>
                    <a:lnTo>
                      <a:pt x="7393" y="4719"/>
                    </a:lnTo>
                    <a:lnTo>
                      <a:pt x="7397" y="4714"/>
                    </a:lnTo>
                    <a:lnTo>
                      <a:pt x="7401" y="4708"/>
                    </a:lnTo>
                    <a:lnTo>
                      <a:pt x="7401" y="4702"/>
                    </a:lnTo>
                    <a:lnTo>
                      <a:pt x="7401" y="4697"/>
                    </a:lnTo>
                    <a:lnTo>
                      <a:pt x="7397" y="4694"/>
                    </a:lnTo>
                    <a:lnTo>
                      <a:pt x="7393" y="4691"/>
                    </a:lnTo>
                    <a:lnTo>
                      <a:pt x="7388" y="4691"/>
                    </a:lnTo>
                    <a:lnTo>
                      <a:pt x="7388" y="4688"/>
                    </a:lnTo>
                    <a:lnTo>
                      <a:pt x="7388" y="4686"/>
                    </a:lnTo>
                    <a:lnTo>
                      <a:pt x="7388" y="4680"/>
                    </a:lnTo>
                    <a:lnTo>
                      <a:pt x="7388" y="4675"/>
                    </a:lnTo>
                    <a:lnTo>
                      <a:pt x="7388" y="4669"/>
                    </a:lnTo>
                    <a:lnTo>
                      <a:pt x="7388" y="4656"/>
                    </a:lnTo>
                    <a:lnTo>
                      <a:pt x="7393" y="4656"/>
                    </a:lnTo>
                    <a:lnTo>
                      <a:pt x="7398" y="4656"/>
                    </a:lnTo>
                    <a:lnTo>
                      <a:pt x="7401" y="4656"/>
                    </a:lnTo>
                    <a:lnTo>
                      <a:pt x="7403" y="4655"/>
                    </a:lnTo>
                    <a:lnTo>
                      <a:pt x="7405" y="4653"/>
                    </a:lnTo>
                    <a:lnTo>
                      <a:pt x="7405" y="4648"/>
                    </a:lnTo>
                    <a:lnTo>
                      <a:pt x="7406" y="4645"/>
                    </a:lnTo>
                    <a:lnTo>
                      <a:pt x="7406" y="4640"/>
                    </a:lnTo>
                    <a:lnTo>
                      <a:pt x="7405" y="4640"/>
                    </a:lnTo>
                    <a:lnTo>
                      <a:pt x="7403" y="4638"/>
                    </a:lnTo>
                    <a:lnTo>
                      <a:pt x="7401" y="4634"/>
                    </a:lnTo>
                    <a:lnTo>
                      <a:pt x="7398" y="4630"/>
                    </a:lnTo>
                    <a:lnTo>
                      <a:pt x="7397" y="4628"/>
                    </a:lnTo>
                    <a:lnTo>
                      <a:pt x="7397" y="4627"/>
                    </a:lnTo>
                    <a:lnTo>
                      <a:pt x="7398" y="4625"/>
                    </a:lnTo>
                    <a:lnTo>
                      <a:pt x="7401" y="4623"/>
                    </a:lnTo>
                    <a:lnTo>
                      <a:pt x="7403" y="4623"/>
                    </a:lnTo>
                    <a:lnTo>
                      <a:pt x="7405" y="4623"/>
                    </a:lnTo>
                    <a:lnTo>
                      <a:pt x="7405" y="4622"/>
                    </a:lnTo>
                    <a:lnTo>
                      <a:pt x="7403" y="4622"/>
                    </a:lnTo>
                    <a:lnTo>
                      <a:pt x="7401" y="4619"/>
                    </a:lnTo>
                    <a:lnTo>
                      <a:pt x="7398" y="4615"/>
                    </a:lnTo>
                    <a:lnTo>
                      <a:pt x="7393" y="4612"/>
                    </a:lnTo>
                    <a:lnTo>
                      <a:pt x="7388" y="4607"/>
                    </a:lnTo>
                    <a:lnTo>
                      <a:pt x="7401" y="4592"/>
                    </a:lnTo>
                    <a:lnTo>
                      <a:pt x="7406" y="4584"/>
                    </a:lnTo>
                    <a:lnTo>
                      <a:pt x="7411" y="4577"/>
                    </a:lnTo>
                    <a:lnTo>
                      <a:pt x="7416" y="4569"/>
                    </a:lnTo>
                    <a:lnTo>
                      <a:pt x="7419" y="4561"/>
                    </a:lnTo>
                    <a:lnTo>
                      <a:pt x="7421" y="4549"/>
                    </a:lnTo>
                    <a:lnTo>
                      <a:pt x="7423" y="4536"/>
                    </a:lnTo>
                    <a:lnTo>
                      <a:pt x="7425" y="4534"/>
                    </a:lnTo>
                    <a:lnTo>
                      <a:pt x="7426" y="4534"/>
                    </a:lnTo>
                    <a:lnTo>
                      <a:pt x="7431" y="4531"/>
                    </a:lnTo>
                    <a:lnTo>
                      <a:pt x="7438" y="4527"/>
                    </a:lnTo>
                    <a:lnTo>
                      <a:pt x="7443" y="4521"/>
                    </a:lnTo>
                    <a:lnTo>
                      <a:pt x="7447" y="4520"/>
                    </a:lnTo>
                    <a:lnTo>
                      <a:pt x="7449" y="4518"/>
                    </a:lnTo>
                    <a:lnTo>
                      <a:pt x="7451" y="4516"/>
                    </a:lnTo>
                    <a:lnTo>
                      <a:pt x="7452" y="4513"/>
                    </a:lnTo>
                    <a:lnTo>
                      <a:pt x="7451" y="4513"/>
                    </a:lnTo>
                    <a:lnTo>
                      <a:pt x="7449" y="4516"/>
                    </a:lnTo>
                    <a:lnTo>
                      <a:pt x="7444" y="4516"/>
                    </a:lnTo>
                    <a:lnTo>
                      <a:pt x="7443" y="4518"/>
                    </a:lnTo>
                    <a:lnTo>
                      <a:pt x="7439" y="4520"/>
                    </a:lnTo>
                    <a:lnTo>
                      <a:pt x="7441" y="4513"/>
                    </a:lnTo>
                    <a:lnTo>
                      <a:pt x="7443" y="4508"/>
                    </a:lnTo>
                    <a:lnTo>
                      <a:pt x="7444" y="4505"/>
                    </a:lnTo>
                    <a:lnTo>
                      <a:pt x="7447" y="4503"/>
                    </a:lnTo>
                    <a:lnTo>
                      <a:pt x="7447" y="4500"/>
                    </a:lnTo>
                    <a:lnTo>
                      <a:pt x="7447" y="4497"/>
                    </a:lnTo>
                    <a:lnTo>
                      <a:pt x="7447" y="4495"/>
                    </a:lnTo>
                    <a:lnTo>
                      <a:pt x="7447" y="4494"/>
                    </a:lnTo>
                    <a:lnTo>
                      <a:pt x="7444" y="4490"/>
                    </a:lnTo>
                    <a:lnTo>
                      <a:pt x="7443" y="4488"/>
                    </a:lnTo>
                    <a:lnTo>
                      <a:pt x="7439" y="4485"/>
                    </a:lnTo>
                    <a:lnTo>
                      <a:pt x="7444" y="4485"/>
                    </a:lnTo>
                    <a:lnTo>
                      <a:pt x="7451" y="4482"/>
                    </a:lnTo>
                    <a:lnTo>
                      <a:pt x="7454" y="4479"/>
                    </a:lnTo>
                    <a:lnTo>
                      <a:pt x="7458" y="4477"/>
                    </a:lnTo>
                    <a:lnTo>
                      <a:pt x="7459" y="4474"/>
                    </a:lnTo>
                    <a:lnTo>
                      <a:pt x="7464" y="4470"/>
                    </a:lnTo>
                    <a:lnTo>
                      <a:pt x="7469" y="4467"/>
                    </a:lnTo>
                    <a:lnTo>
                      <a:pt x="7467" y="4466"/>
                    </a:lnTo>
                    <a:lnTo>
                      <a:pt x="7467" y="4464"/>
                    </a:lnTo>
                    <a:lnTo>
                      <a:pt x="7467" y="4462"/>
                    </a:lnTo>
                    <a:lnTo>
                      <a:pt x="7467" y="4457"/>
                    </a:lnTo>
                    <a:lnTo>
                      <a:pt x="7469" y="4451"/>
                    </a:lnTo>
                    <a:lnTo>
                      <a:pt x="7471" y="4446"/>
                    </a:lnTo>
                    <a:lnTo>
                      <a:pt x="7472" y="4440"/>
                    </a:lnTo>
                    <a:lnTo>
                      <a:pt x="7474" y="4433"/>
                    </a:lnTo>
                    <a:lnTo>
                      <a:pt x="7472" y="4433"/>
                    </a:lnTo>
                    <a:lnTo>
                      <a:pt x="7471" y="4431"/>
                    </a:lnTo>
                    <a:lnTo>
                      <a:pt x="7469" y="4427"/>
                    </a:lnTo>
                    <a:lnTo>
                      <a:pt x="7467" y="4426"/>
                    </a:lnTo>
                    <a:lnTo>
                      <a:pt x="7467" y="4421"/>
                    </a:lnTo>
                    <a:lnTo>
                      <a:pt x="7467" y="4420"/>
                    </a:lnTo>
                    <a:lnTo>
                      <a:pt x="7467" y="4418"/>
                    </a:lnTo>
                    <a:lnTo>
                      <a:pt x="7469" y="4416"/>
                    </a:lnTo>
                    <a:lnTo>
                      <a:pt x="7465" y="4414"/>
                    </a:lnTo>
                    <a:lnTo>
                      <a:pt x="7462" y="4413"/>
                    </a:lnTo>
                    <a:lnTo>
                      <a:pt x="7459" y="4409"/>
                    </a:lnTo>
                    <a:lnTo>
                      <a:pt x="7458" y="4405"/>
                    </a:lnTo>
                    <a:lnTo>
                      <a:pt x="7458" y="4400"/>
                    </a:lnTo>
                    <a:lnTo>
                      <a:pt x="7459" y="4400"/>
                    </a:lnTo>
                    <a:lnTo>
                      <a:pt x="7462" y="4398"/>
                    </a:lnTo>
                    <a:lnTo>
                      <a:pt x="7462" y="4396"/>
                    </a:lnTo>
                    <a:lnTo>
                      <a:pt x="7462" y="4394"/>
                    </a:lnTo>
                    <a:lnTo>
                      <a:pt x="7459" y="4393"/>
                    </a:lnTo>
                    <a:lnTo>
                      <a:pt x="7458" y="4388"/>
                    </a:lnTo>
                    <a:lnTo>
                      <a:pt x="7454" y="4383"/>
                    </a:lnTo>
                    <a:lnTo>
                      <a:pt x="7452" y="4380"/>
                    </a:lnTo>
                    <a:lnTo>
                      <a:pt x="7452" y="4378"/>
                    </a:lnTo>
                    <a:lnTo>
                      <a:pt x="7452" y="4373"/>
                    </a:lnTo>
                    <a:lnTo>
                      <a:pt x="7452" y="4370"/>
                    </a:lnTo>
                    <a:lnTo>
                      <a:pt x="7454" y="4368"/>
                    </a:lnTo>
                    <a:lnTo>
                      <a:pt x="7458" y="4365"/>
                    </a:lnTo>
                    <a:lnTo>
                      <a:pt x="7458" y="4359"/>
                    </a:lnTo>
                    <a:lnTo>
                      <a:pt x="7459" y="4352"/>
                    </a:lnTo>
                    <a:lnTo>
                      <a:pt x="7462" y="4346"/>
                    </a:lnTo>
                    <a:lnTo>
                      <a:pt x="7464" y="4340"/>
                    </a:lnTo>
                    <a:lnTo>
                      <a:pt x="7465" y="4337"/>
                    </a:lnTo>
                    <a:lnTo>
                      <a:pt x="7465" y="4335"/>
                    </a:lnTo>
                    <a:lnTo>
                      <a:pt x="7464" y="4333"/>
                    </a:lnTo>
                    <a:lnTo>
                      <a:pt x="7464" y="4331"/>
                    </a:lnTo>
                    <a:lnTo>
                      <a:pt x="7462" y="4331"/>
                    </a:lnTo>
                    <a:lnTo>
                      <a:pt x="7459" y="4331"/>
                    </a:lnTo>
                    <a:lnTo>
                      <a:pt x="7458" y="4331"/>
                    </a:lnTo>
                    <a:lnTo>
                      <a:pt x="7459" y="4324"/>
                    </a:lnTo>
                    <a:lnTo>
                      <a:pt x="7465" y="4319"/>
                    </a:lnTo>
                    <a:lnTo>
                      <a:pt x="7471" y="4314"/>
                    </a:lnTo>
                    <a:lnTo>
                      <a:pt x="7477" y="4311"/>
                    </a:lnTo>
                    <a:lnTo>
                      <a:pt x="7482" y="4307"/>
                    </a:lnTo>
                    <a:lnTo>
                      <a:pt x="7487" y="4304"/>
                    </a:lnTo>
                    <a:lnTo>
                      <a:pt x="7495" y="4302"/>
                    </a:lnTo>
                    <a:lnTo>
                      <a:pt x="7502" y="4299"/>
                    </a:lnTo>
                    <a:lnTo>
                      <a:pt x="7517" y="4298"/>
                    </a:lnTo>
                    <a:lnTo>
                      <a:pt x="7532" y="4296"/>
                    </a:lnTo>
                    <a:lnTo>
                      <a:pt x="7546" y="4296"/>
                    </a:lnTo>
                    <a:lnTo>
                      <a:pt x="7561" y="4296"/>
                    </a:lnTo>
                    <a:lnTo>
                      <a:pt x="7637" y="4270"/>
                    </a:lnTo>
                    <a:lnTo>
                      <a:pt x="7714" y="4245"/>
                    </a:lnTo>
                    <a:lnTo>
                      <a:pt x="7735" y="4237"/>
                    </a:lnTo>
                    <a:lnTo>
                      <a:pt x="7753" y="4230"/>
                    </a:lnTo>
                    <a:lnTo>
                      <a:pt x="7773" y="4222"/>
                    </a:lnTo>
                    <a:lnTo>
                      <a:pt x="7792" y="4213"/>
                    </a:lnTo>
                    <a:lnTo>
                      <a:pt x="7810" y="4204"/>
                    </a:lnTo>
                    <a:lnTo>
                      <a:pt x="7831" y="4192"/>
                    </a:lnTo>
                    <a:lnTo>
                      <a:pt x="7849" y="4182"/>
                    </a:lnTo>
                    <a:lnTo>
                      <a:pt x="7867" y="4171"/>
                    </a:lnTo>
                    <a:lnTo>
                      <a:pt x="7905" y="4148"/>
                    </a:lnTo>
                    <a:lnTo>
                      <a:pt x="7940" y="4123"/>
                    </a:lnTo>
                    <a:lnTo>
                      <a:pt x="7974" y="4098"/>
                    </a:lnTo>
                    <a:lnTo>
                      <a:pt x="8007" y="4072"/>
                    </a:lnTo>
                    <a:lnTo>
                      <a:pt x="8019" y="4062"/>
                    </a:lnTo>
                    <a:lnTo>
                      <a:pt x="8032" y="4051"/>
                    </a:lnTo>
                    <a:lnTo>
                      <a:pt x="8045" y="4038"/>
                    </a:lnTo>
                    <a:lnTo>
                      <a:pt x="8058" y="4024"/>
                    </a:lnTo>
                    <a:lnTo>
                      <a:pt x="8068" y="4010"/>
                    </a:lnTo>
                    <a:lnTo>
                      <a:pt x="8081" y="3995"/>
                    </a:lnTo>
                    <a:lnTo>
                      <a:pt x="8091" y="3978"/>
                    </a:lnTo>
                    <a:lnTo>
                      <a:pt x="8102" y="3962"/>
                    </a:lnTo>
                    <a:lnTo>
                      <a:pt x="8111" y="3945"/>
                    </a:lnTo>
                    <a:lnTo>
                      <a:pt x="8119" y="3927"/>
                    </a:lnTo>
                    <a:lnTo>
                      <a:pt x="8126" y="3911"/>
                    </a:lnTo>
                    <a:lnTo>
                      <a:pt x="8134" y="3891"/>
                    </a:lnTo>
                    <a:lnTo>
                      <a:pt x="8139" y="3871"/>
                    </a:lnTo>
                    <a:lnTo>
                      <a:pt x="8142" y="3853"/>
                    </a:lnTo>
                    <a:lnTo>
                      <a:pt x="8144" y="3835"/>
                    </a:lnTo>
                    <a:lnTo>
                      <a:pt x="8144" y="3814"/>
                    </a:lnTo>
                    <a:lnTo>
                      <a:pt x="8144" y="3802"/>
                    </a:lnTo>
                    <a:lnTo>
                      <a:pt x="8144" y="3787"/>
                    </a:lnTo>
                    <a:lnTo>
                      <a:pt x="8142" y="3772"/>
                    </a:lnTo>
                    <a:lnTo>
                      <a:pt x="8141" y="3757"/>
                    </a:lnTo>
                    <a:lnTo>
                      <a:pt x="8139" y="3749"/>
                    </a:lnTo>
                    <a:lnTo>
                      <a:pt x="8137" y="3743"/>
                    </a:lnTo>
                    <a:lnTo>
                      <a:pt x="8134" y="3736"/>
                    </a:lnTo>
                    <a:lnTo>
                      <a:pt x="8129" y="3729"/>
                    </a:lnTo>
                    <a:lnTo>
                      <a:pt x="8126" y="3723"/>
                    </a:lnTo>
                    <a:lnTo>
                      <a:pt x="8122" y="3720"/>
                    </a:lnTo>
                    <a:lnTo>
                      <a:pt x="8117" y="3715"/>
                    </a:lnTo>
                    <a:lnTo>
                      <a:pt x="8111" y="3711"/>
                    </a:lnTo>
                    <a:lnTo>
                      <a:pt x="8104" y="3705"/>
                    </a:lnTo>
                    <a:lnTo>
                      <a:pt x="8098" y="3702"/>
                    </a:lnTo>
                    <a:lnTo>
                      <a:pt x="8093" y="3698"/>
                    </a:lnTo>
                    <a:lnTo>
                      <a:pt x="8088" y="3695"/>
                    </a:lnTo>
                    <a:lnTo>
                      <a:pt x="8081" y="3690"/>
                    </a:lnTo>
                    <a:lnTo>
                      <a:pt x="8078" y="3687"/>
                    </a:lnTo>
                    <a:lnTo>
                      <a:pt x="8076" y="3683"/>
                    </a:lnTo>
                    <a:lnTo>
                      <a:pt x="8076" y="3677"/>
                    </a:lnTo>
                    <a:lnTo>
                      <a:pt x="8063" y="3665"/>
                    </a:lnTo>
                    <a:lnTo>
                      <a:pt x="8056" y="3659"/>
                    </a:lnTo>
                    <a:lnTo>
                      <a:pt x="8050" y="3654"/>
                    </a:lnTo>
                    <a:lnTo>
                      <a:pt x="8043" y="3648"/>
                    </a:lnTo>
                    <a:lnTo>
                      <a:pt x="8037" y="3646"/>
                    </a:lnTo>
                    <a:lnTo>
                      <a:pt x="8030" y="3642"/>
                    </a:lnTo>
                    <a:lnTo>
                      <a:pt x="8025" y="3642"/>
                    </a:lnTo>
                    <a:lnTo>
                      <a:pt x="8030" y="3637"/>
                    </a:lnTo>
                    <a:lnTo>
                      <a:pt x="8035" y="3629"/>
                    </a:lnTo>
                    <a:lnTo>
                      <a:pt x="8040" y="3624"/>
                    </a:lnTo>
                    <a:lnTo>
                      <a:pt x="8043" y="3621"/>
                    </a:lnTo>
                    <a:lnTo>
                      <a:pt x="8045" y="3615"/>
                    </a:lnTo>
                    <a:lnTo>
                      <a:pt x="8047" y="3611"/>
                    </a:lnTo>
                    <a:lnTo>
                      <a:pt x="8050" y="3604"/>
                    </a:lnTo>
                    <a:lnTo>
                      <a:pt x="8055" y="3598"/>
                    </a:lnTo>
                    <a:lnTo>
                      <a:pt x="8056" y="3596"/>
                    </a:lnTo>
                    <a:lnTo>
                      <a:pt x="8058" y="3595"/>
                    </a:lnTo>
                    <a:lnTo>
                      <a:pt x="8061" y="3593"/>
                    </a:lnTo>
                    <a:lnTo>
                      <a:pt x="8065" y="3591"/>
                    </a:lnTo>
                    <a:lnTo>
                      <a:pt x="8071" y="3591"/>
                    </a:lnTo>
                    <a:lnTo>
                      <a:pt x="8076" y="3591"/>
                    </a:lnTo>
                    <a:lnTo>
                      <a:pt x="8086" y="3587"/>
                    </a:lnTo>
                    <a:lnTo>
                      <a:pt x="8094" y="3583"/>
                    </a:lnTo>
                    <a:lnTo>
                      <a:pt x="8104" y="3578"/>
                    </a:lnTo>
                    <a:lnTo>
                      <a:pt x="8111" y="3572"/>
                    </a:lnTo>
                    <a:lnTo>
                      <a:pt x="8128" y="3562"/>
                    </a:lnTo>
                    <a:lnTo>
                      <a:pt x="8144" y="3548"/>
                    </a:lnTo>
                    <a:lnTo>
                      <a:pt x="8162" y="3535"/>
                    </a:lnTo>
                    <a:lnTo>
                      <a:pt x="8178" y="3522"/>
                    </a:lnTo>
                    <a:lnTo>
                      <a:pt x="8187" y="3517"/>
                    </a:lnTo>
                    <a:lnTo>
                      <a:pt x="8195" y="3514"/>
                    </a:lnTo>
                    <a:lnTo>
                      <a:pt x="8203" y="3508"/>
                    </a:lnTo>
                    <a:lnTo>
                      <a:pt x="8215" y="3506"/>
                    </a:lnTo>
                    <a:lnTo>
                      <a:pt x="8211" y="3504"/>
                    </a:lnTo>
                    <a:lnTo>
                      <a:pt x="8209" y="3504"/>
                    </a:lnTo>
                    <a:lnTo>
                      <a:pt x="8208" y="3504"/>
                    </a:lnTo>
                    <a:lnTo>
                      <a:pt x="8205" y="3504"/>
                    </a:lnTo>
                    <a:lnTo>
                      <a:pt x="8203" y="3502"/>
                    </a:lnTo>
                    <a:lnTo>
                      <a:pt x="8205" y="3499"/>
                    </a:lnTo>
                    <a:lnTo>
                      <a:pt x="8208" y="3496"/>
                    </a:lnTo>
                    <a:lnTo>
                      <a:pt x="8209" y="3493"/>
                    </a:lnTo>
                    <a:lnTo>
                      <a:pt x="8213" y="3489"/>
                    </a:lnTo>
                    <a:lnTo>
                      <a:pt x="8218" y="3486"/>
                    </a:lnTo>
                    <a:lnTo>
                      <a:pt x="8228" y="3476"/>
                    </a:lnTo>
                    <a:lnTo>
                      <a:pt x="8233" y="3473"/>
                    </a:lnTo>
                    <a:lnTo>
                      <a:pt x="8236" y="3469"/>
                    </a:lnTo>
                    <a:lnTo>
                      <a:pt x="8242" y="3465"/>
                    </a:lnTo>
                    <a:lnTo>
                      <a:pt x="8244" y="3460"/>
                    </a:lnTo>
                    <a:lnTo>
                      <a:pt x="8248" y="3456"/>
                    </a:lnTo>
                    <a:lnTo>
                      <a:pt x="8248" y="3455"/>
                    </a:lnTo>
                    <a:lnTo>
                      <a:pt x="8249" y="3456"/>
                    </a:lnTo>
                    <a:lnTo>
                      <a:pt x="8254" y="3458"/>
                    </a:lnTo>
                    <a:lnTo>
                      <a:pt x="8257" y="3461"/>
                    </a:lnTo>
                    <a:lnTo>
                      <a:pt x="8259" y="3465"/>
                    </a:lnTo>
                    <a:lnTo>
                      <a:pt x="8262" y="3468"/>
                    </a:lnTo>
                    <a:lnTo>
                      <a:pt x="8264" y="3469"/>
                    </a:lnTo>
                    <a:lnTo>
                      <a:pt x="8264" y="3471"/>
                    </a:lnTo>
                    <a:lnTo>
                      <a:pt x="8266" y="3465"/>
                    </a:lnTo>
                    <a:lnTo>
                      <a:pt x="8269" y="3460"/>
                    </a:lnTo>
                    <a:lnTo>
                      <a:pt x="8272" y="3456"/>
                    </a:lnTo>
                    <a:lnTo>
                      <a:pt x="8275" y="3455"/>
                    </a:lnTo>
                    <a:lnTo>
                      <a:pt x="8281" y="3450"/>
                    </a:lnTo>
                    <a:lnTo>
                      <a:pt x="8287" y="3447"/>
                    </a:lnTo>
                    <a:lnTo>
                      <a:pt x="8294" y="3441"/>
                    </a:lnTo>
                    <a:lnTo>
                      <a:pt x="8300" y="3435"/>
                    </a:lnTo>
                    <a:lnTo>
                      <a:pt x="8305" y="3435"/>
                    </a:lnTo>
                    <a:lnTo>
                      <a:pt x="8312" y="3434"/>
                    </a:lnTo>
                    <a:lnTo>
                      <a:pt x="8318" y="3430"/>
                    </a:lnTo>
                    <a:lnTo>
                      <a:pt x="8323" y="3425"/>
                    </a:lnTo>
                    <a:lnTo>
                      <a:pt x="8327" y="3420"/>
                    </a:lnTo>
                    <a:lnTo>
                      <a:pt x="8331" y="3414"/>
                    </a:lnTo>
                    <a:lnTo>
                      <a:pt x="8333" y="3408"/>
                    </a:lnTo>
                    <a:lnTo>
                      <a:pt x="8335" y="3402"/>
                    </a:lnTo>
                    <a:lnTo>
                      <a:pt x="8333" y="3402"/>
                    </a:lnTo>
                    <a:lnTo>
                      <a:pt x="8331" y="3402"/>
                    </a:lnTo>
                    <a:lnTo>
                      <a:pt x="8328" y="3402"/>
                    </a:lnTo>
                    <a:lnTo>
                      <a:pt x="8325" y="3402"/>
                    </a:lnTo>
                    <a:lnTo>
                      <a:pt x="8322" y="3402"/>
                    </a:lnTo>
                    <a:lnTo>
                      <a:pt x="8320" y="3402"/>
                    </a:lnTo>
                    <a:lnTo>
                      <a:pt x="8318" y="3402"/>
                    </a:lnTo>
                    <a:lnTo>
                      <a:pt x="8316" y="3402"/>
                    </a:lnTo>
                    <a:lnTo>
                      <a:pt x="8316" y="3395"/>
                    </a:lnTo>
                    <a:lnTo>
                      <a:pt x="8316" y="3392"/>
                    </a:lnTo>
                    <a:lnTo>
                      <a:pt x="8318" y="3387"/>
                    </a:lnTo>
                    <a:lnTo>
                      <a:pt x="8318" y="3384"/>
                    </a:lnTo>
                    <a:lnTo>
                      <a:pt x="8322" y="3382"/>
                    </a:lnTo>
                    <a:lnTo>
                      <a:pt x="8323" y="3379"/>
                    </a:lnTo>
                    <a:lnTo>
                      <a:pt x="8327" y="3373"/>
                    </a:lnTo>
                    <a:lnTo>
                      <a:pt x="8335" y="3367"/>
                    </a:lnTo>
                    <a:lnTo>
                      <a:pt x="8333" y="3367"/>
                    </a:lnTo>
                    <a:lnTo>
                      <a:pt x="8331" y="3364"/>
                    </a:lnTo>
                    <a:lnTo>
                      <a:pt x="8328" y="3362"/>
                    </a:lnTo>
                    <a:lnTo>
                      <a:pt x="8325" y="3356"/>
                    </a:lnTo>
                    <a:lnTo>
                      <a:pt x="8322" y="3351"/>
                    </a:lnTo>
                    <a:lnTo>
                      <a:pt x="8320" y="3345"/>
                    </a:lnTo>
                    <a:lnTo>
                      <a:pt x="8318" y="3340"/>
                    </a:lnTo>
                    <a:lnTo>
                      <a:pt x="8316" y="3333"/>
                    </a:lnTo>
                    <a:lnTo>
                      <a:pt x="8323" y="3327"/>
                    </a:lnTo>
                    <a:lnTo>
                      <a:pt x="8328" y="3323"/>
                    </a:lnTo>
                    <a:lnTo>
                      <a:pt x="8336" y="3320"/>
                    </a:lnTo>
                    <a:lnTo>
                      <a:pt x="8342" y="3318"/>
                    </a:lnTo>
                    <a:lnTo>
                      <a:pt x="8349" y="3318"/>
                    </a:lnTo>
                    <a:lnTo>
                      <a:pt x="8355" y="3316"/>
                    </a:lnTo>
                    <a:lnTo>
                      <a:pt x="8351" y="3313"/>
                    </a:lnTo>
                    <a:lnTo>
                      <a:pt x="8348" y="3312"/>
                    </a:lnTo>
                    <a:lnTo>
                      <a:pt x="8343" y="3308"/>
                    </a:lnTo>
                    <a:lnTo>
                      <a:pt x="8340" y="3305"/>
                    </a:lnTo>
                    <a:lnTo>
                      <a:pt x="8335" y="3299"/>
                    </a:lnTo>
                    <a:lnTo>
                      <a:pt x="8340" y="3293"/>
                    </a:lnTo>
                    <a:lnTo>
                      <a:pt x="8348" y="3288"/>
                    </a:lnTo>
                    <a:lnTo>
                      <a:pt x="8353" y="3284"/>
                    </a:lnTo>
                    <a:lnTo>
                      <a:pt x="8361" y="3280"/>
                    </a:lnTo>
                    <a:lnTo>
                      <a:pt x="8366" y="3279"/>
                    </a:lnTo>
                    <a:lnTo>
                      <a:pt x="8373" y="3275"/>
                    </a:lnTo>
                    <a:lnTo>
                      <a:pt x="8379" y="3269"/>
                    </a:lnTo>
                    <a:lnTo>
                      <a:pt x="8386" y="3264"/>
                    </a:lnTo>
                    <a:lnTo>
                      <a:pt x="8383" y="3264"/>
                    </a:lnTo>
                    <a:lnTo>
                      <a:pt x="8377" y="3264"/>
                    </a:lnTo>
                    <a:lnTo>
                      <a:pt x="8368" y="3266"/>
                    </a:lnTo>
                    <a:lnTo>
                      <a:pt x="8358" y="3269"/>
                    </a:lnTo>
                    <a:lnTo>
                      <a:pt x="8353" y="3269"/>
                    </a:lnTo>
                    <a:lnTo>
                      <a:pt x="8349" y="3272"/>
                    </a:lnTo>
                    <a:lnTo>
                      <a:pt x="8346" y="3272"/>
                    </a:lnTo>
                    <a:lnTo>
                      <a:pt x="8342" y="3272"/>
                    </a:lnTo>
                    <a:lnTo>
                      <a:pt x="8340" y="3272"/>
                    </a:lnTo>
                    <a:lnTo>
                      <a:pt x="8342" y="3269"/>
                    </a:lnTo>
                    <a:lnTo>
                      <a:pt x="8346" y="3267"/>
                    </a:lnTo>
                    <a:lnTo>
                      <a:pt x="8348" y="3266"/>
                    </a:lnTo>
                    <a:lnTo>
                      <a:pt x="8351" y="3264"/>
                    </a:lnTo>
                    <a:lnTo>
                      <a:pt x="8346" y="3264"/>
                    </a:lnTo>
                    <a:lnTo>
                      <a:pt x="8340" y="3264"/>
                    </a:lnTo>
                    <a:lnTo>
                      <a:pt x="8336" y="3264"/>
                    </a:lnTo>
                    <a:lnTo>
                      <a:pt x="8335" y="3264"/>
                    </a:lnTo>
                    <a:lnTo>
                      <a:pt x="8331" y="3264"/>
                    </a:lnTo>
                    <a:lnTo>
                      <a:pt x="8327" y="3264"/>
                    </a:lnTo>
                    <a:lnTo>
                      <a:pt x="8322" y="3264"/>
                    </a:lnTo>
                    <a:lnTo>
                      <a:pt x="8316" y="3264"/>
                    </a:lnTo>
                    <a:lnTo>
                      <a:pt x="8320" y="3259"/>
                    </a:lnTo>
                    <a:lnTo>
                      <a:pt x="8325" y="3253"/>
                    </a:lnTo>
                    <a:lnTo>
                      <a:pt x="8328" y="3247"/>
                    </a:lnTo>
                    <a:lnTo>
                      <a:pt x="8335" y="3244"/>
                    </a:lnTo>
                    <a:lnTo>
                      <a:pt x="8348" y="3236"/>
                    </a:lnTo>
                    <a:lnTo>
                      <a:pt x="8361" y="3229"/>
                    </a:lnTo>
                    <a:lnTo>
                      <a:pt x="8371" y="3223"/>
                    </a:lnTo>
                    <a:lnTo>
                      <a:pt x="8384" y="3216"/>
                    </a:lnTo>
                    <a:lnTo>
                      <a:pt x="8389" y="3213"/>
                    </a:lnTo>
                    <a:lnTo>
                      <a:pt x="8394" y="3206"/>
                    </a:lnTo>
                    <a:lnTo>
                      <a:pt x="8399" y="3201"/>
                    </a:lnTo>
                    <a:lnTo>
                      <a:pt x="8402" y="3196"/>
                    </a:lnTo>
                    <a:lnTo>
                      <a:pt x="8410" y="3188"/>
                    </a:lnTo>
                    <a:lnTo>
                      <a:pt x="8417" y="3181"/>
                    </a:lnTo>
                    <a:lnTo>
                      <a:pt x="8427" y="3172"/>
                    </a:lnTo>
                    <a:lnTo>
                      <a:pt x="8438" y="3162"/>
                    </a:lnTo>
                    <a:lnTo>
                      <a:pt x="8447" y="3155"/>
                    </a:lnTo>
                    <a:lnTo>
                      <a:pt x="8450" y="3153"/>
                    </a:lnTo>
                    <a:lnTo>
                      <a:pt x="8456" y="3150"/>
                    </a:lnTo>
                    <a:lnTo>
                      <a:pt x="8460" y="3147"/>
                    </a:lnTo>
                    <a:lnTo>
                      <a:pt x="8463" y="3145"/>
                    </a:lnTo>
                    <a:lnTo>
                      <a:pt x="8468" y="3144"/>
                    </a:lnTo>
                    <a:lnTo>
                      <a:pt x="8471" y="3144"/>
                    </a:lnTo>
                    <a:lnTo>
                      <a:pt x="8465" y="3140"/>
                    </a:lnTo>
                    <a:lnTo>
                      <a:pt x="8460" y="3137"/>
                    </a:lnTo>
                    <a:lnTo>
                      <a:pt x="8456" y="3135"/>
                    </a:lnTo>
                    <a:lnTo>
                      <a:pt x="8450" y="3131"/>
                    </a:lnTo>
                    <a:lnTo>
                      <a:pt x="8449" y="3127"/>
                    </a:lnTo>
                    <a:lnTo>
                      <a:pt x="8445" y="3124"/>
                    </a:lnTo>
                    <a:lnTo>
                      <a:pt x="8443" y="3120"/>
                    </a:lnTo>
                    <a:lnTo>
                      <a:pt x="8442" y="3116"/>
                    </a:lnTo>
                    <a:lnTo>
                      <a:pt x="8440" y="3107"/>
                    </a:lnTo>
                    <a:lnTo>
                      <a:pt x="8438" y="3098"/>
                    </a:lnTo>
                    <a:lnTo>
                      <a:pt x="8438" y="3086"/>
                    </a:lnTo>
                    <a:lnTo>
                      <a:pt x="8438" y="3076"/>
                    </a:lnTo>
                    <a:lnTo>
                      <a:pt x="8443" y="3066"/>
                    </a:lnTo>
                    <a:lnTo>
                      <a:pt x="8449" y="3059"/>
                    </a:lnTo>
                    <a:lnTo>
                      <a:pt x="8455" y="3052"/>
                    </a:lnTo>
                    <a:lnTo>
                      <a:pt x="8460" y="3045"/>
                    </a:lnTo>
                    <a:lnTo>
                      <a:pt x="8465" y="3040"/>
                    </a:lnTo>
                    <a:lnTo>
                      <a:pt x="8471" y="3035"/>
                    </a:lnTo>
                    <a:lnTo>
                      <a:pt x="8475" y="3032"/>
                    </a:lnTo>
                    <a:lnTo>
                      <a:pt x="8480" y="3028"/>
                    </a:lnTo>
                    <a:lnTo>
                      <a:pt x="8490" y="3022"/>
                    </a:lnTo>
                    <a:lnTo>
                      <a:pt x="8501" y="3017"/>
                    </a:lnTo>
                    <a:lnTo>
                      <a:pt x="8509" y="3013"/>
                    </a:lnTo>
                    <a:lnTo>
                      <a:pt x="8523" y="3007"/>
                    </a:lnTo>
                    <a:lnTo>
                      <a:pt x="8532" y="3004"/>
                    </a:lnTo>
                    <a:lnTo>
                      <a:pt x="8541" y="3000"/>
                    </a:lnTo>
                    <a:lnTo>
                      <a:pt x="8549" y="2996"/>
                    </a:lnTo>
                    <a:lnTo>
                      <a:pt x="8556" y="2994"/>
                    </a:lnTo>
                    <a:lnTo>
                      <a:pt x="8570" y="2989"/>
                    </a:lnTo>
                    <a:lnTo>
                      <a:pt x="8583" y="2985"/>
                    </a:lnTo>
                    <a:lnTo>
                      <a:pt x="8590" y="2984"/>
                    </a:lnTo>
                    <a:lnTo>
                      <a:pt x="8597" y="2982"/>
                    </a:lnTo>
                    <a:lnTo>
                      <a:pt x="8602" y="2982"/>
                    </a:lnTo>
                    <a:lnTo>
                      <a:pt x="8610" y="2982"/>
                    </a:lnTo>
                    <a:lnTo>
                      <a:pt x="8617" y="2984"/>
                    </a:lnTo>
                    <a:lnTo>
                      <a:pt x="8626" y="2984"/>
                    </a:lnTo>
                    <a:lnTo>
                      <a:pt x="8633" y="2985"/>
                    </a:lnTo>
                    <a:lnTo>
                      <a:pt x="8643" y="2989"/>
                    </a:lnTo>
                    <a:lnTo>
                      <a:pt x="8654" y="2989"/>
                    </a:lnTo>
                    <a:lnTo>
                      <a:pt x="8663" y="2991"/>
                    </a:lnTo>
                    <a:lnTo>
                      <a:pt x="8672" y="2992"/>
                    </a:lnTo>
                    <a:lnTo>
                      <a:pt x="8682" y="2994"/>
                    </a:lnTo>
                    <a:lnTo>
                      <a:pt x="8702" y="3000"/>
                    </a:lnTo>
                    <a:lnTo>
                      <a:pt x="8720" y="3005"/>
                    </a:lnTo>
                    <a:lnTo>
                      <a:pt x="8741" y="3013"/>
                    </a:lnTo>
                    <a:lnTo>
                      <a:pt x="8759" y="3018"/>
                    </a:lnTo>
                    <a:lnTo>
                      <a:pt x="8770" y="3020"/>
                    </a:lnTo>
                    <a:lnTo>
                      <a:pt x="8779" y="3022"/>
                    </a:lnTo>
                    <a:lnTo>
                      <a:pt x="8789" y="3024"/>
                    </a:lnTo>
                    <a:lnTo>
                      <a:pt x="8798" y="3024"/>
                    </a:lnTo>
                    <a:lnTo>
                      <a:pt x="8792" y="3030"/>
                    </a:lnTo>
                    <a:lnTo>
                      <a:pt x="8784" y="3033"/>
                    </a:lnTo>
                    <a:lnTo>
                      <a:pt x="8781" y="3035"/>
                    </a:lnTo>
                    <a:lnTo>
                      <a:pt x="8783" y="3035"/>
                    </a:lnTo>
                    <a:lnTo>
                      <a:pt x="8799" y="3030"/>
                    </a:lnTo>
                    <a:lnTo>
                      <a:pt x="8809" y="3025"/>
                    </a:lnTo>
                    <a:lnTo>
                      <a:pt x="8817" y="3025"/>
                    </a:lnTo>
                    <a:lnTo>
                      <a:pt x="8824" y="3024"/>
                    </a:lnTo>
                    <a:lnTo>
                      <a:pt x="8833" y="3024"/>
                    </a:lnTo>
                    <a:lnTo>
                      <a:pt x="8840" y="3024"/>
                    </a:lnTo>
                    <a:lnTo>
                      <a:pt x="8850" y="3025"/>
                    </a:lnTo>
                    <a:lnTo>
                      <a:pt x="8857" y="3028"/>
                    </a:lnTo>
                    <a:lnTo>
                      <a:pt x="8866" y="3032"/>
                    </a:lnTo>
                    <a:lnTo>
                      <a:pt x="8873" y="3035"/>
                    </a:lnTo>
                    <a:lnTo>
                      <a:pt x="8883" y="3043"/>
                    </a:lnTo>
                    <a:lnTo>
                      <a:pt x="8891" y="3048"/>
                    </a:lnTo>
                    <a:lnTo>
                      <a:pt x="8899" y="3055"/>
                    </a:lnTo>
                    <a:lnTo>
                      <a:pt x="8899" y="3052"/>
                    </a:lnTo>
                    <a:lnTo>
                      <a:pt x="8899" y="3050"/>
                    </a:lnTo>
                    <a:lnTo>
                      <a:pt x="8899" y="3046"/>
                    </a:lnTo>
                    <a:lnTo>
                      <a:pt x="8901" y="3045"/>
                    </a:lnTo>
                    <a:lnTo>
                      <a:pt x="8903" y="3043"/>
                    </a:lnTo>
                    <a:lnTo>
                      <a:pt x="8905" y="3038"/>
                    </a:lnTo>
                    <a:lnTo>
                      <a:pt x="8909" y="3037"/>
                    </a:lnTo>
                    <a:lnTo>
                      <a:pt x="8914" y="3035"/>
                    </a:lnTo>
                    <a:lnTo>
                      <a:pt x="8921" y="3032"/>
                    </a:lnTo>
                    <a:lnTo>
                      <a:pt x="8931" y="3028"/>
                    </a:lnTo>
                    <a:lnTo>
                      <a:pt x="8940" y="3025"/>
                    </a:lnTo>
                    <a:lnTo>
                      <a:pt x="8960" y="3020"/>
                    </a:lnTo>
                    <a:lnTo>
                      <a:pt x="8970" y="3018"/>
                    </a:lnTo>
                    <a:lnTo>
                      <a:pt x="8979" y="3017"/>
                    </a:lnTo>
                    <a:lnTo>
                      <a:pt x="8988" y="3015"/>
                    </a:lnTo>
                    <a:lnTo>
                      <a:pt x="8995" y="3013"/>
                    </a:lnTo>
                    <a:lnTo>
                      <a:pt x="9001" y="3009"/>
                    </a:lnTo>
                    <a:lnTo>
                      <a:pt x="9003" y="3007"/>
                    </a:lnTo>
                    <a:lnTo>
                      <a:pt x="9005" y="3007"/>
                    </a:lnTo>
                    <a:lnTo>
                      <a:pt x="9010" y="3004"/>
                    </a:lnTo>
                    <a:lnTo>
                      <a:pt x="9018" y="3002"/>
                    </a:lnTo>
                    <a:lnTo>
                      <a:pt x="9023" y="3000"/>
                    </a:lnTo>
                    <a:lnTo>
                      <a:pt x="9026" y="3000"/>
                    </a:lnTo>
                    <a:lnTo>
                      <a:pt x="9033" y="3000"/>
                    </a:lnTo>
                    <a:lnTo>
                      <a:pt x="9038" y="3000"/>
                    </a:lnTo>
                    <a:lnTo>
                      <a:pt x="9043" y="3000"/>
                    </a:lnTo>
                    <a:lnTo>
                      <a:pt x="9047" y="3002"/>
                    </a:lnTo>
                    <a:lnTo>
                      <a:pt x="9056" y="3005"/>
                    </a:lnTo>
                    <a:lnTo>
                      <a:pt x="9067" y="3011"/>
                    </a:lnTo>
                    <a:lnTo>
                      <a:pt x="9079" y="3017"/>
                    </a:lnTo>
                    <a:lnTo>
                      <a:pt x="9092" y="3024"/>
                    </a:lnTo>
                    <a:lnTo>
                      <a:pt x="9097" y="3024"/>
                    </a:lnTo>
                    <a:lnTo>
                      <a:pt x="9102" y="3025"/>
                    </a:lnTo>
                    <a:lnTo>
                      <a:pt x="9105" y="3025"/>
                    </a:lnTo>
                    <a:lnTo>
                      <a:pt x="9112" y="3030"/>
                    </a:lnTo>
                    <a:lnTo>
                      <a:pt x="9119" y="3035"/>
                    </a:lnTo>
                    <a:lnTo>
                      <a:pt x="9125" y="3040"/>
                    </a:lnTo>
                    <a:lnTo>
                      <a:pt x="9132" y="3046"/>
                    </a:lnTo>
                    <a:lnTo>
                      <a:pt x="9140" y="3052"/>
                    </a:lnTo>
                    <a:lnTo>
                      <a:pt x="9143" y="3055"/>
                    </a:lnTo>
                    <a:lnTo>
                      <a:pt x="9148" y="3055"/>
                    </a:lnTo>
                    <a:lnTo>
                      <a:pt x="9154" y="3058"/>
                    </a:lnTo>
                    <a:lnTo>
                      <a:pt x="9159" y="3058"/>
                    </a:lnTo>
                    <a:lnTo>
                      <a:pt x="9159" y="3061"/>
                    </a:lnTo>
                    <a:lnTo>
                      <a:pt x="9158" y="3065"/>
                    </a:lnTo>
                    <a:lnTo>
                      <a:pt x="9156" y="3068"/>
                    </a:lnTo>
                    <a:lnTo>
                      <a:pt x="9154" y="3070"/>
                    </a:lnTo>
                    <a:lnTo>
                      <a:pt x="9150" y="3074"/>
                    </a:lnTo>
                    <a:lnTo>
                      <a:pt x="9146" y="3076"/>
                    </a:lnTo>
                    <a:lnTo>
                      <a:pt x="9140" y="3081"/>
                    </a:lnTo>
                    <a:lnTo>
                      <a:pt x="9132" y="3086"/>
                    </a:lnTo>
                    <a:lnTo>
                      <a:pt x="9123" y="3089"/>
                    </a:lnTo>
                    <a:lnTo>
                      <a:pt x="9115" y="3092"/>
                    </a:lnTo>
                    <a:lnTo>
                      <a:pt x="9119" y="3092"/>
                    </a:lnTo>
                    <a:lnTo>
                      <a:pt x="9125" y="3092"/>
                    </a:lnTo>
                    <a:lnTo>
                      <a:pt x="9128" y="3092"/>
                    </a:lnTo>
                    <a:lnTo>
                      <a:pt x="9135" y="3092"/>
                    </a:lnTo>
                    <a:lnTo>
                      <a:pt x="9145" y="3092"/>
                    </a:lnTo>
                    <a:lnTo>
                      <a:pt x="9153" y="3092"/>
                    </a:lnTo>
                    <a:lnTo>
                      <a:pt x="9158" y="3092"/>
                    </a:lnTo>
                    <a:lnTo>
                      <a:pt x="9163" y="3092"/>
                    </a:lnTo>
                    <a:lnTo>
                      <a:pt x="9169" y="3092"/>
                    </a:lnTo>
                    <a:lnTo>
                      <a:pt x="9176" y="3092"/>
                    </a:lnTo>
                    <a:lnTo>
                      <a:pt x="9186" y="3092"/>
                    </a:lnTo>
                    <a:lnTo>
                      <a:pt x="9193" y="3092"/>
                    </a:lnTo>
                    <a:lnTo>
                      <a:pt x="9193" y="3094"/>
                    </a:lnTo>
                    <a:lnTo>
                      <a:pt x="9191" y="3094"/>
                    </a:lnTo>
                    <a:lnTo>
                      <a:pt x="9189" y="3096"/>
                    </a:lnTo>
                    <a:lnTo>
                      <a:pt x="9187" y="3099"/>
                    </a:lnTo>
                    <a:lnTo>
                      <a:pt x="9181" y="3104"/>
                    </a:lnTo>
                    <a:lnTo>
                      <a:pt x="9176" y="3109"/>
                    </a:lnTo>
                    <a:lnTo>
                      <a:pt x="9181" y="3111"/>
                    </a:lnTo>
                    <a:lnTo>
                      <a:pt x="9186" y="3112"/>
                    </a:lnTo>
                    <a:lnTo>
                      <a:pt x="9189" y="3116"/>
                    </a:lnTo>
                    <a:lnTo>
                      <a:pt x="9189" y="3120"/>
                    </a:lnTo>
                    <a:lnTo>
                      <a:pt x="9189" y="3126"/>
                    </a:lnTo>
                    <a:lnTo>
                      <a:pt x="9186" y="3131"/>
                    </a:lnTo>
                    <a:lnTo>
                      <a:pt x="9181" y="3137"/>
                    </a:lnTo>
                    <a:lnTo>
                      <a:pt x="9176" y="3144"/>
                    </a:lnTo>
                    <a:lnTo>
                      <a:pt x="9184" y="3139"/>
                    </a:lnTo>
                    <a:lnTo>
                      <a:pt x="9193" y="3131"/>
                    </a:lnTo>
                    <a:lnTo>
                      <a:pt x="9202" y="3127"/>
                    </a:lnTo>
                    <a:lnTo>
                      <a:pt x="9206" y="3126"/>
                    </a:lnTo>
                    <a:lnTo>
                      <a:pt x="9211" y="3124"/>
                    </a:lnTo>
                    <a:lnTo>
                      <a:pt x="9215" y="3124"/>
                    </a:lnTo>
                    <a:lnTo>
                      <a:pt x="9220" y="3124"/>
                    </a:lnTo>
                    <a:lnTo>
                      <a:pt x="9224" y="3126"/>
                    </a:lnTo>
                    <a:lnTo>
                      <a:pt x="9230" y="3127"/>
                    </a:lnTo>
                    <a:lnTo>
                      <a:pt x="9233" y="3129"/>
                    </a:lnTo>
                    <a:lnTo>
                      <a:pt x="9237" y="3132"/>
                    </a:lnTo>
                    <a:lnTo>
                      <a:pt x="9240" y="3139"/>
                    </a:lnTo>
                    <a:lnTo>
                      <a:pt x="9245" y="3144"/>
                    </a:lnTo>
                    <a:lnTo>
                      <a:pt x="9239" y="3144"/>
                    </a:lnTo>
                    <a:lnTo>
                      <a:pt x="9232" y="3145"/>
                    </a:lnTo>
                    <a:lnTo>
                      <a:pt x="9226" y="3150"/>
                    </a:lnTo>
                    <a:lnTo>
                      <a:pt x="9219" y="3153"/>
                    </a:lnTo>
                    <a:lnTo>
                      <a:pt x="9214" y="3155"/>
                    </a:lnTo>
                    <a:lnTo>
                      <a:pt x="9206" y="3159"/>
                    </a:lnTo>
                    <a:lnTo>
                      <a:pt x="9200" y="3160"/>
                    </a:lnTo>
                    <a:lnTo>
                      <a:pt x="9194" y="3160"/>
                    </a:lnTo>
                    <a:lnTo>
                      <a:pt x="9194" y="3162"/>
                    </a:lnTo>
                    <a:lnTo>
                      <a:pt x="9196" y="3165"/>
                    </a:lnTo>
                    <a:lnTo>
                      <a:pt x="9199" y="3166"/>
                    </a:lnTo>
                    <a:lnTo>
                      <a:pt x="9202" y="3168"/>
                    </a:lnTo>
                    <a:lnTo>
                      <a:pt x="9206" y="3168"/>
                    </a:lnTo>
                    <a:lnTo>
                      <a:pt x="9207" y="3168"/>
                    </a:lnTo>
                    <a:lnTo>
                      <a:pt x="9208" y="3168"/>
                    </a:lnTo>
                    <a:lnTo>
                      <a:pt x="9209" y="3166"/>
                    </a:lnTo>
                    <a:lnTo>
                      <a:pt x="9209" y="3168"/>
                    </a:lnTo>
                    <a:lnTo>
                      <a:pt x="9208" y="3168"/>
                    </a:lnTo>
                    <a:lnTo>
                      <a:pt x="9207" y="3172"/>
                    </a:lnTo>
                    <a:lnTo>
                      <a:pt x="9206" y="3173"/>
                    </a:lnTo>
                    <a:lnTo>
                      <a:pt x="9202" y="3175"/>
                    </a:lnTo>
                    <a:lnTo>
                      <a:pt x="9199" y="3177"/>
                    </a:lnTo>
                    <a:lnTo>
                      <a:pt x="9196" y="3177"/>
                    </a:lnTo>
                    <a:lnTo>
                      <a:pt x="9194" y="3180"/>
                    </a:lnTo>
                    <a:lnTo>
                      <a:pt x="9194" y="3185"/>
                    </a:lnTo>
                    <a:lnTo>
                      <a:pt x="9194" y="3190"/>
                    </a:lnTo>
                    <a:lnTo>
                      <a:pt x="9194" y="3196"/>
                    </a:lnTo>
                    <a:lnTo>
                      <a:pt x="9196" y="3200"/>
                    </a:lnTo>
                    <a:lnTo>
                      <a:pt x="9196" y="3201"/>
                    </a:lnTo>
                    <a:lnTo>
                      <a:pt x="9199" y="3201"/>
                    </a:lnTo>
                    <a:lnTo>
                      <a:pt x="9200" y="3203"/>
                    </a:lnTo>
                    <a:lnTo>
                      <a:pt x="9202" y="3201"/>
                    </a:lnTo>
                    <a:lnTo>
                      <a:pt x="9206" y="3200"/>
                    </a:lnTo>
                    <a:lnTo>
                      <a:pt x="9207" y="3198"/>
                    </a:lnTo>
                    <a:lnTo>
                      <a:pt x="9211" y="3196"/>
                    </a:lnTo>
                    <a:lnTo>
                      <a:pt x="9211" y="3201"/>
                    </a:lnTo>
                    <a:lnTo>
                      <a:pt x="9211" y="3206"/>
                    </a:lnTo>
                    <a:lnTo>
                      <a:pt x="9214" y="3211"/>
                    </a:lnTo>
                    <a:lnTo>
                      <a:pt x="9214" y="3213"/>
                    </a:lnTo>
                    <a:lnTo>
                      <a:pt x="9215" y="3214"/>
                    </a:lnTo>
                    <a:lnTo>
                      <a:pt x="9217" y="3216"/>
                    </a:lnTo>
                    <a:lnTo>
                      <a:pt x="9219" y="3216"/>
                    </a:lnTo>
                    <a:lnTo>
                      <a:pt x="9222" y="3218"/>
                    </a:lnTo>
                    <a:lnTo>
                      <a:pt x="9226" y="3216"/>
                    </a:lnTo>
                    <a:lnTo>
                      <a:pt x="9232" y="3214"/>
                    </a:lnTo>
                    <a:lnTo>
                      <a:pt x="9239" y="3214"/>
                    </a:lnTo>
                    <a:lnTo>
                      <a:pt x="9245" y="3213"/>
                    </a:lnTo>
                    <a:lnTo>
                      <a:pt x="9252" y="3214"/>
                    </a:lnTo>
                    <a:lnTo>
                      <a:pt x="9257" y="3216"/>
                    </a:lnTo>
                    <a:lnTo>
                      <a:pt x="9265" y="3218"/>
                    </a:lnTo>
                    <a:lnTo>
                      <a:pt x="9270" y="3221"/>
                    </a:lnTo>
                    <a:lnTo>
                      <a:pt x="9278" y="3226"/>
                    </a:lnTo>
                    <a:lnTo>
                      <a:pt x="9283" y="3227"/>
                    </a:lnTo>
                    <a:lnTo>
                      <a:pt x="9291" y="3229"/>
                    </a:lnTo>
                    <a:lnTo>
                      <a:pt x="9296" y="3231"/>
                    </a:lnTo>
                    <a:lnTo>
                      <a:pt x="9300" y="3231"/>
                    </a:lnTo>
                    <a:lnTo>
                      <a:pt x="9306" y="3231"/>
                    </a:lnTo>
                    <a:lnTo>
                      <a:pt x="9313" y="3231"/>
                    </a:lnTo>
                    <a:lnTo>
                      <a:pt x="9318" y="3231"/>
                    </a:lnTo>
                    <a:lnTo>
                      <a:pt x="9334" y="3231"/>
                    </a:lnTo>
                    <a:lnTo>
                      <a:pt x="9342" y="3233"/>
                    </a:lnTo>
                    <a:lnTo>
                      <a:pt x="9347" y="3234"/>
                    </a:lnTo>
                    <a:lnTo>
                      <a:pt x="9354" y="3236"/>
                    </a:lnTo>
                    <a:lnTo>
                      <a:pt x="9359" y="3238"/>
                    </a:lnTo>
                    <a:lnTo>
                      <a:pt x="9362" y="3242"/>
                    </a:lnTo>
                    <a:lnTo>
                      <a:pt x="9364" y="3242"/>
                    </a:lnTo>
                    <a:lnTo>
                      <a:pt x="9364" y="3244"/>
                    </a:lnTo>
                    <a:lnTo>
                      <a:pt x="9364" y="3246"/>
                    </a:lnTo>
                    <a:lnTo>
                      <a:pt x="9364" y="3247"/>
                    </a:lnTo>
                    <a:lnTo>
                      <a:pt x="9362" y="3251"/>
                    </a:lnTo>
                    <a:lnTo>
                      <a:pt x="9360" y="3253"/>
                    </a:lnTo>
                    <a:lnTo>
                      <a:pt x="9359" y="3255"/>
                    </a:lnTo>
                    <a:lnTo>
                      <a:pt x="9357" y="3259"/>
                    </a:lnTo>
                    <a:lnTo>
                      <a:pt x="9354" y="3260"/>
                    </a:lnTo>
                    <a:lnTo>
                      <a:pt x="9347" y="3264"/>
                    </a:lnTo>
                    <a:lnTo>
                      <a:pt x="9355" y="3267"/>
                    </a:lnTo>
                    <a:lnTo>
                      <a:pt x="9360" y="3269"/>
                    </a:lnTo>
                    <a:lnTo>
                      <a:pt x="9367" y="3269"/>
                    </a:lnTo>
                    <a:lnTo>
                      <a:pt x="9372" y="3272"/>
                    </a:lnTo>
                    <a:lnTo>
                      <a:pt x="9375" y="3272"/>
                    </a:lnTo>
                    <a:lnTo>
                      <a:pt x="9381" y="3272"/>
                    </a:lnTo>
                    <a:lnTo>
                      <a:pt x="9385" y="3269"/>
                    </a:lnTo>
                    <a:lnTo>
                      <a:pt x="9388" y="3267"/>
                    </a:lnTo>
                    <a:lnTo>
                      <a:pt x="9398" y="3264"/>
                    </a:lnTo>
                    <a:lnTo>
                      <a:pt x="9403" y="3259"/>
                    </a:lnTo>
                    <a:lnTo>
                      <a:pt x="9410" y="3253"/>
                    </a:lnTo>
                    <a:lnTo>
                      <a:pt x="9418" y="3247"/>
                    </a:lnTo>
                    <a:lnTo>
                      <a:pt x="9420" y="3242"/>
                    </a:lnTo>
                    <a:lnTo>
                      <a:pt x="9423" y="3236"/>
                    </a:lnTo>
                    <a:lnTo>
                      <a:pt x="9428" y="3234"/>
                    </a:lnTo>
                    <a:lnTo>
                      <a:pt x="9429" y="3233"/>
                    </a:lnTo>
                    <a:lnTo>
                      <a:pt x="9433" y="3233"/>
                    </a:lnTo>
                    <a:lnTo>
                      <a:pt x="9436" y="3233"/>
                    </a:lnTo>
                    <a:lnTo>
                      <a:pt x="9438" y="3234"/>
                    </a:lnTo>
                    <a:lnTo>
                      <a:pt x="9440" y="3236"/>
                    </a:lnTo>
                    <a:lnTo>
                      <a:pt x="9444" y="3238"/>
                    </a:lnTo>
                    <a:lnTo>
                      <a:pt x="9446" y="3242"/>
                    </a:lnTo>
                    <a:lnTo>
                      <a:pt x="9449" y="3249"/>
                    </a:lnTo>
                    <a:lnTo>
                      <a:pt x="9451" y="3257"/>
                    </a:lnTo>
                    <a:lnTo>
                      <a:pt x="9451" y="3264"/>
                    </a:lnTo>
                    <a:lnTo>
                      <a:pt x="9446" y="3269"/>
                    </a:lnTo>
                    <a:lnTo>
                      <a:pt x="9438" y="3275"/>
                    </a:lnTo>
                    <a:lnTo>
                      <a:pt x="9433" y="3277"/>
                    </a:lnTo>
                    <a:lnTo>
                      <a:pt x="9425" y="3279"/>
                    </a:lnTo>
                    <a:lnTo>
                      <a:pt x="9420" y="3280"/>
                    </a:lnTo>
                    <a:lnTo>
                      <a:pt x="9413" y="3280"/>
                    </a:lnTo>
                    <a:lnTo>
                      <a:pt x="9400" y="3282"/>
                    </a:lnTo>
                    <a:lnTo>
                      <a:pt x="9390" y="3288"/>
                    </a:lnTo>
                    <a:lnTo>
                      <a:pt x="9383" y="3297"/>
                    </a:lnTo>
                    <a:lnTo>
                      <a:pt x="9377" y="3305"/>
                    </a:lnTo>
                    <a:lnTo>
                      <a:pt x="9372" y="3313"/>
                    </a:lnTo>
                    <a:lnTo>
                      <a:pt x="9368" y="3325"/>
                    </a:lnTo>
                    <a:lnTo>
                      <a:pt x="9364" y="3334"/>
                    </a:lnTo>
                    <a:lnTo>
                      <a:pt x="9357" y="3354"/>
                    </a:lnTo>
                    <a:lnTo>
                      <a:pt x="9354" y="3364"/>
                    </a:lnTo>
                    <a:lnTo>
                      <a:pt x="9349" y="3373"/>
                    </a:lnTo>
                    <a:lnTo>
                      <a:pt x="9346" y="3381"/>
                    </a:lnTo>
                    <a:lnTo>
                      <a:pt x="9342" y="3387"/>
                    </a:lnTo>
                    <a:lnTo>
                      <a:pt x="9337" y="3394"/>
                    </a:lnTo>
                    <a:lnTo>
                      <a:pt x="9329" y="3397"/>
                    </a:lnTo>
                    <a:lnTo>
                      <a:pt x="9322" y="3400"/>
                    </a:lnTo>
                    <a:lnTo>
                      <a:pt x="9318" y="3400"/>
                    </a:lnTo>
                    <a:lnTo>
                      <a:pt x="9314" y="3402"/>
                    </a:lnTo>
                    <a:lnTo>
                      <a:pt x="9313" y="3402"/>
                    </a:lnTo>
                    <a:lnTo>
                      <a:pt x="9311" y="3402"/>
                    </a:lnTo>
                    <a:lnTo>
                      <a:pt x="9307" y="3402"/>
                    </a:lnTo>
                    <a:lnTo>
                      <a:pt x="9303" y="3402"/>
                    </a:lnTo>
                    <a:lnTo>
                      <a:pt x="9298" y="3402"/>
                    </a:lnTo>
                    <a:lnTo>
                      <a:pt x="9291" y="3402"/>
                    </a:lnTo>
                    <a:lnTo>
                      <a:pt x="9285" y="3402"/>
                    </a:lnTo>
                    <a:lnTo>
                      <a:pt x="9278" y="3402"/>
                    </a:lnTo>
                    <a:lnTo>
                      <a:pt x="9263" y="3402"/>
                    </a:lnTo>
                    <a:lnTo>
                      <a:pt x="9255" y="3402"/>
                    </a:lnTo>
                    <a:lnTo>
                      <a:pt x="9248" y="3402"/>
                    </a:lnTo>
                    <a:lnTo>
                      <a:pt x="9242" y="3402"/>
                    </a:lnTo>
                    <a:lnTo>
                      <a:pt x="9237" y="3402"/>
                    </a:lnTo>
                    <a:lnTo>
                      <a:pt x="9232" y="3402"/>
                    </a:lnTo>
                    <a:lnTo>
                      <a:pt x="9227" y="3402"/>
                    </a:lnTo>
                    <a:lnTo>
                      <a:pt x="9220" y="3400"/>
                    </a:lnTo>
                    <a:lnTo>
                      <a:pt x="9214" y="3399"/>
                    </a:lnTo>
                    <a:lnTo>
                      <a:pt x="9204" y="3397"/>
                    </a:lnTo>
                    <a:lnTo>
                      <a:pt x="9193" y="3395"/>
                    </a:lnTo>
                    <a:lnTo>
                      <a:pt x="9184" y="3394"/>
                    </a:lnTo>
                    <a:lnTo>
                      <a:pt x="9179" y="3394"/>
                    </a:lnTo>
                    <a:lnTo>
                      <a:pt x="9174" y="3395"/>
                    </a:lnTo>
                    <a:lnTo>
                      <a:pt x="9171" y="3395"/>
                    </a:lnTo>
                    <a:lnTo>
                      <a:pt x="9166" y="3397"/>
                    </a:lnTo>
                    <a:lnTo>
                      <a:pt x="9163" y="3399"/>
                    </a:lnTo>
                    <a:lnTo>
                      <a:pt x="9159" y="3402"/>
                    </a:lnTo>
                    <a:lnTo>
                      <a:pt x="9171" y="3402"/>
                    </a:lnTo>
                    <a:lnTo>
                      <a:pt x="9181" y="3404"/>
                    </a:lnTo>
                    <a:lnTo>
                      <a:pt x="9193" y="3408"/>
                    </a:lnTo>
                    <a:lnTo>
                      <a:pt x="9202" y="3410"/>
                    </a:lnTo>
                    <a:lnTo>
                      <a:pt x="9211" y="3414"/>
                    </a:lnTo>
                    <a:lnTo>
                      <a:pt x="9222" y="3417"/>
                    </a:lnTo>
                    <a:lnTo>
                      <a:pt x="9233" y="3419"/>
                    </a:lnTo>
                    <a:lnTo>
                      <a:pt x="9245" y="3419"/>
                    </a:lnTo>
                    <a:lnTo>
                      <a:pt x="9248" y="3419"/>
                    </a:lnTo>
                    <a:lnTo>
                      <a:pt x="9253" y="3419"/>
                    </a:lnTo>
                    <a:lnTo>
                      <a:pt x="9257" y="3417"/>
                    </a:lnTo>
                    <a:lnTo>
                      <a:pt x="9263" y="3417"/>
                    </a:lnTo>
                    <a:lnTo>
                      <a:pt x="9273" y="3415"/>
                    </a:lnTo>
                    <a:lnTo>
                      <a:pt x="9285" y="3412"/>
                    </a:lnTo>
                    <a:lnTo>
                      <a:pt x="9296" y="3412"/>
                    </a:lnTo>
                    <a:lnTo>
                      <a:pt x="9301" y="3412"/>
                    </a:lnTo>
                    <a:lnTo>
                      <a:pt x="9306" y="3412"/>
                    </a:lnTo>
                    <a:lnTo>
                      <a:pt x="9309" y="3412"/>
                    </a:lnTo>
                    <a:lnTo>
                      <a:pt x="9311" y="3414"/>
                    </a:lnTo>
                    <a:lnTo>
                      <a:pt x="9313" y="3415"/>
                    </a:lnTo>
                    <a:lnTo>
                      <a:pt x="9314" y="3419"/>
                    </a:lnTo>
                    <a:lnTo>
                      <a:pt x="9313" y="3427"/>
                    </a:lnTo>
                    <a:lnTo>
                      <a:pt x="9311" y="3434"/>
                    </a:lnTo>
                    <a:lnTo>
                      <a:pt x="9309" y="3443"/>
                    </a:lnTo>
                    <a:lnTo>
                      <a:pt x="9306" y="3450"/>
                    </a:lnTo>
                    <a:lnTo>
                      <a:pt x="9301" y="3458"/>
                    </a:lnTo>
                    <a:lnTo>
                      <a:pt x="9300" y="3461"/>
                    </a:lnTo>
                    <a:lnTo>
                      <a:pt x="9300" y="3465"/>
                    </a:lnTo>
                    <a:lnTo>
                      <a:pt x="9298" y="3468"/>
                    </a:lnTo>
                    <a:lnTo>
                      <a:pt x="9298" y="3469"/>
                    </a:lnTo>
                    <a:lnTo>
                      <a:pt x="9296" y="3471"/>
                    </a:lnTo>
                    <a:lnTo>
                      <a:pt x="9296" y="3476"/>
                    </a:lnTo>
                    <a:lnTo>
                      <a:pt x="9294" y="3480"/>
                    </a:lnTo>
                    <a:lnTo>
                      <a:pt x="9291" y="3484"/>
                    </a:lnTo>
                    <a:lnTo>
                      <a:pt x="9285" y="3486"/>
                    </a:lnTo>
                    <a:lnTo>
                      <a:pt x="9281" y="3488"/>
                    </a:lnTo>
                    <a:lnTo>
                      <a:pt x="9276" y="3488"/>
                    </a:lnTo>
                    <a:lnTo>
                      <a:pt x="9263" y="3488"/>
                    </a:lnTo>
                    <a:lnTo>
                      <a:pt x="9263" y="3493"/>
                    </a:lnTo>
                    <a:lnTo>
                      <a:pt x="9263" y="3499"/>
                    </a:lnTo>
                    <a:lnTo>
                      <a:pt x="9263" y="3502"/>
                    </a:lnTo>
                    <a:lnTo>
                      <a:pt x="9263" y="3506"/>
                    </a:lnTo>
                    <a:lnTo>
                      <a:pt x="9263" y="3508"/>
                    </a:lnTo>
                    <a:lnTo>
                      <a:pt x="9263" y="3511"/>
                    </a:lnTo>
                    <a:lnTo>
                      <a:pt x="9263" y="3517"/>
                    </a:lnTo>
                    <a:lnTo>
                      <a:pt x="9263" y="3522"/>
                    </a:lnTo>
                    <a:lnTo>
                      <a:pt x="9270" y="3521"/>
                    </a:lnTo>
                    <a:lnTo>
                      <a:pt x="9278" y="3521"/>
                    </a:lnTo>
                    <a:lnTo>
                      <a:pt x="9286" y="3519"/>
                    </a:lnTo>
                    <a:lnTo>
                      <a:pt x="9294" y="3517"/>
                    </a:lnTo>
                    <a:lnTo>
                      <a:pt x="9298" y="3519"/>
                    </a:lnTo>
                    <a:lnTo>
                      <a:pt x="9301" y="3519"/>
                    </a:lnTo>
                    <a:lnTo>
                      <a:pt x="9306" y="3521"/>
                    </a:lnTo>
                    <a:lnTo>
                      <a:pt x="9307" y="3522"/>
                    </a:lnTo>
                    <a:lnTo>
                      <a:pt x="9311" y="3524"/>
                    </a:lnTo>
                    <a:lnTo>
                      <a:pt x="9313" y="3527"/>
                    </a:lnTo>
                    <a:lnTo>
                      <a:pt x="9313" y="3534"/>
                    </a:lnTo>
                    <a:lnTo>
                      <a:pt x="9314" y="3539"/>
                    </a:lnTo>
                    <a:lnTo>
                      <a:pt x="9301" y="3539"/>
                    </a:lnTo>
                    <a:lnTo>
                      <a:pt x="9294" y="3541"/>
                    </a:lnTo>
                    <a:lnTo>
                      <a:pt x="9288" y="3541"/>
                    </a:lnTo>
                    <a:lnTo>
                      <a:pt x="9281" y="3542"/>
                    </a:lnTo>
                    <a:lnTo>
                      <a:pt x="9276" y="3547"/>
                    </a:lnTo>
                    <a:lnTo>
                      <a:pt x="9268" y="3550"/>
                    </a:lnTo>
                    <a:lnTo>
                      <a:pt x="9263" y="3557"/>
                    </a:lnTo>
                    <a:lnTo>
                      <a:pt x="9265" y="3557"/>
                    </a:lnTo>
                    <a:lnTo>
                      <a:pt x="9268" y="3557"/>
                    </a:lnTo>
                    <a:lnTo>
                      <a:pt x="9270" y="3557"/>
                    </a:lnTo>
                    <a:lnTo>
                      <a:pt x="9270" y="3560"/>
                    </a:lnTo>
                    <a:lnTo>
                      <a:pt x="9272" y="3560"/>
                    </a:lnTo>
                    <a:lnTo>
                      <a:pt x="9272" y="3562"/>
                    </a:lnTo>
                    <a:lnTo>
                      <a:pt x="9272" y="3565"/>
                    </a:lnTo>
                    <a:lnTo>
                      <a:pt x="9268" y="3568"/>
                    </a:lnTo>
                    <a:lnTo>
                      <a:pt x="9265" y="3572"/>
                    </a:lnTo>
                    <a:lnTo>
                      <a:pt x="9261" y="3578"/>
                    </a:lnTo>
                    <a:lnTo>
                      <a:pt x="9255" y="3582"/>
                    </a:lnTo>
                    <a:lnTo>
                      <a:pt x="9250" y="3587"/>
                    </a:lnTo>
                    <a:lnTo>
                      <a:pt x="9245" y="3591"/>
                    </a:lnTo>
                    <a:lnTo>
                      <a:pt x="9237" y="3596"/>
                    </a:lnTo>
                    <a:lnTo>
                      <a:pt x="9232" y="3600"/>
                    </a:lnTo>
                    <a:lnTo>
                      <a:pt x="9224" y="3604"/>
                    </a:lnTo>
                    <a:lnTo>
                      <a:pt x="9219" y="3606"/>
                    </a:lnTo>
                    <a:lnTo>
                      <a:pt x="9215" y="3608"/>
                    </a:lnTo>
                    <a:lnTo>
                      <a:pt x="9211" y="3608"/>
                    </a:lnTo>
                    <a:lnTo>
                      <a:pt x="9211" y="3601"/>
                    </a:lnTo>
                    <a:lnTo>
                      <a:pt x="9214" y="3595"/>
                    </a:lnTo>
                    <a:lnTo>
                      <a:pt x="9215" y="3589"/>
                    </a:lnTo>
                    <a:lnTo>
                      <a:pt x="9217" y="3585"/>
                    </a:lnTo>
                    <a:lnTo>
                      <a:pt x="9219" y="3580"/>
                    </a:lnTo>
                    <a:lnTo>
                      <a:pt x="9219" y="3578"/>
                    </a:lnTo>
                    <a:lnTo>
                      <a:pt x="9219" y="3576"/>
                    </a:lnTo>
                    <a:lnTo>
                      <a:pt x="9217" y="3576"/>
                    </a:lnTo>
                    <a:lnTo>
                      <a:pt x="9215" y="3575"/>
                    </a:lnTo>
                    <a:lnTo>
                      <a:pt x="9214" y="3575"/>
                    </a:lnTo>
                    <a:lnTo>
                      <a:pt x="9211" y="3575"/>
                    </a:lnTo>
                    <a:lnTo>
                      <a:pt x="9209" y="3580"/>
                    </a:lnTo>
                    <a:lnTo>
                      <a:pt x="9209" y="3585"/>
                    </a:lnTo>
                    <a:lnTo>
                      <a:pt x="9206" y="3591"/>
                    </a:lnTo>
                    <a:lnTo>
                      <a:pt x="9202" y="3596"/>
                    </a:lnTo>
                    <a:lnTo>
                      <a:pt x="9199" y="3600"/>
                    </a:lnTo>
                    <a:lnTo>
                      <a:pt x="9193" y="3604"/>
                    </a:lnTo>
                    <a:lnTo>
                      <a:pt x="9189" y="3608"/>
                    </a:lnTo>
                    <a:lnTo>
                      <a:pt x="9184" y="3611"/>
                    </a:lnTo>
                    <a:lnTo>
                      <a:pt x="9178" y="3613"/>
                    </a:lnTo>
                    <a:lnTo>
                      <a:pt x="9171" y="3613"/>
                    </a:lnTo>
                    <a:lnTo>
                      <a:pt x="9165" y="3615"/>
                    </a:lnTo>
                    <a:lnTo>
                      <a:pt x="9159" y="3615"/>
                    </a:lnTo>
                    <a:lnTo>
                      <a:pt x="9154" y="3615"/>
                    </a:lnTo>
                    <a:lnTo>
                      <a:pt x="9150" y="3613"/>
                    </a:lnTo>
                    <a:lnTo>
                      <a:pt x="9145" y="3611"/>
                    </a:lnTo>
                    <a:lnTo>
                      <a:pt x="9143" y="3608"/>
                    </a:lnTo>
                    <a:lnTo>
                      <a:pt x="9143" y="3609"/>
                    </a:lnTo>
                    <a:lnTo>
                      <a:pt x="9145" y="3611"/>
                    </a:lnTo>
                    <a:lnTo>
                      <a:pt x="9148" y="3613"/>
                    </a:lnTo>
                    <a:lnTo>
                      <a:pt x="9153" y="3616"/>
                    </a:lnTo>
                    <a:lnTo>
                      <a:pt x="9158" y="3621"/>
                    </a:lnTo>
                    <a:lnTo>
                      <a:pt x="9163" y="3622"/>
                    </a:lnTo>
                    <a:lnTo>
                      <a:pt x="9171" y="3624"/>
                    </a:lnTo>
                    <a:lnTo>
                      <a:pt x="9176" y="3626"/>
                    </a:lnTo>
                    <a:lnTo>
                      <a:pt x="9174" y="3628"/>
                    </a:lnTo>
                    <a:lnTo>
                      <a:pt x="9173" y="3629"/>
                    </a:lnTo>
                    <a:lnTo>
                      <a:pt x="9169" y="3633"/>
                    </a:lnTo>
                    <a:lnTo>
                      <a:pt x="9165" y="3637"/>
                    </a:lnTo>
                    <a:lnTo>
                      <a:pt x="9159" y="3642"/>
                    </a:lnTo>
                    <a:lnTo>
                      <a:pt x="9169" y="3642"/>
                    </a:lnTo>
                    <a:lnTo>
                      <a:pt x="9178" y="3641"/>
                    </a:lnTo>
                    <a:lnTo>
                      <a:pt x="9187" y="3637"/>
                    </a:lnTo>
                    <a:lnTo>
                      <a:pt x="9194" y="3636"/>
                    </a:lnTo>
                    <a:lnTo>
                      <a:pt x="9204" y="3631"/>
                    </a:lnTo>
                    <a:lnTo>
                      <a:pt x="9211" y="3626"/>
                    </a:lnTo>
                    <a:lnTo>
                      <a:pt x="9227" y="3616"/>
                    </a:lnTo>
                    <a:lnTo>
                      <a:pt x="9245" y="3608"/>
                    </a:lnTo>
                    <a:lnTo>
                      <a:pt x="9252" y="3604"/>
                    </a:lnTo>
                    <a:lnTo>
                      <a:pt x="9261" y="3598"/>
                    </a:lnTo>
                    <a:lnTo>
                      <a:pt x="9268" y="3596"/>
                    </a:lnTo>
                    <a:lnTo>
                      <a:pt x="9278" y="3593"/>
                    </a:lnTo>
                    <a:lnTo>
                      <a:pt x="9286" y="3591"/>
                    </a:lnTo>
                    <a:lnTo>
                      <a:pt x="9296" y="3591"/>
                    </a:lnTo>
                    <a:lnTo>
                      <a:pt x="9306" y="3591"/>
                    </a:lnTo>
                    <a:lnTo>
                      <a:pt x="9314" y="3591"/>
                    </a:lnTo>
                    <a:lnTo>
                      <a:pt x="9322" y="3591"/>
                    </a:lnTo>
                    <a:lnTo>
                      <a:pt x="9329" y="3591"/>
                    </a:lnTo>
                    <a:lnTo>
                      <a:pt x="9334" y="3593"/>
                    </a:lnTo>
                    <a:lnTo>
                      <a:pt x="9340" y="3593"/>
                    </a:lnTo>
                    <a:lnTo>
                      <a:pt x="9346" y="3595"/>
                    </a:lnTo>
                    <a:lnTo>
                      <a:pt x="9349" y="3598"/>
                    </a:lnTo>
                    <a:lnTo>
                      <a:pt x="9354" y="3600"/>
                    </a:lnTo>
                    <a:lnTo>
                      <a:pt x="9357" y="3604"/>
                    </a:lnTo>
                    <a:lnTo>
                      <a:pt x="9360" y="3608"/>
                    </a:lnTo>
                    <a:lnTo>
                      <a:pt x="9362" y="3613"/>
                    </a:lnTo>
                    <a:lnTo>
                      <a:pt x="9362" y="3618"/>
                    </a:lnTo>
                    <a:lnTo>
                      <a:pt x="9364" y="3626"/>
                    </a:lnTo>
                    <a:lnTo>
                      <a:pt x="9364" y="3633"/>
                    </a:lnTo>
                    <a:lnTo>
                      <a:pt x="9367" y="3642"/>
                    </a:lnTo>
                    <a:lnTo>
                      <a:pt x="9364" y="3656"/>
                    </a:lnTo>
                    <a:lnTo>
                      <a:pt x="9362" y="3665"/>
                    </a:lnTo>
                    <a:lnTo>
                      <a:pt x="9359" y="3674"/>
                    </a:lnTo>
                    <a:lnTo>
                      <a:pt x="9355" y="3683"/>
                    </a:lnTo>
                    <a:lnTo>
                      <a:pt x="9349" y="3690"/>
                    </a:lnTo>
                    <a:lnTo>
                      <a:pt x="9344" y="3698"/>
                    </a:lnTo>
                    <a:lnTo>
                      <a:pt x="9337" y="3705"/>
                    </a:lnTo>
                    <a:lnTo>
                      <a:pt x="9342" y="3702"/>
                    </a:lnTo>
                    <a:lnTo>
                      <a:pt x="9346" y="3698"/>
                    </a:lnTo>
                    <a:lnTo>
                      <a:pt x="9347" y="3696"/>
                    </a:lnTo>
                    <a:lnTo>
                      <a:pt x="9352" y="3696"/>
                    </a:lnTo>
                    <a:lnTo>
                      <a:pt x="9355" y="3695"/>
                    </a:lnTo>
                    <a:lnTo>
                      <a:pt x="9359" y="3695"/>
                    </a:lnTo>
                    <a:lnTo>
                      <a:pt x="9367" y="3695"/>
                    </a:lnTo>
                    <a:lnTo>
                      <a:pt x="9367" y="3690"/>
                    </a:lnTo>
                    <a:lnTo>
                      <a:pt x="9368" y="3687"/>
                    </a:lnTo>
                    <a:lnTo>
                      <a:pt x="9370" y="3682"/>
                    </a:lnTo>
                    <a:lnTo>
                      <a:pt x="9374" y="3677"/>
                    </a:lnTo>
                    <a:lnTo>
                      <a:pt x="9377" y="3672"/>
                    </a:lnTo>
                    <a:lnTo>
                      <a:pt x="9381" y="3669"/>
                    </a:lnTo>
                    <a:lnTo>
                      <a:pt x="9387" y="3662"/>
                    </a:lnTo>
                    <a:lnTo>
                      <a:pt x="9392" y="3659"/>
                    </a:lnTo>
                    <a:lnTo>
                      <a:pt x="9395" y="3657"/>
                    </a:lnTo>
                    <a:lnTo>
                      <a:pt x="9401" y="3656"/>
                    </a:lnTo>
                    <a:lnTo>
                      <a:pt x="9405" y="3656"/>
                    </a:lnTo>
                    <a:lnTo>
                      <a:pt x="9408" y="3656"/>
                    </a:lnTo>
                    <a:lnTo>
                      <a:pt x="9413" y="3657"/>
                    </a:lnTo>
                    <a:lnTo>
                      <a:pt x="9414" y="3659"/>
                    </a:lnTo>
                    <a:lnTo>
                      <a:pt x="9414" y="3662"/>
                    </a:lnTo>
                    <a:lnTo>
                      <a:pt x="9416" y="3665"/>
                    </a:lnTo>
                    <a:lnTo>
                      <a:pt x="9416" y="3669"/>
                    </a:lnTo>
                    <a:lnTo>
                      <a:pt x="9416" y="3672"/>
                    </a:lnTo>
                    <a:lnTo>
                      <a:pt x="9418" y="3677"/>
                    </a:lnTo>
                    <a:lnTo>
                      <a:pt x="9420" y="3683"/>
                    </a:lnTo>
                    <a:lnTo>
                      <a:pt x="9421" y="3689"/>
                    </a:lnTo>
                    <a:lnTo>
                      <a:pt x="9421" y="3695"/>
                    </a:lnTo>
                    <a:lnTo>
                      <a:pt x="9421" y="3700"/>
                    </a:lnTo>
                    <a:lnTo>
                      <a:pt x="9420" y="3705"/>
                    </a:lnTo>
                    <a:lnTo>
                      <a:pt x="9418" y="3711"/>
                    </a:lnTo>
                    <a:lnTo>
                      <a:pt x="9416" y="3715"/>
                    </a:lnTo>
                    <a:lnTo>
                      <a:pt x="9413" y="3720"/>
                    </a:lnTo>
                    <a:lnTo>
                      <a:pt x="9405" y="3729"/>
                    </a:lnTo>
                    <a:lnTo>
                      <a:pt x="9398" y="3741"/>
                    </a:lnTo>
                    <a:lnTo>
                      <a:pt x="9390" y="3749"/>
                    </a:lnTo>
                    <a:lnTo>
                      <a:pt x="9383" y="3763"/>
                    </a:lnTo>
                    <a:lnTo>
                      <a:pt x="9394" y="3749"/>
                    </a:lnTo>
                    <a:lnTo>
                      <a:pt x="9405" y="3741"/>
                    </a:lnTo>
                    <a:lnTo>
                      <a:pt x="9416" y="3731"/>
                    </a:lnTo>
                    <a:lnTo>
                      <a:pt x="9428" y="3722"/>
                    </a:lnTo>
                    <a:lnTo>
                      <a:pt x="9440" y="3715"/>
                    </a:lnTo>
                    <a:lnTo>
                      <a:pt x="9446" y="3711"/>
                    </a:lnTo>
                    <a:lnTo>
                      <a:pt x="9453" y="3707"/>
                    </a:lnTo>
                    <a:lnTo>
                      <a:pt x="9461" y="3703"/>
                    </a:lnTo>
                    <a:lnTo>
                      <a:pt x="9467" y="3702"/>
                    </a:lnTo>
                    <a:lnTo>
                      <a:pt x="9477" y="3698"/>
                    </a:lnTo>
                    <a:lnTo>
                      <a:pt x="9486" y="3695"/>
                    </a:lnTo>
                    <a:lnTo>
                      <a:pt x="9492" y="3689"/>
                    </a:lnTo>
                    <a:lnTo>
                      <a:pt x="9499" y="3683"/>
                    </a:lnTo>
                    <a:lnTo>
                      <a:pt x="9505" y="3680"/>
                    </a:lnTo>
                    <a:lnTo>
                      <a:pt x="9512" y="3677"/>
                    </a:lnTo>
                    <a:lnTo>
                      <a:pt x="9518" y="3674"/>
                    </a:lnTo>
                    <a:lnTo>
                      <a:pt x="9525" y="3670"/>
                    </a:lnTo>
                    <a:lnTo>
                      <a:pt x="9530" y="3665"/>
                    </a:lnTo>
                    <a:lnTo>
                      <a:pt x="9538" y="3659"/>
                    </a:lnTo>
                    <a:lnTo>
                      <a:pt x="9564" y="3659"/>
                    </a:lnTo>
                    <a:lnTo>
                      <a:pt x="9589" y="3659"/>
                    </a:lnTo>
                    <a:lnTo>
                      <a:pt x="9595" y="3652"/>
                    </a:lnTo>
                    <a:lnTo>
                      <a:pt x="9602" y="3644"/>
                    </a:lnTo>
                    <a:lnTo>
                      <a:pt x="9608" y="3636"/>
                    </a:lnTo>
                    <a:lnTo>
                      <a:pt x="9615" y="3628"/>
                    </a:lnTo>
                    <a:lnTo>
                      <a:pt x="9621" y="3621"/>
                    </a:lnTo>
                    <a:lnTo>
                      <a:pt x="9625" y="3616"/>
                    </a:lnTo>
                    <a:lnTo>
                      <a:pt x="9629" y="3613"/>
                    </a:lnTo>
                    <a:lnTo>
                      <a:pt x="9630" y="3611"/>
                    </a:lnTo>
                    <a:lnTo>
                      <a:pt x="9634" y="3609"/>
                    </a:lnTo>
                    <a:lnTo>
                      <a:pt x="9637" y="3608"/>
                    </a:lnTo>
                    <a:lnTo>
                      <a:pt x="9642" y="3608"/>
                    </a:lnTo>
                    <a:lnTo>
                      <a:pt x="9645" y="3608"/>
                    </a:lnTo>
                    <a:lnTo>
                      <a:pt x="9648" y="3609"/>
                    </a:lnTo>
                    <a:lnTo>
                      <a:pt x="9652" y="3609"/>
                    </a:lnTo>
                    <a:lnTo>
                      <a:pt x="9656" y="3611"/>
                    </a:lnTo>
                    <a:lnTo>
                      <a:pt x="9662" y="3615"/>
                    </a:lnTo>
                    <a:lnTo>
                      <a:pt x="9665" y="3618"/>
                    </a:lnTo>
                    <a:lnTo>
                      <a:pt x="9667" y="3624"/>
                    </a:lnTo>
                    <a:lnTo>
                      <a:pt x="9667" y="3631"/>
                    </a:lnTo>
                    <a:lnTo>
                      <a:pt x="9667" y="3637"/>
                    </a:lnTo>
                    <a:lnTo>
                      <a:pt x="9667" y="3644"/>
                    </a:lnTo>
                    <a:lnTo>
                      <a:pt x="9665" y="3652"/>
                    </a:lnTo>
                    <a:lnTo>
                      <a:pt x="9662" y="3659"/>
                    </a:lnTo>
                    <a:lnTo>
                      <a:pt x="9658" y="3667"/>
                    </a:lnTo>
                    <a:lnTo>
                      <a:pt x="9654" y="3674"/>
                    </a:lnTo>
                    <a:lnTo>
                      <a:pt x="9650" y="3680"/>
                    </a:lnTo>
                    <a:lnTo>
                      <a:pt x="9647" y="3685"/>
                    </a:lnTo>
                    <a:lnTo>
                      <a:pt x="9643" y="3690"/>
                    </a:lnTo>
                    <a:lnTo>
                      <a:pt x="9642" y="3695"/>
                    </a:lnTo>
                    <a:lnTo>
                      <a:pt x="9647" y="3687"/>
                    </a:lnTo>
                    <a:lnTo>
                      <a:pt x="9656" y="3682"/>
                    </a:lnTo>
                    <a:lnTo>
                      <a:pt x="9665" y="3674"/>
                    </a:lnTo>
                    <a:lnTo>
                      <a:pt x="9673" y="3669"/>
                    </a:lnTo>
                    <a:lnTo>
                      <a:pt x="9680" y="3661"/>
                    </a:lnTo>
                    <a:lnTo>
                      <a:pt x="9683" y="3659"/>
                    </a:lnTo>
                    <a:lnTo>
                      <a:pt x="9686" y="3656"/>
                    </a:lnTo>
                    <a:lnTo>
                      <a:pt x="9689" y="3652"/>
                    </a:lnTo>
                    <a:lnTo>
                      <a:pt x="9691" y="3648"/>
                    </a:lnTo>
                    <a:lnTo>
                      <a:pt x="9691" y="3646"/>
                    </a:lnTo>
                    <a:lnTo>
                      <a:pt x="9693" y="3642"/>
                    </a:lnTo>
                    <a:lnTo>
                      <a:pt x="9691" y="3637"/>
                    </a:lnTo>
                    <a:lnTo>
                      <a:pt x="9689" y="3633"/>
                    </a:lnTo>
                    <a:lnTo>
                      <a:pt x="9688" y="3629"/>
                    </a:lnTo>
                    <a:lnTo>
                      <a:pt x="9686" y="3626"/>
                    </a:lnTo>
                    <a:lnTo>
                      <a:pt x="9683" y="3622"/>
                    </a:lnTo>
                    <a:lnTo>
                      <a:pt x="9683" y="3621"/>
                    </a:lnTo>
                    <a:lnTo>
                      <a:pt x="9686" y="3618"/>
                    </a:lnTo>
                    <a:lnTo>
                      <a:pt x="9686" y="3616"/>
                    </a:lnTo>
                    <a:lnTo>
                      <a:pt x="9688" y="3613"/>
                    </a:lnTo>
                    <a:lnTo>
                      <a:pt x="9689" y="3611"/>
                    </a:lnTo>
                    <a:lnTo>
                      <a:pt x="9693" y="3608"/>
                    </a:lnTo>
                    <a:lnTo>
                      <a:pt x="9695" y="3608"/>
                    </a:lnTo>
                    <a:lnTo>
                      <a:pt x="9698" y="3608"/>
                    </a:lnTo>
                    <a:lnTo>
                      <a:pt x="9702" y="3608"/>
                    </a:lnTo>
                    <a:lnTo>
                      <a:pt x="9708" y="3608"/>
                    </a:lnTo>
                    <a:lnTo>
                      <a:pt x="9713" y="3608"/>
                    </a:lnTo>
                    <a:lnTo>
                      <a:pt x="9715" y="3608"/>
                    </a:lnTo>
                    <a:lnTo>
                      <a:pt x="9713" y="3606"/>
                    </a:lnTo>
                    <a:lnTo>
                      <a:pt x="9711" y="3606"/>
                    </a:lnTo>
                    <a:lnTo>
                      <a:pt x="9709" y="3606"/>
                    </a:lnTo>
                    <a:lnTo>
                      <a:pt x="9708" y="3604"/>
                    </a:lnTo>
                    <a:lnTo>
                      <a:pt x="9708" y="3601"/>
                    </a:lnTo>
                    <a:lnTo>
                      <a:pt x="9708" y="3600"/>
                    </a:lnTo>
                    <a:lnTo>
                      <a:pt x="9709" y="3596"/>
                    </a:lnTo>
                    <a:lnTo>
                      <a:pt x="9713" y="3595"/>
                    </a:lnTo>
                    <a:lnTo>
                      <a:pt x="9719" y="3591"/>
                    </a:lnTo>
                    <a:lnTo>
                      <a:pt x="9722" y="3587"/>
                    </a:lnTo>
                    <a:lnTo>
                      <a:pt x="9728" y="3585"/>
                    </a:lnTo>
                    <a:lnTo>
                      <a:pt x="9741" y="3580"/>
                    </a:lnTo>
                    <a:lnTo>
                      <a:pt x="9747" y="3576"/>
                    </a:lnTo>
                    <a:lnTo>
                      <a:pt x="9752" y="3576"/>
                    </a:lnTo>
                    <a:lnTo>
                      <a:pt x="9757" y="3575"/>
                    </a:lnTo>
                    <a:lnTo>
                      <a:pt x="9762" y="3575"/>
                    </a:lnTo>
                    <a:lnTo>
                      <a:pt x="9763" y="3575"/>
                    </a:lnTo>
                    <a:lnTo>
                      <a:pt x="9767" y="3575"/>
                    </a:lnTo>
                    <a:lnTo>
                      <a:pt x="9772" y="3575"/>
                    </a:lnTo>
                    <a:lnTo>
                      <a:pt x="9778" y="3575"/>
                    </a:lnTo>
                    <a:lnTo>
                      <a:pt x="9783" y="3575"/>
                    </a:lnTo>
                    <a:lnTo>
                      <a:pt x="9796" y="3575"/>
                    </a:lnTo>
                    <a:lnTo>
                      <a:pt x="9789" y="3568"/>
                    </a:lnTo>
                    <a:lnTo>
                      <a:pt x="9780" y="3563"/>
                    </a:lnTo>
                    <a:lnTo>
                      <a:pt x="9772" y="3560"/>
                    </a:lnTo>
                    <a:lnTo>
                      <a:pt x="9765" y="3555"/>
                    </a:lnTo>
                    <a:lnTo>
                      <a:pt x="9763" y="3555"/>
                    </a:lnTo>
                    <a:lnTo>
                      <a:pt x="9759" y="3554"/>
                    </a:lnTo>
                    <a:lnTo>
                      <a:pt x="9757" y="3552"/>
                    </a:lnTo>
                    <a:lnTo>
                      <a:pt x="9755" y="3550"/>
                    </a:lnTo>
                    <a:lnTo>
                      <a:pt x="9755" y="3547"/>
                    </a:lnTo>
                    <a:lnTo>
                      <a:pt x="9757" y="3545"/>
                    </a:lnTo>
                    <a:lnTo>
                      <a:pt x="9757" y="3542"/>
                    </a:lnTo>
                    <a:lnTo>
                      <a:pt x="9762" y="3539"/>
                    </a:lnTo>
                    <a:lnTo>
                      <a:pt x="9774" y="3539"/>
                    </a:lnTo>
                    <a:lnTo>
                      <a:pt x="9780" y="3539"/>
                    </a:lnTo>
                    <a:lnTo>
                      <a:pt x="9785" y="3537"/>
                    </a:lnTo>
                    <a:lnTo>
                      <a:pt x="9789" y="3535"/>
                    </a:lnTo>
                    <a:lnTo>
                      <a:pt x="9793" y="3532"/>
                    </a:lnTo>
                    <a:lnTo>
                      <a:pt x="9795" y="3527"/>
                    </a:lnTo>
                    <a:lnTo>
                      <a:pt x="9796" y="3522"/>
                    </a:lnTo>
                    <a:lnTo>
                      <a:pt x="9798" y="3524"/>
                    </a:lnTo>
                    <a:lnTo>
                      <a:pt x="9802" y="3526"/>
                    </a:lnTo>
                    <a:lnTo>
                      <a:pt x="9805" y="3526"/>
                    </a:lnTo>
                    <a:lnTo>
                      <a:pt x="9808" y="3526"/>
                    </a:lnTo>
                    <a:lnTo>
                      <a:pt x="9811" y="3524"/>
                    </a:lnTo>
                    <a:lnTo>
                      <a:pt x="9813" y="3522"/>
                    </a:lnTo>
                    <a:lnTo>
                      <a:pt x="9815" y="3521"/>
                    </a:lnTo>
                    <a:lnTo>
                      <a:pt x="9816" y="3517"/>
                    </a:lnTo>
                    <a:lnTo>
                      <a:pt x="9818" y="3515"/>
                    </a:lnTo>
                    <a:lnTo>
                      <a:pt x="9818" y="3511"/>
                    </a:lnTo>
                    <a:lnTo>
                      <a:pt x="9820" y="3508"/>
                    </a:lnTo>
                    <a:lnTo>
                      <a:pt x="9820" y="3502"/>
                    </a:lnTo>
                    <a:lnTo>
                      <a:pt x="9818" y="3499"/>
                    </a:lnTo>
                    <a:lnTo>
                      <a:pt x="9816" y="3494"/>
                    </a:lnTo>
                    <a:lnTo>
                      <a:pt x="9815" y="3491"/>
                    </a:lnTo>
                    <a:lnTo>
                      <a:pt x="9813" y="3488"/>
                    </a:lnTo>
                    <a:lnTo>
                      <a:pt x="9818" y="3493"/>
                    </a:lnTo>
                    <a:lnTo>
                      <a:pt x="9826" y="3499"/>
                    </a:lnTo>
                    <a:lnTo>
                      <a:pt x="9831" y="3501"/>
                    </a:lnTo>
                    <a:lnTo>
                      <a:pt x="9839" y="3502"/>
                    </a:lnTo>
                    <a:lnTo>
                      <a:pt x="9844" y="3504"/>
                    </a:lnTo>
                    <a:lnTo>
                      <a:pt x="9851" y="3504"/>
                    </a:lnTo>
                    <a:lnTo>
                      <a:pt x="9864" y="3506"/>
                    </a:lnTo>
                    <a:lnTo>
                      <a:pt x="9864" y="3502"/>
                    </a:lnTo>
                    <a:lnTo>
                      <a:pt x="9863" y="3499"/>
                    </a:lnTo>
                    <a:lnTo>
                      <a:pt x="9861" y="3496"/>
                    </a:lnTo>
                    <a:lnTo>
                      <a:pt x="9859" y="3494"/>
                    </a:lnTo>
                    <a:lnTo>
                      <a:pt x="9854" y="3491"/>
                    </a:lnTo>
                    <a:lnTo>
                      <a:pt x="9846" y="3488"/>
                    </a:lnTo>
                    <a:lnTo>
                      <a:pt x="9841" y="3484"/>
                    </a:lnTo>
                    <a:lnTo>
                      <a:pt x="9835" y="3480"/>
                    </a:lnTo>
                    <a:lnTo>
                      <a:pt x="9833" y="3478"/>
                    </a:lnTo>
                    <a:lnTo>
                      <a:pt x="9831" y="3476"/>
                    </a:lnTo>
                    <a:lnTo>
                      <a:pt x="9829" y="3473"/>
                    </a:lnTo>
                    <a:lnTo>
                      <a:pt x="9829" y="3471"/>
                    </a:lnTo>
                    <a:lnTo>
                      <a:pt x="9833" y="3465"/>
                    </a:lnTo>
                    <a:lnTo>
                      <a:pt x="9836" y="3460"/>
                    </a:lnTo>
                    <a:lnTo>
                      <a:pt x="9841" y="3455"/>
                    </a:lnTo>
                    <a:lnTo>
                      <a:pt x="9846" y="3450"/>
                    </a:lnTo>
                    <a:lnTo>
                      <a:pt x="9849" y="3447"/>
                    </a:lnTo>
                    <a:lnTo>
                      <a:pt x="9856" y="3445"/>
                    </a:lnTo>
                    <a:lnTo>
                      <a:pt x="9859" y="3443"/>
                    </a:lnTo>
                    <a:lnTo>
                      <a:pt x="9864" y="3441"/>
                    </a:lnTo>
                    <a:lnTo>
                      <a:pt x="9874" y="3438"/>
                    </a:lnTo>
                    <a:lnTo>
                      <a:pt x="9882" y="3438"/>
                    </a:lnTo>
                    <a:lnTo>
                      <a:pt x="9890" y="3435"/>
                    </a:lnTo>
                    <a:lnTo>
                      <a:pt x="9896" y="3435"/>
                    </a:lnTo>
                    <a:lnTo>
                      <a:pt x="9894" y="3434"/>
                    </a:lnTo>
                    <a:lnTo>
                      <a:pt x="9894" y="3430"/>
                    </a:lnTo>
                    <a:lnTo>
                      <a:pt x="9896" y="3428"/>
                    </a:lnTo>
                    <a:lnTo>
                      <a:pt x="9897" y="3425"/>
                    </a:lnTo>
                    <a:lnTo>
                      <a:pt x="9900" y="3423"/>
                    </a:lnTo>
                    <a:lnTo>
                      <a:pt x="9903" y="3419"/>
                    </a:lnTo>
                    <a:lnTo>
                      <a:pt x="9910" y="3412"/>
                    </a:lnTo>
                    <a:lnTo>
                      <a:pt x="9918" y="3407"/>
                    </a:lnTo>
                    <a:lnTo>
                      <a:pt x="9922" y="3404"/>
                    </a:lnTo>
                    <a:lnTo>
                      <a:pt x="9925" y="3402"/>
                    </a:lnTo>
                    <a:lnTo>
                      <a:pt x="9930" y="3402"/>
                    </a:lnTo>
                    <a:lnTo>
                      <a:pt x="9933" y="3402"/>
                    </a:lnTo>
                    <a:lnTo>
                      <a:pt x="9936" y="3399"/>
                    </a:lnTo>
                    <a:lnTo>
                      <a:pt x="9940" y="3394"/>
                    </a:lnTo>
                    <a:lnTo>
                      <a:pt x="9943" y="3389"/>
                    </a:lnTo>
                    <a:lnTo>
                      <a:pt x="9950" y="3384"/>
                    </a:lnTo>
                    <a:lnTo>
                      <a:pt x="9958" y="3373"/>
                    </a:lnTo>
                    <a:lnTo>
                      <a:pt x="9970" y="3364"/>
                    </a:lnTo>
                    <a:lnTo>
                      <a:pt x="9976" y="3358"/>
                    </a:lnTo>
                    <a:lnTo>
                      <a:pt x="9981" y="3354"/>
                    </a:lnTo>
                    <a:lnTo>
                      <a:pt x="9986" y="3351"/>
                    </a:lnTo>
                    <a:lnTo>
                      <a:pt x="9994" y="3349"/>
                    </a:lnTo>
                    <a:lnTo>
                      <a:pt x="9999" y="3347"/>
                    </a:lnTo>
                    <a:lnTo>
                      <a:pt x="10007" y="3347"/>
                    </a:lnTo>
                    <a:lnTo>
                      <a:pt x="10012" y="3347"/>
                    </a:lnTo>
                    <a:lnTo>
                      <a:pt x="10019" y="3351"/>
                    </a:lnTo>
                    <a:lnTo>
                      <a:pt x="10017" y="3351"/>
                    </a:lnTo>
                    <a:lnTo>
                      <a:pt x="10016" y="3353"/>
                    </a:lnTo>
                    <a:lnTo>
                      <a:pt x="10012" y="3356"/>
                    </a:lnTo>
                    <a:lnTo>
                      <a:pt x="10009" y="3358"/>
                    </a:lnTo>
                    <a:lnTo>
                      <a:pt x="10003" y="3362"/>
                    </a:lnTo>
                    <a:lnTo>
                      <a:pt x="9997" y="3366"/>
                    </a:lnTo>
                    <a:lnTo>
                      <a:pt x="9991" y="3367"/>
                    </a:lnTo>
                    <a:lnTo>
                      <a:pt x="9992" y="3367"/>
                    </a:lnTo>
                    <a:lnTo>
                      <a:pt x="10001" y="3367"/>
                    </a:lnTo>
                    <a:lnTo>
                      <a:pt x="10010" y="3369"/>
                    </a:lnTo>
                    <a:lnTo>
                      <a:pt x="10016" y="3369"/>
                    </a:lnTo>
                    <a:lnTo>
                      <a:pt x="10019" y="3369"/>
                    </a:lnTo>
                    <a:lnTo>
                      <a:pt x="10022" y="3371"/>
                    </a:lnTo>
                    <a:lnTo>
                      <a:pt x="10024" y="3371"/>
                    </a:lnTo>
                    <a:lnTo>
                      <a:pt x="10024" y="3373"/>
                    </a:lnTo>
                    <a:lnTo>
                      <a:pt x="10024" y="3374"/>
                    </a:lnTo>
                    <a:lnTo>
                      <a:pt x="10022" y="3377"/>
                    </a:lnTo>
                    <a:lnTo>
                      <a:pt x="10019" y="3379"/>
                    </a:lnTo>
                    <a:lnTo>
                      <a:pt x="10016" y="3379"/>
                    </a:lnTo>
                    <a:lnTo>
                      <a:pt x="10014" y="3381"/>
                    </a:lnTo>
                    <a:lnTo>
                      <a:pt x="10016" y="3381"/>
                    </a:lnTo>
                    <a:lnTo>
                      <a:pt x="10012" y="3382"/>
                    </a:lnTo>
                    <a:lnTo>
                      <a:pt x="10007" y="3384"/>
                    </a:lnTo>
                    <a:lnTo>
                      <a:pt x="10001" y="3386"/>
                    </a:lnTo>
                    <a:lnTo>
                      <a:pt x="9996" y="3389"/>
                    </a:lnTo>
                    <a:lnTo>
                      <a:pt x="9988" y="3392"/>
                    </a:lnTo>
                    <a:lnTo>
                      <a:pt x="9971" y="3397"/>
                    </a:lnTo>
                    <a:lnTo>
                      <a:pt x="9966" y="3399"/>
                    </a:lnTo>
                    <a:lnTo>
                      <a:pt x="9958" y="3400"/>
                    </a:lnTo>
                    <a:lnTo>
                      <a:pt x="9953" y="3400"/>
                    </a:lnTo>
                    <a:lnTo>
                      <a:pt x="9950" y="3402"/>
                    </a:lnTo>
                    <a:lnTo>
                      <a:pt x="9963" y="3402"/>
                    </a:lnTo>
                    <a:lnTo>
                      <a:pt x="9973" y="3400"/>
                    </a:lnTo>
                    <a:lnTo>
                      <a:pt x="9983" y="3400"/>
                    </a:lnTo>
                    <a:lnTo>
                      <a:pt x="9991" y="3399"/>
                    </a:lnTo>
                    <a:lnTo>
                      <a:pt x="9999" y="3397"/>
                    </a:lnTo>
                    <a:lnTo>
                      <a:pt x="10004" y="3395"/>
                    </a:lnTo>
                    <a:lnTo>
                      <a:pt x="10012" y="3389"/>
                    </a:lnTo>
                    <a:lnTo>
                      <a:pt x="10019" y="3384"/>
                    </a:lnTo>
                    <a:lnTo>
                      <a:pt x="10012" y="3392"/>
                    </a:lnTo>
                    <a:lnTo>
                      <a:pt x="10009" y="3397"/>
                    </a:lnTo>
                    <a:lnTo>
                      <a:pt x="10004" y="3402"/>
                    </a:lnTo>
                    <a:lnTo>
                      <a:pt x="10001" y="3408"/>
                    </a:lnTo>
                    <a:lnTo>
                      <a:pt x="9999" y="3414"/>
                    </a:lnTo>
                    <a:lnTo>
                      <a:pt x="9996" y="3415"/>
                    </a:lnTo>
                    <a:lnTo>
                      <a:pt x="9991" y="3419"/>
                    </a:lnTo>
                    <a:lnTo>
                      <a:pt x="9997" y="3417"/>
                    </a:lnTo>
                    <a:lnTo>
                      <a:pt x="10003" y="3414"/>
                    </a:lnTo>
                    <a:lnTo>
                      <a:pt x="10010" y="3410"/>
                    </a:lnTo>
                    <a:lnTo>
                      <a:pt x="10016" y="3408"/>
                    </a:lnTo>
                    <a:lnTo>
                      <a:pt x="10024" y="3404"/>
                    </a:lnTo>
                    <a:lnTo>
                      <a:pt x="10029" y="3402"/>
                    </a:lnTo>
                    <a:lnTo>
                      <a:pt x="10037" y="3402"/>
                    </a:lnTo>
                    <a:lnTo>
                      <a:pt x="10034" y="3404"/>
                    </a:lnTo>
                    <a:lnTo>
                      <a:pt x="10032" y="3408"/>
                    </a:lnTo>
                    <a:lnTo>
                      <a:pt x="10030" y="3412"/>
                    </a:lnTo>
                    <a:lnTo>
                      <a:pt x="10029" y="3417"/>
                    </a:lnTo>
                    <a:lnTo>
                      <a:pt x="10027" y="3423"/>
                    </a:lnTo>
                    <a:lnTo>
                      <a:pt x="10024" y="3434"/>
                    </a:lnTo>
                    <a:lnTo>
                      <a:pt x="10022" y="3440"/>
                    </a:lnTo>
                    <a:lnTo>
                      <a:pt x="10022" y="3445"/>
                    </a:lnTo>
                    <a:lnTo>
                      <a:pt x="10022" y="3448"/>
                    </a:lnTo>
                    <a:lnTo>
                      <a:pt x="10022" y="3453"/>
                    </a:lnTo>
                    <a:lnTo>
                      <a:pt x="10024" y="3455"/>
                    </a:lnTo>
                    <a:lnTo>
                      <a:pt x="10027" y="3456"/>
                    </a:lnTo>
                    <a:lnTo>
                      <a:pt x="10027" y="3450"/>
                    </a:lnTo>
                    <a:lnTo>
                      <a:pt x="10029" y="3447"/>
                    </a:lnTo>
                    <a:lnTo>
                      <a:pt x="10030" y="3443"/>
                    </a:lnTo>
                    <a:lnTo>
                      <a:pt x="10032" y="3441"/>
                    </a:lnTo>
                    <a:lnTo>
                      <a:pt x="10037" y="3440"/>
                    </a:lnTo>
                    <a:lnTo>
                      <a:pt x="10038" y="3440"/>
                    </a:lnTo>
                    <a:lnTo>
                      <a:pt x="10040" y="3440"/>
                    </a:lnTo>
                    <a:lnTo>
                      <a:pt x="10042" y="3441"/>
                    </a:lnTo>
                    <a:lnTo>
                      <a:pt x="10044" y="3445"/>
                    </a:lnTo>
                    <a:lnTo>
                      <a:pt x="10044" y="3447"/>
                    </a:lnTo>
                    <a:lnTo>
                      <a:pt x="10044" y="3448"/>
                    </a:lnTo>
                    <a:lnTo>
                      <a:pt x="10044" y="3450"/>
                    </a:lnTo>
                    <a:lnTo>
                      <a:pt x="10042" y="3453"/>
                    </a:lnTo>
                    <a:lnTo>
                      <a:pt x="10038" y="3455"/>
                    </a:lnTo>
                    <a:lnTo>
                      <a:pt x="10034" y="3456"/>
                    </a:lnTo>
                    <a:lnTo>
                      <a:pt x="10032" y="3458"/>
                    </a:lnTo>
                    <a:lnTo>
                      <a:pt x="10029" y="3460"/>
                    </a:lnTo>
                    <a:lnTo>
                      <a:pt x="10025" y="3465"/>
                    </a:lnTo>
                    <a:lnTo>
                      <a:pt x="10019" y="3471"/>
                    </a:lnTo>
                    <a:lnTo>
                      <a:pt x="10025" y="3471"/>
                    </a:lnTo>
                    <a:lnTo>
                      <a:pt x="10029" y="3471"/>
                    </a:lnTo>
                    <a:lnTo>
                      <a:pt x="10030" y="3471"/>
                    </a:lnTo>
                    <a:lnTo>
                      <a:pt x="10032" y="3473"/>
                    </a:lnTo>
                    <a:lnTo>
                      <a:pt x="10030" y="3474"/>
                    </a:lnTo>
                    <a:lnTo>
                      <a:pt x="10029" y="3478"/>
                    </a:lnTo>
                    <a:lnTo>
                      <a:pt x="10025" y="3481"/>
                    </a:lnTo>
                    <a:lnTo>
                      <a:pt x="10030" y="3478"/>
                    </a:lnTo>
                    <a:lnTo>
                      <a:pt x="10038" y="3476"/>
                    </a:lnTo>
                    <a:lnTo>
                      <a:pt x="10042" y="3474"/>
                    </a:lnTo>
                    <a:lnTo>
                      <a:pt x="10047" y="3476"/>
                    </a:lnTo>
                    <a:lnTo>
                      <a:pt x="10050" y="3478"/>
                    </a:lnTo>
                    <a:lnTo>
                      <a:pt x="10053" y="3481"/>
                    </a:lnTo>
                    <a:lnTo>
                      <a:pt x="10053" y="3488"/>
                    </a:lnTo>
                    <a:lnTo>
                      <a:pt x="10053" y="3491"/>
                    </a:lnTo>
                    <a:lnTo>
                      <a:pt x="10050" y="3493"/>
                    </a:lnTo>
                    <a:lnTo>
                      <a:pt x="10049" y="3496"/>
                    </a:lnTo>
                    <a:lnTo>
                      <a:pt x="10047" y="3499"/>
                    </a:lnTo>
                    <a:lnTo>
                      <a:pt x="10045" y="3501"/>
                    </a:lnTo>
                    <a:lnTo>
                      <a:pt x="10042" y="3501"/>
                    </a:lnTo>
                    <a:lnTo>
                      <a:pt x="10034" y="3502"/>
                    </a:lnTo>
                    <a:lnTo>
                      <a:pt x="10025" y="3504"/>
                    </a:lnTo>
                    <a:lnTo>
                      <a:pt x="10017" y="3504"/>
                    </a:lnTo>
                    <a:lnTo>
                      <a:pt x="10009" y="3506"/>
                    </a:lnTo>
                    <a:lnTo>
                      <a:pt x="10014" y="3508"/>
                    </a:lnTo>
                    <a:lnTo>
                      <a:pt x="10019" y="3509"/>
                    </a:lnTo>
                    <a:lnTo>
                      <a:pt x="10025" y="3514"/>
                    </a:lnTo>
                    <a:lnTo>
                      <a:pt x="10030" y="3517"/>
                    </a:lnTo>
                    <a:lnTo>
                      <a:pt x="10032" y="3519"/>
                    </a:lnTo>
                    <a:lnTo>
                      <a:pt x="10037" y="3521"/>
                    </a:lnTo>
                    <a:lnTo>
                      <a:pt x="10037" y="3522"/>
                    </a:lnTo>
                    <a:lnTo>
                      <a:pt x="10038" y="3522"/>
                    </a:lnTo>
                    <a:lnTo>
                      <a:pt x="10042" y="3522"/>
                    </a:lnTo>
                    <a:lnTo>
                      <a:pt x="10045" y="3522"/>
                    </a:lnTo>
                    <a:lnTo>
                      <a:pt x="10047" y="3522"/>
                    </a:lnTo>
                    <a:lnTo>
                      <a:pt x="10050" y="3522"/>
                    </a:lnTo>
                    <a:lnTo>
                      <a:pt x="10053" y="3522"/>
                    </a:lnTo>
                    <a:lnTo>
                      <a:pt x="10053" y="3524"/>
                    </a:lnTo>
                    <a:lnTo>
                      <a:pt x="10053" y="3527"/>
                    </a:lnTo>
                    <a:lnTo>
                      <a:pt x="10050" y="3530"/>
                    </a:lnTo>
                    <a:lnTo>
                      <a:pt x="10049" y="3534"/>
                    </a:lnTo>
                    <a:lnTo>
                      <a:pt x="10045" y="3537"/>
                    </a:lnTo>
                    <a:lnTo>
                      <a:pt x="10042" y="3539"/>
                    </a:lnTo>
                    <a:lnTo>
                      <a:pt x="10049" y="3539"/>
                    </a:lnTo>
                    <a:lnTo>
                      <a:pt x="10055" y="3539"/>
                    </a:lnTo>
                    <a:lnTo>
                      <a:pt x="10058" y="3538"/>
                    </a:lnTo>
                    <a:lnTo>
                      <a:pt x="10058" y="3537"/>
                    </a:lnTo>
                    <a:lnTo>
                      <a:pt x="10063" y="3534"/>
                    </a:lnTo>
                    <a:lnTo>
                      <a:pt x="10068" y="3527"/>
                    </a:lnTo>
                    <a:lnTo>
                      <a:pt x="10071" y="3522"/>
                    </a:lnTo>
                    <a:lnTo>
                      <a:pt x="10070" y="3527"/>
                    </a:lnTo>
                    <a:lnTo>
                      <a:pt x="10068" y="3532"/>
                    </a:lnTo>
                    <a:lnTo>
                      <a:pt x="10063" y="3535"/>
                    </a:lnTo>
                    <a:lnTo>
                      <a:pt x="10060" y="3537"/>
                    </a:lnTo>
                    <a:lnTo>
                      <a:pt x="10058" y="3538"/>
                    </a:lnTo>
                    <a:lnTo>
                      <a:pt x="10055" y="3542"/>
                    </a:lnTo>
                    <a:lnTo>
                      <a:pt x="10049" y="3545"/>
                    </a:lnTo>
                    <a:lnTo>
                      <a:pt x="10045" y="3548"/>
                    </a:lnTo>
                    <a:lnTo>
                      <a:pt x="10040" y="3550"/>
                    </a:lnTo>
                    <a:lnTo>
                      <a:pt x="10034" y="3552"/>
                    </a:lnTo>
                    <a:lnTo>
                      <a:pt x="10022" y="3555"/>
                    </a:lnTo>
                    <a:lnTo>
                      <a:pt x="10010" y="3555"/>
                    </a:lnTo>
                    <a:lnTo>
                      <a:pt x="9997" y="3555"/>
                    </a:lnTo>
                    <a:lnTo>
                      <a:pt x="9984" y="3557"/>
                    </a:lnTo>
                    <a:lnTo>
                      <a:pt x="9984" y="3560"/>
                    </a:lnTo>
                    <a:lnTo>
                      <a:pt x="9984" y="3562"/>
                    </a:lnTo>
                    <a:lnTo>
                      <a:pt x="9984" y="3563"/>
                    </a:lnTo>
                    <a:lnTo>
                      <a:pt x="9984" y="3568"/>
                    </a:lnTo>
                    <a:lnTo>
                      <a:pt x="9984" y="3575"/>
                    </a:lnTo>
                    <a:lnTo>
                      <a:pt x="9988" y="3570"/>
                    </a:lnTo>
                    <a:lnTo>
                      <a:pt x="9992" y="3568"/>
                    </a:lnTo>
                    <a:lnTo>
                      <a:pt x="9997" y="3565"/>
                    </a:lnTo>
                    <a:lnTo>
                      <a:pt x="10003" y="3563"/>
                    </a:lnTo>
                    <a:lnTo>
                      <a:pt x="10009" y="3563"/>
                    </a:lnTo>
                    <a:lnTo>
                      <a:pt x="10016" y="3562"/>
                    </a:lnTo>
                    <a:lnTo>
                      <a:pt x="10029" y="3560"/>
                    </a:lnTo>
                    <a:lnTo>
                      <a:pt x="10044" y="3557"/>
                    </a:lnTo>
                    <a:lnTo>
                      <a:pt x="10060" y="3557"/>
                    </a:lnTo>
                    <a:lnTo>
                      <a:pt x="10073" y="3557"/>
                    </a:lnTo>
                    <a:lnTo>
                      <a:pt x="10088" y="3557"/>
                    </a:lnTo>
                    <a:lnTo>
                      <a:pt x="10083" y="3563"/>
                    </a:lnTo>
                    <a:lnTo>
                      <a:pt x="10077" y="3567"/>
                    </a:lnTo>
                    <a:lnTo>
                      <a:pt x="10073" y="3570"/>
                    </a:lnTo>
                    <a:lnTo>
                      <a:pt x="10071" y="3575"/>
                    </a:lnTo>
                    <a:lnTo>
                      <a:pt x="10068" y="3578"/>
                    </a:lnTo>
                    <a:lnTo>
                      <a:pt x="10063" y="3582"/>
                    </a:lnTo>
                    <a:lnTo>
                      <a:pt x="10058" y="3585"/>
                    </a:lnTo>
                    <a:lnTo>
                      <a:pt x="10053" y="3591"/>
                    </a:lnTo>
                    <a:lnTo>
                      <a:pt x="10058" y="3589"/>
                    </a:lnTo>
                    <a:lnTo>
                      <a:pt x="10063" y="3587"/>
                    </a:lnTo>
                    <a:lnTo>
                      <a:pt x="10068" y="3585"/>
                    </a:lnTo>
                    <a:lnTo>
                      <a:pt x="10070" y="3587"/>
                    </a:lnTo>
                    <a:lnTo>
                      <a:pt x="10071" y="3587"/>
                    </a:lnTo>
                    <a:lnTo>
                      <a:pt x="10073" y="3589"/>
                    </a:lnTo>
                    <a:lnTo>
                      <a:pt x="10073" y="3591"/>
                    </a:lnTo>
                    <a:lnTo>
                      <a:pt x="10073" y="3593"/>
                    </a:lnTo>
                    <a:lnTo>
                      <a:pt x="10072" y="3595"/>
                    </a:lnTo>
                    <a:lnTo>
                      <a:pt x="10075" y="3593"/>
                    </a:lnTo>
                    <a:lnTo>
                      <a:pt x="10080" y="3591"/>
                    </a:lnTo>
                    <a:lnTo>
                      <a:pt x="10088" y="3591"/>
                    </a:lnTo>
                    <a:lnTo>
                      <a:pt x="10090" y="3595"/>
                    </a:lnTo>
                    <a:lnTo>
                      <a:pt x="10091" y="3596"/>
                    </a:lnTo>
                    <a:lnTo>
                      <a:pt x="10093" y="3598"/>
                    </a:lnTo>
                    <a:lnTo>
                      <a:pt x="10095" y="3601"/>
                    </a:lnTo>
                    <a:lnTo>
                      <a:pt x="10095" y="3604"/>
                    </a:lnTo>
                    <a:lnTo>
                      <a:pt x="10095" y="3606"/>
                    </a:lnTo>
                    <a:lnTo>
                      <a:pt x="10093" y="3608"/>
                    </a:lnTo>
                    <a:lnTo>
                      <a:pt x="10091" y="3611"/>
                    </a:lnTo>
                    <a:lnTo>
                      <a:pt x="10090" y="3615"/>
                    </a:lnTo>
                    <a:lnTo>
                      <a:pt x="10088" y="3621"/>
                    </a:lnTo>
                    <a:lnTo>
                      <a:pt x="10088" y="3626"/>
                    </a:lnTo>
                    <a:lnTo>
                      <a:pt x="10086" y="3631"/>
                    </a:lnTo>
                    <a:lnTo>
                      <a:pt x="10084" y="3637"/>
                    </a:lnTo>
                    <a:lnTo>
                      <a:pt x="10080" y="3641"/>
                    </a:lnTo>
                    <a:lnTo>
                      <a:pt x="10077" y="3644"/>
                    </a:lnTo>
                    <a:lnTo>
                      <a:pt x="10071" y="3648"/>
                    </a:lnTo>
                    <a:lnTo>
                      <a:pt x="10063" y="3652"/>
                    </a:lnTo>
                    <a:lnTo>
                      <a:pt x="10057" y="3654"/>
                    </a:lnTo>
                    <a:lnTo>
                      <a:pt x="10049" y="3656"/>
                    </a:lnTo>
                    <a:lnTo>
                      <a:pt x="10032" y="3657"/>
                    </a:lnTo>
                    <a:lnTo>
                      <a:pt x="10016" y="3659"/>
                    </a:lnTo>
                    <a:lnTo>
                      <a:pt x="10007" y="3659"/>
                    </a:lnTo>
                    <a:lnTo>
                      <a:pt x="9999" y="3659"/>
                    </a:lnTo>
                    <a:lnTo>
                      <a:pt x="9992" y="3659"/>
                    </a:lnTo>
                    <a:lnTo>
                      <a:pt x="9991" y="3659"/>
                    </a:lnTo>
                    <a:lnTo>
                      <a:pt x="9994" y="3661"/>
                    </a:lnTo>
                    <a:lnTo>
                      <a:pt x="9997" y="3661"/>
                    </a:lnTo>
                    <a:lnTo>
                      <a:pt x="9999" y="3662"/>
                    </a:lnTo>
                    <a:lnTo>
                      <a:pt x="9999" y="3665"/>
                    </a:lnTo>
                    <a:lnTo>
                      <a:pt x="9999" y="3667"/>
                    </a:lnTo>
                    <a:lnTo>
                      <a:pt x="9997" y="3669"/>
                    </a:lnTo>
                    <a:lnTo>
                      <a:pt x="9994" y="3672"/>
                    </a:lnTo>
                    <a:lnTo>
                      <a:pt x="9991" y="3674"/>
                    </a:lnTo>
                    <a:lnTo>
                      <a:pt x="9988" y="3675"/>
                    </a:lnTo>
                    <a:lnTo>
                      <a:pt x="9986" y="3675"/>
                    </a:lnTo>
                    <a:lnTo>
                      <a:pt x="9984" y="3675"/>
                    </a:lnTo>
                    <a:lnTo>
                      <a:pt x="9984" y="3677"/>
                    </a:lnTo>
                    <a:lnTo>
                      <a:pt x="9986" y="3680"/>
                    </a:lnTo>
                    <a:lnTo>
                      <a:pt x="9988" y="3682"/>
                    </a:lnTo>
                    <a:lnTo>
                      <a:pt x="9992" y="3682"/>
                    </a:lnTo>
                    <a:lnTo>
                      <a:pt x="9997" y="3682"/>
                    </a:lnTo>
                    <a:lnTo>
                      <a:pt x="10003" y="3682"/>
                    </a:lnTo>
                    <a:lnTo>
                      <a:pt x="10010" y="3680"/>
                    </a:lnTo>
                    <a:lnTo>
                      <a:pt x="10024" y="3677"/>
                    </a:lnTo>
                    <a:lnTo>
                      <a:pt x="10029" y="3675"/>
                    </a:lnTo>
                    <a:lnTo>
                      <a:pt x="10034" y="3674"/>
                    </a:lnTo>
                    <a:lnTo>
                      <a:pt x="10040" y="3672"/>
                    </a:lnTo>
                    <a:lnTo>
                      <a:pt x="10042" y="3672"/>
                    </a:lnTo>
                    <a:lnTo>
                      <a:pt x="10044" y="3670"/>
                    </a:lnTo>
                    <a:lnTo>
                      <a:pt x="10050" y="3667"/>
                    </a:lnTo>
                    <a:lnTo>
                      <a:pt x="10060" y="3665"/>
                    </a:lnTo>
                    <a:lnTo>
                      <a:pt x="10071" y="3661"/>
                    </a:lnTo>
                    <a:lnTo>
                      <a:pt x="10080" y="3661"/>
                    </a:lnTo>
                    <a:lnTo>
                      <a:pt x="10090" y="3659"/>
                    </a:lnTo>
                    <a:lnTo>
                      <a:pt x="10098" y="3659"/>
                    </a:lnTo>
                    <a:lnTo>
                      <a:pt x="10104" y="3659"/>
                    </a:lnTo>
                    <a:lnTo>
                      <a:pt x="10099" y="3667"/>
                    </a:lnTo>
                    <a:lnTo>
                      <a:pt x="10095" y="3674"/>
                    </a:lnTo>
                    <a:lnTo>
                      <a:pt x="10091" y="3683"/>
                    </a:lnTo>
                    <a:lnTo>
                      <a:pt x="10088" y="3690"/>
                    </a:lnTo>
                    <a:lnTo>
                      <a:pt x="10086" y="3692"/>
                    </a:lnTo>
                    <a:lnTo>
                      <a:pt x="10084" y="3696"/>
                    </a:lnTo>
                    <a:lnTo>
                      <a:pt x="10083" y="3698"/>
                    </a:lnTo>
                    <a:lnTo>
                      <a:pt x="10080" y="3698"/>
                    </a:lnTo>
                    <a:lnTo>
                      <a:pt x="10078" y="3700"/>
                    </a:lnTo>
                    <a:lnTo>
                      <a:pt x="10077" y="3698"/>
                    </a:lnTo>
                    <a:lnTo>
                      <a:pt x="10073" y="3696"/>
                    </a:lnTo>
                    <a:lnTo>
                      <a:pt x="10075" y="3698"/>
                    </a:lnTo>
                    <a:lnTo>
                      <a:pt x="10077" y="3700"/>
                    </a:lnTo>
                    <a:lnTo>
                      <a:pt x="10078" y="3700"/>
                    </a:lnTo>
                    <a:lnTo>
                      <a:pt x="10080" y="3702"/>
                    </a:lnTo>
                    <a:lnTo>
                      <a:pt x="10080" y="3703"/>
                    </a:lnTo>
                    <a:lnTo>
                      <a:pt x="10080" y="3707"/>
                    </a:lnTo>
                    <a:lnTo>
                      <a:pt x="10078" y="3709"/>
                    </a:lnTo>
                    <a:lnTo>
                      <a:pt x="10075" y="3713"/>
                    </a:lnTo>
                    <a:lnTo>
                      <a:pt x="10080" y="3713"/>
                    </a:lnTo>
                    <a:lnTo>
                      <a:pt x="10090" y="3711"/>
                    </a:lnTo>
                    <a:lnTo>
                      <a:pt x="10098" y="3711"/>
                    </a:lnTo>
                    <a:lnTo>
                      <a:pt x="10104" y="3711"/>
                    </a:lnTo>
                    <a:lnTo>
                      <a:pt x="10104" y="3713"/>
                    </a:lnTo>
                    <a:lnTo>
                      <a:pt x="10103" y="3713"/>
                    </a:lnTo>
                    <a:lnTo>
                      <a:pt x="10101" y="3716"/>
                    </a:lnTo>
                    <a:lnTo>
                      <a:pt x="10098" y="3718"/>
                    </a:lnTo>
                    <a:lnTo>
                      <a:pt x="10093" y="3722"/>
                    </a:lnTo>
                    <a:lnTo>
                      <a:pt x="10088" y="3729"/>
                    </a:lnTo>
                    <a:lnTo>
                      <a:pt x="10093" y="3729"/>
                    </a:lnTo>
                    <a:lnTo>
                      <a:pt x="10098" y="3729"/>
                    </a:lnTo>
                    <a:lnTo>
                      <a:pt x="10101" y="3729"/>
                    </a:lnTo>
                    <a:lnTo>
                      <a:pt x="10103" y="3731"/>
                    </a:lnTo>
                    <a:lnTo>
                      <a:pt x="10104" y="3733"/>
                    </a:lnTo>
                    <a:lnTo>
                      <a:pt x="10104" y="3735"/>
                    </a:lnTo>
                    <a:lnTo>
                      <a:pt x="10104" y="3741"/>
                    </a:lnTo>
                    <a:lnTo>
                      <a:pt x="10104" y="3746"/>
                    </a:lnTo>
                    <a:lnTo>
                      <a:pt x="10078" y="3746"/>
                    </a:lnTo>
                    <a:lnTo>
                      <a:pt x="10077" y="3746"/>
                    </a:lnTo>
                    <a:lnTo>
                      <a:pt x="10084" y="3748"/>
                    </a:lnTo>
                    <a:lnTo>
                      <a:pt x="10086" y="3748"/>
                    </a:lnTo>
                    <a:lnTo>
                      <a:pt x="10090" y="3749"/>
                    </a:lnTo>
                    <a:lnTo>
                      <a:pt x="10091" y="3751"/>
                    </a:lnTo>
                    <a:lnTo>
                      <a:pt x="10091" y="3753"/>
                    </a:lnTo>
                    <a:lnTo>
                      <a:pt x="10091" y="3754"/>
                    </a:lnTo>
                    <a:lnTo>
                      <a:pt x="10093" y="3753"/>
                    </a:lnTo>
                    <a:lnTo>
                      <a:pt x="10099" y="3753"/>
                    </a:lnTo>
                    <a:lnTo>
                      <a:pt x="10104" y="3753"/>
                    </a:lnTo>
                    <a:lnTo>
                      <a:pt x="10110" y="3753"/>
                    </a:lnTo>
                    <a:lnTo>
                      <a:pt x="10111" y="3751"/>
                    </a:lnTo>
                    <a:lnTo>
                      <a:pt x="10116" y="3749"/>
                    </a:lnTo>
                    <a:lnTo>
                      <a:pt x="10119" y="3748"/>
                    </a:lnTo>
                    <a:lnTo>
                      <a:pt x="10123" y="3746"/>
                    </a:lnTo>
                    <a:lnTo>
                      <a:pt x="10124" y="3749"/>
                    </a:lnTo>
                    <a:lnTo>
                      <a:pt x="10126" y="3751"/>
                    </a:lnTo>
                    <a:lnTo>
                      <a:pt x="10129" y="3756"/>
                    </a:lnTo>
                    <a:lnTo>
                      <a:pt x="10129" y="3759"/>
                    </a:lnTo>
                    <a:lnTo>
                      <a:pt x="10131" y="3761"/>
                    </a:lnTo>
                    <a:lnTo>
                      <a:pt x="10131" y="3764"/>
                    </a:lnTo>
                    <a:lnTo>
                      <a:pt x="10129" y="3769"/>
                    </a:lnTo>
                    <a:lnTo>
                      <a:pt x="10126" y="3774"/>
                    </a:lnTo>
                    <a:lnTo>
                      <a:pt x="10124" y="3777"/>
                    </a:lnTo>
                    <a:lnTo>
                      <a:pt x="10123" y="3779"/>
                    </a:lnTo>
                    <a:lnTo>
                      <a:pt x="10123" y="3781"/>
                    </a:lnTo>
                    <a:lnTo>
                      <a:pt x="10123" y="3787"/>
                    </a:lnTo>
                    <a:lnTo>
                      <a:pt x="10124" y="3790"/>
                    </a:lnTo>
                    <a:lnTo>
                      <a:pt x="10126" y="3794"/>
                    </a:lnTo>
                    <a:lnTo>
                      <a:pt x="10129" y="3797"/>
                    </a:lnTo>
                    <a:lnTo>
                      <a:pt x="10131" y="3802"/>
                    </a:lnTo>
                    <a:lnTo>
                      <a:pt x="10129" y="3805"/>
                    </a:lnTo>
                    <a:lnTo>
                      <a:pt x="10129" y="3807"/>
                    </a:lnTo>
                    <a:lnTo>
                      <a:pt x="10126" y="3809"/>
                    </a:lnTo>
                    <a:lnTo>
                      <a:pt x="10124" y="3810"/>
                    </a:lnTo>
                    <a:lnTo>
                      <a:pt x="10123" y="3814"/>
                    </a:lnTo>
                    <a:lnTo>
                      <a:pt x="10121" y="3818"/>
                    </a:lnTo>
                    <a:lnTo>
                      <a:pt x="10119" y="3820"/>
                    </a:lnTo>
                    <a:lnTo>
                      <a:pt x="10116" y="3823"/>
                    </a:lnTo>
                    <a:lnTo>
                      <a:pt x="10111" y="3827"/>
                    </a:lnTo>
                    <a:lnTo>
                      <a:pt x="10106" y="3829"/>
                    </a:lnTo>
                    <a:lnTo>
                      <a:pt x="10099" y="3833"/>
                    </a:lnTo>
                    <a:lnTo>
                      <a:pt x="10093" y="3835"/>
                    </a:lnTo>
                    <a:lnTo>
                      <a:pt x="10086" y="3837"/>
                    </a:lnTo>
                    <a:lnTo>
                      <a:pt x="10078" y="3837"/>
                    </a:lnTo>
                    <a:lnTo>
                      <a:pt x="10071" y="3838"/>
                    </a:lnTo>
                    <a:lnTo>
                      <a:pt x="10063" y="3838"/>
                    </a:lnTo>
                    <a:lnTo>
                      <a:pt x="10057" y="3838"/>
                    </a:lnTo>
                    <a:lnTo>
                      <a:pt x="10050" y="3838"/>
                    </a:lnTo>
                    <a:lnTo>
                      <a:pt x="10045" y="3837"/>
                    </a:lnTo>
                    <a:lnTo>
                      <a:pt x="10053" y="3840"/>
                    </a:lnTo>
                    <a:lnTo>
                      <a:pt x="10060" y="3842"/>
                    </a:lnTo>
                    <a:lnTo>
                      <a:pt x="10070" y="3843"/>
                    </a:lnTo>
                    <a:lnTo>
                      <a:pt x="10078" y="3845"/>
                    </a:lnTo>
                    <a:lnTo>
                      <a:pt x="10086" y="3850"/>
                    </a:lnTo>
                    <a:lnTo>
                      <a:pt x="10093" y="3851"/>
                    </a:lnTo>
                    <a:lnTo>
                      <a:pt x="10101" y="3853"/>
                    </a:lnTo>
                    <a:lnTo>
                      <a:pt x="10106" y="3856"/>
                    </a:lnTo>
                    <a:lnTo>
                      <a:pt x="10108" y="3858"/>
                    </a:lnTo>
                    <a:lnTo>
                      <a:pt x="10110" y="3858"/>
                    </a:lnTo>
                    <a:lnTo>
                      <a:pt x="10110" y="3860"/>
                    </a:lnTo>
                    <a:lnTo>
                      <a:pt x="10110" y="3863"/>
                    </a:lnTo>
                    <a:lnTo>
                      <a:pt x="10110" y="3864"/>
                    </a:lnTo>
                    <a:lnTo>
                      <a:pt x="10110" y="3868"/>
                    </a:lnTo>
                    <a:lnTo>
                      <a:pt x="10108" y="3870"/>
                    </a:lnTo>
                    <a:lnTo>
                      <a:pt x="10106" y="3871"/>
                    </a:lnTo>
                    <a:lnTo>
                      <a:pt x="10103" y="3875"/>
                    </a:lnTo>
                    <a:lnTo>
                      <a:pt x="10099" y="3876"/>
                    </a:lnTo>
                    <a:lnTo>
                      <a:pt x="10093" y="3881"/>
                    </a:lnTo>
                    <a:lnTo>
                      <a:pt x="10088" y="3883"/>
                    </a:lnTo>
                    <a:lnTo>
                      <a:pt x="10101" y="3883"/>
                    </a:lnTo>
                    <a:lnTo>
                      <a:pt x="10106" y="3884"/>
                    </a:lnTo>
                    <a:lnTo>
                      <a:pt x="10114" y="3884"/>
                    </a:lnTo>
                    <a:lnTo>
                      <a:pt x="10119" y="3888"/>
                    </a:lnTo>
                    <a:lnTo>
                      <a:pt x="10126" y="3890"/>
                    </a:lnTo>
                    <a:lnTo>
                      <a:pt x="10132" y="3894"/>
                    </a:lnTo>
                    <a:lnTo>
                      <a:pt x="10139" y="3901"/>
                    </a:lnTo>
                    <a:lnTo>
                      <a:pt x="10141" y="3903"/>
                    </a:lnTo>
                    <a:lnTo>
                      <a:pt x="10141" y="3904"/>
                    </a:lnTo>
                    <a:lnTo>
                      <a:pt x="10144" y="3911"/>
                    </a:lnTo>
                    <a:lnTo>
                      <a:pt x="10145" y="3916"/>
                    </a:lnTo>
                    <a:lnTo>
                      <a:pt x="10147" y="3919"/>
                    </a:lnTo>
                    <a:lnTo>
                      <a:pt x="10147" y="3921"/>
                    </a:lnTo>
                    <a:lnTo>
                      <a:pt x="10145" y="3924"/>
                    </a:lnTo>
                    <a:lnTo>
                      <a:pt x="10144" y="3921"/>
                    </a:lnTo>
                    <a:lnTo>
                      <a:pt x="10141" y="3919"/>
                    </a:lnTo>
                    <a:lnTo>
                      <a:pt x="10139" y="3917"/>
                    </a:lnTo>
                    <a:lnTo>
                      <a:pt x="10136" y="3917"/>
                    </a:lnTo>
                    <a:lnTo>
                      <a:pt x="10131" y="3919"/>
                    </a:lnTo>
                    <a:lnTo>
                      <a:pt x="10126" y="3921"/>
                    </a:lnTo>
                    <a:lnTo>
                      <a:pt x="10121" y="3924"/>
                    </a:lnTo>
                    <a:lnTo>
                      <a:pt x="10116" y="3927"/>
                    </a:lnTo>
                    <a:lnTo>
                      <a:pt x="10108" y="3929"/>
                    </a:lnTo>
                    <a:lnTo>
                      <a:pt x="10098" y="3936"/>
                    </a:lnTo>
                    <a:lnTo>
                      <a:pt x="10084" y="3945"/>
                    </a:lnTo>
                    <a:lnTo>
                      <a:pt x="10071" y="3955"/>
                    </a:lnTo>
                    <a:lnTo>
                      <a:pt x="10071" y="3957"/>
                    </a:lnTo>
                    <a:lnTo>
                      <a:pt x="10073" y="3960"/>
                    </a:lnTo>
                    <a:lnTo>
                      <a:pt x="10073" y="3964"/>
                    </a:lnTo>
                    <a:lnTo>
                      <a:pt x="10073" y="3967"/>
                    </a:lnTo>
                    <a:lnTo>
                      <a:pt x="10071" y="3970"/>
                    </a:lnTo>
                    <a:lnTo>
                      <a:pt x="10070" y="3973"/>
                    </a:lnTo>
                    <a:lnTo>
                      <a:pt x="10065" y="3977"/>
                    </a:lnTo>
                    <a:lnTo>
                      <a:pt x="10062" y="3978"/>
                    </a:lnTo>
                    <a:lnTo>
                      <a:pt x="10055" y="3980"/>
                    </a:lnTo>
                    <a:lnTo>
                      <a:pt x="10047" y="3980"/>
                    </a:lnTo>
                    <a:lnTo>
                      <a:pt x="10040" y="3980"/>
                    </a:lnTo>
                    <a:lnTo>
                      <a:pt x="10032" y="3978"/>
                    </a:lnTo>
                    <a:lnTo>
                      <a:pt x="10024" y="3977"/>
                    </a:lnTo>
                    <a:lnTo>
                      <a:pt x="10016" y="3975"/>
                    </a:lnTo>
                    <a:lnTo>
                      <a:pt x="10007" y="3973"/>
                    </a:lnTo>
                    <a:lnTo>
                      <a:pt x="10001" y="3971"/>
                    </a:lnTo>
                    <a:lnTo>
                      <a:pt x="9994" y="3971"/>
                    </a:lnTo>
                    <a:lnTo>
                      <a:pt x="9991" y="3970"/>
                    </a:lnTo>
                    <a:lnTo>
                      <a:pt x="9992" y="3971"/>
                    </a:lnTo>
                    <a:lnTo>
                      <a:pt x="10001" y="3975"/>
                    </a:lnTo>
                    <a:lnTo>
                      <a:pt x="10010" y="3980"/>
                    </a:lnTo>
                    <a:lnTo>
                      <a:pt x="10019" y="3984"/>
                    </a:lnTo>
                    <a:lnTo>
                      <a:pt x="10029" y="3986"/>
                    </a:lnTo>
                    <a:lnTo>
                      <a:pt x="10037" y="3986"/>
                    </a:lnTo>
                    <a:lnTo>
                      <a:pt x="10038" y="3986"/>
                    </a:lnTo>
                    <a:lnTo>
                      <a:pt x="10047" y="3986"/>
                    </a:lnTo>
                    <a:lnTo>
                      <a:pt x="10058" y="3986"/>
                    </a:lnTo>
                    <a:lnTo>
                      <a:pt x="10071" y="3986"/>
                    </a:lnTo>
                    <a:lnTo>
                      <a:pt x="10068" y="3991"/>
                    </a:lnTo>
                    <a:lnTo>
                      <a:pt x="10063" y="3997"/>
                    </a:lnTo>
                    <a:lnTo>
                      <a:pt x="10058" y="4001"/>
                    </a:lnTo>
                    <a:lnTo>
                      <a:pt x="10055" y="4004"/>
                    </a:lnTo>
                    <a:lnTo>
                      <a:pt x="10050" y="4006"/>
                    </a:lnTo>
                    <a:lnTo>
                      <a:pt x="10045" y="4006"/>
                    </a:lnTo>
                    <a:lnTo>
                      <a:pt x="10042" y="4008"/>
                    </a:lnTo>
                    <a:lnTo>
                      <a:pt x="10037" y="4008"/>
                    </a:lnTo>
                    <a:lnTo>
                      <a:pt x="10027" y="4006"/>
                    </a:lnTo>
                    <a:lnTo>
                      <a:pt x="10017" y="4006"/>
                    </a:lnTo>
                    <a:lnTo>
                      <a:pt x="10009" y="4004"/>
                    </a:lnTo>
                    <a:lnTo>
                      <a:pt x="10001" y="4004"/>
                    </a:lnTo>
                    <a:lnTo>
                      <a:pt x="10003" y="4006"/>
                    </a:lnTo>
                    <a:lnTo>
                      <a:pt x="10004" y="4010"/>
                    </a:lnTo>
                    <a:lnTo>
                      <a:pt x="10009" y="4014"/>
                    </a:lnTo>
                    <a:lnTo>
                      <a:pt x="10012" y="4016"/>
                    </a:lnTo>
                    <a:lnTo>
                      <a:pt x="10016" y="4019"/>
                    </a:lnTo>
                    <a:lnTo>
                      <a:pt x="10022" y="4021"/>
                    </a:lnTo>
                    <a:lnTo>
                      <a:pt x="10032" y="4026"/>
                    </a:lnTo>
                    <a:lnTo>
                      <a:pt x="10037" y="4029"/>
                    </a:lnTo>
                    <a:lnTo>
                      <a:pt x="10040" y="4032"/>
                    </a:lnTo>
                    <a:lnTo>
                      <a:pt x="10044" y="4034"/>
                    </a:lnTo>
                    <a:lnTo>
                      <a:pt x="10045" y="4034"/>
                    </a:lnTo>
                    <a:lnTo>
                      <a:pt x="10045" y="4036"/>
                    </a:lnTo>
                    <a:lnTo>
                      <a:pt x="10045" y="4038"/>
                    </a:lnTo>
                    <a:lnTo>
                      <a:pt x="10044" y="4038"/>
                    </a:lnTo>
                    <a:lnTo>
                      <a:pt x="10042" y="4038"/>
                    </a:lnTo>
                    <a:lnTo>
                      <a:pt x="10040" y="4038"/>
                    </a:lnTo>
                    <a:lnTo>
                      <a:pt x="10037" y="4038"/>
                    </a:lnTo>
                    <a:lnTo>
                      <a:pt x="10040" y="4039"/>
                    </a:lnTo>
                    <a:lnTo>
                      <a:pt x="10042" y="4041"/>
                    </a:lnTo>
                    <a:lnTo>
                      <a:pt x="10044" y="4041"/>
                    </a:lnTo>
                    <a:lnTo>
                      <a:pt x="10045" y="4044"/>
                    </a:lnTo>
                    <a:lnTo>
                      <a:pt x="10045" y="4045"/>
                    </a:lnTo>
                    <a:lnTo>
                      <a:pt x="10044" y="4045"/>
                    </a:lnTo>
                    <a:lnTo>
                      <a:pt x="10040" y="4045"/>
                    </a:lnTo>
                    <a:lnTo>
                      <a:pt x="10037" y="4045"/>
                    </a:lnTo>
                    <a:lnTo>
                      <a:pt x="10032" y="4045"/>
                    </a:lnTo>
                    <a:lnTo>
                      <a:pt x="10022" y="4044"/>
                    </a:lnTo>
                    <a:lnTo>
                      <a:pt x="10016" y="4041"/>
                    </a:lnTo>
                    <a:lnTo>
                      <a:pt x="10012" y="4039"/>
                    </a:lnTo>
                    <a:lnTo>
                      <a:pt x="10009" y="4039"/>
                    </a:lnTo>
                    <a:lnTo>
                      <a:pt x="10004" y="4038"/>
                    </a:lnTo>
                    <a:lnTo>
                      <a:pt x="10003" y="4038"/>
                    </a:lnTo>
                    <a:lnTo>
                      <a:pt x="10001" y="4038"/>
                    </a:lnTo>
                    <a:lnTo>
                      <a:pt x="10009" y="4044"/>
                    </a:lnTo>
                    <a:lnTo>
                      <a:pt x="10017" y="4049"/>
                    </a:lnTo>
                    <a:lnTo>
                      <a:pt x="10027" y="4051"/>
                    </a:lnTo>
                    <a:lnTo>
                      <a:pt x="10038" y="4052"/>
                    </a:lnTo>
                    <a:lnTo>
                      <a:pt x="10049" y="4054"/>
                    </a:lnTo>
                    <a:lnTo>
                      <a:pt x="10062" y="4054"/>
                    </a:lnTo>
                    <a:lnTo>
                      <a:pt x="10088" y="4056"/>
                    </a:lnTo>
                    <a:lnTo>
                      <a:pt x="10084" y="4056"/>
                    </a:lnTo>
                    <a:lnTo>
                      <a:pt x="10080" y="4056"/>
                    </a:lnTo>
                    <a:lnTo>
                      <a:pt x="10077" y="4057"/>
                    </a:lnTo>
                    <a:lnTo>
                      <a:pt x="10073" y="4060"/>
                    </a:lnTo>
                    <a:lnTo>
                      <a:pt x="10065" y="4065"/>
                    </a:lnTo>
                    <a:lnTo>
                      <a:pt x="10062" y="4067"/>
                    </a:lnTo>
                    <a:lnTo>
                      <a:pt x="10060" y="4071"/>
                    </a:lnTo>
                    <a:lnTo>
                      <a:pt x="10058" y="4072"/>
                    </a:lnTo>
                    <a:lnTo>
                      <a:pt x="10057" y="4075"/>
                    </a:lnTo>
                    <a:lnTo>
                      <a:pt x="10057" y="4077"/>
                    </a:lnTo>
                    <a:lnTo>
                      <a:pt x="10058" y="4077"/>
                    </a:lnTo>
                    <a:lnTo>
                      <a:pt x="10060" y="4077"/>
                    </a:lnTo>
                    <a:lnTo>
                      <a:pt x="10063" y="4075"/>
                    </a:lnTo>
                    <a:lnTo>
                      <a:pt x="10071" y="4072"/>
                    </a:lnTo>
                    <a:lnTo>
                      <a:pt x="10068" y="4075"/>
                    </a:lnTo>
                    <a:lnTo>
                      <a:pt x="10065" y="4077"/>
                    </a:lnTo>
                    <a:lnTo>
                      <a:pt x="10062" y="4078"/>
                    </a:lnTo>
                    <a:lnTo>
                      <a:pt x="10060" y="4082"/>
                    </a:lnTo>
                    <a:lnTo>
                      <a:pt x="10058" y="4084"/>
                    </a:lnTo>
                    <a:lnTo>
                      <a:pt x="10058" y="4087"/>
                    </a:lnTo>
                    <a:lnTo>
                      <a:pt x="10060" y="4090"/>
                    </a:lnTo>
                    <a:lnTo>
                      <a:pt x="10063" y="4092"/>
                    </a:lnTo>
                    <a:lnTo>
                      <a:pt x="10065" y="4093"/>
                    </a:lnTo>
                    <a:lnTo>
                      <a:pt x="10070" y="4095"/>
                    </a:lnTo>
                    <a:lnTo>
                      <a:pt x="10073" y="4097"/>
                    </a:lnTo>
                    <a:lnTo>
                      <a:pt x="10077" y="4097"/>
                    </a:lnTo>
                    <a:lnTo>
                      <a:pt x="10080" y="4097"/>
                    </a:lnTo>
                    <a:lnTo>
                      <a:pt x="10077" y="4100"/>
                    </a:lnTo>
                    <a:lnTo>
                      <a:pt x="10071" y="4106"/>
                    </a:lnTo>
                    <a:lnTo>
                      <a:pt x="10077" y="4111"/>
                    </a:lnTo>
                    <a:lnTo>
                      <a:pt x="10083" y="4117"/>
                    </a:lnTo>
                    <a:lnTo>
                      <a:pt x="10090" y="4118"/>
                    </a:lnTo>
                    <a:lnTo>
                      <a:pt x="10098" y="4123"/>
                    </a:lnTo>
                    <a:lnTo>
                      <a:pt x="10103" y="4123"/>
                    </a:lnTo>
                    <a:lnTo>
                      <a:pt x="10110" y="4125"/>
                    </a:lnTo>
                    <a:lnTo>
                      <a:pt x="10123" y="4125"/>
                    </a:lnTo>
                    <a:lnTo>
                      <a:pt x="10124" y="4125"/>
                    </a:lnTo>
                    <a:lnTo>
                      <a:pt x="10126" y="4125"/>
                    </a:lnTo>
                    <a:lnTo>
                      <a:pt x="10129" y="4126"/>
                    </a:lnTo>
                    <a:lnTo>
                      <a:pt x="10129" y="4128"/>
                    </a:lnTo>
                    <a:lnTo>
                      <a:pt x="10129" y="4130"/>
                    </a:lnTo>
                    <a:lnTo>
                      <a:pt x="10129" y="4131"/>
                    </a:lnTo>
                    <a:lnTo>
                      <a:pt x="10126" y="4131"/>
                    </a:lnTo>
                    <a:lnTo>
                      <a:pt x="10123" y="4136"/>
                    </a:lnTo>
                    <a:lnTo>
                      <a:pt x="10117" y="4139"/>
                    </a:lnTo>
                    <a:lnTo>
                      <a:pt x="10111" y="4141"/>
                    </a:lnTo>
                    <a:lnTo>
                      <a:pt x="10117" y="4141"/>
                    </a:lnTo>
                    <a:lnTo>
                      <a:pt x="10124" y="4141"/>
                    </a:lnTo>
                    <a:lnTo>
                      <a:pt x="10131" y="4139"/>
                    </a:lnTo>
                    <a:lnTo>
                      <a:pt x="10137" y="4138"/>
                    </a:lnTo>
                    <a:lnTo>
                      <a:pt x="10144" y="4133"/>
                    </a:lnTo>
                    <a:lnTo>
                      <a:pt x="10151" y="4130"/>
                    </a:lnTo>
                    <a:lnTo>
                      <a:pt x="10156" y="4125"/>
                    </a:lnTo>
                    <a:lnTo>
                      <a:pt x="10156" y="4130"/>
                    </a:lnTo>
                    <a:lnTo>
                      <a:pt x="10154" y="4133"/>
                    </a:lnTo>
                    <a:lnTo>
                      <a:pt x="10151" y="4138"/>
                    </a:lnTo>
                    <a:lnTo>
                      <a:pt x="10147" y="4141"/>
                    </a:lnTo>
                    <a:lnTo>
                      <a:pt x="10145" y="4145"/>
                    </a:lnTo>
                    <a:lnTo>
                      <a:pt x="10141" y="4148"/>
                    </a:lnTo>
                    <a:lnTo>
                      <a:pt x="10139" y="4152"/>
                    </a:lnTo>
                    <a:lnTo>
                      <a:pt x="10139" y="4158"/>
                    </a:lnTo>
                    <a:lnTo>
                      <a:pt x="10145" y="4152"/>
                    </a:lnTo>
                    <a:lnTo>
                      <a:pt x="10149" y="4145"/>
                    </a:lnTo>
                    <a:lnTo>
                      <a:pt x="10152" y="4139"/>
                    </a:lnTo>
                    <a:lnTo>
                      <a:pt x="10156" y="4136"/>
                    </a:lnTo>
                    <a:lnTo>
                      <a:pt x="10160" y="4130"/>
                    </a:lnTo>
                    <a:lnTo>
                      <a:pt x="10164" y="4126"/>
                    </a:lnTo>
                    <a:lnTo>
                      <a:pt x="10167" y="4125"/>
                    </a:lnTo>
                    <a:lnTo>
                      <a:pt x="10175" y="4125"/>
                    </a:lnTo>
                    <a:lnTo>
                      <a:pt x="10172" y="4130"/>
                    </a:lnTo>
                    <a:lnTo>
                      <a:pt x="10170" y="4133"/>
                    </a:lnTo>
                    <a:lnTo>
                      <a:pt x="10169" y="4138"/>
                    </a:lnTo>
                    <a:lnTo>
                      <a:pt x="10165" y="4141"/>
                    </a:lnTo>
                    <a:lnTo>
                      <a:pt x="10162" y="4145"/>
                    </a:lnTo>
                    <a:lnTo>
                      <a:pt x="10160" y="4148"/>
                    </a:lnTo>
                    <a:lnTo>
                      <a:pt x="10156" y="4152"/>
                    </a:lnTo>
                    <a:lnTo>
                      <a:pt x="10156" y="4158"/>
                    </a:lnTo>
                    <a:lnTo>
                      <a:pt x="10156" y="4171"/>
                    </a:lnTo>
                    <a:lnTo>
                      <a:pt x="10156" y="4176"/>
                    </a:lnTo>
                    <a:lnTo>
                      <a:pt x="10154" y="4182"/>
                    </a:lnTo>
                    <a:lnTo>
                      <a:pt x="10152" y="4187"/>
                    </a:lnTo>
                    <a:lnTo>
                      <a:pt x="10149" y="4189"/>
                    </a:lnTo>
                    <a:lnTo>
                      <a:pt x="10145" y="4192"/>
                    </a:lnTo>
                    <a:lnTo>
                      <a:pt x="10149" y="4191"/>
                    </a:lnTo>
                    <a:lnTo>
                      <a:pt x="10152" y="4187"/>
                    </a:lnTo>
                    <a:lnTo>
                      <a:pt x="10156" y="4184"/>
                    </a:lnTo>
                    <a:lnTo>
                      <a:pt x="10160" y="4182"/>
                    </a:lnTo>
                    <a:lnTo>
                      <a:pt x="10164" y="4178"/>
                    </a:lnTo>
                    <a:lnTo>
                      <a:pt x="10167" y="4176"/>
                    </a:lnTo>
                    <a:lnTo>
                      <a:pt x="10175" y="4176"/>
                    </a:lnTo>
                    <a:lnTo>
                      <a:pt x="10172" y="4182"/>
                    </a:lnTo>
                    <a:lnTo>
                      <a:pt x="10170" y="4187"/>
                    </a:lnTo>
                    <a:lnTo>
                      <a:pt x="10169" y="4191"/>
                    </a:lnTo>
                    <a:lnTo>
                      <a:pt x="10165" y="4197"/>
                    </a:lnTo>
                    <a:lnTo>
                      <a:pt x="10162" y="4199"/>
                    </a:lnTo>
                    <a:lnTo>
                      <a:pt x="10156" y="4202"/>
                    </a:lnTo>
                    <a:lnTo>
                      <a:pt x="10145" y="4207"/>
                    </a:lnTo>
                    <a:lnTo>
                      <a:pt x="10134" y="4213"/>
                    </a:lnTo>
                    <a:lnTo>
                      <a:pt x="10123" y="4217"/>
                    </a:lnTo>
                    <a:lnTo>
                      <a:pt x="10117" y="4219"/>
                    </a:lnTo>
                    <a:lnTo>
                      <a:pt x="10114" y="4220"/>
                    </a:lnTo>
                    <a:lnTo>
                      <a:pt x="10108" y="4224"/>
                    </a:lnTo>
                    <a:lnTo>
                      <a:pt x="10104" y="4228"/>
                    </a:lnTo>
                    <a:lnTo>
                      <a:pt x="10110" y="4228"/>
                    </a:lnTo>
                    <a:lnTo>
                      <a:pt x="10116" y="4228"/>
                    </a:lnTo>
                    <a:lnTo>
                      <a:pt x="10119" y="4228"/>
                    </a:lnTo>
                    <a:lnTo>
                      <a:pt x="10123" y="4228"/>
                    </a:lnTo>
                    <a:lnTo>
                      <a:pt x="10124" y="4228"/>
                    </a:lnTo>
                    <a:lnTo>
                      <a:pt x="10129" y="4228"/>
                    </a:lnTo>
                    <a:lnTo>
                      <a:pt x="10136" y="4225"/>
                    </a:lnTo>
                    <a:lnTo>
                      <a:pt x="10141" y="4224"/>
                    </a:lnTo>
                    <a:lnTo>
                      <a:pt x="10147" y="4222"/>
                    </a:lnTo>
                    <a:lnTo>
                      <a:pt x="10154" y="4222"/>
                    </a:lnTo>
                    <a:lnTo>
                      <a:pt x="10162" y="4222"/>
                    </a:lnTo>
                    <a:lnTo>
                      <a:pt x="10167" y="4224"/>
                    </a:lnTo>
                    <a:lnTo>
                      <a:pt x="10175" y="4228"/>
                    </a:lnTo>
                    <a:lnTo>
                      <a:pt x="10172" y="4230"/>
                    </a:lnTo>
                    <a:lnTo>
                      <a:pt x="10172" y="4233"/>
                    </a:lnTo>
                    <a:lnTo>
                      <a:pt x="10170" y="4235"/>
                    </a:lnTo>
                    <a:lnTo>
                      <a:pt x="10169" y="4237"/>
                    </a:lnTo>
                    <a:lnTo>
                      <a:pt x="10164" y="4240"/>
                    </a:lnTo>
                    <a:lnTo>
                      <a:pt x="10156" y="4245"/>
                    </a:lnTo>
                    <a:lnTo>
                      <a:pt x="10151" y="4248"/>
                    </a:lnTo>
                    <a:lnTo>
                      <a:pt x="10145" y="4252"/>
                    </a:lnTo>
                    <a:lnTo>
                      <a:pt x="10144" y="4253"/>
                    </a:lnTo>
                    <a:lnTo>
                      <a:pt x="10141" y="4255"/>
                    </a:lnTo>
                    <a:lnTo>
                      <a:pt x="10139" y="4259"/>
                    </a:lnTo>
                    <a:lnTo>
                      <a:pt x="10139" y="4261"/>
                    </a:lnTo>
                    <a:lnTo>
                      <a:pt x="10147" y="4255"/>
                    </a:lnTo>
                    <a:lnTo>
                      <a:pt x="10154" y="4248"/>
                    </a:lnTo>
                    <a:lnTo>
                      <a:pt x="10165" y="4243"/>
                    </a:lnTo>
                    <a:lnTo>
                      <a:pt x="10177" y="4235"/>
                    </a:lnTo>
                    <a:lnTo>
                      <a:pt x="10187" y="4230"/>
                    </a:lnTo>
                    <a:lnTo>
                      <a:pt x="10200" y="4222"/>
                    </a:lnTo>
                    <a:lnTo>
                      <a:pt x="10225" y="4209"/>
                    </a:lnTo>
                    <a:lnTo>
                      <a:pt x="10225" y="4217"/>
                    </a:lnTo>
                    <a:lnTo>
                      <a:pt x="10223" y="4222"/>
                    </a:lnTo>
                    <a:lnTo>
                      <a:pt x="10218" y="4228"/>
                    </a:lnTo>
                    <a:lnTo>
                      <a:pt x="10213" y="4233"/>
                    </a:lnTo>
                    <a:lnTo>
                      <a:pt x="10210" y="4237"/>
                    </a:lnTo>
                    <a:lnTo>
                      <a:pt x="10205" y="4240"/>
                    </a:lnTo>
                    <a:lnTo>
                      <a:pt x="10197" y="4243"/>
                    </a:lnTo>
                    <a:lnTo>
                      <a:pt x="10191" y="4245"/>
                    </a:lnTo>
                    <a:lnTo>
                      <a:pt x="10195" y="4246"/>
                    </a:lnTo>
                    <a:lnTo>
                      <a:pt x="10198" y="4248"/>
                    </a:lnTo>
                    <a:lnTo>
                      <a:pt x="10202" y="4250"/>
                    </a:lnTo>
                    <a:lnTo>
                      <a:pt x="10206" y="4252"/>
                    </a:lnTo>
                    <a:lnTo>
                      <a:pt x="10211" y="4252"/>
                    </a:lnTo>
                    <a:lnTo>
                      <a:pt x="10215" y="4250"/>
                    </a:lnTo>
                    <a:lnTo>
                      <a:pt x="10221" y="4250"/>
                    </a:lnTo>
                    <a:lnTo>
                      <a:pt x="10225" y="4248"/>
                    </a:lnTo>
                    <a:lnTo>
                      <a:pt x="10236" y="4245"/>
                    </a:lnTo>
                    <a:lnTo>
                      <a:pt x="10244" y="4238"/>
                    </a:lnTo>
                    <a:lnTo>
                      <a:pt x="10252" y="4233"/>
                    </a:lnTo>
                    <a:lnTo>
                      <a:pt x="10259" y="4228"/>
                    </a:lnTo>
                    <a:lnTo>
                      <a:pt x="10259" y="4233"/>
                    </a:lnTo>
                    <a:lnTo>
                      <a:pt x="10256" y="4238"/>
                    </a:lnTo>
                    <a:lnTo>
                      <a:pt x="10255" y="4243"/>
                    </a:lnTo>
                    <a:lnTo>
                      <a:pt x="10258" y="4240"/>
                    </a:lnTo>
                    <a:lnTo>
                      <a:pt x="10267" y="4235"/>
                    </a:lnTo>
                    <a:lnTo>
                      <a:pt x="10276" y="4232"/>
                    </a:lnTo>
                    <a:lnTo>
                      <a:pt x="10284" y="4228"/>
                    </a:lnTo>
                    <a:lnTo>
                      <a:pt x="10289" y="4228"/>
                    </a:lnTo>
                    <a:lnTo>
                      <a:pt x="10294" y="4228"/>
                    </a:lnTo>
                    <a:lnTo>
                      <a:pt x="10292" y="4233"/>
                    </a:lnTo>
                    <a:lnTo>
                      <a:pt x="10291" y="4238"/>
                    </a:lnTo>
                    <a:lnTo>
                      <a:pt x="10287" y="4246"/>
                    </a:lnTo>
                    <a:lnTo>
                      <a:pt x="10284" y="4250"/>
                    </a:lnTo>
                    <a:lnTo>
                      <a:pt x="10278" y="4255"/>
                    </a:lnTo>
                    <a:lnTo>
                      <a:pt x="10285" y="4253"/>
                    </a:lnTo>
                    <a:lnTo>
                      <a:pt x="10291" y="4250"/>
                    </a:lnTo>
                    <a:lnTo>
                      <a:pt x="10298" y="4246"/>
                    </a:lnTo>
                    <a:lnTo>
                      <a:pt x="10304" y="4245"/>
                    </a:lnTo>
                    <a:lnTo>
                      <a:pt x="10312" y="4245"/>
                    </a:lnTo>
                    <a:lnTo>
                      <a:pt x="10309" y="4248"/>
                    </a:lnTo>
                    <a:lnTo>
                      <a:pt x="10307" y="4250"/>
                    </a:lnTo>
                    <a:lnTo>
                      <a:pt x="10305" y="4253"/>
                    </a:lnTo>
                    <a:lnTo>
                      <a:pt x="10305" y="4258"/>
                    </a:lnTo>
                    <a:lnTo>
                      <a:pt x="10305" y="4259"/>
                    </a:lnTo>
                    <a:lnTo>
                      <a:pt x="10307" y="4263"/>
                    </a:lnTo>
                    <a:lnTo>
                      <a:pt x="10309" y="4268"/>
                    </a:lnTo>
                    <a:lnTo>
                      <a:pt x="10309" y="4270"/>
                    </a:lnTo>
                    <a:lnTo>
                      <a:pt x="10309" y="4273"/>
                    </a:lnTo>
                    <a:lnTo>
                      <a:pt x="10309" y="4274"/>
                    </a:lnTo>
                    <a:lnTo>
                      <a:pt x="10309" y="4276"/>
                    </a:lnTo>
                    <a:lnTo>
                      <a:pt x="10307" y="4278"/>
                    </a:lnTo>
                    <a:lnTo>
                      <a:pt x="10304" y="4278"/>
                    </a:lnTo>
                    <a:lnTo>
                      <a:pt x="10300" y="4278"/>
                    </a:lnTo>
                    <a:lnTo>
                      <a:pt x="10294" y="4279"/>
                    </a:lnTo>
                    <a:lnTo>
                      <a:pt x="10300" y="4279"/>
                    </a:lnTo>
                    <a:lnTo>
                      <a:pt x="10309" y="4281"/>
                    </a:lnTo>
                    <a:lnTo>
                      <a:pt x="10318" y="4283"/>
                    </a:lnTo>
                    <a:lnTo>
                      <a:pt x="10328" y="4287"/>
                    </a:lnTo>
                    <a:lnTo>
                      <a:pt x="10337" y="4291"/>
                    </a:lnTo>
                    <a:lnTo>
                      <a:pt x="10346" y="4293"/>
                    </a:lnTo>
                    <a:lnTo>
                      <a:pt x="10355" y="4294"/>
                    </a:lnTo>
                    <a:lnTo>
                      <a:pt x="10363" y="4296"/>
                    </a:lnTo>
                    <a:lnTo>
                      <a:pt x="10366" y="4296"/>
                    </a:lnTo>
                    <a:lnTo>
                      <a:pt x="10370" y="4296"/>
                    </a:lnTo>
                    <a:lnTo>
                      <a:pt x="10376" y="4298"/>
                    </a:lnTo>
                    <a:lnTo>
                      <a:pt x="10381" y="4298"/>
                    </a:lnTo>
                    <a:lnTo>
                      <a:pt x="10392" y="4302"/>
                    </a:lnTo>
                    <a:lnTo>
                      <a:pt x="10404" y="4304"/>
                    </a:lnTo>
                    <a:lnTo>
                      <a:pt x="10414" y="4307"/>
                    </a:lnTo>
                    <a:lnTo>
                      <a:pt x="10419" y="4309"/>
                    </a:lnTo>
                    <a:lnTo>
                      <a:pt x="10424" y="4311"/>
                    </a:lnTo>
                    <a:lnTo>
                      <a:pt x="10427" y="4311"/>
                    </a:lnTo>
                    <a:lnTo>
                      <a:pt x="10429" y="4312"/>
                    </a:lnTo>
                    <a:lnTo>
                      <a:pt x="10431" y="4312"/>
                    </a:lnTo>
                    <a:lnTo>
                      <a:pt x="10435" y="4316"/>
                    </a:lnTo>
                    <a:lnTo>
                      <a:pt x="10439" y="4319"/>
                    </a:lnTo>
                    <a:lnTo>
                      <a:pt x="10442" y="4320"/>
                    </a:lnTo>
                    <a:lnTo>
                      <a:pt x="10448" y="4320"/>
                    </a:lnTo>
                    <a:lnTo>
                      <a:pt x="10457" y="4322"/>
                    </a:lnTo>
                    <a:lnTo>
                      <a:pt x="10466" y="4322"/>
                    </a:lnTo>
                    <a:lnTo>
                      <a:pt x="10475" y="4322"/>
                    </a:lnTo>
                    <a:lnTo>
                      <a:pt x="10485" y="4322"/>
                    </a:lnTo>
                    <a:lnTo>
                      <a:pt x="10488" y="4324"/>
                    </a:lnTo>
                    <a:lnTo>
                      <a:pt x="10494" y="4326"/>
                    </a:lnTo>
                    <a:lnTo>
                      <a:pt x="10498" y="4327"/>
                    </a:lnTo>
                    <a:lnTo>
                      <a:pt x="10501" y="4331"/>
                    </a:lnTo>
                    <a:lnTo>
                      <a:pt x="10498" y="4337"/>
                    </a:lnTo>
                    <a:lnTo>
                      <a:pt x="10494" y="4340"/>
                    </a:lnTo>
                    <a:lnTo>
                      <a:pt x="10490" y="4344"/>
                    </a:lnTo>
                    <a:lnTo>
                      <a:pt x="10486" y="4348"/>
                    </a:lnTo>
                    <a:lnTo>
                      <a:pt x="10485" y="4350"/>
                    </a:lnTo>
                    <a:lnTo>
                      <a:pt x="10481" y="4352"/>
                    </a:lnTo>
                    <a:lnTo>
                      <a:pt x="10473" y="4353"/>
                    </a:lnTo>
                    <a:lnTo>
                      <a:pt x="10468" y="4355"/>
                    </a:lnTo>
                    <a:lnTo>
                      <a:pt x="10460" y="4357"/>
                    </a:lnTo>
                    <a:lnTo>
                      <a:pt x="10459" y="4357"/>
                    </a:lnTo>
                    <a:lnTo>
                      <a:pt x="10455" y="4359"/>
                    </a:lnTo>
                    <a:lnTo>
                      <a:pt x="10452" y="4360"/>
                    </a:lnTo>
                    <a:lnTo>
                      <a:pt x="10450" y="4365"/>
                    </a:lnTo>
                    <a:lnTo>
                      <a:pt x="10452" y="4365"/>
                    </a:lnTo>
                    <a:lnTo>
                      <a:pt x="10453" y="4365"/>
                    </a:lnTo>
                    <a:lnTo>
                      <a:pt x="10457" y="4365"/>
                    </a:lnTo>
                    <a:lnTo>
                      <a:pt x="10460" y="4365"/>
                    </a:lnTo>
                    <a:lnTo>
                      <a:pt x="10463" y="4365"/>
                    </a:lnTo>
                    <a:lnTo>
                      <a:pt x="10465" y="4365"/>
                    </a:lnTo>
                    <a:lnTo>
                      <a:pt x="10466" y="4365"/>
                    </a:lnTo>
                    <a:lnTo>
                      <a:pt x="10463" y="4368"/>
                    </a:lnTo>
                    <a:lnTo>
                      <a:pt x="10459" y="4370"/>
                    </a:lnTo>
                    <a:lnTo>
                      <a:pt x="10455" y="4370"/>
                    </a:lnTo>
                    <a:lnTo>
                      <a:pt x="10450" y="4372"/>
                    </a:lnTo>
                    <a:lnTo>
                      <a:pt x="10445" y="4372"/>
                    </a:lnTo>
                    <a:lnTo>
                      <a:pt x="10440" y="4372"/>
                    </a:lnTo>
                    <a:lnTo>
                      <a:pt x="10431" y="4370"/>
                    </a:lnTo>
                    <a:lnTo>
                      <a:pt x="10422" y="4368"/>
                    </a:lnTo>
                    <a:lnTo>
                      <a:pt x="10412" y="4367"/>
                    </a:lnTo>
                    <a:lnTo>
                      <a:pt x="10404" y="4365"/>
                    </a:lnTo>
                    <a:lnTo>
                      <a:pt x="10398" y="4365"/>
                    </a:lnTo>
                    <a:lnTo>
                      <a:pt x="10385" y="4370"/>
                    </a:lnTo>
                    <a:lnTo>
                      <a:pt x="10374" y="4378"/>
                    </a:lnTo>
                    <a:lnTo>
                      <a:pt x="10365" y="4383"/>
                    </a:lnTo>
                    <a:lnTo>
                      <a:pt x="10355" y="4388"/>
                    </a:lnTo>
                    <a:lnTo>
                      <a:pt x="10348" y="4393"/>
                    </a:lnTo>
                    <a:lnTo>
                      <a:pt x="10341" y="4396"/>
                    </a:lnTo>
                    <a:lnTo>
                      <a:pt x="10335" y="4398"/>
                    </a:lnTo>
                    <a:lnTo>
                      <a:pt x="10328" y="4400"/>
                    </a:lnTo>
                    <a:lnTo>
                      <a:pt x="10307" y="4405"/>
                    </a:lnTo>
                    <a:lnTo>
                      <a:pt x="10287" y="4413"/>
                    </a:lnTo>
                    <a:lnTo>
                      <a:pt x="10265" y="4418"/>
                    </a:lnTo>
                    <a:lnTo>
                      <a:pt x="10243" y="4421"/>
                    </a:lnTo>
                    <a:lnTo>
                      <a:pt x="10218" y="4427"/>
                    </a:lnTo>
                    <a:lnTo>
                      <a:pt x="10197" y="4431"/>
                    </a:lnTo>
                    <a:lnTo>
                      <a:pt x="10177" y="4433"/>
                    </a:lnTo>
                    <a:lnTo>
                      <a:pt x="10156" y="4433"/>
                    </a:lnTo>
                    <a:lnTo>
                      <a:pt x="10156" y="4434"/>
                    </a:lnTo>
                    <a:lnTo>
                      <a:pt x="10157" y="4436"/>
                    </a:lnTo>
                    <a:lnTo>
                      <a:pt x="10160" y="4436"/>
                    </a:lnTo>
                    <a:lnTo>
                      <a:pt x="10164" y="4439"/>
                    </a:lnTo>
                    <a:lnTo>
                      <a:pt x="10167" y="4439"/>
                    </a:lnTo>
                    <a:lnTo>
                      <a:pt x="10170" y="4439"/>
                    </a:lnTo>
                    <a:lnTo>
                      <a:pt x="10175" y="4439"/>
                    </a:lnTo>
                    <a:lnTo>
                      <a:pt x="10180" y="4439"/>
                    </a:lnTo>
                    <a:lnTo>
                      <a:pt x="10185" y="4436"/>
                    </a:lnTo>
                    <a:lnTo>
                      <a:pt x="10193" y="4436"/>
                    </a:lnTo>
                    <a:lnTo>
                      <a:pt x="10206" y="4434"/>
                    </a:lnTo>
                    <a:lnTo>
                      <a:pt x="10221" y="4433"/>
                    </a:lnTo>
                    <a:lnTo>
                      <a:pt x="10236" y="4429"/>
                    </a:lnTo>
                    <a:lnTo>
                      <a:pt x="10252" y="4426"/>
                    </a:lnTo>
                    <a:lnTo>
                      <a:pt x="10267" y="4421"/>
                    </a:lnTo>
                    <a:lnTo>
                      <a:pt x="10282" y="4418"/>
                    </a:lnTo>
                    <a:lnTo>
                      <a:pt x="10294" y="4414"/>
                    </a:lnTo>
                    <a:lnTo>
                      <a:pt x="10300" y="4413"/>
                    </a:lnTo>
                    <a:lnTo>
                      <a:pt x="10305" y="4411"/>
                    </a:lnTo>
                    <a:lnTo>
                      <a:pt x="10312" y="4409"/>
                    </a:lnTo>
                    <a:lnTo>
                      <a:pt x="10315" y="4407"/>
                    </a:lnTo>
                    <a:lnTo>
                      <a:pt x="10318" y="4405"/>
                    </a:lnTo>
                    <a:lnTo>
                      <a:pt x="10328" y="4400"/>
                    </a:lnTo>
                    <a:lnTo>
                      <a:pt x="10326" y="4401"/>
                    </a:lnTo>
                    <a:lnTo>
                      <a:pt x="10324" y="4403"/>
                    </a:lnTo>
                    <a:lnTo>
                      <a:pt x="10320" y="4405"/>
                    </a:lnTo>
                    <a:lnTo>
                      <a:pt x="10317" y="4406"/>
                    </a:lnTo>
                    <a:lnTo>
                      <a:pt x="10315" y="4407"/>
                    </a:lnTo>
                    <a:lnTo>
                      <a:pt x="10307" y="4413"/>
                    </a:lnTo>
                    <a:lnTo>
                      <a:pt x="10294" y="4418"/>
                    </a:lnTo>
                    <a:lnTo>
                      <a:pt x="10282" y="4424"/>
                    </a:lnTo>
                    <a:lnTo>
                      <a:pt x="10269" y="4431"/>
                    </a:lnTo>
                    <a:lnTo>
                      <a:pt x="10254" y="4436"/>
                    </a:lnTo>
                    <a:lnTo>
                      <a:pt x="10225" y="4446"/>
                    </a:lnTo>
                    <a:lnTo>
                      <a:pt x="10211" y="4451"/>
                    </a:lnTo>
                    <a:lnTo>
                      <a:pt x="10197" y="4455"/>
                    </a:lnTo>
                    <a:lnTo>
                      <a:pt x="10182" y="4459"/>
                    </a:lnTo>
                    <a:lnTo>
                      <a:pt x="10169" y="4462"/>
                    </a:lnTo>
                    <a:lnTo>
                      <a:pt x="10156" y="4464"/>
                    </a:lnTo>
                    <a:lnTo>
                      <a:pt x="10144" y="4466"/>
                    </a:lnTo>
                    <a:lnTo>
                      <a:pt x="10132" y="4467"/>
                    </a:lnTo>
                    <a:lnTo>
                      <a:pt x="10123" y="4467"/>
                    </a:lnTo>
                    <a:lnTo>
                      <a:pt x="10114" y="4467"/>
                    </a:lnTo>
                    <a:lnTo>
                      <a:pt x="10104" y="4470"/>
                    </a:lnTo>
                    <a:lnTo>
                      <a:pt x="10098" y="4472"/>
                    </a:lnTo>
                    <a:lnTo>
                      <a:pt x="10091" y="4474"/>
                    </a:lnTo>
                    <a:lnTo>
                      <a:pt x="10086" y="4477"/>
                    </a:lnTo>
                    <a:lnTo>
                      <a:pt x="10080" y="4479"/>
                    </a:lnTo>
                    <a:lnTo>
                      <a:pt x="10073" y="4487"/>
                    </a:lnTo>
                    <a:lnTo>
                      <a:pt x="10063" y="4495"/>
                    </a:lnTo>
                    <a:lnTo>
                      <a:pt x="10057" y="4505"/>
                    </a:lnTo>
                    <a:lnTo>
                      <a:pt x="10053" y="4508"/>
                    </a:lnTo>
                    <a:lnTo>
                      <a:pt x="10047" y="4512"/>
                    </a:lnTo>
                    <a:lnTo>
                      <a:pt x="10042" y="4516"/>
                    </a:lnTo>
                    <a:lnTo>
                      <a:pt x="10037" y="4520"/>
                    </a:lnTo>
                    <a:lnTo>
                      <a:pt x="10032" y="4520"/>
                    </a:lnTo>
                    <a:lnTo>
                      <a:pt x="10029" y="4518"/>
                    </a:lnTo>
                    <a:lnTo>
                      <a:pt x="10024" y="4516"/>
                    </a:lnTo>
                    <a:lnTo>
                      <a:pt x="10021" y="4515"/>
                    </a:lnTo>
                    <a:lnTo>
                      <a:pt x="10025" y="4518"/>
                    </a:lnTo>
                    <a:lnTo>
                      <a:pt x="10027" y="4521"/>
                    </a:lnTo>
                    <a:lnTo>
                      <a:pt x="10030" y="4523"/>
                    </a:lnTo>
                    <a:lnTo>
                      <a:pt x="10032" y="4527"/>
                    </a:lnTo>
                    <a:lnTo>
                      <a:pt x="10034" y="4531"/>
                    </a:lnTo>
                    <a:lnTo>
                      <a:pt x="10037" y="4533"/>
                    </a:lnTo>
                    <a:lnTo>
                      <a:pt x="10037" y="4536"/>
                    </a:lnTo>
                    <a:lnTo>
                      <a:pt x="10032" y="4538"/>
                    </a:lnTo>
                    <a:lnTo>
                      <a:pt x="10030" y="4538"/>
                    </a:lnTo>
                    <a:lnTo>
                      <a:pt x="10025" y="4540"/>
                    </a:lnTo>
                    <a:lnTo>
                      <a:pt x="10022" y="4540"/>
                    </a:lnTo>
                    <a:lnTo>
                      <a:pt x="10016" y="4541"/>
                    </a:lnTo>
                    <a:lnTo>
                      <a:pt x="10007" y="4546"/>
                    </a:lnTo>
                    <a:lnTo>
                      <a:pt x="10001" y="4548"/>
                    </a:lnTo>
                    <a:lnTo>
                      <a:pt x="9997" y="4549"/>
                    </a:lnTo>
                    <a:lnTo>
                      <a:pt x="9994" y="4549"/>
                    </a:lnTo>
                    <a:lnTo>
                      <a:pt x="9992" y="4551"/>
                    </a:lnTo>
                    <a:lnTo>
                      <a:pt x="9992" y="4553"/>
                    </a:lnTo>
                    <a:lnTo>
                      <a:pt x="9994" y="4553"/>
                    </a:lnTo>
                    <a:lnTo>
                      <a:pt x="9996" y="4553"/>
                    </a:lnTo>
                    <a:lnTo>
                      <a:pt x="9999" y="4553"/>
                    </a:lnTo>
                    <a:lnTo>
                      <a:pt x="10001" y="4554"/>
                    </a:lnTo>
                    <a:lnTo>
                      <a:pt x="10001" y="4561"/>
                    </a:lnTo>
                    <a:lnTo>
                      <a:pt x="9999" y="4564"/>
                    </a:lnTo>
                    <a:lnTo>
                      <a:pt x="9996" y="4567"/>
                    </a:lnTo>
                    <a:lnTo>
                      <a:pt x="9994" y="4569"/>
                    </a:lnTo>
                    <a:lnTo>
                      <a:pt x="9997" y="4569"/>
                    </a:lnTo>
                    <a:lnTo>
                      <a:pt x="10003" y="4567"/>
                    </a:lnTo>
                    <a:lnTo>
                      <a:pt x="10014" y="4564"/>
                    </a:lnTo>
                    <a:lnTo>
                      <a:pt x="10027" y="4561"/>
                    </a:lnTo>
                    <a:lnTo>
                      <a:pt x="10040" y="4554"/>
                    </a:lnTo>
                    <a:lnTo>
                      <a:pt x="10053" y="4549"/>
                    </a:lnTo>
                    <a:lnTo>
                      <a:pt x="10058" y="4546"/>
                    </a:lnTo>
                    <a:lnTo>
                      <a:pt x="10062" y="4543"/>
                    </a:lnTo>
                    <a:lnTo>
                      <a:pt x="10068" y="4540"/>
                    </a:lnTo>
                    <a:lnTo>
                      <a:pt x="10071" y="4536"/>
                    </a:lnTo>
                    <a:lnTo>
                      <a:pt x="10077" y="4531"/>
                    </a:lnTo>
                    <a:lnTo>
                      <a:pt x="10083" y="4527"/>
                    </a:lnTo>
                    <a:lnTo>
                      <a:pt x="10090" y="4523"/>
                    </a:lnTo>
                    <a:lnTo>
                      <a:pt x="10098" y="4521"/>
                    </a:lnTo>
                    <a:lnTo>
                      <a:pt x="10103" y="4520"/>
                    </a:lnTo>
                    <a:lnTo>
                      <a:pt x="10110" y="4520"/>
                    </a:lnTo>
                    <a:lnTo>
                      <a:pt x="10123" y="4520"/>
                    </a:lnTo>
                    <a:lnTo>
                      <a:pt x="10129" y="4513"/>
                    </a:lnTo>
                    <a:lnTo>
                      <a:pt x="10134" y="4508"/>
                    </a:lnTo>
                    <a:lnTo>
                      <a:pt x="10141" y="4507"/>
                    </a:lnTo>
                    <a:lnTo>
                      <a:pt x="10147" y="4505"/>
                    </a:lnTo>
                    <a:lnTo>
                      <a:pt x="10154" y="4503"/>
                    </a:lnTo>
                    <a:lnTo>
                      <a:pt x="10160" y="4503"/>
                    </a:lnTo>
                    <a:lnTo>
                      <a:pt x="10175" y="4503"/>
                    </a:lnTo>
                    <a:lnTo>
                      <a:pt x="10177" y="4501"/>
                    </a:lnTo>
                    <a:lnTo>
                      <a:pt x="10182" y="4500"/>
                    </a:lnTo>
                    <a:lnTo>
                      <a:pt x="10185" y="4497"/>
                    </a:lnTo>
                    <a:lnTo>
                      <a:pt x="10191" y="4494"/>
                    </a:lnTo>
                    <a:lnTo>
                      <a:pt x="10198" y="4490"/>
                    </a:lnTo>
                    <a:lnTo>
                      <a:pt x="10205" y="4487"/>
                    </a:lnTo>
                    <a:lnTo>
                      <a:pt x="10217" y="4477"/>
                    </a:lnTo>
                    <a:lnTo>
                      <a:pt x="10230" y="4466"/>
                    </a:lnTo>
                    <a:lnTo>
                      <a:pt x="10236" y="4462"/>
                    </a:lnTo>
                    <a:lnTo>
                      <a:pt x="10241" y="4459"/>
                    </a:lnTo>
                    <a:lnTo>
                      <a:pt x="10246" y="4455"/>
                    </a:lnTo>
                    <a:lnTo>
                      <a:pt x="10252" y="4454"/>
                    </a:lnTo>
                    <a:lnTo>
                      <a:pt x="10256" y="4451"/>
                    </a:lnTo>
                    <a:lnTo>
                      <a:pt x="10259" y="4451"/>
                    </a:lnTo>
                    <a:lnTo>
                      <a:pt x="10267" y="4449"/>
                    </a:lnTo>
                    <a:lnTo>
                      <a:pt x="10272" y="4447"/>
                    </a:lnTo>
                    <a:lnTo>
                      <a:pt x="10280" y="4446"/>
                    </a:lnTo>
                    <a:lnTo>
                      <a:pt x="10287" y="4442"/>
                    </a:lnTo>
                    <a:lnTo>
                      <a:pt x="10297" y="4439"/>
                    </a:lnTo>
                    <a:lnTo>
                      <a:pt x="10305" y="4436"/>
                    </a:lnTo>
                    <a:lnTo>
                      <a:pt x="10317" y="4434"/>
                    </a:lnTo>
                    <a:lnTo>
                      <a:pt x="10328" y="4433"/>
                    </a:lnTo>
                    <a:lnTo>
                      <a:pt x="10341" y="4433"/>
                    </a:lnTo>
                    <a:lnTo>
                      <a:pt x="10348" y="4433"/>
                    </a:lnTo>
                    <a:lnTo>
                      <a:pt x="10353" y="4431"/>
                    </a:lnTo>
                    <a:lnTo>
                      <a:pt x="10361" y="4429"/>
                    </a:lnTo>
                    <a:lnTo>
                      <a:pt x="10366" y="4426"/>
                    </a:lnTo>
                    <a:lnTo>
                      <a:pt x="10374" y="4421"/>
                    </a:lnTo>
                    <a:lnTo>
                      <a:pt x="10379" y="4416"/>
                    </a:lnTo>
                    <a:lnTo>
                      <a:pt x="10353" y="4416"/>
                    </a:lnTo>
                    <a:lnTo>
                      <a:pt x="10328" y="4416"/>
                    </a:lnTo>
                    <a:lnTo>
                      <a:pt x="10330" y="4411"/>
                    </a:lnTo>
                    <a:lnTo>
                      <a:pt x="10332" y="4405"/>
                    </a:lnTo>
                    <a:lnTo>
                      <a:pt x="10333" y="4401"/>
                    </a:lnTo>
                    <a:lnTo>
                      <a:pt x="10337" y="4400"/>
                    </a:lnTo>
                    <a:lnTo>
                      <a:pt x="10341" y="4398"/>
                    </a:lnTo>
                    <a:lnTo>
                      <a:pt x="10346" y="4396"/>
                    </a:lnTo>
                    <a:lnTo>
                      <a:pt x="10351" y="4394"/>
                    </a:lnTo>
                    <a:lnTo>
                      <a:pt x="10359" y="4394"/>
                    </a:lnTo>
                    <a:lnTo>
                      <a:pt x="10372" y="4396"/>
                    </a:lnTo>
                    <a:lnTo>
                      <a:pt x="10387" y="4398"/>
                    </a:lnTo>
                    <a:lnTo>
                      <a:pt x="10399" y="4398"/>
                    </a:lnTo>
                    <a:lnTo>
                      <a:pt x="10414" y="4400"/>
                    </a:lnTo>
                    <a:lnTo>
                      <a:pt x="10414" y="4401"/>
                    </a:lnTo>
                    <a:lnTo>
                      <a:pt x="10416" y="4403"/>
                    </a:lnTo>
                    <a:lnTo>
                      <a:pt x="10419" y="4405"/>
                    </a:lnTo>
                    <a:lnTo>
                      <a:pt x="10420" y="4406"/>
                    </a:lnTo>
                    <a:lnTo>
                      <a:pt x="10425" y="4406"/>
                    </a:lnTo>
                    <a:lnTo>
                      <a:pt x="10431" y="4406"/>
                    </a:lnTo>
                    <a:lnTo>
                      <a:pt x="10439" y="4406"/>
                    </a:lnTo>
                    <a:lnTo>
                      <a:pt x="10444" y="4409"/>
                    </a:lnTo>
                    <a:lnTo>
                      <a:pt x="10445" y="4411"/>
                    </a:lnTo>
                    <a:lnTo>
                      <a:pt x="10448" y="4411"/>
                    </a:lnTo>
                    <a:lnTo>
                      <a:pt x="10448" y="4413"/>
                    </a:lnTo>
                    <a:lnTo>
                      <a:pt x="10450" y="4416"/>
                    </a:lnTo>
                    <a:lnTo>
                      <a:pt x="10452" y="4416"/>
                    </a:lnTo>
                    <a:lnTo>
                      <a:pt x="10455" y="4418"/>
                    </a:lnTo>
                    <a:lnTo>
                      <a:pt x="10457" y="4420"/>
                    </a:lnTo>
                    <a:lnTo>
                      <a:pt x="10459" y="4421"/>
                    </a:lnTo>
                    <a:lnTo>
                      <a:pt x="10460" y="4426"/>
                    </a:lnTo>
                    <a:lnTo>
                      <a:pt x="10463" y="4427"/>
                    </a:lnTo>
                    <a:lnTo>
                      <a:pt x="10466" y="4434"/>
                    </a:lnTo>
                    <a:lnTo>
                      <a:pt x="10470" y="4444"/>
                    </a:lnTo>
                    <a:lnTo>
                      <a:pt x="10473" y="4454"/>
                    </a:lnTo>
                    <a:lnTo>
                      <a:pt x="10477" y="4460"/>
                    </a:lnTo>
                    <a:lnTo>
                      <a:pt x="10483" y="4467"/>
                    </a:lnTo>
                    <a:lnTo>
                      <a:pt x="10470" y="4474"/>
                    </a:lnTo>
                    <a:lnTo>
                      <a:pt x="10460" y="4480"/>
                    </a:lnTo>
                    <a:lnTo>
                      <a:pt x="10450" y="4487"/>
                    </a:lnTo>
                    <a:lnTo>
                      <a:pt x="10440" y="4492"/>
                    </a:lnTo>
                    <a:lnTo>
                      <a:pt x="10431" y="4495"/>
                    </a:lnTo>
                    <a:lnTo>
                      <a:pt x="10420" y="4500"/>
                    </a:lnTo>
                    <a:lnTo>
                      <a:pt x="10409" y="4501"/>
                    </a:lnTo>
                    <a:lnTo>
                      <a:pt x="10398" y="4503"/>
                    </a:lnTo>
                    <a:lnTo>
                      <a:pt x="10404" y="4503"/>
                    </a:lnTo>
                    <a:lnTo>
                      <a:pt x="10409" y="4503"/>
                    </a:lnTo>
                    <a:lnTo>
                      <a:pt x="10414" y="4503"/>
                    </a:lnTo>
                    <a:lnTo>
                      <a:pt x="10419" y="4505"/>
                    </a:lnTo>
                    <a:lnTo>
                      <a:pt x="10420" y="4505"/>
                    </a:lnTo>
                    <a:lnTo>
                      <a:pt x="10420" y="4507"/>
                    </a:lnTo>
                    <a:lnTo>
                      <a:pt x="10422" y="4508"/>
                    </a:lnTo>
                    <a:lnTo>
                      <a:pt x="10420" y="4510"/>
                    </a:lnTo>
                    <a:lnTo>
                      <a:pt x="10419" y="4513"/>
                    </a:lnTo>
                    <a:lnTo>
                      <a:pt x="10416" y="4516"/>
                    </a:lnTo>
                    <a:lnTo>
                      <a:pt x="10414" y="4520"/>
                    </a:lnTo>
                    <a:lnTo>
                      <a:pt x="10420" y="4521"/>
                    </a:lnTo>
                    <a:lnTo>
                      <a:pt x="10425" y="4523"/>
                    </a:lnTo>
                    <a:lnTo>
                      <a:pt x="10431" y="4523"/>
                    </a:lnTo>
                    <a:lnTo>
                      <a:pt x="10437" y="4523"/>
                    </a:lnTo>
                    <a:lnTo>
                      <a:pt x="10442" y="4523"/>
                    </a:lnTo>
                    <a:lnTo>
                      <a:pt x="10445" y="4521"/>
                    </a:lnTo>
                    <a:lnTo>
                      <a:pt x="10452" y="4518"/>
                    </a:lnTo>
                    <a:lnTo>
                      <a:pt x="10455" y="4516"/>
                    </a:lnTo>
                    <a:lnTo>
                      <a:pt x="10463" y="4508"/>
                    </a:lnTo>
                    <a:lnTo>
                      <a:pt x="10470" y="4500"/>
                    </a:lnTo>
                    <a:lnTo>
                      <a:pt x="10477" y="4492"/>
                    </a:lnTo>
                    <a:lnTo>
                      <a:pt x="10483" y="4485"/>
                    </a:lnTo>
                    <a:lnTo>
                      <a:pt x="10490" y="4487"/>
                    </a:lnTo>
                    <a:lnTo>
                      <a:pt x="10499" y="4488"/>
                    </a:lnTo>
                    <a:lnTo>
                      <a:pt x="10509" y="4490"/>
                    </a:lnTo>
                    <a:lnTo>
                      <a:pt x="10518" y="4492"/>
                    </a:lnTo>
                    <a:lnTo>
                      <a:pt x="10527" y="4492"/>
                    </a:lnTo>
                    <a:lnTo>
                      <a:pt x="10531" y="4492"/>
                    </a:lnTo>
                    <a:lnTo>
                      <a:pt x="10536" y="4492"/>
                    </a:lnTo>
                    <a:lnTo>
                      <a:pt x="10534" y="4494"/>
                    </a:lnTo>
                    <a:lnTo>
                      <a:pt x="10531" y="4497"/>
                    </a:lnTo>
                    <a:lnTo>
                      <a:pt x="10527" y="4500"/>
                    </a:lnTo>
                    <a:lnTo>
                      <a:pt x="10524" y="4501"/>
                    </a:lnTo>
                    <a:lnTo>
                      <a:pt x="10518" y="4503"/>
                    </a:lnTo>
                    <a:lnTo>
                      <a:pt x="10526" y="4508"/>
                    </a:lnTo>
                    <a:lnTo>
                      <a:pt x="10532" y="4512"/>
                    </a:lnTo>
                    <a:lnTo>
                      <a:pt x="10544" y="4516"/>
                    </a:lnTo>
                    <a:lnTo>
                      <a:pt x="10555" y="4518"/>
                    </a:lnTo>
                    <a:lnTo>
                      <a:pt x="10566" y="4518"/>
                    </a:lnTo>
                    <a:lnTo>
                      <a:pt x="10579" y="4520"/>
                    </a:lnTo>
                    <a:lnTo>
                      <a:pt x="10593" y="4520"/>
                    </a:lnTo>
                    <a:lnTo>
                      <a:pt x="10590" y="4521"/>
                    </a:lnTo>
                    <a:lnTo>
                      <a:pt x="10588" y="4521"/>
                    </a:lnTo>
                    <a:lnTo>
                      <a:pt x="10588" y="4523"/>
                    </a:lnTo>
                    <a:lnTo>
                      <a:pt x="10588" y="4525"/>
                    </a:lnTo>
                    <a:lnTo>
                      <a:pt x="10588" y="4527"/>
                    </a:lnTo>
                    <a:lnTo>
                      <a:pt x="10588" y="4531"/>
                    </a:lnTo>
                    <a:lnTo>
                      <a:pt x="10590" y="4536"/>
                    </a:lnTo>
                    <a:lnTo>
                      <a:pt x="10592" y="4538"/>
                    </a:lnTo>
                    <a:lnTo>
                      <a:pt x="10592" y="4541"/>
                    </a:lnTo>
                    <a:lnTo>
                      <a:pt x="10592" y="4543"/>
                    </a:lnTo>
                    <a:lnTo>
                      <a:pt x="10590" y="4548"/>
                    </a:lnTo>
                    <a:lnTo>
                      <a:pt x="10588" y="4551"/>
                    </a:lnTo>
                    <a:lnTo>
                      <a:pt x="10587" y="4554"/>
                    </a:lnTo>
                    <a:lnTo>
                      <a:pt x="10592" y="4551"/>
                    </a:lnTo>
                    <a:lnTo>
                      <a:pt x="10597" y="4549"/>
                    </a:lnTo>
                    <a:lnTo>
                      <a:pt x="10603" y="4549"/>
                    </a:lnTo>
                    <a:lnTo>
                      <a:pt x="10606" y="4549"/>
                    </a:lnTo>
                    <a:lnTo>
                      <a:pt x="10608" y="4551"/>
                    </a:lnTo>
                    <a:lnTo>
                      <a:pt x="10612" y="4553"/>
                    </a:lnTo>
                    <a:lnTo>
                      <a:pt x="10612" y="4554"/>
                    </a:lnTo>
                    <a:lnTo>
                      <a:pt x="10613" y="4558"/>
                    </a:lnTo>
                    <a:lnTo>
                      <a:pt x="10613" y="4562"/>
                    </a:lnTo>
                    <a:lnTo>
                      <a:pt x="10613" y="4566"/>
                    </a:lnTo>
                    <a:lnTo>
                      <a:pt x="10613" y="4569"/>
                    </a:lnTo>
                    <a:lnTo>
                      <a:pt x="10612" y="4573"/>
                    </a:lnTo>
                    <a:lnTo>
                      <a:pt x="10610" y="4577"/>
                    </a:lnTo>
                    <a:lnTo>
                      <a:pt x="10608" y="4581"/>
                    </a:lnTo>
                    <a:lnTo>
                      <a:pt x="10603" y="4587"/>
                    </a:lnTo>
                    <a:lnTo>
                      <a:pt x="10603" y="4592"/>
                    </a:lnTo>
                    <a:lnTo>
                      <a:pt x="10601" y="4594"/>
                    </a:lnTo>
                    <a:lnTo>
                      <a:pt x="10601" y="4595"/>
                    </a:lnTo>
                    <a:lnTo>
                      <a:pt x="10597" y="4599"/>
                    </a:lnTo>
                    <a:lnTo>
                      <a:pt x="10595" y="4599"/>
                    </a:lnTo>
                    <a:lnTo>
                      <a:pt x="10592" y="4601"/>
                    </a:lnTo>
                    <a:lnTo>
                      <a:pt x="10585" y="4602"/>
                    </a:lnTo>
                    <a:lnTo>
                      <a:pt x="10575" y="4604"/>
                    </a:lnTo>
                    <a:lnTo>
                      <a:pt x="10567" y="4604"/>
                    </a:lnTo>
                    <a:lnTo>
                      <a:pt x="10559" y="4607"/>
                    </a:lnTo>
                    <a:lnTo>
                      <a:pt x="10551" y="4607"/>
                    </a:lnTo>
                    <a:lnTo>
                      <a:pt x="10559" y="4608"/>
                    </a:lnTo>
                    <a:lnTo>
                      <a:pt x="10562" y="4612"/>
                    </a:lnTo>
                    <a:lnTo>
                      <a:pt x="10567" y="4617"/>
                    </a:lnTo>
                    <a:lnTo>
                      <a:pt x="10572" y="4622"/>
                    </a:lnTo>
                    <a:lnTo>
                      <a:pt x="10573" y="4625"/>
                    </a:lnTo>
                    <a:lnTo>
                      <a:pt x="10575" y="4628"/>
                    </a:lnTo>
                    <a:lnTo>
                      <a:pt x="10575" y="4634"/>
                    </a:lnTo>
                    <a:lnTo>
                      <a:pt x="10575" y="4638"/>
                    </a:lnTo>
                    <a:lnTo>
                      <a:pt x="10573" y="4641"/>
                    </a:lnTo>
                    <a:lnTo>
                      <a:pt x="10572" y="4645"/>
                    </a:lnTo>
                    <a:lnTo>
                      <a:pt x="10567" y="4648"/>
                    </a:lnTo>
                    <a:lnTo>
                      <a:pt x="10564" y="4651"/>
                    </a:lnTo>
                    <a:lnTo>
                      <a:pt x="10559" y="4655"/>
                    </a:lnTo>
                    <a:lnTo>
                      <a:pt x="10551" y="4655"/>
                    </a:lnTo>
                    <a:lnTo>
                      <a:pt x="10544" y="4656"/>
                    </a:lnTo>
                    <a:lnTo>
                      <a:pt x="10534" y="4656"/>
                    </a:lnTo>
                    <a:lnTo>
                      <a:pt x="10534" y="4661"/>
                    </a:lnTo>
                    <a:lnTo>
                      <a:pt x="10538" y="4668"/>
                    </a:lnTo>
                    <a:lnTo>
                      <a:pt x="10540" y="4669"/>
                    </a:lnTo>
                    <a:lnTo>
                      <a:pt x="10546" y="4673"/>
                    </a:lnTo>
                    <a:lnTo>
                      <a:pt x="10551" y="4673"/>
                    </a:lnTo>
                    <a:lnTo>
                      <a:pt x="10557" y="4675"/>
                    </a:lnTo>
                    <a:lnTo>
                      <a:pt x="10570" y="4675"/>
                    </a:lnTo>
                    <a:lnTo>
                      <a:pt x="10570" y="4676"/>
                    </a:lnTo>
                    <a:lnTo>
                      <a:pt x="10567" y="4678"/>
                    </a:lnTo>
                    <a:lnTo>
                      <a:pt x="10567" y="4680"/>
                    </a:lnTo>
                    <a:lnTo>
                      <a:pt x="10566" y="4682"/>
                    </a:lnTo>
                    <a:lnTo>
                      <a:pt x="10564" y="4682"/>
                    </a:lnTo>
                    <a:lnTo>
                      <a:pt x="10562" y="4682"/>
                    </a:lnTo>
                    <a:lnTo>
                      <a:pt x="10559" y="4680"/>
                    </a:lnTo>
                    <a:lnTo>
                      <a:pt x="10552" y="4678"/>
                    </a:lnTo>
                    <a:lnTo>
                      <a:pt x="10547" y="4676"/>
                    </a:lnTo>
                    <a:lnTo>
                      <a:pt x="10540" y="4675"/>
                    </a:lnTo>
                    <a:lnTo>
                      <a:pt x="10534" y="4675"/>
                    </a:lnTo>
                    <a:lnTo>
                      <a:pt x="10534" y="4680"/>
                    </a:lnTo>
                    <a:lnTo>
                      <a:pt x="10532" y="4684"/>
                    </a:lnTo>
                    <a:lnTo>
                      <a:pt x="10531" y="4688"/>
                    </a:lnTo>
                    <a:lnTo>
                      <a:pt x="10529" y="4691"/>
                    </a:lnTo>
                    <a:lnTo>
                      <a:pt x="10526" y="4693"/>
                    </a:lnTo>
                    <a:lnTo>
                      <a:pt x="10521" y="4694"/>
                    </a:lnTo>
                    <a:lnTo>
                      <a:pt x="10524" y="4694"/>
                    </a:lnTo>
                    <a:lnTo>
                      <a:pt x="10532" y="4697"/>
                    </a:lnTo>
                    <a:lnTo>
                      <a:pt x="10540" y="4701"/>
                    </a:lnTo>
                    <a:lnTo>
                      <a:pt x="10549" y="4702"/>
                    </a:lnTo>
                    <a:lnTo>
                      <a:pt x="10555" y="4706"/>
                    </a:lnTo>
                    <a:lnTo>
                      <a:pt x="10560" y="4709"/>
                    </a:lnTo>
                    <a:lnTo>
                      <a:pt x="10566" y="4714"/>
                    </a:lnTo>
                    <a:lnTo>
                      <a:pt x="10567" y="4719"/>
                    </a:lnTo>
                    <a:lnTo>
                      <a:pt x="10570" y="4722"/>
                    </a:lnTo>
                    <a:lnTo>
                      <a:pt x="10570" y="4727"/>
                    </a:lnTo>
                    <a:lnTo>
                      <a:pt x="10562" y="4727"/>
                    </a:lnTo>
                    <a:lnTo>
                      <a:pt x="10552" y="4724"/>
                    </a:lnTo>
                    <a:lnTo>
                      <a:pt x="10544" y="4724"/>
                    </a:lnTo>
                    <a:lnTo>
                      <a:pt x="10534" y="4722"/>
                    </a:lnTo>
                    <a:lnTo>
                      <a:pt x="10526" y="4721"/>
                    </a:lnTo>
                    <a:lnTo>
                      <a:pt x="10516" y="4719"/>
                    </a:lnTo>
                    <a:lnTo>
                      <a:pt x="10506" y="4714"/>
                    </a:lnTo>
                    <a:lnTo>
                      <a:pt x="10501" y="4708"/>
                    </a:lnTo>
                    <a:lnTo>
                      <a:pt x="10513" y="4721"/>
                    </a:lnTo>
                    <a:lnTo>
                      <a:pt x="10519" y="4727"/>
                    </a:lnTo>
                    <a:lnTo>
                      <a:pt x="10526" y="4732"/>
                    </a:lnTo>
                    <a:lnTo>
                      <a:pt x="10532" y="4737"/>
                    </a:lnTo>
                    <a:lnTo>
                      <a:pt x="10538" y="4739"/>
                    </a:lnTo>
                    <a:lnTo>
                      <a:pt x="10546" y="4743"/>
                    </a:lnTo>
                    <a:lnTo>
                      <a:pt x="10551" y="4743"/>
                    </a:lnTo>
                    <a:lnTo>
                      <a:pt x="10546" y="4749"/>
                    </a:lnTo>
                    <a:lnTo>
                      <a:pt x="10542" y="4754"/>
                    </a:lnTo>
                    <a:lnTo>
                      <a:pt x="10540" y="4758"/>
                    </a:lnTo>
                    <a:lnTo>
                      <a:pt x="10538" y="4760"/>
                    </a:lnTo>
                    <a:lnTo>
                      <a:pt x="10540" y="4763"/>
                    </a:lnTo>
                    <a:lnTo>
                      <a:pt x="10542" y="4767"/>
                    </a:lnTo>
                    <a:lnTo>
                      <a:pt x="10546" y="4770"/>
                    </a:lnTo>
                    <a:lnTo>
                      <a:pt x="10551" y="4778"/>
                    </a:lnTo>
                    <a:lnTo>
                      <a:pt x="10538" y="4778"/>
                    </a:lnTo>
                    <a:lnTo>
                      <a:pt x="10532" y="4778"/>
                    </a:lnTo>
                    <a:lnTo>
                      <a:pt x="10526" y="4780"/>
                    </a:lnTo>
                    <a:lnTo>
                      <a:pt x="10519" y="4782"/>
                    </a:lnTo>
                    <a:lnTo>
                      <a:pt x="10513" y="4783"/>
                    </a:lnTo>
                    <a:lnTo>
                      <a:pt x="10506" y="4789"/>
                    </a:lnTo>
                    <a:lnTo>
                      <a:pt x="10501" y="4795"/>
                    </a:lnTo>
                    <a:lnTo>
                      <a:pt x="10494" y="4800"/>
                    </a:lnTo>
                    <a:lnTo>
                      <a:pt x="10485" y="4808"/>
                    </a:lnTo>
                    <a:lnTo>
                      <a:pt x="10473" y="4813"/>
                    </a:lnTo>
                    <a:lnTo>
                      <a:pt x="10465" y="4821"/>
                    </a:lnTo>
                    <a:lnTo>
                      <a:pt x="10452" y="4826"/>
                    </a:lnTo>
                    <a:lnTo>
                      <a:pt x="10440" y="4834"/>
                    </a:lnTo>
                    <a:lnTo>
                      <a:pt x="10414" y="4846"/>
                    </a:lnTo>
                    <a:lnTo>
                      <a:pt x="10402" y="4852"/>
                    </a:lnTo>
                    <a:lnTo>
                      <a:pt x="10391" y="4859"/>
                    </a:lnTo>
                    <a:lnTo>
                      <a:pt x="10381" y="4865"/>
                    </a:lnTo>
                    <a:lnTo>
                      <a:pt x="10372" y="4872"/>
                    </a:lnTo>
                    <a:lnTo>
                      <a:pt x="10361" y="4877"/>
                    </a:lnTo>
                    <a:lnTo>
                      <a:pt x="10351" y="4885"/>
                    </a:lnTo>
                    <a:lnTo>
                      <a:pt x="10341" y="4890"/>
                    </a:lnTo>
                    <a:lnTo>
                      <a:pt x="10328" y="4898"/>
                    </a:lnTo>
                    <a:lnTo>
                      <a:pt x="10317" y="4896"/>
                    </a:lnTo>
                    <a:lnTo>
                      <a:pt x="10305" y="4895"/>
                    </a:lnTo>
                    <a:lnTo>
                      <a:pt x="10294" y="4892"/>
                    </a:lnTo>
                    <a:lnTo>
                      <a:pt x="10285" y="4889"/>
                    </a:lnTo>
                    <a:lnTo>
                      <a:pt x="10276" y="4885"/>
                    </a:lnTo>
                    <a:lnTo>
                      <a:pt x="10265" y="4883"/>
                    </a:lnTo>
                    <a:lnTo>
                      <a:pt x="10254" y="4882"/>
                    </a:lnTo>
                    <a:lnTo>
                      <a:pt x="10243" y="4882"/>
                    </a:lnTo>
                    <a:lnTo>
                      <a:pt x="10230" y="4887"/>
                    </a:lnTo>
                    <a:lnTo>
                      <a:pt x="10218" y="4892"/>
                    </a:lnTo>
                    <a:lnTo>
                      <a:pt x="10210" y="4898"/>
                    </a:lnTo>
                    <a:lnTo>
                      <a:pt x="10198" y="4903"/>
                    </a:lnTo>
                    <a:lnTo>
                      <a:pt x="10190" y="4910"/>
                    </a:lnTo>
                    <a:lnTo>
                      <a:pt x="10180" y="4911"/>
                    </a:lnTo>
                    <a:lnTo>
                      <a:pt x="10169" y="4915"/>
                    </a:lnTo>
                    <a:lnTo>
                      <a:pt x="10156" y="4915"/>
                    </a:lnTo>
                    <a:lnTo>
                      <a:pt x="10151" y="4918"/>
                    </a:lnTo>
                    <a:lnTo>
                      <a:pt x="10144" y="4920"/>
                    </a:lnTo>
                    <a:lnTo>
                      <a:pt x="10137" y="4922"/>
                    </a:lnTo>
                    <a:lnTo>
                      <a:pt x="10131" y="4922"/>
                    </a:lnTo>
                    <a:lnTo>
                      <a:pt x="10119" y="4924"/>
                    </a:lnTo>
                    <a:lnTo>
                      <a:pt x="10106" y="4924"/>
                    </a:lnTo>
                    <a:lnTo>
                      <a:pt x="10095" y="4924"/>
                    </a:lnTo>
                    <a:lnTo>
                      <a:pt x="10086" y="4924"/>
                    </a:lnTo>
                    <a:lnTo>
                      <a:pt x="10083" y="4926"/>
                    </a:lnTo>
                    <a:lnTo>
                      <a:pt x="10077" y="4928"/>
                    </a:lnTo>
                    <a:lnTo>
                      <a:pt x="10073" y="4930"/>
                    </a:lnTo>
                    <a:lnTo>
                      <a:pt x="10071" y="4931"/>
                    </a:lnTo>
                    <a:lnTo>
                      <a:pt x="10073" y="4931"/>
                    </a:lnTo>
                    <a:lnTo>
                      <a:pt x="10075" y="4933"/>
                    </a:lnTo>
                    <a:lnTo>
                      <a:pt x="10077" y="4933"/>
                    </a:lnTo>
                    <a:lnTo>
                      <a:pt x="10078" y="4936"/>
                    </a:lnTo>
                    <a:lnTo>
                      <a:pt x="10077" y="4938"/>
                    </a:lnTo>
                    <a:lnTo>
                      <a:pt x="10077" y="4941"/>
                    </a:lnTo>
                    <a:lnTo>
                      <a:pt x="10075" y="4944"/>
                    </a:lnTo>
                    <a:lnTo>
                      <a:pt x="10073" y="4946"/>
                    </a:lnTo>
                    <a:lnTo>
                      <a:pt x="10071" y="4950"/>
                    </a:lnTo>
                    <a:lnTo>
                      <a:pt x="10063" y="4950"/>
                    </a:lnTo>
                    <a:lnTo>
                      <a:pt x="10058" y="4951"/>
                    </a:lnTo>
                    <a:lnTo>
                      <a:pt x="10050" y="4956"/>
                    </a:lnTo>
                    <a:lnTo>
                      <a:pt x="10045" y="4957"/>
                    </a:lnTo>
                    <a:lnTo>
                      <a:pt x="10038" y="4961"/>
                    </a:lnTo>
                    <a:lnTo>
                      <a:pt x="10032" y="4964"/>
                    </a:lnTo>
                    <a:lnTo>
                      <a:pt x="10025" y="4966"/>
                    </a:lnTo>
                    <a:lnTo>
                      <a:pt x="10019" y="4966"/>
                    </a:lnTo>
                    <a:lnTo>
                      <a:pt x="10016" y="4966"/>
                    </a:lnTo>
                    <a:lnTo>
                      <a:pt x="10014" y="4966"/>
                    </a:lnTo>
                    <a:lnTo>
                      <a:pt x="10012" y="4966"/>
                    </a:lnTo>
                    <a:lnTo>
                      <a:pt x="10010" y="4966"/>
                    </a:lnTo>
                    <a:lnTo>
                      <a:pt x="10010" y="4968"/>
                    </a:lnTo>
                    <a:lnTo>
                      <a:pt x="10010" y="4970"/>
                    </a:lnTo>
                    <a:lnTo>
                      <a:pt x="10009" y="4974"/>
                    </a:lnTo>
                    <a:lnTo>
                      <a:pt x="10009" y="4976"/>
                    </a:lnTo>
                    <a:lnTo>
                      <a:pt x="10007" y="4977"/>
                    </a:lnTo>
                    <a:lnTo>
                      <a:pt x="10004" y="4981"/>
                    </a:lnTo>
                    <a:lnTo>
                      <a:pt x="10001" y="4983"/>
                    </a:lnTo>
                    <a:lnTo>
                      <a:pt x="10001" y="4990"/>
                    </a:lnTo>
                    <a:lnTo>
                      <a:pt x="9999" y="4996"/>
                    </a:lnTo>
                    <a:lnTo>
                      <a:pt x="9996" y="5002"/>
                    </a:lnTo>
                    <a:lnTo>
                      <a:pt x="9994" y="5005"/>
                    </a:lnTo>
                    <a:lnTo>
                      <a:pt x="9992" y="5007"/>
                    </a:lnTo>
                    <a:lnTo>
                      <a:pt x="9991" y="5007"/>
                    </a:lnTo>
                    <a:lnTo>
                      <a:pt x="9988" y="5007"/>
                    </a:lnTo>
                    <a:lnTo>
                      <a:pt x="9986" y="5007"/>
                    </a:lnTo>
                    <a:lnTo>
                      <a:pt x="9984" y="5005"/>
                    </a:lnTo>
                    <a:lnTo>
                      <a:pt x="9984" y="5004"/>
                    </a:lnTo>
                    <a:lnTo>
                      <a:pt x="9984" y="5002"/>
                    </a:lnTo>
                    <a:lnTo>
                      <a:pt x="9958" y="5015"/>
                    </a:lnTo>
                    <a:lnTo>
                      <a:pt x="9946" y="5020"/>
                    </a:lnTo>
                    <a:lnTo>
                      <a:pt x="9935" y="5027"/>
                    </a:lnTo>
                    <a:lnTo>
                      <a:pt x="9923" y="5033"/>
                    </a:lnTo>
                    <a:lnTo>
                      <a:pt x="9915" y="5040"/>
                    </a:lnTo>
                    <a:lnTo>
                      <a:pt x="9905" y="5046"/>
                    </a:lnTo>
                    <a:lnTo>
                      <a:pt x="9897" y="5053"/>
                    </a:lnTo>
                    <a:lnTo>
                      <a:pt x="9892" y="5058"/>
                    </a:lnTo>
                    <a:lnTo>
                      <a:pt x="9885" y="5063"/>
                    </a:lnTo>
                    <a:lnTo>
                      <a:pt x="9879" y="5066"/>
                    </a:lnTo>
                    <a:lnTo>
                      <a:pt x="9876" y="5068"/>
                    </a:lnTo>
                    <a:lnTo>
                      <a:pt x="9870" y="5068"/>
                    </a:lnTo>
                    <a:lnTo>
                      <a:pt x="9866" y="5070"/>
                    </a:lnTo>
                    <a:lnTo>
                      <a:pt x="9864" y="5070"/>
                    </a:lnTo>
                    <a:lnTo>
                      <a:pt x="9857" y="5070"/>
                    </a:lnTo>
                    <a:lnTo>
                      <a:pt x="9854" y="5071"/>
                    </a:lnTo>
                    <a:lnTo>
                      <a:pt x="9848" y="5073"/>
                    </a:lnTo>
                    <a:lnTo>
                      <a:pt x="9844" y="5076"/>
                    </a:lnTo>
                    <a:lnTo>
                      <a:pt x="9841" y="5078"/>
                    </a:lnTo>
                    <a:lnTo>
                      <a:pt x="9836" y="5081"/>
                    </a:lnTo>
                    <a:lnTo>
                      <a:pt x="9831" y="5086"/>
                    </a:lnTo>
                    <a:lnTo>
                      <a:pt x="9828" y="5094"/>
                    </a:lnTo>
                    <a:lnTo>
                      <a:pt x="9823" y="5099"/>
                    </a:lnTo>
                    <a:lnTo>
                      <a:pt x="9820" y="5101"/>
                    </a:lnTo>
                    <a:lnTo>
                      <a:pt x="9818" y="5103"/>
                    </a:lnTo>
                    <a:lnTo>
                      <a:pt x="9815" y="5103"/>
                    </a:lnTo>
                    <a:lnTo>
                      <a:pt x="9813" y="5104"/>
                    </a:lnTo>
                    <a:lnTo>
                      <a:pt x="9787" y="5104"/>
                    </a:lnTo>
                    <a:lnTo>
                      <a:pt x="9762" y="5104"/>
                    </a:lnTo>
                    <a:close/>
                    <a:moveTo>
                      <a:pt x="10156" y="4312"/>
                    </a:moveTo>
                    <a:lnTo>
                      <a:pt x="10162" y="4312"/>
                    </a:lnTo>
                    <a:lnTo>
                      <a:pt x="10165" y="4311"/>
                    </a:lnTo>
                    <a:lnTo>
                      <a:pt x="10175" y="4309"/>
                    </a:lnTo>
                    <a:lnTo>
                      <a:pt x="10184" y="4306"/>
                    </a:lnTo>
                    <a:lnTo>
                      <a:pt x="10193" y="4299"/>
                    </a:lnTo>
                    <a:lnTo>
                      <a:pt x="10200" y="4293"/>
                    </a:lnTo>
                    <a:lnTo>
                      <a:pt x="10210" y="4285"/>
                    </a:lnTo>
                    <a:lnTo>
                      <a:pt x="10217" y="4278"/>
                    </a:lnTo>
                    <a:lnTo>
                      <a:pt x="10225" y="4270"/>
                    </a:lnTo>
                    <a:lnTo>
                      <a:pt x="10233" y="4261"/>
                    </a:lnTo>
                    <a:lnTo>
                      <a:pt x="10235" y="4260"/>
                    </a:lnTo>
                    <a:lnTo>
                      <a:pt x="10231" y="4261"/>
                    </a:lnTo>
                    <a:lnTo>
                      <a:pt x="10225" y="4261"/>
                    </a:lnTo>
                    <a:lnTo>
                      <a:pt x="10218" y="4265"/>
                    </a:lnTo>
                    <a:lnTo>
                      <a:pt x="10213" y="4268"/>
                    </a:lnTo>
                    <a:lnTo>
                      <a:pt x="10210" y="4270"/>
                    </a:lnTo>
                    <a:lnTo>
                      <a:pt x="10205" y="4274"/>
                    </a:lnTo>
                    <a:lnTo>
                      <a:pt x="10197" y="4281"/>
                    </a:lnTo>
                    <a:lnTo>
                      <a:pt x="10191" y="4287"/>
                    </a:lnTo>
                    <a:lnTo>
                      <a:pt x="10184" y="4294"/>
                    </a:lnTo>
                    <a:lnTo>
                      <a:pt x="10177" y="4299"/>
                    </a:lnTo>
                    <a:lnTo>
                      <a:pt x="10172" y="4304"/>
                    </a:lnTo>
                    <a:lnTo>
                      <a:pt x="10167" y="4307"/>
                    </a:lnTo>
                    <a:lnTo>
                      <a:pt x="10162" y="4309"/>
                    </a:lnTo>
                    <a:lnTo>
                      <a:pt x="10156" y="4312"/>
                    </a:lnTo>
                    <a:close/>
                    <a:moveTo>
                      <a:pt x="10071" y="4261"/>
                    </a:moveTo>
                    <a:lnTo>
                      <a:pt x="10084" y="4253"/>
                    </a:lnTo>
                    <a:lnTo>
                      <a:pt x="10098" y="4246"/>
                    </a:lnTo>
                    <a:lnTo>
                      <a:pt x="10110" y="4238"/>
                    </a:lnTo>
                    <a:lnTo>
                      <a:pt x="10123" y="4232"/>
                    </a:lnTo>
                    <a:lnTo>
                      <a:pt x="10126" y="4229"/>
                    </a:lnTo>
                    <a:lnTo>
                      <a:pt x="10123" y="4230"/>
                    </a:lnTo>
                    <a:lnTo>
                      <a:pt x="10114" y="4233"/>
                    </a:lnTo>
                    <a:lnTo>
                      <a:pt x="10104" y="4237"/>
                    </a:lnTo>
                    <a:lnTo>
                      <a:pt x="10095" y="4243"/>
                    </a:lnTo>
                    <a:lnTo>
                      <a:pt x="10086" y="4248"/>
                    </a:lnTo>
                    <a:lnTo>
                      <a:pt x="10077" y="4255"/>
                    </a:lnTo>
                    <a:lnTo>
                      <a:pt x="10071" y="4261"/>
                    </a:lnTo>
                    <a:close/>
                    <a:moveTo>
                      <a:pt x="10053" y="3970"/>
                    </a:moveTo>
                    <a:lnTo>
                      <a:pt x="10055" y="3967"/>
                    </a:lnTo>
                    <a:lnTo>
                      <a:pt x="10058" y="3965"/>
                    </a:lnTo>
                    <a:lnTo>
                      <a:pt x="10059" y="3964"/>
                    </a:lnTo>
                    <a:lnTo>
                      <a:pt x="10057" y="3965"/>
                    </a:lnTo>
                    <a:lnTo>
                      <a:pt x="10053" y="3970"/>
                    </a:lnTo>
                    <a:close/>
                    <a:moveTo>
                      <a:pt x="9992" y="4569"/>
                    </a:moveTo>
                    <a:lnTo>
                      <a:pt x="9991" y="4569"/>
                    </a:lnTo>
                    <a:lnTo>
                      <a:pt x="9986" y="4571"/>
                    </a:lnTo>
                    <a:lnTo>
                      <a:pt x="9988" y="4571"/>
                    </a:lnTo>
                    <a:lnTo>
                      <a:pt x="9992" y="4569"/>
                    </a:lnTo>
                    <a:close/>
                    <a:moveTo>
                      <a:pt x="10037" y="3729"/>
                    </a:moveTo>
                    <a:lnTo>
                      <a:pt x="10038" y="3728"/>
                    </a:lnTo>
                    <a:lnTo>
                      <a:pt x="10037" y="3728"/>
                    </a:lnTo>
                    <a:lnTo>
                      <a:pt x="10037" y="3729"/>
                    </a:lnTo>
                    <a:close/>
                    <a:moveTo>
                      <a:pt x="9984" y="3746"/>
                    </a:moveTo>
                    <a:lnTo>
                      <a:pt x="9991" y="3744"/>
                    </a:lnTo>
                    <a:lnTo>
                      <a:pt x="9997" y="3743"/>
                    </a:lnTo>
                    <a:lnTo>
                      <a:pt x="10003" y="3741"/>
                    </a:lnTo>
                    <a:lnTo>
                      <a:pt x="10010" y="3736"/>
                    </a:lnTo>
                    <a:lnTo>
                      <a:pt x="10016" y="3733"/>
                    </a:lnTo>
                    <a:lnTo>
                      <a:pt x="10024" y="3731"/>
                    </a:lnTo>
                    <a:lnTo>
                      <a:pt x="10029" y="3729"/>
                    </a:lnTo>
                    <a:lnTo>
                      <a:pt x="10024" y="3729"/>
                    </a:lnTo>
                    <a:lnTo>
                      <a:pt x="10016" y="3729"/>
                    </a:lnTo>
                    <a:lnTo>
                      <a:pt x="10010" y="3731"/>
                    </a:lnTo>
                    <a:lnTo>
                      <a:pt x="10003" y="3733"/>
                    </a:lnTo>
                    <a:lnTo>
                      <a:pt x="9997" y="3735"/>
                    </a:lnTo>
                    <a:lnTo>
                      <a:pt x="9991" y="3741"/>
                    </a:lnTo>
                    <a:lnTo>
                      <a:pt x="9984" y="3746"/>
                    </a:lnTo>
                    <a:close/>
                    <a:moveTo>
                      <a:pt x="9968" y="3953"/>
                    </a:moveTo>
                    <a:lnTo>
                      <a:pt x="9973" y="3958"/>
                    </a:lnTo>
                    <a:lnTo>
                      <a:pt x="9983" y="3964"/>
                    </a:lnTo>
                    <a:lnTo>
                      <a:pt x="9986" y="3967"/>
                    </a:lnTo>
                    <a:lnTo>
                      <a:pt x="9991" y="3964"/>
                    </a:lnTo>
                    <a:lnTo>
                      <a:pt x="9997" y="3958"/>
                    </a:lnTo>
                    <a:lnTo>
                      <a:pt x="10003" y="3957"/>
                    </a:lnTo>
                    <a:lnTo>
                      <a:pt x="10010" y="3955"/>
                    </a:lnTo>
                    <a:lnTo>
                      <a:pt x="10016" y="3953"/>
                    </a:lnTo>
                    <a:lnTo>
                      <a:pt x="10009" y="3953"/>
                    </a:lnTo>
                    <a:lnTo>
                      <a:pt x="9999" y="3953"/>
                    </a:lnTo>
                    <a:lnTo>
                      <a:pt x="9991" y="3953"/>
                    </a:lnTo>
                    <a:lnTo>
                      <a:pt x="9979" y="3953"/>
                    </a:lnTo>
                    <a:lnTo>
                      <a:pt x="9968" y="3953"/>
                    </a:lnTo>
                    <a:close/>
                    <a:moveTo>
                      <a:pt x="9946" y="4488"/>
                    </a:moveTo>
                    <a:lnTo>
                      <a:pt x="9948" y="4492"/>
                    </a:lnTo>
                    <a:lnTo>
                      <a:pt x="9950" y="4494"/>
                    </a:lnTo>
                    <a:lnTo>
                      <a:pt x="9951" y="4495"/>
                    </a:lnTo>
                    <a:lnTo>
                      <a:pt x="9955" y="4497"/>
                    </a:lnTo>
                    <a:lnTo>
                      <a:pt x="9961" y="4501"/>
                    </a:lnTo>
                    <a:lnTo>
                      <a:pt x="9970" y="4501"/>
                    </a:lnTo>
                    <a:lnTo>
                      <a:pt x="9977" y="4501"/>
                    </a:lnTo>
                    <a:lnTo>
                      <a:pt x="9984" y="4503"/>
                    </a:lnTo>
                    <a:lnTo>
                      <a:pt x="9992" y="4503"/>
                    </a:lnTo>
                    <a:lnTo>
                      <a:pt x="9999" y="4505"/>
                    </a:lnTo>
                    <a:lnTo>
                      <a:pt x="10009" y="4508"/>
                    </a:lnTo>
                    <a:lnTo>
                      <a:pt x="10012" y="4510"/>
                    </a:lnTo>
                    <a:lnTo>
                      <a:pt x="10012" y="4510"/>
                    </a:lnTo>
                    <a:lnTo>
                      <a:pt x="10009" y="4508"/>
                    </a:lnTo>
                    <a:lnTo>
                      <a:pt x="10004" y="4507"/>
                    </a:lnTo>
                    <a:lnTo>
                      <a:pt x="9994" y="4500"/>
                    </a:lnTo>
                    <a:lnTo>
                      <a:pt x="9981" y="4492"/>
                    </a:lnTo>
                    <a:lnTo>
                      <a:pt x="9968" y="4482"/>
                    </a:lnTo>
                    <a:lnTo>
                      <a:pt x="9963" y="4479"/>
                    </a:lnTo>
                    <a:lnTo>
                      <a:pt x="9958" y="4475"/>
                    </a:lnTo>
                    <a:lnTo>
                      <a:pt x="9953" y="4472"/>
                    </a:lnTo>
                    <a:lnTo>
                      <a:pt x="9950" y="4467"/>
                    </a:lnTo>
                    <a:lnTo>
                      <a:pt x="9948" y="4474"/>
                    </a:lnTo>
                    <a:lnTo>
                      <a:pt x="9946" y="4479"/>
                    </a:lnTo>
                    <a:lnTo>
                      <a:pt x="9946" y="4485"/>
                    </a:lnTo>
                    <a:lnTo>
                      <a:pt x="9946" y="4488"/>
                    </a:lnTo>
                    <a:close/>
                    <a:moveTo>
                      <a:pt x="7818" y="1473"/>
                    </a:moveTo>
                    <a:lnTo>
                      <a:pt x="7816" y="1474"/>
                    </a:lnTo>
                    <a:lnTo>
                      <a:pt x="7816" y="1474"/>
                    </a:lnTo>
                    <a:lnTo>
                      <a:pt x="7817" y="1474"/>
                    </a:lnTo>
                    <a:lnTo>
                      <a:pt x="7818" y="1473"/>
                    </a:lnTo>
                    <a:close/>
                    <a:moveTo>
                      <a:pt x="7382" y="2439"/>
                    </a:moveTo>
                    <a:lnTo>
                      <a:pt x="7373" y="2437"/>
                    </a:lnTo>
                    <a:lnTo>
                      <a:pt x="7380" y="2439"/>
                    </a:lnTo>
                    <a:lnTo>
                      <a:pt x="7382" y="2439"/>
                    </a:lnTo>
                    <a:close/>
                    <a:moveTo>
                      <a:pt x="7390" y="2439"/>
                    </a:moveTo>
                    <a:lnTo>
                      <a:pt x="7388" y="2439"/>
                    </a:lnTo>
                    <a:lnTo>
                      <a:pt x="7401" y="2444"/>
                    </a:lnTo>
                    <a:lnTo>
                      <a:pt x="7411" y="2449"/>
                    </a:lnTo>
                    <a:lnTo>
                      <a:pt x="7421" y="2454"/>
                    </a:lnTo>
                    <a:lnTo>
                      <a:pt x="7428" y="2459"/>
                    </a:lnTo>
                    <a:lnTo>
                      <a:pt x="7438" y="2464"/>
                    </a:lnTo>
                    <a:lnTo>
                      <a:pt x="7441" y="2467"/>
                    </a:lnTo>
                    <a:lnTo>
                      <a:pt x="7443" y="2470"/>
                    </a:lnTo>
                    <a:lnTo>
                      <a:pt x="7447" y="2474"/>
                    </a:lnTo>
                    <a:lnTo>
                      <a:pt x="7451" y="2479"/>
                    </a:lnTo>
                    <a:lnTo>
                      <a:pt x="7454" y="2485"/>
                    </a:lnTo>
                    <a:lnTo>
                      <a:pt x="7458" y="2490"/>
                    </a:lnTo>
                    <a:lnTo>
                      <a:pt x="7458" y="2492"/>
                    </a:lnTo>
                    <a:lnTo>
                      <a:pt x="7458" y="2494"/>
                    </a:lnTo>
                    <a:lnTo>
                      <a:pt x="7459" y="2495"/>
                    </a:lnTo>
                    <a:lnTo>
                      <a:pt x="7464" y="2502"/>
                    </a:lnTo>
                    <a:lnTo>
                      <a:pt x="7467" y="2507"/>
                    </a:lnTo>
                    <a:lnTo>
                      <a:pt x="7472" y="2515"/>
                    </a:lnTo>
                    <a:lnTo>
                      <a:pt x="7479" y="2520"/>
                    </a:lnTo>
                    <a:lnTo>
                      <a:pt x="7482" y="2522"/>
                    </a:lnTo>
                    <a:lnTo>
                      <a:pt x="7485" y="2523"/>
                    </a:lnTo>
                    <a:lnTo>
                      <a:pt x="7487" y="2525"/>
                    </a:lnTo>
                    <a:lnTo>
                      <a:pt x="7492" y="2525"/>
                    </a:lnTo>
                    <a:lnTo>
                      <a:pt x="7505" y="2525"/>
                    </a:lnTo>
                    <a:lnTo>
                      <a:pt x="7520" y="2528"/>
                    </a:lnTo>
                    <a:lnTo>
                      <a:pt x="7538" y="2529"/>
                    </a:lnTo>
                    <a:lnTo>
                      <a:pt x="7554" y="2531"/>
                    </a:lnTo>
                    <a:lnTo>
                      <a:pt x="7572" y="2533"/>
                    </a:lnTo>
                    <a:lnTo>
                      <a:pt x="7581" y="2533"/>
                    </a:lnTo>
                    <a:lnTo>
                      <a:pt x="7591" y="2533"/>
                    </a:lnTo>
                    <a:lnTo>
                      <a:pt x="7600" y="2531"/>
                    </a:lnTo>
                    <a:lnTo>
                      <a:pt x="7609" y="2529"/>
                    </a:lnTo>
                    <a:lnTo>
                      <a:pt x="7620" y="2528"/>
                    </a:lnTo>
                    <a:lnTo>
                      <a:pt x="7630" y="2525"/>
                    </a:lnTo>
                    <a:lnTo>
                      <a:pt x="7622" y="2525"/>
                    </a:lnTo>
                    <a:lnTo>
                      <a:pt x="7617" y="2523"/>
                    </a:lnTo>
                    <a:lnTo>
                      <a:pt x="7611" y="2522"/>
                    </a:lnTo>
                    <a:lnTo>
                      <a:pt x="7606" y="2520"/>
                    </a:lnTo>
                    <a:lnTo>
                      <a:pt x="7600" y="2516"/>
                    </a:lnTo>
                    <a:lnTo>
                      <a:pt x="7596" y="2513"/>
                    </a:lnTo>
                    <a:lnTo>
                      <a:pt x="7586" y="2505"/>
                    </a:lnTo>
                    <a:lnTo>
                      <a:pt x="7576" y="2498"/>
                    </a:lnTo>
                    <a:lnTo>
                      <a:pt x="7566" y="2489"/>
                    </a:lnTo>
                    <a:lnTo>
                      <a:pt x="7556" y="2482"/>
                    </a:lnTo>
                    <a:lnTo>
                      <a:pt x="7543" y="2474"/>
                    </a:lnTo>
                    <a:lnTo>
                      <a:pt x="7569" y="2474"/>
                    </a:lnTo>
                    <a:lnTo>
                      <a:pt x="7594" y="2474"/>
                    </a:lnTo>
                    <a:lnTo>
                      <a:pt x="7586" y="2472"/>
                    </a:lnTo>
                    <a:lnTo>
                      <a:pt x="7576" y="2472"/>
                    </a:lnTo>
                    <a:lnTo>
                      <a:pt x="7565" y="2469"/>
                    </a:lnTo>
                    <a:lnTo>
                      <a:pt x="7556" y="2464"/>
                    </a:lnTo>
                    <a:lnTo>
                      <a:pt x="7546" y="2461"/>
                    </a:lnTo>
                    <a:lnTo>
                      <a:pt x="7538" y="2457"/>
                    </a:lnTo>
                    <a:lnTo>
                      <a:pt x="7517" y="2448"/>
                    </a:lnTo>
                    <a:lnTo>
                      <a:pt x="7498" y="2439"/>
                    </a:lnTo>
                    <a:lnTo>
                      <a:pt x="7487" y="2433"/>
                    </a:lnTo>
                    <a:lnTo>
                      <a:pt x="7479" y="2429"/>
                    </a:lnTo>
                    <a:lnTo>
                      <a:pt x="7469" y="2426"/>
                    </a:lnTo>
                    <a:lnTo>
                      <a:pt x="7459" y="2424"/>
                    </a:lnTo>
                    <a:lnTo>
                      <a:pt x="7451" y="2422"/>
                    </a:lnTo>
                    <a:lnTo>
                      <a:pt x="7441" y="2422"/>
                    </a:lnTo>
                    <a:lnTo>
                      <a:pt x="7443" y="2424"/>
                    </a:lnTo>
                    <a:lnTo>
                      <a:pt x="7444" y="2428"/>
                    </a:lnTo>
                    <a:lnTo>
                      <a:pt x="7449" y="2429"/>
                    </a:lnTo>
                    <a:lnTo>
                      <a:pt x="7452" y="2433"/>
                    </a:lnTo>
                    <a:lnTo>
                      <a:pt x="7454" y="2437"/>
                    </a:lnTo>
                    <a:lnTo>
                      <a:pt x="7456" y="2439"/>
                    </a:lnTo>
                    <a:lnTo>
                      <a:pt x="7454" y="2439"/>
                    </a:lnTo>
                    <a:lnTo>
                      <a:pt x="7452" y="2439"/>
                    </a:lnTo>
                    <a:lnTo>
                      <a:pt x="7447" y="2439"/>
                    </a:lnTo>
                    <a:lnTo>
                      <a:pt x="7439" y="2439"/>
                    </a:lnTo>
                    <a:lnTo>
                      <a:pt x="7434" y="2439"/>
                    </a:lnTo>
                    <a:lnTo>
                      <a:pt x="7428" y="2439"/>
                    </a:lnTo>
                    <a:lnTo>
                      <a:pt x="7426" y="2439"/>
                    </a:lnTo>
                    <a:lnTo>
                      <a:pt x="7425" y="2439"/>
                    </a:lnTo>
                    <a:lnTo>
                      <a:pt x="7423" y="2439"/>
                    </a:lnTo>
                    <a:lnTo>
                      <a:pt x="7419" y="2439"/>
                    </a:lnTo>
                    <a:lnTo>
                      <a:pt x="7416" y="2439"/>
                    </a:lnTo>
                    <a:lnTo>
                      <a:pt x="7405" y="2439"/>
                    </a:lnTo>
                    <a:lnTo>
                      <a:pt x="7395" y="2439"/>
                    </a:lnTo>
                    <a:lnTo>
                      <a:pt x="7390" y="2439"/>
                    </a:lnTo>
                    <a:close/>
                    <a:moveTo>
                      <a:pt x="7268" y="2439"/>
                    </a:moveTo>
                    <a:lnTo>
                      <a:pt x="7273" y="2442"/>
                    </a:lnTo>
                    <a:lnTo>
                      <a:pt x="7279" y="2444"/>
                    </a:lnTo>
                    <a:lnTo>
                      <a:pt x="7283" y="2444"/>
                    </a:lnTo>
                    <a:lnTo>
                      <a:pt x="7286" y="2446"/>
                    </a:lnTo>
                    <a:lnTo>
                      <a:pt x="7288" y="2446"/>
                    </a:lnTo>
                    <a:lnTo>
                      <a:pt x="7290" y="2446"/>
                    </a:lnTo>
                    <a:lnTo>
                      <a:pt x="7290" y="2444"/>
                    </a:lnTo>
                    <a:lnTo>
                      <a:pt x="7291" y="2442"/>
                    </a:lnTo>
                    <a:lnTo>
                      <a:pt x="7294" y="2439"/>
                    </a:lnTo>
                    <a:lnTo>
                      <a:pt x="7294" y="2433"/>
                    </a:lnTo>
                    <a:lnTo>
                      <a:pt x="7296" y="2431"/>
                    </a:lnTo>
                    <a:lnTo>
                      <a:pt x="7298" y="2428"/>
                    </a:lnTo>
                    <a:lnTo>
                      <a:pt x="7299" y="2426"/>
                    </a:lnTo>
                    <a:lnTo>
                      <a:pt x="7301" y="2424"/>
                    </a:lnTo>
                    <a:lnTo>
                      <a:pt x="7296" y="2424"/>
                    </a:lnTo>
                    <a:lnTo>
                      <a:pt x="7288" y="2424"/>
                    </a:lnTo>
                    <a:lnTo>
                      <a:pt x="7283" y="2426"/>
                    </a:lnTo>
                    <a:lnTo>
                      <a:pt x="7278" y="2429"/>
                    </a:lnTo>
                    <a:lnTo>
                      <a:pt x="7271" y="2433"/>
                    </a:lnTo>
                    <a:lnTo>
                      <a:pt x="7268" y="2439"/>
                    </a:lnTo>
                    <a:close/>
                    <a:moveTo>
                      <a:pt x="6856" y="2302"/>
                    </a:moveTo>
                    <a:lnTo>
                      <a:pt x="6848" y="2301"/>
                    </a:lnTo>
                    <a:lnTo>
                      <a:pt x="6843" y="2298"/>
                    </a:lnTo>
                    <a:lnTo>
                      <a:pt x="6838" y="2294"/>
                    </a:lnTo>
                    <a:lnTo>
                      <a:pt x="6836" y="2293"/>
                    </a:lnTo>
                    <a:lnTo>
                      <a:pt x="6836" y="2293"/>
                    </a:lnTo>
                    <a:lnTo>
                      <a:pt x="6836" y="2298"/>
                    </a:lnTo>
                    <a:lnTo>
                      <a:pt x="6836" y="2302"/>
                    </a:lnTo>
                    <a:lnTo>
                      <a:pt x="6834" y="2307"/>
                    </a:lnTo>
                    <a:lnTo>
                      <a:pt x="6832" y="2309"/>
                    </a:lnTo>
                    <a:lnTo>
                      <a:pt x="6836" y="2307"/>
                    </a:lnTo>
                    <a:lnTo>
                      <a:pt x="6843" y="2304"/>
                    </a:lnTo>
                    <a:lnTo>
                      <a:pt x="6848" y="2302"/>
                    </a:lnTo>
                    <a:lnTo>
                      <a:pt x="6856" y="2302"/>
                    </a:lnTo>
                    <a:close/>
                    <a:moveTo>
                      <a:pt x="6804" y="2250"/>
                    </a:moveTo>
                    <a:lnTo>
                      <a:pt x="6810" y="2258"/>
                    </a:lnTo>
                    <a:lnTo>
                      <a:pt x="6819" y="2265"/>
                    </a:lnTo>
                    <a:lnTo>
                      <a:pt x="6825" y="2274"/>
                    </a:lnTo>
                    <a:lnTo>
                      <a:pt x="6829" y="2280"/>
                    </a:lnTo>
                    <a:lnTo>
                      <a:pt x="6830" y="2281"/>
                    </a:lnTo>
                    <a:lnTo>
                      <a:pt x="6830" y="2280"/>
                    </a:lnTo>
                    <a:lnTo>
                      <a:pt x="6832" y="2276"/>
                    </a:lnTo>
                    <a:lnTo>
                      <a:pt x="6832" y="2273"/>
                    </a:lnTo>
                    <a:lnTo>
                      <a:pt x="6834" y="2271"/>
                    </a:lnTo>
                    <a:lnTo>
                      <a:pt x="6838" y="2267"/>
                    </a:lnTo>
                    <a:lnTo>
                      <a:pt x="6842" y="2267"/>
                    </a:lnTo>
                    <a:lnTo>
                      <a:pt x="6845" y="2267"/>
                    </a:lnTo>
                    <a:lnTo>
                      <a:pt x="6848" y="2267"/>
                    </a:lnTo>
                    <a:lnTo>
                      <a:pt x="6855" y="2267"/>
                    </a:lnTo>
                    <a:lnTo>
                      <a:pt x="6860" y="2267"/>
                    </a:lnTo>
                    <a:lnTo>
                      <a:pt x="6858" y="2265"/>
                    </a:lnTo>
                    <a:lnTo>
                      <a:pt x="6856" y="2263"/>
                    </a:lnTo>
                    <a:lnTo>
                      <a:pt x="6856" y="2260"/>
                    </a:lnTo>
                    <a:lnTo>
                      <a:pt x="6856" y="2256"/>
                    </a:lnTo>
                    <a:lnTo>
                      <a:pt x="6856" y="2250"/>
                    </a:lnTo>
                    <a:lnTo>
                      <a:pt x="6853" y="2252"/>
                    </a:lnTo>
                    <a:lnTo>
                      <a:pt x="6848" y="2254"/>
                    </a:lnTo>
                    <a:lnTo>
                      <a:pt x="6845" y="2254"/>
                    </a:lnTo>
                    <a:lnTo>
                      <a:pt x="6842" y="2254"/>
                    </a:lnTo>
                    <a:lnTo>
                      <a:pt x="6840" y="2254"/>
                    </a:lnTo>
                    <a:lnTo>
                      <a:pt x="6836" y="2252"/>
                    </a:lnTo>
                    <a:lnTo>
                      <a:pt x="6829" y="2250"/>
                    </a:lnTo>
                    <a:lnTo>
                      <a:pt x="6823" y="2247"/>
                    </a:lnTo>
                    <a:lnTo>
                      <a:pt x="6819" y="2245"/>
                    </a:lnTo>
                    <a:lnTo>
                      <a:pt x="6815" y="2245"/>
                    </a:lnTo>
                    <a:lnTo>
                      <a:pt x="6814" y="2245"/>
                    </a:lnTo>
                    <a:lnTo>
                      <a:pt x="6810" y="2245"/>
                    </a:lnTo>
                    <a:lnTo>
                      <a:pt x="6807" y="2247"/>
                    </a:lnTo>
                    <a:lnTo>
                      <a:pt x="6804" y="2250"/>
                    </a:lnTo>
                    <a:close/>
                    <a:moveTo>
                      <a:pt x="3060" y="1886"/>
                    </a:moveTo>
                    <a:lnTo>
                      <a:pt x="3062" y="1886"/>
                    </a:lnTo>
                    <a:lnTo>
                      <a:pt x="3064" y="1885"/>
                    </a:lnTo>
                    <a:lnTo>
                      <a:pt x="3060" y="1886"/>
                    </a:lnTo>
                    <a:close/>
                    <a:moveTo>
                      <a:pt x="543" y="4577"/>
                    </a:moveTo>
                    <a:lnTo>
                      <a:pt x="545" y="4581"/>
                    </a:lnTo>
                    <a:lnTo>
                      <a:pt x="548" y="4584"/>
                    </a:lnTo>
                    <a:lnTo>
                      <a:pt x="550" y="4587"/>
                    </a:lnTo>
                    <a:lnTo>
                      <a:pt x="548" y="4595"/>
                    </a:lnTo>
                    <a:lnTo>
                      <a:pt x="546" y="4602"/>
                    </a:lnTo>
                    <a:lnTo>
                      <a:pt x="546" y="4603"/>
                    </a:lnTo>
                    <a:lnTo>
                      <a:pt x="548" y="4602"/>
                    </a:lnTo>
                    <a:lnTo>
                      <a:pt x="550" y="4599"/>
                    </a:lnTo>
                    <a:lnTo>
                      <a:pt x="553" y="4595"/>
                    </a:lnTo>
                    <a:lnTo>
                      <a:pt x="555" y="4592"/>
                    </a:lnTo>
                    <a:lnTo>
                      <a:pt x="555" y="4587"/>
                    </a:lnTo>
                    <a:lnTo>
                      <a:pt x="555" y="4584"/>
                    </a:lnTo>
                    <a:lnTo>
                      <a:pt x="553" y="4582"/>
                    </a:lnTo>
                    <a:lnTo>
                      <a:pt x="552" y="4581"/>
                    </a:lnTo>
                    <a:lnTo>
                      <a:pt x="550" y="4577"/>
                    </a:lnTo>
                    <a:lnTo>
                      <a:pt x="548" y="4573"/>
                    </a:lnTo>
                    <a:lnTo>
                      <a:pt x="546" y="4571"/>
                    </a:lnTo>
                    <a:lnTo>
                      <a:pt x="545" y="4573"/>
                    </a:lnTo>
                    <a:lnTo>
                      <a:pt x="543" y="4577"/>
                    </a:lnTo>
                    <a:close/>
                    <a:moveTo>
                      <a:pt x="548" y="4653"/>
                    </a:moveTo>
                    <a:lnTo>
                      <a:pt x="552" y="4651"/>
                    </a:lnTo>
                    <a:lnTo>
                      <a:pt x="552" y="4651"/>
                    </a:lnTo>
                    <a:lnTo>
                      <a:pt x="548" y="4653"/>
                    </a:lnTo>
                    <a:close/>
                    <a:moveTo>
                      <a:pt x="512" y="4691"/>
                    </a:moveTo>
                    <a:lnTo>
                      <a:pt x="513" y="4690"/>
                    </a:lnTo>
                    <a:lnTo>
                      <a:pt x="513" y="4684"/>
                    </a:lnTo>
                    <a:lnTo>
                      <a:pt x="514" y="4680"/>
                    </a:lnTo>
                    <a:lnTo>
                      <a:pt x="513" y="4682"/>
                    </a:lnTo>
                    <a:lnTo>
                      <a:pt x="506" y="4691"/>
                    </a:lnTo>
                    <a:lnTo>
                      <a:pt x="499" y="4701"/>
                    </a:lnTo>
                    <a:lnTo>
                      <a:pt x="497" y="4703"/>
                    </a:lnTo>
                    <a:lnTo>
                      <a:pt x="504" y="4697"/>
                    </a:lnTo>
                    <a:lnTo>
                      <a:pt x="512" y="4691"/>
                    </a:lnTo>
                    <a:close/>
                    <a:moveTo>
                      <a:pt x="579" y="4640"/>
                    </a:moveTo>
                    <a:lnTo>
                      <a:pt x="576" y="4640"/>
                    </a:lnTo>
                    <a:lnTo>
                      <a:pt x="573" y="4641"/>
                    </a:lnTo>
                    <a:lnTo>
                      <a:pt x="568" y="4643"/>
                    </a:lnTo>
                    <a:lnTo>
                      <a:pt x="565" y="4645"/>
                    </a:lnTo>
                    <a:lnTo>
                      <a:pt x="555" y="4648"/>
                    </a:lnTo>
                    <a:lnTo>
                      <a:pt x="517" y="4688"/>
                    </a:lnTo>
                    <a:lnTo>
                      <a:pt x="517" y="4688"/>
                    </a:lnTo>
                    <a:lnTo>
                      <a:pt x="522" y="4686"/>
                    </a:lnTo>
                    <a:lnTo>
                      <a:pt x="528" y="4682"/>
                    </a:lnTo>
                    <a:lnTo>
                      <a:pt x="532" y="4678"/>
                    </a:lnTo>
                    <a:lnTo>
                      <a:pt x="539" y="4673"/>
                    </a:lnTo>
                    <a:lnTo>
                      <a:pt x="546" y="4665"/>
                    </a:lnTo>
                    <a:lnTo>
                      <a:pt x="552" y="4660"/>
                    </a:lnTo>
                    <a:lnTo>
                      <a:pt x="560" y="4653"/>
                    </a:lnTo>
                    <a:lnTo>
                      <a:pt x="563" y="4648"/>
                    </a:lnTo>
                    <a:lnTo>
                      <a:pt x="568" y="4647"/>
                    </a:lnTo>
                    <a:lnTo>
                      <a:pt x="574" y="4643"/>
                    </a:lnTo>
                    <a:lnTo>
                      <a:pt x="579" y="4640"/>
                    </a:lnTo>
                    <a:close/>
                    <a:moveTo>
                      <a:pt x="435" y="4987"/>
                    </a:moveTo>
                    <a:lnTo>
                      <a:pt x="433" y="4987"/>
                    </a:lnTo>
                    <a:lnTo>
                      <a:pt x="430" y="4986"/>
                    </a:lnTo>
                    <a:lnTo>
                      <a:pt x="432" y="4987"/>
                    </a:lnTo>
                    <a:lnTo>
                      <a:pt x="435" y="4987"/>
                    </a:lnTo>
                    <a:close/>
                    <a:moveTo>
                      <a:pt x="552" y="4849"/>
                    </a:moveTo>
                    <a:lnTo>
                      <a:pt x="543" y="4846"/>
                    </a:lnTo>
                    <a:lnTo>
                      <a:pt x="533" y="4844"/>
                    </a:lnTo>
                    <a:lnTo>
                      <a:pt x="524" y="4842"/>
                    </a:lnTo>
                    <a:lnTo>
                      <a:pt x="517" y="4842"/>
                    </a:lnTo>
                    <a:lnTo>
                      <a:pt x="507" y="4842"/>
                    </a:lnTo>
                    <a:lnTo>
                      <a:pt x="500" y="4842"/>
                    </a:lnTo>
                    <a:lnTo>
                      <a:pt x="494" y="4846"/>
                    </a:lnTo>
                    <a:lnTo>
                      <a:pt x="494" y="4844"/>
                    </a:lnTo>
                    <a:lnTo>
                      <a:pt x="497" y="4842"/>
                    </a:lnTo>
                    <a:lnTo>
                      <a:pt x="500" y="4841"/>
                    </a:lnTo>
                    <a:lnTo>
                      <a:pt x="502" y="4837"/>
                    </a:lnTo>
                    <a:lnTo>
                      <a:pt x="506" y="4834"/>
                    </a:lnTo>
                    <a:lnTo>
                      <a:pt x="509" y="4831"/>
                    </a:lnTo>
                    <a:lnTo>
                      <a:pt x="512" y="4829"/>
                    </a:lnTo>
                    <a:lnTo>
                      <a:pt x="506" y="4829"/>
                    </a:lnTo>
                    <a:lnTo>
                      <a:pt x="500" y="4829"/>
                    </a:lnTo>
                    <a:lnTo>
                      <a:pt x="494" y="4831"/>
                    </a:lnTo>
                    <a:lnTo>
                      <a:pt x="491" y="4836"/>
                    </a:lnTo>
                    <a:lnTo>
                      <a:pt x="487" y="4837"/>
                    </a:lnTo>
                    <a:lnTo>
                      <a:pt x="484" y="4841"/>
                    </a:lnTo>
                    <a:lnTo>
                      <a:pt x="476" y="4849"/>
                    </a:lnTo>
                    <a:lnTo>
                      <a:pt x="471" y="4856"/>
                    </a:lnTo>
                    <a:lnTo>
                      <a:pt x="463" y="4865"/>
                    </a:lnTo>
                    <a:lnTo>
                      <a:pt x="458" y="4869"/>
                    </a:lnTo>
                    <a:lnTo>
                      <a:pt x="454" y="4874"/>
                    </a:lnTo>
                    <a:lnTo>
                      <a:pt x="466" y="4869"/>
                    </a:lnTo>
                    <a:lnTo>
                      <a:pt x="476" y="4861"/>
                    </a:lnTo>
                    <a:lnTo>
                      <a:pt x="486" y="4857"/>
                    </a:lnTo>
                    <a:lnTo>
                      <a:pt x="494" y="4852"/>
                    </a:lnTo>
                    <a:lnTo>
                      <a:pt x="506" y="4849"/>
                    </a:lnTo>
                    <a:lnTo>
                      <a:pt x="517" y="4846"/>
                    </a:lnTo>
                    <a:lnTo>
                      <a:pt x="528" y="4846"/>
                    </a:lnTo>
                    <a:lnTo>
                      <a:pt x="532" y="4846"/>
                    </a:lnTo>
                    <a:lnTo>
                      <a:pt x="537" y="4846"/>
                    </a:lnTo>
                    <a:lnTo>
                      <a:pt x="543" y="4849"/>
                    </a:lnTo>
                    <a:lnTo>
                      <a:pt x="548" y="4849"/>
                    </a:lnTo>
                    <a:lnTo>
                      <a:pt x="552" y="4849"/>
                    </a:lnTo>
                    <a:close/>
                    <a:moveTo>
                      <a:pt x="614" y="4829"/>
                    </a:moveTo>
                    <a:lnTo>
                      <a:pt x="613" y="4834"/>
                    </a:lnTo>
                    <a:lnTo>
                      <a:pt x="611" y="4837"/>
                    </a:lnTo>
                    <a:lnTo>
                      <a:pt x="607" y="4841"/>
                    </a:lnTo>
                    <a:lnTo>
                      <a:pt x="606" y="4844"/>
                    </a:lnTo>
                    <a:lnTo>
                      <a:pt x="607" y="4842"/>
                    </a:lnTo>
                    <a:lnTo>
                      <a:pt x="611" y="4839"/>
                    </a:lnTo>
                    <a:lnTo>
                      <a:pt x="613" y="4836"/>
                    </a:lnTo>
                    <a:lnTo>
                      <a:pt x="614" y="4829"/>
                    </a:lnTo>
                    <a:close/>
                    <a:moveTo>
                      <a:pt x="683" y="5099"/>
                    </a:moveTo>
                    <a:lnTo>
                      <a:pt x="681" y="5104"/>
                    </a:lnTo>
                    <a:lnTo>
                      <a:pt x="680" y="5109"/>
                    </a:lnTo>
                    <a:lnTo>
                      <a:pt x="681" y="5107"/>
                    </a:lnTo>
                    <a:lnTo>
                      <a:pt x="683" y="5104"/>
                    </a:lnTo>
                    <a:lnTo>
                      <a:pt x="683" y="5099"/>
                    </a:lnTo>
                    <a:close/>
                    <a:moveTo>
                      <a:pt x="5492" y="2237"/>
                    </a:moveTo>
                    <a:lnTo>
                      <a:pt x="5492" y="2237"/>
                    </a:lnTo>
                    <a:lnTo>
                      <a:pt x="5492" y="2237"/>
                    </a:lnTo>
                    <a:lnTo>
                      <a:pt x="5492" y="2237"/>
                    </a:lnTo>
                    <a:close/>
                    <a:moveTo>
                      <a:pt x="6581" y="6067"/>
                    </a:moveTo>
                    <a:lnTo>
                      <a:pt x="6580" y="6067"/>
                    </a:lnTo>
                    <a:lnTo>
                      <a:pt x="6580" y="6069"/>
                    </a:lnTo>
                    <a:lnTo>
                      <a:pt x="6578" y="6069"/>
                    </a:lnTo>
                    <a:lnTo>
                      <a:pt x="6575" y="6070"/>
                    </a:lnTo>
                    <a:lnTo>
                      <a:pt x="6574" y="6074"/>
                    </a:lnTo>
                    <a:lnTo>
                      <a:pt x="6568" y="6078"/>
                    </a:lnTo>
                    <a:lnTo>
                      <a:pt x="6574" y="6076"/>
                    </a:lnTo>
                    <a:lnTo>
                      <a:pt x="6578" y="6072"/>
                    </a:lnTo>
                    <a:lnTo>
                      <a:pt x="6580" y="6070"/>
                    </a:lnTo>
                    <a:lnTo>
                      <a:pt x="6581" y="6067"/>
                    </a:lnTo>
                    <a:close/>
                    <a:moveTo>
                      <a:pt x="6995" y="4928"/>
                    </a:moveTo>
                    <a:lnTo>
                      <a:pt x="6998" y="4925"/>
                    </a:lnTo>
                    <a:lnTo>
                      <a:pt x="6990" y="4930"/>
                    </a:lnTo>
                    <a:lnTo>
                      <a:pt x="6967" y="4943"/>
                    </a:lnTo>
                    <a:lnTo>
                      <a:pt x="6945" y="4953"/>
                    </a:lnTo>
                    <a:lnTo>
                      <a:pt x="6934" y="4961"/>
                    </a:lnTo>
                    <a:lnTo>
                      <a:pt x="6924" y="4966"/>
                    </a:lnTo>
                    <a:lnTo>
                      <a:pt x="6930" y="4966"/>
                    </a:lnTo>
                    <a:lnTo>
                      <a:pt x="6937" y="4964"/>
                    </a:lnTo>
                    <a:lnTo>
                      <a:pt x="6943" y="4961"/>
                    </a:lnTo>
                    <a:lnTo>
                      <a:pt x="6950" y="4959"/>
                    </a:lnTo>
                    <a:lnTo>
                      <a:pt x="6955" y="4956"/>
                    </a:lnTo>
                    <a:lnTo>
                      <a:pt x="6963" y="4950"/>
                    </a:lnTo>
                    <a:lnTo>
                      <a:pt x="6976" y="4941"/>
                    </a:lnTo>
                    <a:lnTo>
                      <a:pt x="6990" y="4931"/>
                    </a:lnTo>
                    <a:lnTo>
                      <a:pt x="6995" y="4928"/>
                    </a:lnTo>
                    <a:close/>
                    <a:moveTo>
                      <a:pt x="7130" y="5009"/>
                    </a:moveTo>
                    <a:lnTo>
                      <a:pt x="7130" y="5005"/>
                    </a:lnTo>
                    <a:lnTo>
                      <a:pt x="7128" y="5000"/>
                    </a:lnTo>
                    <a:lnTo>
                      <a:pt x="7130" y="5009"/>
                    </a:lnTo>
                    <a:close/>
                    <a:moveTo>
                      <a:pt x="9331" y="3711"/>
                    </a:moveTo>
                    <a:lnTo>
                      <a:pt x="9324" y="3718"/>
                    </a:lnTo>
                    <a:lnTo>
                      <a:pt x="9314" y="3722"/>
                    </a:lnTo>
                    <a:lnTo>
                      <a:pt x="9306" y="3728"/>
                    </a:lnTo>
                    <a:lnTo>
                      <a:pt x="9294" y="3731"/>
                    </a:lnTo>
                    <a:lnTo>
                      <a:pt x="9283" y="3735"/>
                    </a:lnTo>
                    <a:lnTo>
                      <a:pt x="9270" y="3738"/>
                    </a:lnTo>
                    <a:lnTo>
                      <a:pt x="9257" y="3743"/>
                    </a:lnTo>
                    <a:lnTo>
                      <a:pt x="9242" y="3746"/>
                    </a:lnTo>
                    <a:lnTo>
                      <a:pt x="9215" y="3751"/>
                    </a:lnTo>
                    <a:lnTo>
                      <a:pt x="9202" y="3756"/>
                    </a:lnTo>
                    <a:lnTo>
                      <a:pt x="9189" y="3759"/>
                    </a:lnTo>
                    <a:lnTo>
                      <a:pt x="9176" y="3764"/>
                    </a:lnTo>
                    <a:lnTo>
                      <a:pt x="9163" y="3768"/>
                    </a:lnTo>
                    <a:lnTo>
                      <a:pt x="9153" y="3774"/>
                    </a:lnTo>
                    <a:lnTo>
                      <a:pt x="9143" y="3781"/>
                    </a:lnTo>
                    <a:lnTo>
                      <a:pt x="9161" y="3774"/>
                    </a:lnTo>
                    <a:lnTo>
                      <a:pt x="9178" y="3769"/>
                    </a:lnTo>
                    <a:lnTo>
                      <a:pt x="9194" y="3766"/>
                    </a:lnTo>
                    <a:lnTo>
                      <a:pt x="9209" y="3763"/>
                    </a:lnTo>
                    <a:lnTo>
                      <a:pt x="9222" y="3759"/>
                    </a:lnTo>
                    <a:lnTo>
                      <a:pt x="9237" y="3756"/>
                    </a:lnTo>
                    <a:lnTo>
                      <a:pt x="9250" y="3751"/>
                    </a:lnTo>
                    <a:lnTo>
                      <a:pt x="9263" y="3746"/>
                    </a:lnTo>
                    <a:lnTo>
                      <a:pt x="9273" y="3744"/>
                    </a:lnTo>
                    <a:lnTo>
                      <a:pt x="9285" y="3743"/>
                    </a:lnTo>
                    <a:lnTo>
                      <a:pt x="9294" y="3738"/>
                    </a:lnTo>
                    <a:lnTo>
                      <a:pt x="9303" y="3735"/>
                    </a:lnTo>
                    <a:lnTo>
                      <a:pt x="9311" y="3729"/>
                    </a:lnTo>
                    <a:lnTo>
                      <a:pt x="9318" y="3723"/>
                    </a:lnTo>
                    <a:lnTo>
                      <a:pt x="9331" y="3711"/>
                    </a:lnTo>
                    <a:close/>
                    <a:moveTo>
                      <a:pt x="9381" y="3716"/>
                    </a:moveTo>
                    <a:lnTo>
                      <a:pt x="9388" y="3709"/>
                    </a:lnTo>
                    <a:lnTo>
                      <a:pt x="9398" y="3702"/>
                    </a:lnTo>
                    <a:lnTo>
                      <a:pt x="9403" y="3692"/>
                    </a:lnTo>
                    <a:lnTo>
                      <a:pt x="9410" y="3683"/>
                    </a:lnTo>
                    <a:lnTo>
                      <a:pt x="9401" y="3690"/>
                    </a:lnTo>
                    <a:lnTo>
                      <a:pt x="9392" y="3696"/>
                    </a:lnTo>
                    <a:lnTo>
                      <a:pt x="9383" y="3703"/>
                    </a:lnTo>
                    <a:lnTo>
                      <a:pt x="9374" y="3709"/>
                    </a:lnTo>
                    <a:lnTo>
                      <a:pt x="9364" y="3716"/>
                    </a:lnTo>
                    <a:lnTo>
                      <a:pt x="9355" y="3722"/>
                    </a:lnTo>
                    <a:lnTo>
                      <a:pt x="9347" y="3729"/>
                    </a:lnTo>
                    <a:lnTo>
                      <a:pt x="9355" y="3728"/>
                    </a:lnTo>
                    <a:lnTo>
                      <a:pt x="9360" y="3728"/>
                    </a:lnTo>
                    <a:lnTo>
                      <a:pt x="9367" y="3726"/>
                    </a:lnTo>
                    <a:lnTo>
                      <a:pt x="9372" y="3722"/>
                    </a:lnTo>
                    <a:lnTo>
                      <a:pt x="9375" y="3720"/>
                    </a:lnTo>
                    <a:lnTo>
                      <a:pt x="9381" y="3716"/>
                    </a:lnTo>
                    <a:close/>
                    <a:moveTo>
                      <a:pt x="6391" y="5878"/>
                    </a:moveTo>
                    <a:lnTo>
                      <a:pt x="6394" y="5876"/>
                    </a:lnTo>
                    <a:lnTo>
                      <a:pt x="6391" y="5876"/>
                    </a:lnTo>
                    <a:lnTo>
                      <a:pt x="6391" y="5878"/>
                    </a:lnTo>
                    <a:close/>
                    <a:moveTo>
                      <a:pt x="3870" y="1792"/>
                    </a:moveTo>
                    <a:lnTo>
                      <a:pt x="3880" y="1791"/>
                    </a:lnTo>
                    <a:lnTo>
                      <a:pt x="3888" y="1787"/>
                    </a:lnTo>
                    <a:lnTo>
                      <a:pt x="3887" y="1787"/>
                    </a:lnTo>
                    <a:lnTo>
                      <a:pt x="3880" y="1787"/>
                    </a:lnTo>
                    <a:lnTo>
                      <a:pt x="3872" y="1789"/>
                    </a:lnTo>
                    <a:lnTo>
                      <a:pt x="3867" y="1791"/>
                    </a:lnTo>
                    <a:lnTo>
                      <a:pt x="3859" y="1792"/>
                    </a:lnTo>
                    <a:lnTo>
                      <a:pt x="3854" y="1796"/>
                    </a:lnTo>
                    <a:lnTo>
                      <a:pt x="3846" y="1804"/>
                    </a:lnTo>
                    <a:lnTo>
                      <a:pt x="3859" y="1796"/>
                    </a:lnTo>
                    <a:lnTo>
                      <a:pt x="3870" y="1792"/>
                    </a:lnTo>
                    <a:close/>
                    <a:moveTo>
                      <a:pt x="6338" y="6495"/>
                    </a:moveTo>
                    <a:lnTo>
                      <a:pt x="6343" y="6497"/>
                    </a:lnTo>
                    <a:lnTo>
                      <a:pt x="6356" y="6497"/>
                    </a:lnTo>
                    <a:lnTo>
                      <a:pt x="6341" y="6495"/>
                    </a:lnTo>
                    <a:lnTo>
                      <a:pt x="6338" y="6495"/>
                    </a:lnTo>
                    <a:close/>
                    <a:moveTo>
                      <a:pt x="10086" y="4095"/>
                    </a:moveTo>
                    <a:lnTo>
                      <a:pt x="10086" y="4093"/>
                    </a:lnTo>
                    <a:lnTo>
                      <a:pt x="10088" y="4090"/>
                    </a:lnTo>
                    <a:lnTo>
                      <a:pt x="10086" y="4092"/>
                    </a:lnTo>
                    <a:lnTo>
                      <a:pt x="10084" y="4093"/>
                    </a:lnTo>
                    <a:lnTo>
                      <a:pt x="10080" y="4097"/>
                    </a:lnTo>
                    <a:lnTo>
                      <a:pt x="10083" y="4095"/>
                    </a:lnTo>
                    <a:lnTo>
                      <a:pt x="10086" y="4095"/>
                    </a:lnTo>
                    <a:close/>
                    <a:moveTo>
                      <a:pt x="5143" y="2126"/>
                    </a:moveTo>
                    <a:lnTo>
                      <a:pt x="5146" y="2125"/>
                    </a:lnTo>
                    <a:lnTo>
                      <a:pt x="5143" y="2125"/>
                    </a:lnTo>
                    <a:lnTo>
                      <a:pt x="5143" y="2126"/>
                    </a:lnTo>
                    <a:close/>
                    <a:moveTo>
                      <a:pt x="2415" y="1947"/>
                    </a:moveTo>
                    <a:lnTo>
                      <a:pt x="2422" y="1949"/>
                    </a:lnTo>
                    <a:lnTo>
                      <a:pt x="2428" y="1952"/>
                    </a:lnTo>
                    <a:lnTo>
                      <a:pt x="2435" y="1949"/>
                    </a:lnTo>
                    <a:lnTo>
                      <a:pt x="2441" y="1947"/>
                    </a:lnTo>
                    <a:lnTo>
                      <a:pt x="2448" y="1944"/>
                    </a:lnTo>
                    <a:lnTo>
                      <a:pt x="2455" y="1939"/>
                    </a:lnTo>
                    <a:lnTo>
                      <a:pt x="2453" y="1939"/>
                    </a:lnTo>
                    <a:lnTo>
                      <a:pt x="2451" y="1939"/>
                    </a:lnTo>
                    <a:lnTo>
                      <a:pt x="2449" y="1939"/>
                    </a:lnTo>
                    <a:lnTo>
                      <a:pt x="2445" y="1939"/>
                    </a:lnTo>
                    <a:lnTo>
                      <a:pt x="2441" y="1939"/>
                    </a:lnTo>
                    <a:lnTo>
                      <a:pt x="2438" y="1939"/>
                    </a:lnTo>
                    <a:lnTo>
                      <a:pt x="2428" y="1939"/>
                    </a:lnTo>
                    <a:lnTo>
                      <a:pt x="2418" y="1939"/>
                    </a:lnTo>
                    <a:lnTo>
                      <a:pt x="2414" y="1939"/>
                    </a:lnTo>
                    <a:lnTo>
                      <a:pt x="2410" y="1939"/>
                    </a:lnTo>
                    <a:lnTo>
                      <a:pt x="2407" y="1939"/>
                    </a:lnTo>
                    <a:lnTo>
                      <a:pt x="2405" y="1939"/>
                    </a:lnTo>
                    <a:lnTo>
                      <a:pt x="2403" y="1939"/>
                    </a:lnTo>
                    <a:lnTo>
                      <a:pt x="2408" y="1944"/>
                    </a:lnTo>
                    <a:lnTo>
                      <a:pt x="2415" y="1947"/>
                    </a:lnTo>
                    <a:close/>
                    <a:moveTo>
                      <a:pt x="2468" y="1940"/>
                    </a:moveTo>
                    <a:lnTo>
                      <a:pt x="2473" y="1944"/>
                    </a:lnTo>
                    <a:lnTo>
                      <a:pt x="2481" y="1945"/>
                    </a:lnTo>
                    <a:lnTo>
                      <a:pt x="2486" y="1949"/>
                    </a:lnTo>
                    <a:lnTo>
                      <a:pt x="2494" y="1953"/>
                    </a:lnTo>
                    <a:lnTo>
                      <a:pt x="2499" y="1955"/>
                    </a:lnTo>
                    <a:lnTo>
                      <a:pt x="2506" y="1955"/>
                    </a:lnTo>
                    <a:lnTo>
                      <a:pt x="2510" y="1952"/>
                    </a:lnTo>
                    <a:lnTo>
                      <a:pt x="2514" y="1949"/>
                    </a:lnTo>
                    <a:lnTo>
                      <a:pt x="2521" y="1945"/>
                    </a:lnTo>
                    <a:lnTo>
                      <a:pt x="2527" y="1944"/>
                    </a:lnTo>
                    <a:lnTo>
                      <a:pt x="2530" y="1944"/>
                    </a:lnTo>
                    <a:lnTo>
                      <a:pt x="2532" y="1944"/>
                    </a:lnTo>
                    <a:lnTo>
                      <a:pt x="2534" y="1945"/>
                    </a:lnTo>
                    <a:lnTo>
                      <a:pt x="2535" y="1949"/>
                    </a:lnTo>
                    <a:lnTo>
                      <a:pt x="2535" y="1953"/>
                    </a:lnTo>
                    <a:lnTo>
                      <a:pt x="2535" y="1957"/>
                    </a:lnTo>
                    <a:lnTo>
                      <a:pt x="2534" y="1962"/>
                    </a:lnTo>
                    <a:lnTo>
                      <a:pt x="2534" y="1972"/>
                    </a:lnTo>
                    <a:lnTo>
                      <a:pt x="2534" y="1977"/>
                    </a:lnTo>
                    <a:lnTo>
                      <a:pt x="2535" y="1981"/>
                    </a:lnTo>
                    <a:lnTo>
                      <a:pt x="2538" y="1986"/>
                    </a:lnTo>
                    <a:lnTo>
                      <a:pt x="2540" y="1990"/>
                    </a:lnTo>
                    <a:lnTo>
                      <a:pt x="2538" y="1983"/>
                    </a:lnTo>
                    <a:lnTo>
                      <a:pt x="2535" y="1977"/>
                    </a:lnTo>
                    <a:lnTo>
                      <a:pt x="2538" y="1972"/>
                    </a:lnTo>
                    <a:lnTo>
                      <a:pt x="2540" y="1964"/>
                    </a:lnTo>
                    <a:lnTo>
                      <a:pt x="2542" y="1959"/>
                    </a:lnTo>
                    <a:lnTo>
                      <a:pt x="2547" y="1953"/>
                    </a:lnTo>
                    <a:lnTo>
                      <a:pt x="2552" y="1949"/>
                    </a:lnTo>
                    <a:lnTo>
                      <a:pt x="2558" y="1944"/>
                    </a:lnTo>
                    <a:lnTo>
                      <a:pt x="2565" y="1939"/>
                    </a:lnTo>
                    <a:lnTo>
                      <a:pt x="2573" y="1935"/>
                    </a:lnTo>
                    <a:lnTo>
                      <a:pt x="2582" y="1929"/>
                    </a:lnTo>
                    <a:lnTo>
                      <a:pt x="2591" y="1925"/>
                    </a:lnTo>
                    <a:lnTo>
                      <a:pt x="2603" y="1920"/>
                    </a:lnTo>
                    <a:lnTo>
                      <a:pt x="2611" y="1916"/>
                    </a:lnTo>
                    <a:lnTo>
                      <a:pt x="2634" y="1907"/>
                    </a:lnTo>
                    <a:lnTo>
                      <a:pt x="2657" y="1899"/>
                    </a:lnTo>
                    <a:lnTo>
                      <a:pt x="2680" y="1892"/>
                    </a:lnTo>
                    <a:lnTo>
                      <a:pt x="2702" y="1885"/>
                    </a:lnTo>
                    <a:lnTo>
                      <a:pt x="2713" y="1881"/>
                    </a:lnTo>
                    <a:lnTo>
                      <a:pt x="2724" y="1878"/>
                    </a:lnTo>
                    <a:lnTo>
                      <a:pt x="2733" y="1876"/>
                    </a:lnTo>
                    <a:lnTo>
                      <a:pt x="2743" y="1871"/>
                    </a:lnTo>
                    <a:lnTo>
                      <a:pt x="2752" y="1868"/>
                    </a:lnTo>
                    <a:lnTo>
                      <a:pt x="2759" y="1865"/>
                    </a:lnTo>
                    <a:lnTo>
                      <a:pt x="2767" y="1861"/>
                    </a:lnTo>
                    <a:lnTo>
                      <a:pt x="2772" y="1858"/>
                    </a:lnTo>
                    <a:lnTo>
                      <a:pt x="2776" y="1855"/>
                    </a:lnTo>
                    <a:lnTo>
                      <a:pt x="2782" y="1851"/>
                    </a:lnTo>
                    <a:lnTo>
                      <a:pt x="2774" y="1853"/>
                    </a:lnTo>
                    <a:lnTo>
                      <a:pt x="2769" y="1853"/>
                    </a:lnTo>
                    <a:lnTo>
                      <a:pt x="2761" y="1857"/>
                    </a:lnTo>
                    <a:lnTo>
                      <a:pt x="2756" y="1858"/>
                    </a:lnTo>
                    <a:lnTo>
                      <a:pt x="2748" y="1858"/>
                    </a:lnTo>
                    <a:lnTo>
                      <a:pt x="2744" y="1858"/>
                    </a:lnTo>
                    <a:lnTo>
                      <a:pt x="2743" y="1858"/>
                    </a:lnTo>
                    <a:lnTo>
                      <a:pt x="2739" y="1858"/>
                    </a:lnTo>
                    <a:lnTo>
                      <a:pt x="2735" y="1857"/>
                    </a:lnTo>
                    <a:lnTo>
                      <a:pt x="2731" y="1855"/>
                    </a:lnTo>
                    <a:lnTo>
                      <a:pt x="2729" y="1851"/>
                    </a:lnTo>
                    <a:lnTo>
                      <a:pt x="2724" y="1851"/>
                    </a:lnTo>
                    <a:lnTo>
                      <a:pt x="2721" y="1851"/>
                    </a:lnTo>
                    <a:lnTo>
                      <a:pt x="2718" y="1851"/>
                    </a:lnTo>
                    <a:lnTo>
                      <a:pt x="2716" y="1850"/>
                    </a:lnTo>
                    <a:lnTo>
                      <a:pt x="2718" y="1850"/>
                    </a:lnTo>
                    <a:lnTo>
                      <a:pt x="2718" y="1848"/>
                    </a:lnTo>
                    <a:lnTo>
                      <a:pt x="2721" y="1848"/>
                    </a:lnTo>
                    <a:lnTo>
                      <a:pt x="2724" y="1846"/>
                    </a:lnTo>
                    <a:lnTo>
                      <a:pt x="2726" y="1845"/>
                    </a:lnTo>
                    <a:lnTo>
                      <a:pt x="2729" y="1842"/>
                    </a:lnTo>
                    <a:lnTo>
                      <a:pt x="2735" y="1840"/>
                    </a:lnTo>
                    <a:lnTo>
                      <a:pt x="2741" y="1838"/>
                    </a:lnTo>
                    <a:lnTo>
                      <a:pt x="2746" y="1835"/>
                    </a:lnTo>
                    <a:lnTo>
                      <a:pt x="2739" y="1833"/>
                    </a:lnTo>
                    <a:lnTo>
                      <a:pt x="2733" y="1832"/>
                    </a:lnTo>
                    <a:lnTo>
                      <a:pt x="2726" y="1832"/>
                    </a:lnTo>
                    <a:lnTo>
                      <a:pt x="2721" y="1833"/>
                    </a:lnTo>
                    <a:lnTo>
                      <a:pt x="2713" y="1835"/>
                    </a:lnTo>
                    <a:lnTo>
                      <a:pt x="2708" y="1838"/>
                    </a:lnTo>
                    <a:lnTo>
                      <a:pt x="2700" y="1842"/>
                    </a:lnTo>
                    <a:lnTo>
                      <a:pt x="2695" y="1846"/>
                    </a:lnTo>
                    <a:lnTo>
                      <a:pt x="2682" y="1853"/>
                    </a:lnTo>
                    <a:lnTo>
                      <a:pt x="2674" y="1857"/>
                    </a:lnTo>
                    <a:lnTo>
                      <a:pt x="2669" y="1861"/>
                    </a:lnTo>
                    <a:lnTo>
                      <a:pt x="2662" y="1865"/>
                    </a:lnTo>
                    <a:lnTo>
                      <a:pt x="2656" y="1866"/>
                    </a:lnTo>
                    <a:lnTo>
                      <a:pt x="2650" y="1868"/>
                    </a:lnTo>
                    <a:lnTo>
                      <a:pt x="2642" y="1870"/>
                    </a:lnTo>
                    <a:lnTo>
                      <a:pt x="2636" y="1868"/>
                    </a:lnTo>
                    <a:lnTo>
                      <a:pt x="2628" y="1866"/>
                    </a:lnTo>
                    <a:lnTo>
                      <a:pt x="2619" y="1865"/>
                    </a:lnTo>
                    <a:lnTo>
                      <a:pt x="2608" y="1863"/>
                    </a:lnTo>
                    <a:lnTo>
                      <a:pt x="2599" y="1861"/>
                    </a:lnTo>
                    <a:lnTo>
                      <a:pt x="2595" y="1861"/>
                    </a:lnTo>
                    <a:lnTo>
                      <a:pt x="2589" y="1863"/>
                    </a:lnTo>
                    <a:lnTo>
                      <a:pt x="2586" y="1863"/>
                    </a:lnTo>
                    <a:lnTo>
                      <a:pt x="2582" y="1865"/>
                    </a:lnTo>
                    <a:lnTo>
                      <a:pt x="2578" y="1866"/>
                    </a:lnTo>
                    <a:lnTo>
                      <a:pt x="2575" y="1870"/>
                    </a:lnTo>
                    <a:lnTo>
                      <a:pt x="2569" y="1876"/>
                    </a:lnTo>
                    <a:lnTo>
                      <a:pt x="2563" y="1881"/>
                    </a:lnTo>
                    <a:lnTo>
                      <a:pt x="2560" y="1886"/>
                    </a:lnTo>
                    <a:lnTo>
                      <a:pt x="2556" y="1891"/>
                    </a:lnTo>
                    <a:lnTo>
                      <a:pt x="2556" y="1892"/>
                    </a:lnTo>
                    <a:lnTo>
                      <a:pt x="2555" y="1892"/>
                    </a:lnTo>
                    <a:lnTo>
                      <a:pt x="2552" y="1894"/>
                    </a:lnTo>
                    <a:lnTo>
                      <a:pt x="2550" y="1894"/>
                    </a:lnTo>
                    <a:lnTo>
                      <a:pt x="2547" y="1892"/>
                    </a:lnTo>
                    <a:lnTo>
                      <a:pt x="2545" y="1891"/>
                    </a:lnTo>
                    <a:lnTo>
                      <a:pt x="2547" y="1891"/>
                    </a:lnTo>
                    <a:lnTo>
                      <a:pt x="2547" y="1883"/>
                    </a:lnTo>
                    <a:lnTo>
                      <a:pt x="2545" y="1879"/>
                    </a:lnTo>
                    <a:lnTo>
                      <a:pt x="2545" y="1876"/>
                    </a:lnTo>
                    <a:lnTo>
                      <a:pt x="2543" y="1876"/>
                    </a:lnTo>
                    <a:lnTo>
                      <a:pt x="2542" y="1876"/>
                    </a:lnTo>
                    <a:lnTo>
                      <a:pt x="2540" y="1879"/>
                    </a:lnTo>
                    <a:lnTo>
                      <a:pt x="2534" y="1883"/>
                    </a:lnTo>
                    <a:lnTo>
                      <a:pt x="2532" y="1886"/>
                    </a:lnTo>
                    <a:lnTo>
                      <a:pt x="2530" y="1886"/>
                    </a:lnTo>
                    <a:lnTo>
                      <a:pt x="2527" y="1886"/>
                    </a:lnTo>
                    <a:lnTo>
                      <a:pt x="2523" y="1888"/>
                    </a:lnTo>
                    <a:lnTo>
                      <a:pt x="2519" y="1891"/>
                    </a:lnTo>
                    <a:lnTo>
                      <a:pt x="2515" y="1894"/>
                    </a:lnTo>
                    <a:lnTo>
                      <a:pt x="2512" y="1898"/>
                    </a:lnTo>
                    <a:lnTo>
                      <a:pt x="2506" y="1903"/>
                    </a:lnTo>
                    <a:lnTo>
                      <a:pt x="2499" y="1903"/>
                    </a:lnTo>
                    <a:lnTo>
                      <a:pt x="2495" y="1901"/>
                    </a:lnTo>
                    <a:lnTo>
                      <a:pt x="2491" y="1899"/>
                    </a:lnTo>
                    <a:lnTo>
                      <a:pt x="2488" y="1898"/>
                    </a:lnTo>
                    <a:lnTo>
                      <a:pt x="2484" y="1896"/>
                    </a:lnTo>
                    <a:lnTo>
                      <a:pt x="2482" y="1896"/>
                    </a:lnTo>
                    <a:lnTo>
                      <a:pt x="2481" y="1896"/>
                    </a:lnTo>
                    <a:lnTo>
                      <a:pt x="2479" y="1898"/>
                    </a:lnTo>
                    <a:lnTo>
                      <a:pt x="2476" y="1898"/>
                    </a:lnTo>
                    <a:lnTo>
                      <a:pt x="2475" y="1899"/>
                    </a:lnTo>
                    <a:lnTo>
                      <a:pt x="2471" y="1903"/>
                    </a:lnTo>
                    <a:lnTo>
                      <a:pt x="2471" y="1906"/>
                    </a:lnTo>
                    <a:lnTo>
                      <a:pt x="2471" y="1909"/>
                    </a:lnTo>
                    <a:lnTo>
                      <a:pt x="2473" y="1912"/>
                    </a:lnTo>
                    <a:lnTo>
                      <a:pt x="2475" y="1914"/>
                    </a:lnTo>
                    <a:lnTo>
                      <a:pt x="2471" y="1912"/>
                    </a:lnTo>
                    <a:lnTo>
                      <a:pt x="2468" y="1909"/>
                    </a:lnTo>
                    <a:lnTo>
                      <a:pt x="2464" y="1906"/>
                    </a:lnTo>
                    <a:lnTo>
                      <a:pt x="2460" y="1903"/>
                    </a:lnTo>
                    <a:lnTo>
                      <a:pt x="2455" y="1903"/>
                    </a:lnTo>
                    <a:lnTo>
                      <a:pt x="2448" y="1903"/>
                    </a:lnTo>
                    <a:lnTo>
                      <a:pt x="2441" y="1906"/>
                    </a:lnTo>
                    <a:lnTo>
                      <a:pt x="2438" y="1907"/>
                    </a:lnTo>
                    <a:lnTo>
                      <a:pt x="2435" y="1909"/>
                    </a:lnTo>
                    <a:lnTo>
                      <a:pt x="2433" y="1911"/>
                    </a:lnTo>
                    <a:lnTo>
                      <a:pt x="2428" y="1914"/>
                    </a:lnTo>
                    <a:lnTo>
                      <a:pt x="2428" y="1918"/>
                    </a:lnTo>
                    <a:lnTo>
                      <a:pt x="2428" y="1920"/>
                    </a:lnTo>
                    <a:lnTo>
                      <a:pt x="2428" y="1924"/>
                    </a:lnTo>
                    <a:lnTo>
                      <a:pt x="2428" y="1927"/>
                    </a:lnTo>
                    <a:lnTo>
                      <a:pt x="2433" y="1929"/>
                    </a:lnTo>
                    <a:lnTo>
                      <a:pt x="2435" y="1932"/>
                    </a:lnTo>
                    <a:lnTo>
                      <a:pt x="2438" y="1935"/>
                    </a:lnTo>
                    <a:lnTo>
                      <a:pt x="2441" y="1937"/>
                    </a:lnTo>
                    <a:lnTo>
                      <a:pt x="2448" y="1937"/>
                    </a:lnTo>
                    <a:lnTo>
                      <a:pt x="2455" y="1939"/>
                    </a:lnTo>
                    <a:lnTo>
                      <a:pt x="2460" y="1939"/>
                    </a:lnTo>
                    <a:lnTo>
                      <a:pt x="2468" y="1940"/>
                    </a:lnTo>
                    <a:close/>
                    <a:moveTo>
                      <a:pt x="6677" y="1832"/>
                    </a:moveTo>
                    <a:lnTo>
                      <a:pt x="6681" y="1827"/>
                    </a:lnTo>
                    <a:lnTo>
                      <a:pt x="6687" y="1824"/>
                    </a:lnTo>
                    <a:lnTo>
                      <a:pt x="6690" y="1820"/>
                    </a:lnTo>
                    <a:lnTo>
                      <a:pt x="6694" y="1815"/>
                    </a:lnTo>
                    <a:lnTo>
                      <a:pt x="6703" y="1805"/>
                    </a:lnTo>
                    <a:lnTo>
                      <a:pt x="6708" y="1792"/>
                    </a:lnTo>
                    <a:lnTo>
                      <a:pt x="6716" y="1781"/>
                    </a:lnTo>
                    <a:lnTo>
                      <a:pt x="6723" y="1769"/>
                    </a:lnTo>
                    <a:lnTo>
                      <a:pt x="6710" y="1769"/>
                    </a:lnTo>
                    <a:lnTo>
                      <a:pt x="6705" y="1766"/>
                    </a:lnTo>
                    <a:lnTo>
                      <a:pt x="6700" y="1766"/>
                    </a:lnTo>
                    <a:lnTo>
                      <a:pt x="6694" y="1763"/>
                    </a:lnTo>
                    <a:lnTo>
                      <a:pt x="6692" y="1761"/>
                    </a:lnTo>
                    <a:lnTo>
                      <a:pt x="6688" y="1756"/>
                    </a:lnTo>
                    <a:lnTo>
                      <a:pt x="6688" y="1750"/>
                    </a:lnTo>
                    <a:lnTo>
                      <a:pt x="6682" y="1751"/>
                    </a:lnTo>
                    <a:lnTo>
                      <a:pt x="6679" y="1754"/>
                    </a:lnTo>
                    <a:lnTo>
                      <a:pt x="6675" y="1756"/>
                    </a:lnTo>
                    <a:lnTo>
                      <a:pt x="6672" y="1759"/>
                    </a:lnTo>
                    <a:lnTo>
                      <a:pt x="6667" y="1763"/>
                    </a:lnTo>
                    <a:lnTo>
                      <a:pt x="6664" y="1764"/>
                    </a:lnTo>
                    <a:lnTo>
                      <a:pt x="6659" y="1766"/>
                    </a:lnTo>
                    <a:lnTo>
                      <a:pt x="6654" y="1769"/>
                    </a:lnTo>
                    <a:lnTo>
                      <a:pt x="6659" y="1763"/>
                    </a:lnTo>
                    <a:lnTo>
                      <a:pt x="6664" y="1758"/>
                    </a:lnTo>
                    <a:lnTo>
                      <a:pt x="6666" y="1756"/>
                    </a:lnTo>
                    <a:lnTo>
                      <a:pt x="6670" y="1751"/>
                    </a:lnTo>
                    <a:lnTo>
                      <a:pt x="6672" y="1750"/>
                    </a:lnTo>
                    <a:lnTo>
                      <a:pt x="6667" y="1748"/>
                    </a:lnTo>
                    <a:lnTo>
                      <a:pt x="6664" y="1746"/>
                    </a:lnTo>
                    <a:lnTo>
                      <a:pt x="6662" y="1744"/>
                    </a:lnTo>
                    <a:lnTo>
                      <a:pt x="6659" y="1743"/>
                    </a:lnTo>
                    <a:lnTo>
                      <a:pt x="6654" y="1743"/>
                    </a:lnTo>
                    <a:lnTo>
                      <a:pt x="6648" y="1743"/>
                    </a:lnTo>
                    <a:lnTo>
                      <a:pt x="6642" y="1743"/>
                    </a:lnTo>
                    <a:lnTo>
                      <a:pt x="6641" y="1741"/>
                    </a:lnTo>
                    <a:lnTo>
                      <a:pt x="6639" y="1741"/>
                    </a:lnTo>
                    <a:lnTo>
                      <a:pt x="6636" y="1739"/>
                    </a:lnTo>
                    <a:lnTo>
                      <a:pt x="6636" y="1738"/>
                    </a:lnTo>
                    <a:lnTo>
                      <a:pt x="6636" y="1733"/>
                    </a:lnTo>
                    <a:lnTo>
                      <a:pt x="6629" y="1733"/>
                    </a:lnTo>
                    <a:lnTo>
                      <a:pt x="6621" y="1731"/>
                    </a:lnTo>
                    <a:lnTo>
                      <a:pt x="6613" y="1728"/>
                    </a:lnTo>
                    <a:lnTo>
                      <a:pt x="6601" y="1724"/>
                    </a:lnTo>
                    <a:lnTo>
                      <a:pt x="6593" y="1723"/>
                    </a:lnTo>
                    <a:lnTo>
                      <a:pt x="6583" y="1718"/>
                    </a:lnTo>
                    <a:lnTo>
                      <a:pt x="6575" y="1717"/>
                    </a:lnTo>
                    <a:lnTo>
                      <a:pt x="6568" y="1717"/>
                    </a:lnTo>
                    <a:lnTo>
                      <a:pt x="6570" y="1710"/>
                    </a:lnTo>
                    <a:lnTo>
                      <a:pt x="6572" y="1705"/>
                    </a:lnTo>
                    <a:lnTo>
                      <a:pt x="6572" y="1700"/>
                    </a:lnTo>
                    <a:lnTo>
                      <a:pt x="6572" y="1697"/>
                    </a:lnTo>
                    <a:lnTo>
                      <a:pt x="6570" y="1693"/>
                    </a:lnTo>
                    <a:lnTo>
                      <a:pt x="6568" y="1690"/>
                    </a:lnTo>
                    <a:lnTo>
                      <a:pt x="6567" y="1689"/>
                    </a:lnTo>
                    <a:lnTo>
                      <a:pt x="6563" y="1689"/>
                    </a:lnTo>
                    <a:lnTo>
                      <a:pt x="6559" y="1687"/>
                    </a:lnTo>
                    <a:lnTo>
                      <a:pt x="6555" y="1687"/>
                    </a:lnTo>
                    <a:lnTo>
                      <a:pt x="6552" y="1689"/>
                    </a:lnTo>
                    <a:lnTo>
                      <a:pt x="6548" y="1689"/>
                    </a:lnTo>
                    <a:lnTo>
                      <a:pt x="6544" y="1690"/>
                    </a:lnTo>
                    <a:lnTo>
                      <a:pt x="6540" y="1693"/>
                    </a:lnTo>
                    <a:lnTo>
                      <a:pt x="6534" y="1700"/>
                    </a:lnTo>
                    <a:lnTo>
                      <a:pt x="6527" y="1702"/>
                    </a:lnTo>
                    <a:lnTo>
                      <a:pt x="6522" y="1702"/>
                    </a:lnTo>
                    <a:lnTo>
                      <a:pt x="6517" y="1702"/>
                    </a:lnTo>
                    <a:lnTo>
                      <a:pt x="6513" y="1700"/>
                    </a:lnTo>
                    <a:lnTo>
                      <a:pt x="6509" y="1698"/>
                    </a:lnTo>
                    <a:lnTo>
                      <a:pt x="6506" y="1697"/>
                    </a:lnTo>
                    <a:lnTo>
                      <a:pt x="6504" y="1693"/>
                    </a:lnTo>
                    <a:lnTo>
                      <a:pt x="6501" y="1689"/>
                    </a:lnTo>
                    <a:lnTo>
                      <a:pt x="6496" y="1680"/>
                    </a:lnTo>
                    <a:lnTo>
                      <a:pt x="6494" y="1676"/>
                    </a:lnTo>
                    <a:lnTo>
                      <a:pt x="6493" y="1672"/>
                    </a:lnTo>
                    <a:lnTo>
                      <a:pt x="6489" y="1669"/>
                    </a:lnTo>
                    <a:lnTo>
                      <a:pt x="6487" y="1667"/>
                    </a:lnTo>
                    <a:lnTo>
                      <a:pt x="6486" y="1665"/>
                    </a:lnTo>
                    <a:lnTo>
                      <a:pt x="6481" y="1665"/>
                    </a:lnTo>
                    <a:lnTo>
                      <a:pt x="6481" y="1662"/>
                    </a:lnTo>
                    <a:lnTo>
                      <a:pt x="6480" y="1657"/>
                    </a:lnTo>
                    <a:lnTo>
                      <a:pt x="6478" y="1656"/>
                    </a:lnTo>
                    <a:lnTo>
                      <a:pt x="6476" y="1652"/>
                    </a:lnTo>
                    <a:lnTo>
                      <a:pt x="6473" y="1644"/>
                    </a:lnTo>
                    <a:lnTo>
                      <a:pt x="6467" y="1639"/>
                    </a:lnTo>
                    <a:lnTo>
                      <a:pt x="6463" y="1632"/>
                    </a:lnTo>
                    <a:lnTo>
                      <a:pt x="6461" y="1630"/>
                    </a:lnTo>
                    <a:lnTo>
                      <a:pt x="6460" y="1626"/>
                    </a:lnTo>
                    <a:lnTo>
                      <a:pt x="6460" y="1623"/>
                    </a:lnTo>
                    <a:lnTo>
                      <a:pt x="6460" y="1619"/>
                    </a:lnTo>
                    <a:lnTo>
                      <a:pt x="6461" y="1617"/>
                    </a:lnTo>
                    <a:lnTo>
                      <a:pt x="6465" y="1613"/>
                    </a:lnTo>
                    <a:lnTo>
                      <a:pt x="6468" y="1610"/>
                    </a:lnTo>
                    <a:lnTo>
                      <a:pt x="6473" y="1606"/>
                    </a:lnTo>
                    <a:lnTo>
                      <a:pt x="6478" y="1604"/>
                    </a:lnTo>
                    <a:lnTo>
                      <a:pt x="6486" y="1600"/>
                    </a:lnTo>
                    <a:lnTo>
                      <a:pt x="6493" y="1596"/>
                    </a:lnTo>
                    <a:lnTo>
                      <a:pt x="6501" y="1593"/>
                    </a:lnTo>
                    <a:lnTo>
                      <a:pt x="6513" y="1588"/>
                    </a:lnTo>
                    <a:lnTo>
                      <a:pt x="6521" y="1583"/>
                    </a:lnTo>
                    <a:lnTo>
                      <a:pt x="6527" y="1580"/>
                    </a:lnTo>
                    <a:lnTo>
                      <a:pt x="6534" y="1578"/>
                    </a:lnTo>
                    <a:lnTo>
                      <a:pt x="6539" y="1575"/>
                    </a:lnTo>
                    <a:lnTo>
                      <a:pt x="6544" y="1571"/>
                    </a:lnTo>
                    <a:lnTo>
                      <a:pt x="6548" y="1567"/>
                    </a:lnTo>
                    <a:lnTo>
                      <a:pt x="6550" y="1565"/>
                    </a:lnTo>
                    <a:lnTo>
                      <a:pt x="6550" y="1562"/>
                    </a:lnTo>
                    <a:lnTo>
                      <a:pt x="6554" y="1558"/>
                    </a:lnTo>
                    <a:lnTo>
                      <a:pt x="6555" y="1554"/>
                    </a:lnTo>
                    <a:lnTo>
                      <a:pt x="6557" y="1550"/>
                    </a:lnTo>
                    <a:lnTo>
                      <a:pt x="6557" y="1545"/>
                    </a:lnTo>
                    <a:lnTo>
                      <a:pt x="6559" y="1536"/>
                    </a:lnTo>
                    <a:lnTo>
                      <a:pt x="6559" y="1527"/>
                    </a:lnTo>
                    <a:lnTo>
                      <a:pt x="6559" y="1517"/>
                    </a:lnTo>
                    <a:lnTo>
                      <a:pt x="6560" y="1508"/>
                    </a:lnTo>
                    <a:lnTo>
                      <a:pt x="6560" y="1504"/>
                    </a:lnTo>
                    <a:lnTo>
                      <a:pt x="6563" y="1501"/>
                    </a:lnTo>
                    <a:lnTo>
                      <a:pt x="6565" y="1497"/>
                    </a:lnTo>
                    <a:lnTo>
                      <a:pt x="6568" y="1493"/>
                    </a:lnTo>
                    <a:lnTo>
                      <a:pt x="6574" y="1481"/>
                    </a:lnTo>
                    <a:lnTo>
                      <a:pt x="6581" y="1471"/>
                    </a:lnTo>
                    <a:lnTo>
                      <a:pt x="6587" y="1462"/>
                    </a:lnTo>
                    <a:lnTo>
                      <a:pt x="6595" y="1455"/>
                    </a:lnTo>
                    <a:lnTo>
                      <a:pt x="6600" y="1445"/>
                    </a:lnTo>
                    <a:lnTo>
                      <a:pt x="6608" y="1440"/>
                    </a:lnTo>
                    <a:lnTo>
                      <a:pt x="6620" y="1425"/>
                    </a:lnTo>
                    <a:lnTo>
                      <a:pt x="6620" y="1420"/>
                    </a:lnTo>
                    <a:lnTo>
                      <a:pt x="6621" y="1414"/>
                    </a:lnTo>
                    <a:lnTo>
                      <a:pt x="6626" y="1407"/>
                    </a:lnTo>
                    <a:lnTo>
                      <a:pt x="6628" y="1402"/>
                    </a:lnTo>
                    <a:lnTo>
                      <a:pt x="6631" y="1397"/>
                    </a:lnTo>
                    <a:lnTo>
                      <a:pt x="6634" y="1394"/>
                    </a:lnTo>
                    <a:lnTo>
                      <a:pt x="6636" y="1392"/>
                    </a:lnTo>
                    <a:lnTo>
                      <a:pt x="6636" y="1386"/>
                    </a:lnTo>
                    <a:lnTo>
                      <a:pt x="6639" y="1381"/>
                    </a:lnTo>
                    <a:lnTo>
                      <a:pt x="6642" y="1379"/>
                    </a:lnTo>
                    <a:lnTo>
                      <a:pt x="6646" y="1377"/>
                    </a:lnTo>
                    <a:lnTo>
                      <a:pt x="6648" y="1376"/>
                    </a:lnTo>
                    <a:lnTo>
                      <a:pt x="6651" y="1376"/>
                    </a:lnTo>
                    <a:lnTo>
                      <a:pt x="6654" y="1374"/>
                    </a:lnTo>
                    <a:lnTo>
                      <a:pt x="6654" y="1366"/>
                    </a:lnTo>
                    <a:lnTo>
                      <a:pt x="6654" y="1359"/>
                    </a:lnTo>
                    <a:lnTo>
                      <a:pt x="6651" y="1351"/>
                    </a:lnTo>
                    <a:lnTo>
                      <a:pt x="6651" y="1348"/>
                    </a:lnTo>
                    <a:lnTo>
                      <a:pt x="6649" y="1341"/>
                    </a:lnTo>
                    <a:lnTo>
                      <a:pt x="6648" y="1340"/>
                    </a:lnTo>
                    <a:lnTo>
                      <a:pt x="6646" y="1336"/>
                    </a:lnTo>
                    <a:lnTo>
                      <a:pt x="6642" y="1335"/>
                    </a:lnTo>
                    <a:lnTo>
                      <a:pt x="6639" y="1333"/>
                    </a:lnTo>
                    <a:lnTo>
                      <a:pt x="6633" y="1331"/>
                    </a:lnTo>
                    <a:lnTo>
                      <a:pt x="6629" y="1329"/>
                    </a:lnTo>
                    <a:lnTo>
                      <a:pt x="6626" y="1327"/>
                    </a:lnTo>
                    <a:lnTo>
                      <a:pt x="6624" y="1325"/>
                    </a:lnTo>
                    <a:lnTo>
                      <a:pt x="6620" y="1322"/>
                    </a:lnTo>
                    <a:lnTo>
                      <a:pt x="6613" y="1316"/>
                    </a:lnTo>
                    <a:lnTo>
                      <a:pt x="6608" y="1310"/>
                    </a:lnTo>
                    <a:lnTo>
                      <a:pt x="6601" y="1307"/>
                    </a:lnTo>
                    <a:lnTo>
                      <a:pt x="6596" y="1303"/>
                    </a:lnTo>
                    <a:lnTo>
                      <a:pt x="6590" y="1300"/>
                    </a:lnTo>
                    <a:lnTo>
                      <a:pt x="6587" y="1298"/>
                    </a:lnTo>
                    <a:lnTo>
                      <a:pt x="6581" y="1295"/>
                    </a:lnTo>
                    <a:lnTo>
                      <a:pt x="6575" y="1294"/>
                    </a:lnTo>
                    <a:lnTo>
                      <a:pt x="6572" y="1294"/>
                    </a:lnTo>
                    <a:lnTo>
                      <a:pt x="6567" y="1294"/>
                    </a:lnTo>
                    <a:lnTo>
                      <a:pt x="6560" y="1295"/>
                    </a:lnTo>
                    <a:lnTo>
                      <a:pt x="6557" y="1295"/>
                    </a:lnTo>
                    <a:lnTo>
                      <a:pt x="6552" y="1298"/>
                    </a:lnTo>
                    <a:lnTo>
                      <a:pt x="6547" y="1300"/>
                    </a:lnTo>
                    <a:lnTo>
                      <a:pt x="6534" y="1305"/>
                    </a:lnTo>
                    <a:lnTo>
                      <a:pt x="6527" y="1305"/>
                    </a:lnTo>
                    <a:lnTo>
                      <a:pt x="6521" y="1303"/>
                    </a:lnTo>
                    <a:lnTo>
                      <a:pt x="6513" y="1303"/>
                    </a:lnTo>
                    <a:lnTo>
                      <a:pt x="6507" y="1300"/>
                    </a:lnTo>
                    <a:lnTo>
                      <a:pt x="6494" y="1295"/>
                    </a:lnTo>
                    <a:lnTo>
                      <a:pt x="6481" y="1290"/>
                    </a:lnTo>
                    <a:lnTo>
                      <a:pt x="6468" y="1287"/>
                    </a:lnTo>
                    <a:lnTo>
                      <a:pt x="6463" y="1285"/>
                    </a:lnTo>
                    <a:lnTo>
                      <a:pt x="6456" y="1283"/>
                    </a:lnTo>
                    <a:lnTo>
                      <a:pt x="6450" y="1283"/>
                    </a:lnTo>
                    <a:lnTo>
                      <a:pt x="6443" y="1285"/>
                    </a:lnTo>
                    <a:lnTo>
                      <a:pt x="6437" y="1287"/>
                    </a:lnTo>
                    <a:lnTo>
                      <a:pt x="6430" y="1288"/>
                    </a:lnTo>
                    <a:lnTo>
                      <a:pt x="6435" y="1294"/>
                    </a:lnTo>
                    <a:lnTo>
                      <a:pt x="6440" y="1298"/>
                    </a:lnTo>
                    <a:lnTo>
                      <a:pt x="6443" y="1302"/>
                    </a:lnTo>
                    <a:lnTo>
                      <a:pt x="6445" y="1303"/>
                    </a:lnTo>
                    <a:lnTo>
                      <a:pt x="6447" y="1305"/>
                    </a:lnTo>
                    <a:lnTo>
                      <a:pt x="6437" y="1307"/>
                    </a:lnTo>
                    <a:lnTo>
                      <a:pt x="6428" y="1307"/>
                    </a:lnTo>
                    <a:lnTo>
                      <a:pt x="6419" y="1310"/>
                    </a:lnTo>
                    <a:lnTo>
                      <a:pt x="6410" y="1315"/>
                    </a:lnTo>
                    <a:lnTo>
                      <a:pt x="6400" y="1320"/>
                    </a:lnTo>
                    <a:lnTo>
                      <a:pt x="6391" y="1325"/>
                    </a:lnTo>
                    <a:lnTo>
                      <a:pt x="6382" y="1331"/>
                    </a:lnTo>
                    <a:lnTo>
                      <a:pt x="6374" y="1338"/>
                    </a:lnTo>
                    <a:lnTo>
                      <a:pt x="6366" y="1346"/>
                    </a:lnTo>
                    <a:lnTo>
                      <a:pt x="6358" y="1353"/>
                    </a:lnTo>
                    <a:lnTo>
                      <a:pt x="6353" y="1362"/>
                    </a:lnTo>
                    <a:lnTo>
                      <a:pt x="6345" y="1371"/>
                    </a:lnTo>
                    <a:lnTo>
                      <a:pt x="6340" y="1381"/>
                    </a:lnTo>
                    <a:lnTo>
                      <a:pt x="6334" y="1390"/>
                    </a:lnTo>
                    <a:lnTo>
                      <a:pt x="6330" y="1399"/>
                    </a:lnTo>
                    <a:lnTo>
                      <a:pt x="6326" y="1409"/>
                    </a:lnTo>
                    <a:lnTo>
                      <a:pt x="6323" y="1412"/>
                    </a:lnTo>
                    <a:lnTo>
                      <a:pt x="6318" y="1415"/>
                    </a:lnTo>
                    <a:lnTo>
                      <a:pt x="6312" y="1422"/>
                    </a:lnTo>
                    <a:lnTo>
                      <a:pt x="6306" y="1427"/>
                    </a:lnTo>
                    <a:lnTo>
                      <a:pt x="6293" y="1438"/>
                    </a:lnTo>
                    <a:lnTo>
                      <a:pt x="6288" y="1445"/>
                    </a:lnTo>
                    <a:lnTo>
                      <a:pt x="6282" y="1451"/>
                    </a:lnTo>
                    <a:lnTo>
                      <a:pt x="6277" y="1458"/>
                    </a:lnTo>
                    <a:lnTo>
                      <a:pt x="6272" y="1463"/>
                    </a:lnTo>
                    <a:lnTo>
                      <a:pt x="6267" y="1471"/>
                    </a:lnTo>
                    <a:lnTo>
                      <a:pt x="6266" y="1476"/>
                    </a:lnTo>
                    <a:lnTo>
                      <a:pt x="6266" y="1481"/>
                    </a:lnTo>
                    <a:lnTo>
                      <a:pt x="6266" y="1483"/>
                    </a:lnTo>
                    <a:lnTo>
                      <a:pt x="6266" y="1484"/>
                    </a:lnTo>
                    <a:lnTo>
                      <a:pt x="6267" y="1488"/>
                    </a:lnTo>
                    <a:lnTo>
                      <a:pt x="6269" y="1489"/>
                    </a:lnTo>
                    <a:lnTo>
                      <a:pt x="6272" y="1491"/>
                    </a:lnTo>
                    <a:lnTo>
                      <a:pt x="6275" y="1493"/>
                    </a:lnTo>
                    <a:lnTo>
                      <a:pt x="6267" y="1493"/>
                    </a:lnTo>
                    <a:lnTo>
                      <a:pt x="6262" y="1496"/>
                    </a:lnTo>
                    <a:lnTo>
                      <a:pt x="6254" y="1499"/>
                    </a:lnTo>
                    <a:lnTo>
                      <a:pt x="6246" y="1503"/>
                    </a:lnTo>
                    <a:lnTo>
                      <a:pt x="6238" y="1508"/>
                    </a:lnTo>
                    <a:lnTo>
                      <a:pt x="6231" y="1514"/>
                    </a:lnTo>
                    <a:lnTo>
                      <a:pt x="6213" y="1522"/>
                    </a:lnTo>
                    <a:lnTo>
                      <a:pt x="6203" y="1529"/>
                    </a:lnTo>
                    <a:lnTo>
                      <a:pt x="6193" y="1532"/>
                    </a:lnTo>
                    <a:lnTo>
                      <a:pt x="6185" y="1534"/>
                    </a:lnTo>
                    <a:lnTo>
                      <a:pt x="6175" y="1536"/>
                    </a:lnTo>
                    <a:lnTo>
                      <a:pt x="6166" y="1537"/>
                    </a:lnTo>
                    <a:lnTo>
                      <a:pt x="6162" y="1536"/>
                    </a:lnTo>
                    <a:lnTo>
                      <a:pt x="6157" y="1536"/>
                    </a:lnTo>
                    <a:lnTo>
                      <a:pt x="6152" y="1534"/>
                    </a:lnTo>
                    <a:lnTo>
                      <a:pt x="6147" y="1532"/>
                    </a:lnTo>
                    <a:lnTo>
                      <a:pt x="6142" y="1530"/>
                    </a:lnTo>
                    <a:lnTo>
                      <a:pt x="6139" y="1527"/>
                    </a:lnTo>
                    <a:lnTo>
                      <a:pt x="6150" y="1514"/>
                    </a:lnTo>
                    <a:lnTo>
                      <a:pt x="6157" y="1508"/>
                    </a:lnTo>
                    <a:lnTo>
                      <a:pt x="6162" y="1504"/>
                    </a:lnTo>
                    <a:lnTo>
                      <a:pt x="6170" y="1499"/>
                    </a:lnTo>
                    <a:lnTo>
                      <a:pt x="6175" y="1496"/>
                    </a:lnTo>
                    <a:lnTo>
                      <a:pt x="6183" y="1493"/>
                    </a:lnTo>
                    <a:lnTo>
                      <a:pt x="6181" y="1493"/>
                    </a:lnTo>
                    <a:lnTo>
                      <a:pt x="6177" y="1493"/>
                    </a:lnTo>
                    <a:lnTo>
                      <a:pt x="6173" y="1493"/>
                    </a:lnTo>
                    <a:lnTo>
                      <a:pt x="6172" y="1493"/>
                    </a:lnTo>
                    <a:lnTo>
                      <a:pt x="6170" y="1491"/>
                    </a:lnTo>
                    <a:lnTo>
                      <a:pt x="6170" y="1489"/>
                    </a:lnTo>
                    <a:lnTo>
                      <a:pt x="6170" y="1486"/>
                    </a:lnTo>
                    <a:lnTo>
                      <a:pt x="6170" y="1484"/>
                    </a:lnTo>
                    <a:lnTo>
                      <a:pt x="6170" y="1483"/>
                    </a:lnTo>
                    <a:lnTo>
                      <a:pt x="6172" y="1478"/>
                    </a:lnTo>
                    <a:lnTo>
                      <a:pt x="6175" y="1473"/>
                    </a:lnTo>
                    <a:lnTo>
                      <a:pt x="6181" y="1468"/>
                    </a:lnTo>
                    <a:lnTo>
                      <a:pt x="6186" y="1460"/>
                    </a:lnTo>
                    <a:lnTo>
                      <a:pt x="6192" y="1453"/>
                    </a:lnTo>
                    <a:lnTo>
                      <a:pt x="6199" y="1445"/>
                    </a:lnTo>
                    <a:lnTo>
                      <a:pt x="6206" y="1438"/>
                    </a:lnTo>
                    <a:lnTo>
                      <a:pt x="6214" y="1430"/>
                    </a:lnTo>
                    <a:lnTo>
                      <a:pt x="6221" y="1425"/>
                    </a:lnTo>
                    <a:lnTo>
                      <a:pt x="6227" y="1420"/>
                    </a:lnTo>
                    <a:lnTo>
                      <a:pt x="6233" y="1414"/>
                    </a:lnTo>
                    <a:lnTo>
                      <a:pt x="6236" y="1412"/>
                    </a:lnTo>
                    <a:lnTo>
                      <a:pt x="6239" y="1409"/>
                    </a:lnTo>
                    <a:lnTo>
                      <a:pt x="6239" y="1402"/>
                    </a:lnTo>
                    <a:lnTo>
                      <a:pt x="6238" y="1399"/>
                    </a:lnTo>
                    <a:lnTo>
                      <a:pt x="6234" y="1395"/>
                    </a:lnTo>
                    <a:lnTo>
                      <a:pt x="6229" y="1394"/>
                    </a:lnTo>
                    <a:lnTo>
                      <a:pt x="6225" y="1392"/>
                    </a:lnTo>
                    <a:lnTo>
                      <a:pt x="6219" y="1392"/>
                    </a:lnTo>
                    <a:lnTo>
                      <a:pt x="6206" y="1392"/>
                    </a:lnTo>
                    <a:lnTo>
                      <a:pt x="6211" y="1390"/>
                    </a:lnTo>
                    <a:lnTo>
                      <a:pt x="6214" y="1389"/>
                    </a:lnTo>
                    <a:lnTo>
                      <a:pt x="6218" y="1386"/>
                    </a:lnTo>
                    <a:lnTo>
                      <a:pt x="6219" y="1386"/>
                    </a:lnTo>
                    <a:lnTo>
                      <a:pt x="6221" y="1384"/>
                    </a:lnTo>
                    <a:lnTo>
                      <a:pt x="6221" y="1382"/>
                    </a:lnTo>
                    <a:lnTo>
                      <a:pt x="6223" y="1382"/>
                    </a:lnTo>
                    <a:lnTo>
                      <a:pt x="6223" y="1381"/>
                    </a:lnTo>
                    <a:lnTo>
                      <a:pt x="6221" y="1379"/>
                    </a:lnTo>
                    <a:lnTo>
                      <a:pt x="6219" y="1377"/>
                    </a:lnTo>
                    <a:lnTo>
                      <a:pt x="6216" y="1376"/>
                    </a:lnTo>
                    <a:lnTo>
                      <a:pt x="6211" y="1371"/>
                    </a:lnTo>
                    <a:lnTo>
                      <a:pt x="6201" y="1366"/>
                    </a:lnTo>
                    <a:lnTo>
                      <a:pt x="6196" y="1364"/>
                    </a:lnTo>
                    <a:lnTo>
                      <a:pt x="6192" y="1361"/>
                    </a:lnTo>
                    <a:lnTo>
                      <a:pt x="6188" y="1355"/>
                    </a:lnTo>
                    <a:lnTo>
                      <a:pt x="6186" y="1351"/>
                    </a:lnTo>
                    <a:lnTo>
                      <a:pt x="6186" y="1349"/>
                    </a:lnTo>
                    <a:lnTo>
                      <a:pt x="6186" y="1346"/>
                    </a:lnTo>
                    <a:lnTo>
                      <a:pt x="6188" y="1341"/>
                    </a:lnTo>
                    <a:lnTo>
                      <a:pt x="6188" y="1340"/>
                    </a:lnTo>
                    <a:lnTo>
                      <a:pt x="6183" y="1341"/>
                    </a:lnTo>
                    <a:lnTo>
                      <a:pt x="6175" y="1344"/>
                    </a:lnTo>
                    <a:lnTo>
                      <a:pt x="6170" y="1344"/>
                    </a:lnTo>
                    <a:lnTo>
                      <a:pt x="6162" y="1341"/>
                    </a:lnTo>
                    <a:lnTo>
                      <a:pt x="6157" y="1340"/>
                    </a:lnTo>
                    <a:lnTo>
                      <a:pt x="6150" y="1338"/>
                    </a:lnTo>
                    <a:lnTo>
                      <a:pt x="6137" y="1333"/>
                    </a:lnTo>
                    <a:lnTo>
                      <a:pt x="6131" y="1331"/>
                    </a:lnTo>
                    <a:lnTo>
                      <a:pt x="6124" y="1329"/>
                    </a:lnTo>
                    <a:lnTo>
                      <a:pt x="6118" y="1327"/>
                    </a:lnTo>
                    <a:lnTo>
                      <a:pt x="6111" y="1327"/>
                    </a:lnTo>
                    <a:lnTo>
                      <a:pt x="6106" y="1329"/>
                    </a:lnTo>
                    <a:lnTo>
                      <a:pt x="6098" y="1331"/>
                    </a:lnTo>
                    <a:lnTo>
                      <a:pt x="6092" y="1335"/>
                    </a:lnTo>
                    <a:lnTo>
                      <a:pt x="6089" y="1336"/>
                    </a:lnTo>
                    <a:lnTo>
                      <a:pt x="6086" y="1340"/>
                    </a:lnTo>
                    <a:lnTo>
                      <a:pt x="6085" y="1341"/>
                    </a:lnTo>
                    <a:lnTo>
                      <a:pt x="6083" y="1344"/>
                    </a:lnTo>
                    <a:lnTo>
                      <a:pt x="6083" y="1346"/>
                    </a:lnTo>
                    <a:lnTo>
                      <a:pt x="6085" y="1349"/>
                    </a:lnTo>
                    <a:lnTo>
                      <a:pt x="6086" y="1353"/>
                    </a:lnTo>
                    <a:lnTo>
                      <a:pt x="6091" y="1355"/>
                    </a:lnTo>
                    <a:lnTo>
                      <a:pt x="6094" y="1359"/>
                    </a:lnTo>
                    <a:lnTo>
                      <a:pt x="6099" y="1361"/>
                    </a:lnTo>
                    <a:lnTo>
                      <a:pt x="6106" y="1364"/>
                    </a:lnTo>
                    <a:lnTo>
                      <a:pt x="6116" y="1368"/>
                    </a:lnTo>
                    <a:lnTo>
                      <a:pt x="6122" y="1369"/>
                    </a:lnTo>
                    <a:lnTo>
                      <a:pt x="6127" y="1371"/>
                    </a:lnTo>
                    <a:lnTo>
                      <a:pt x="6131" y="1374"/>
                    </a:lnTo>
                    <a:lnTo>
                      <a:pt x="6135" y="1374"/>
                    </a:lnTo>
                    <a:lnTo>
                      <a:pt x="6137" y="1374"/>
                    </a:lnTo>
                    <a:lnTo>
                      <a:pt x="6139" y="1374"/>
                    </a:lnTo>
                    <a:lnTo>
                      <a:pt x="6135" y="1377"/>
                    </a:lnTo>
                    <a:lnTo>
                      <a:pt x="6131" y="1379"/>
                    </a:lnTo>
                    <a:lnTo>
                      <a:pt x="6127" y="1381"/>
                    </a:lnTo>
                    <a:lnTo>
                      <a:pt x="6124" y="1381"/>
                    </a:lnTo>
                    <a:lnTo>
                      <a:pt x="6122" y="1382"/>
                    </a:lnTo>
                    <a:lnTo>
                      <a:pt x="6118" y="1382"/>
                    </a:lnTo>
                    <a:lnTo>
                      <a:pt x="6111" y="1381"/>
                    </a:lnTo>
                    <a:lnTo>
                      <a:pt x="6106" y="1379"/>
                    </a:lnTo>
                    <a:lnTo>
                      <a:pt x="6098" y="1377"/>
                    </a:lnTo>
                    <a:lnTo>
                      <a:pt x="6092" y="1376"/>
                    </a:lnTo>
                    <a:lnTo>
                      <a:pt x="6086" y="1374"/>
                    </a:lnTo>
                    <a:lnTo>
                      <a:pt x="6089" y="1376"/>
                    </a:lnTo>
                    <a:lnTo>
                      <a:pt x="6092" y="1377"/>
                    </a:lnTo>
                    <a:lnTo>
                      <a:pt x="6094" y="1379"/>
                    </a:lnTo>
                    <a:lnTo>
                      <a:pt x="6096" y="1382"/>
                    </a:lnTo>
                    <a:lnTo>
                      <a:pt x="6096" y="1384"/>
                    </a:lnTo>
                    <a:lnTo>
                      <a:pt x="6098" y="1389"/>
                    </a:lnTo>
                    <a:lnTo>
                      <a:pt x="6098" y="1392"/>
                    </a:lnTo>
                    <a:lnTo>
                      <a:pt x="6096" y="1395"/>
                    </a:lnTo>
                    <a:lnTo>
                      <a:pt x="6096" y="1399"/>
                    </a:lnTo>
                    <a:lnTo>
                      <a:pt x="6094" y="1401"/>
                    </a:lnTo>
                    <a:lnTo>
                      <a:pt x="6091" y="1402"/>
                    </a:lnTo>
                    <a:lnTo>
                      <a:pt x="6089" y="1402"/>
                    </a:lnTo>
                    <a:lnTo>
                      <a:pt x="6085" y="1402"/>
                    </a:lnTo>
                    <a:lnTo>
                      <a:pt x="6079" y="1401"/>
                    </a:lnTo>
                    <a:lnTo>
                      <a:pt x="6074" y="1397"/>
                    </a:lnTo>
                    <a:lnTo>
                      <a:pt x="6071" y="1394"/>
                    </a:lnTo>
                    <a:lnTo>
                      <a:pt x="6068" y="1392"/>
                    </a:lnTo>
                    <a:lnTo>
                      <a:pt x="6070" y="1394"/>
                    </a:lnTo>
                    <a:lnTo>
                      <a:pt x="6070" y="1397"/>
                    </a:lnTo>
                    <a:lnTo>
                      <a:pt x="6071" y="1401"/>
                    </a:lnTo>
                    <a:lnTo>
                      <a:pt x="6070" y="1405"/>
                    </a:lnTo>
                    <a:lnTo>
                      <a:pt x="6068" y="1407"/>
                    </a:lnTo>
                    <a:lnTo>
                      <a:pt x="6063" y="1407"/>
                    </a:lnTo>
                    <a:lnTo>
                      <a:pt x="6059" y="1407"/>
                    </a:lnTo>
                    <a:lnTo>
                      <a:pt x="6053" y="1407"/>
                    </a:lnTo>
                    <a:lnTo>
                      <a:pt x="6046" y="1407"/>
                    </a:lnTo>
                    <a:lnTo>
                      <a:pt x="6033" y="1405"/>
                    </a:lnTo>
                    <a:lnTo>
                      <a:pt x="6025" y="1405"/>
                    </a:lnTo>
                    <a:lnTo>
                      <a:pt x="6020" y="1402"/>
                    </a:lnTo>
                    <a:lnTo>
                      <a:pt x="6013" y="1402"/>
                    </a:lnTo>
                    <a:lnTo>
                      <a:pt x="6007" y="1405"/>
                    </a:lnTo>
                    <a:lnTo>
                      <a:pt x="6004" y="1407"/>
                    </a:lnTo>
                    <a:lnTo>
                      <a:pt x="6000" y="1409"/>
                    </a:lnTo>
                    <a:lnTo>
                      <a:pt x="5992" y="1409"/>
                    </a:lnTo>
                    <a:lnTo>
                      <a:pt x="5987" y="1410"/>
                    </a:lnTo>
                    <a:lnTo>
                      <a:pt x="5979" y="1414"/>
                    </a:lnTo>
                    <a:lnTo>
                      <a:pt x="5974" y="1417"/>
                    </a:lnTo>
                    <a:lnTo>
                      <a:pt x="5966" y="1420"/>
                    </a:lnTo>
                    <a:lnTo>
                      <a:pt x="5961" y="1423"/>
                    </a:lnTo>
                    <a:lnTo>
                      <a:pt x="5954" y="1425"/>
                    </a:lnTo>
                    <a:lnTo>
                      <a:pt x="5948" y="1425"/>
                    </a:lnTo>
                    <a:lnTo>
                      <a:pt x="5944" y="1425"/>
                    </a:lnTo>
                    <a:lnTo>
                      <a:pt x="5941" y="1425"/>
                    </a:lnTo>
                    <a:lnTo>
                      <a:pt x="5931" y="1425"/>
                    </a:lnTo>
                    <a:lnTo>
                      <a:pt x="5925" y="1423"/>
                    </a:lnTo>
                    <a:lnTo>
                      <a:pt x="5917" y="1422"/>
                    </a:lnTo>
                    <a:lnTo>
                      <a:pt x="5911" y="1422"/>
                    </a:lnTo>
                    <a:lnTo>
                      <a:pt x="5904" y="1422"/>
                    </a:lnTo>
                    <a:lnTo>
                      <a:pt x="5898" y="1423"/>
                    </a:lnTo>
                    <a:lnTo>
                      <a:pt x="5891" y="1425"/>
                    </a:lnTo>
                    <a:lnTo>
                      <a:pt x="5885" y="1427"/>
                    </a:lnTo>
                    <a:lnTo>
                      <a:pt x="5878" y="1430"/>
                    </a:lnTo>
                    <a:lnTo>
                      <a:pt x="5865" y="1438"/>
                    </a:lnTo>
                    <a:lnTo>
                      <a:pt x="5852" y="1445"/>
                    </a:lnTo>
                    <a:lnTo>
                      <a:pt x="5839" y="1453"/>
                    </a:lnTo>
                    <a:lnTo>
                      <a:pt x="5828" y="1460"/>
                    </a:lnTo>
                    <a:lnTo>
                      <a:pt x="5834" y="1455"/>
                    </a:lnTo>
                    <a:lnTo>
                      <a:pt x="5837" y="1450"/>
                    </a:lnTo>
                    <a:lnTo>
                      <a:pt x="5841" y="1445"/>
                    </a:lnTo>
                    <a:lnTo>
                      <a:pt x="5844" y="1443"/>
                    </a:lnTo>
                    <a:lnTo>
                      <a:pt x="5849" y="1440"/>
                    </a:lnTo>
                    <a:lnTo>
                      <a:pt x="5852" y="1436"/>
                    </a:lnTo>
                    <a:lnTo>
                      <a:pt x="5856" y="1432"/>
                    </a:lnTo>
                    <a:lnTo>
                      <a:pt x="5862" y="1425"/>
                    </a:lnTo>
                    <a:lnTo>
                      <a:pt x="5857" y="1427"/>
                    </a:lnTo>
                    <a:lnTo>
                      <a:pt x="5854" y="1429"/>
                    </a:lnTo>
                    <a:lnTo>
                      <a:pt x="5851" y="1429"/>
                    </a:lnTo>
                    <a:lnTo>
                      <a:pt x="5847" y="1430"/>
                    </a:lnTo>
                    <a:lnTo>
                      <a:pt x="5844" y="1430"/>
                    </a:lnTo>
                    <a:lnTo>
                      <a:pt x="5843" y="1430"/>
                    </a:lnTo>
                    <a:lnTo>
                      <a:pt x="5843" y="1429"/>
                    </a:lnTo>
                    <a:lnTo>
                      <a:pt x="5844" y="1429"/>
                    </a:lnTo>
                    <a:lnTo>
                      <a:pt x="5849" y="1425"/>
                    </a:lnTo>
                    <a:lnTo>
                      <a:pt x="5852" y="1423"/>
                    </a:lnTo>
                    <a:lnTo>
                      <a:pt x="5857" y="1422"/>
                    </a:lnTo>
                    <a:lnTo>
                      <a:pt x="5864" y="1417"/>
                    </a:lnTo>
                    <a:lnTo>
                      <a:pt x="5877" y="1414"/>
                    </a:lnTo>
                    <a:lnTo>
                      <a:pt x="5882" y="1412"/>
                    </a:lnTo>
                    <a:lnTo>
                      <a:pt x="5887" y="1410"/>
                    </a:lnTo>
                    <a:lnTo>
                      <a:pt x="5893" y="1409"/>
                    </a:lnTo>
                    <a:lnTo>
                      <a:pt x="5897" y="1409"/>
                    </a:lnTo>
                    <a:lnTo>
                      <a:pt x="5910" y="1409"/>
                    </a:lnTo>
                    <a:lnTo>
                      <a:pt x="5923" y="1409"/>
                    </a:lnTo>
                    <a:lnTo>
                      <a:pt x="5933" y="1407"/>
                    </a:lnTo>
                    <a:lnTo>
                      <a:pt x="5946" y="1405"/>
                    </a:lnTo>
                    <a:lnTo>
                      <a:pt x="5952" y="1402"/>
                    </a:lnTo>
                    <a:lnTo>
                      <a:pt x="5956" y="1399"/>
                    </a:lnTo>
                    <a:lnTo>
                      <a:pt x="5961" y="1397"/>
                    </a:lnTo>
                    <a:lnTo>
                      <a:pt x="5966" y="1394"/>
                    </a:lnTo>
                    <a:lnTo>
                      <a:pt x="5971" y="1390"/>
                    </a:lnTo>
                    <a:lnTo>
                      <a:pt x="5976" y="1386"/>
                    </a:lnTo>
                    <a:lnTo>
                      <a:pt x="5979" y="1381"/>
                    </a:lnTo>
                    <a:lnTo>
                      <a:pt x="5984" y="1374"/>
                    </a:lnTo>
                    <a:lnTo>
                      <a:pt x="5976" y="1374"/>
                    </a:lnTo>
                    <a:lnTo>
                      <a:pt x="5969" y="1371"/>
                    </a:lnTo>
                    <a:lnTo>
                      <a:pt x="5961" y="1369"/>
                    </a:lnTo>
                    <a:lnTo>
                      <a:pt x="5954" y="1366"/>
                    </a:lnTo>
                    <a:lnTo>
                      <a:pt x="5946" y="1362"/>
                    </a:lnTo>
                    <a:lnTo>
                      <a:pt x="5935" y="1361"/>
                    </a:lnTo>
                    <a:lnTo>
                      <a:pt x="5926" y="1359"/>
                    </a:lnTo>
                    <a:lnTo>
                      <a:pt x="5913" y="1356"/>
                    </a:lnTo>
                    <a:lnTo>
                      <a:pt x="5908" y="1351"/>
                    </a:lnTo>
                    <a:lnTo>
                      <a:pt x="5900" y="1348"/>
                    </a:lnTo>
                    <a:lnTo>
                      <a:pt x="5893" y="1344"/>
                    </a:lnTo>
                    <a:lnTo>
                      <a:pt x="5885" y="1341"/>
                    </a:lnTo>
                    <a:lnTo>
                      <a:pt x="5877" y="1340"/>
                    </a:lnTo>
                    <a:lnTo>
                      <a:pt x="5867" y="1340"/>
                    </a:lnTo>
                    <a:lnTo>
                      <a:pt x="5856" y="1340"/>
                    </a:lnTo>
                    <a:lnTo>
                      <a:pt x="5844" y="1340"/>
                    </a:lnTo>
                    <a:lnTo>
                      <a:pt x="5837" y="1336"/>
                    </a:lnTo>
                    <a:lnTo>
                      <a:pt x="5831" y="1335"/>
                    </a:lnTo>
                    <a:lnTo>
                      <a:pt x="5823" y="1333"/>
                    </a:lnTo>
                    <a:lnTo>
                      <a:pt x="5816" y="1333"/>
                    </a:lnTo>
                    <a:lnTo>
                      <a:pt x="5808" y="1333"/>
                    </a:lnTo>
                    <a:lnTo>
                      <a:pt x="5801" y="1335"/>
                    </a:lnTo>
                    <a:lnTo>
                      <a:pt x="5791" y="1335"/>
                    </a:lnTo>
                    <a:lnTo>
                      <a:pt x="5783" y="1338"/>
                    </a:lnTo>
                    <a:lnTo>
                      <a:pt x="5777" y="1340"/>
                    </a:lnTo>
                    <a:lnTo>
                      <a:pt x="5767" y="1344"/>
                    </a:lnTo>
                    <a:lnTo>
                      <a:pt x="5760" y="1348"/>
                    </a:lnTo>
                    <a:lnTo>
                      <a:pt x="5752" y="1351"/>
                    </a:lnTo>
                    <a:lnTo>
                      <a:pt x="5745" y="1356"/>
                    </a:lnTo>
                    <a:lnTo>
                      <a:pt x="5737" y="1362"/>
                    </a:lnTo>
                    <a:lnTo>
                      <a:pt x="5725" y="1374"/>
                    </a:lnTo>
                    <a:lnTo>
                      <a:pt x="5727" y="1376"/>
                    </a:lnTo>
                    <a:lnTo>
                      <a:pt x="5729" y="1376"/>
                    </a:lnTo>
                    <a:lnTo>
                      <a:pt x="5730" y="1376"/>
                    </a:lnTo>
                    <a:lnTo>
                      <a:pt x="5732" y="1376"/>
                    </a:lnTo>
                    <a:lnTo>
                      <a:pt x="5734" y="1376"/>
                    </a:lnTo>
                    <a:lnTo>
                      <a:pt x="5732" y="1377"/>
                    </a:lnTo>
                    <a:lnTo>
                      <a:pt x="5730" y="1379"/>
                    </a:lnTo>
                    <a:lnTo>
                      <a:pt x="5729" y="1379"/>
                    </a:lnTo>
                    <a:lnTo>
                      <a:pt x="5725" y="1381"/>
                    </a:lnTo>
                    <a:lnTo>
                      <a:pt x="5719" y="1382"/>
                    </a:lnTo>
                    <a:lnTo>
                      <a:pt x="5710" y="1386"/>
                    </a:lnTo>
                    <a:lnTo>
                      <a:pt x="5704" y="1389"/>
                    </a:lnTo>
                    <a:lnTo>
                      <a:pt x="5699" y="1389"/>
                    </a:lnTo>
                    <a:lnTo>
                      <a:pt x="5696" y="1390"/>
                    </a:lnTo>
                    <a:lnTo>
                      <a:pt x="5691" y="1390"/>
                    </a:lnTo>
                    <a:lnTo>
                      <a:pt x="5696" y="1389"/>
                    </a:lnTo>
                    <a:lnTo>
                      <a:pt x="5697" y="1389"/>
                    </a:lnTo>
                    <a:lnTo>
                      <a:pt x="5697" y="1386"/>
                    </a:lnTo>
                    <a:lnTo>
                      <a:pt x="5699" y="1386"/>
                    </a:lnTo>
                    <a:lnTo>
                      <a:pt x="5699" y="1384"/>
                    </a:lnTo>
                    <a:lnTo>
                      <a:pt x="5696" y="1384"/>
                    </a:lnTo>
                    <a:lnTo>
                      <a:pt x="5694" y="1384"/>
                    </a:lnTo>
                    <a:lnTo>
                      <a:pt x="5688" y="1384"/>
                    </a:lnTo>
                    <a:lnTo>
                      <a:pt x="5683" y="1384"/>
                    </a:lnTo>
                    <a:lnTo>
                      <a:pt x="5676" y="1386"/>
                    </a:lnTo>
                    <a:lnTo>
                      <a:pt x="5671" y="1386"/>
                    </a:lnTo>
                    <a:lnTo>
                      <a:pt x="5658" y="1389"/>
                    </a:lnTo>
                    <a:lnTo>
                      <a:pt x="5651" y="1390"/>
                    </a:lnTo>
                    <a:lnTo>
                      <a:pt x="5645" y="1390"/>
                    </a:lnTo>
                    <a:lnTo>
                      <a:pt x="5642" y="1392"/>
                    </a:lnTo>
                    <a:lnTo>
                      <a:pt x="5638" y="1392"/>
                    </a:lnTo>
                    <a:lnTo>
                      <a:pt x="5630" y="1392"/>
                    </a:lnTo>
                    <a:lnTo>
                      <a:pt x="5625" y="1394"/>
                    </a:lnTo>
                    <a:lnTo>
                      <a:pt x="5618" y="1397"/>
                    </a:lnTo>
                    <a:lnTo>
                      <a:pt x="5610" y="1399"/>
                    </a:lnTo>
                    <a:lnTo>
                      <a:pt x="5602" y="1402"/>
                    </a:lnTo>
                    <a:lnTo>
                      <a:pt x="5592" y="1407"/>
                    </a:lnTo>
                    <a:lnTo>
                      <a:pt x="5581" y="1409"/>
                    </a:lnTo>
                    <a:lnTo>
                      <a:pt x="5569" y="1409"/>
                    </a:lnTo>
                    <a:lnTo>
                      <a:pt x="5574" y="1402"/>
                    </a:lnTo>
                    <a:lnTo>
                      <a:pt x="5577" y="1397"/>
                    </a:lnTo>
                    <a:lnTo>
                      <a:pt x="5582" y="1392"/>
                    </a:lnTo>
                    <a:lnTo>
                      <a:pt x="5590" y="1389"/>
                    </a:lnTo>
                    <a:lnTo>
                      <a:pt x="5597" y="1384"/>
                    </a:lnTo>
                    <a:lnTo>
                      <a:pt x="5605" y="1382"/>
                    </a:lnTo>
                    <a:lnTo>
                      <a:pt x="5622" y="1377"/>
                    </a:lnTo>
                    <a:lnTo>
                      <a:pt x="5637" y="1371"/>
                    </a:lnTo>
                    <a:lnTo>
                      <a:pt x="5643" y="1369"/>
                    </a:lnTo>
                    <a:lnTo>
                      <a:pt x="5651" y="1368"/>
                    </a:lnTo>
                    <a:lnTo>
                      <a:pt x="5658" y="1366"/>
                    </a:lnTo>
                    <a:lnTo>
                      <a:pt x="5664" y="1362"/>
                    </a:lnTo>
                    <a:lnTo>
                      <a:pt x="5668" y="1361"/>
                    </a:lnTo>
                    <a:lnTo>
                      <a:pt x="5673" y="1356"/>
                    </a:lnTo>
                    <a:lnTo>
                      <a:pt x="5679" y="1356"/>
                    </a:lnTo>
                    <a:lnTo>
                      <a:pt x="5688" y="1353"/>
                    </a:lnTo>
                    <a:lnTo>
                      <a:pt x="5697" y="1349"/>
                    </a:lnTo>
                    <a:lnTo>
                      <a:pt x="5706" y="1344"/>
                    </a:lnTo>
                    <a:lnTo>
                      <a:pt x="5716" y="1336"/>
                    </a:lnTo>
                    <a:lnTo>
                      <a:pt x="5725" y="1327"/>
                    </a:lnTo>
                    <a:lnTo>
                      <a:pt x="5734" y="1318"/>
                    </a:lnTo>
                    <a:lnTo>
                      <a:pt x="5742" y="1305"/>
                    </a:lnTo>
                    <a:lnTo>
                      <a:pt x="5745" y="1303"/>
                    </a:lnTo>
                    <a:lnTo>
                      <a:pt x="5749" y="1300"/>
                    </a:lnTo>
                    <a:lnTo>
                      <a:pt x="5750" y="1298"/>
                    </a:lnTo>
                    <a:lnTo>
                      <a:pt x="5750" y="1294"/>
                    </a:lnTo>
                    <a:lnTo>
                      <a:pt x="5750" y="1292"/>
                    </a:lnTo>
                    <a:lnTo>
                      <a:pt x="5750" y="1290"/>
                    </a:lnTo>
                    <a:lnTo>
                      <a:pt x="5749" y="1290"/>
                    </a:lnTo>
                    <a:lnTo>
                      <a:pt x="5747" y="1288"/>
                    </a:lnTo>
                    <a:lnTo>
                      <a:pt x="5744" y="1287"/>
                    </a:lnTo>
                    <a:lnTo>
                      <a:pt x="5740" y="1287"/>
                    </a:lnTo>
                    <a:lnTo>
                      <a:pt x="5736" y="1285"/>
                    </a:lnTo>
                    <a:lnTo>
                      <a:pt x="5730" y="1285"/>
                    </a:lnTo>
                    <a:lnTo>
                      <a:pt x="5719" y="1285"/>
                    </a:lnTo>
                    <a:lnTo>
                      <a:pt x="5706" y="1285"/>
                    </a:lnTo>
                    <a:lnTo>
                      <a:pt x="5694" y="1285"/>
                    </a:lnTo>
                    <a:lnTo>
                      <a:pt x="5681" y="1285"/>
                    </a:lnTo>
                    <a:lnTo>
                      <a:pt x="5666" y="1285"/>
                    </a:lnTo>
                    <a:lnTo>
                      <a:pt x="5655" y="1287"/>
                    </a:lnTo>
                    <a:lnTo>
                      <a:pt x="5642" y="1287"/>
                    </a:lnTo>
                    <a:lnTo>
                      <a:pt x="5638" y="1287"/>
                    </a:lnTo>
                    <a:lnTo>
                      <a:pt x="5633" y="1288"/>
                    </a:lnTo>
                    <a:lnTo>
                      <a:pt x="5629" y="1288"/>
                    </a:lnTo>
                    <a:lnTo>
                      <a:pt x="5625" y="1288"/>
                    </a:lnTo>
                    <a:lnTo>
                      <a:pt x="5623" y="1288"/>
                    </a:lnTo>
                    <a:lnTo>
                      <a:pt x="5622" y="1288"/>
                    </a:lnTo>
                    <a:lnTo>
                      <a:pt x="5594" y="1294"/>
                    </a:lnTo>
                    <a:lnTo>
                      <a:pt x="5566" y="1302"/>
                    </a:lnTo>
                    <a:lnTo>
                      <a:pt x="5538" y="1307"/>
                    </a:lnTo>
                    <a:lnTo>
                      <a:pt x="5510" y="1315"/>
                    </a:lnTo>
                    <a:lnTo>
                      <a:pt x="5480" y="1320"/>
                    </a:lnTo>
                    <a:lnTo>
                      <a:pt x="5452" y="1327"/>
                    </a:lnTo>
                    <a:lnTo>
                      <a:pt x="5424" y="1333"/>
                    </a:lnTo>
                    <a:lnTo>
                      <a:pt x="5396" y="1340"/>
                    </a:lnTo>
                    <a:lnTo>
                      <a:pt x="5378" y="1340"/>
                    </a:lnTo>
                    <a:lnTo>
                      <a:pt x="5362" y="1341"/>
                    </a:lnTo>
                    <a:lnTo>
                      <a:pt x="5345" y="1346"/>
                    </a:lnTo>
                    <a:lnTo>
                      <a:pt x="5329" y="1351"/>
                    </a:lnTo>
                    <a:lnTo>
                      <a:pt x="5312" y="1355"/>
                    </a:lnTo>
                    <a:lnTo>
                      <a:pt x="5294" y="1362"/>
                    </a:lnTo>
                    <a:lnTo>
                      <a:pt x="5278" y="1368"/>
                    </a:lnTo>
                    <a:lnTo>
                      <a:pt x="5260" y="1374"/>
                    </a:lnTo>
                    <a:lnTo>
                      <a:pt x="5240" y="1381"/>
                    </a:lnTo>
                    <a:lnTo>
                      <a:pt x="5217" y="1384"/>
                    </a:lnTo>
                    <a:lnTo>
                      <a:pt x="5195" y="1389"/>
                    </a:lnTo>
                    <a:lnTo>
                      <a:pt x="5173" y="1394"/>
                    </a:lnTo>
                    <a:lnTo>
                      <a:pt x="5151" y="1399"/>
                    </a:lnTo>
                    <a:lnTo>
                      <a:pt x="5140" y="1402"/>
                    </a:lnTo>
                    <a:lnTo>
                      <a:pt x="5129" y="1405"/>
                    </a:lnTo>
                    <a:lnTo>
                      <a:pt x="5118" y="1410"/>
                    </a:lnTo>
                    <a:lnTo>
                      <a:pt x="5107" y="1414"/>
                    </a:lnTo>
                    <a:lnTo>
                      <a:pt x="5097" y="1420"/>
                    </a:lnTo>
                    <a:lnTo>
                      <a:pt x="5087" y="1425"/>
                    </a:lnTo>
                    <a:lnTo>
                      <a:pt x="5092" y="1427"/>
                    </a:lnTo>
                    <a:lnTo>
                      <a:pt x="5097" y="1429"/>
                    </a:lnTo>
                    <a:lnTo>
                      <a:pt x="5101" y="1430"/>
                    </a:lnTo>
                    <a:lnTo>
                      <a:pt x="5105" y="1432"/>
                    </a:lnTo>
                    <a:lnTo>
                      <a:pt x="5107" y="1435"/>
                    </a:lnTo>
                    <a:lnTo>
                      <a:pt x="5108" y="1435"/>
                    </a:lnTo>
                    <a:lnTo>
                      <a:pt x="5110" y="1432"/>
                    </a:lnTo>
                    <a:lnTo>
                      <a:pt x="5114" y="1432"/>
                    </a:lnTo>
                    <a:lnTo>
                      <a:pt x="5116" y="1430"/>
                    </a:lnTo>
                    <a:lnTo>
                      <a:pt x="5118" y="1429"/>
                    </a:lnTo>
                    <a:lnTo>
                      <a:pt x="5121" y="1425"/>
                    </a:lnTo>
                    <a:lnTo>
                      <a:pt x="5118" y="1430"/>
                    </a:lnTo>
                    <a:lnTo>
                      <a:pt x="5112" y="1435"/>
                    </a:lnTo>
                    <a:lnTo>
                      <a:pt x="5107" y="1438"/>
                    </a:lnTo>
                    <a:lnTo>
                      <a:pt x="5101" y="1442"/>
                    </a:lnTo>
                    <a:lnTo>
                      <a:pt x="5094" y="1445"/>
                    </a:lnTo>
                    <a:lnTo>
                      <a:pt x="5087" y="1450"/>
                    </a:lnTo>
                    <a:lnTo>
                      <a:pt x="5079" y="1451"/>
                    </a:lnTo>
                    <a:lnTo>
                      <a:pt x="5070" y="1455"/>
                    </a:lnTo>
                    <a:lnTo>
                      <a:pt x="5051" y="1458"/>
                    </a:lnTo>
                    <a:lnTo>
                      <a:pt x="5031" y="1463"/>
                    </a:lnTo>
                    <a:lnTo>
                      <a:pt x="5011" y="1468"/>
                    </a:lnTo>
                    <a:lnTo>
                      <a:pt x="4990" y="1473"/>
                    </a:lnTo>
                    <a:lnTo>
                      <a:pt x="4970" y="1476"/>
                    </a:lnTo>
                    <a:lnTo>
                      <a:pt x="4952" y="1483"/>
                    </a:lnTo>
                    <a:lnTo>
                      <a:pt x="4942" y="1486"/>
                    </a:lnTo>
                    <a:lnTo>
                      <a:pt x="4935" y="1488"/>
                    </a:lnTo>
                    <a:lnTo>
                      <a:pt x="4927" y="1491"/>
                    </a:lnTo>
                    <a:lnTo>
                      <a:pt x="4920" y="1497"/>
                    </a:lnTo>
                    <a:lnTo>
                      <a:pt x="4914" y="1501"/>
                    </a:lnTo>
                    <a:lnTo>
                      <a:pt x="4909" y="1506"/>
                    </a:lnTo>
                    <a:lnTo>
                      <a:pt x="4904" y="1509"/>
                    </a:lnTo>
                    <a:lnTo>
                      <a:pt x="4899" y="1517"/>
                    </a:lnTo>
                    <a:lnTo>
                      <a:pt x="4898" y="1522"/>
                    </a:lnTo>
                    <a:lnTo>
                      <a:pt x="4896" y="1529"/>
                    </a:lnTo>
                    <a:lnTo>
                      <a:pt x="4896" y="1536"/>
                    </a:lnTo>
                    <a:lnTo>
                      <a:pt x="4898" y="1545"/>
                    </a:lnTo>
                    <a:lnTo>
                      <a:pt x="4899" y="1542"/>
                    </a:lnTo>
                    <a:lnTo>
                      <a:pt x="4904" y="1539"/>
                    </a:lnTo>
                    <a:lnTo>
                      <a:pt x="4909" y="1537"/>
                    </a:lnTo>
                    <a:lnTo>
                      <a:pt x="4913" y="1537"/>
                    </a:lnTo>
                    <a:lnTo>
                      <a:pt x="4919" y="1536"/>
                    </a:lnTo>
                    <a:lnTo>
                      <a:pt x="4922" y="1536"/>
                    </a:lnTo>
                    <a:lnTo>
                      <a:pt x="4932" y="1537"/>
                    </a:lnTo>
                    <a:lnTo>
                      <a:pt x="4940" y="1539"/>
                    </a:lnTo>
                    <a:lnTo>
                      <a:pt x="4950" y="1542"/>
                    </a:lnTo>
                    <a:lnTo>
                      <a:pt x="4959" y="1543"/>
                    </a:lnTo>
                    <a:lnTo>
                      <a:pt x="4967" y="1545"/>
                    </a:lnTo>
                    <a:lnTo>
                      <a:pt x="4980" y="1543"/>
                    </a:lnTo>
                    <a:lnTo>
                      <a:pt x="4988" y="1542"/>
                    </a:lnTo>
                    <a:lnTo>
                      <a:pt x="4998" y="1539"/>
                    </a:lnTo>
                    <a:lnTo>
                      <a:pt x="5007" y="1536"/>
                    </a:lnTo>
                    <a:lnTo>
                      <a:pt x="5014" y="1532"/>
                    </a:lnTo>
                    <a:lnTo>
                      <a:pt x="5021" y="1530"/>
                    </a:lnTo>
                    <a:lnTo>
                      <a:pt x="5029" y="1529"/>
                    </a:lnTo>
                    <a:lnTo>
                      <a:pt x="5034" y="1527"/>
                    </a:lnTo>
                    <a:lnTo>
                      <a:pt x="5034" y="1529"/>
                    </a:lnTo>
                    <a:lnTo>
                      <a:pt x="5033" y="1530"/>
                    </a:lnTo>
                    <a:lnTo>
                      <a:pt x="5029" y="1532"/>
                    </a:lnTo>
                    <a:lnTo>
                      <a:pt x="5024" y="1536"/>
                    </a:lnTo>
                    <a:lnTo>
                      <a:pt x="5020" y="1539"/>
                    </a:lnTo>
                    <a:lnTo>
                      <a:pt x="5013" y="1542"/>
                    </a:lnTo>
                    <a:lnTo>
                      <a:pt x="5007" y="1543"/>
                    </a:lnTo>
                    <a:lnTo>
                      <a:pt x="5001" y="1545"/>
                    </a:lnTo>
                    <a:lnTo>
                      <a:pt x="4990" y="1545"/>
                    </a:lnTo>
                    <a:lnTo>
                      <a:pt x="4986" y="1545"/>
                    </a:lnTo>
                    <a:lnTo>
                      <a:pt x="4983" y="1545"/>
                    </a:lnTo>
                    <a:lnTo>
                      <a:pt x="4978" y="1550"/>
                    </a:lnTo>
                    <a:lnTo>
                      <a:pt x="4970" y="1554"/>
                    </a:lnTo>
                    <a:lnTo>
                      <a:pt x="4965" y="1558"/>
                    </a:lnTo>
                    <a:lnTo>
                      <a:pt x="4959" y="1560"/>
                    </a:lnTo>
                    <a:lnTo>
                      <a:pt x="4955" y="1562"/>
                    </a:lnTo>
                    <a:lnTo>
                      <a:pt x="4952" y="1562"/>
                    </a:lnTo>
                    <a:lnTo>
                      <a:pt x="4950" y="1562"/>
                    </a:lnTo>
                    <a:lnTo>
                      <a:pt x="4950" y="1565"/>
                    </a:lnTo>
                    <a:lnTo>
                      <a:pt x="4950" y="1567"/>
                    </a:lnTo>
                    <a:lnTo>
                      <a:pt x="4952" y="1569"/>
                    </a:lnTo>
                    <a:lnTo>
                      <a:pt x="4955" y="1571"/>
                    </a:lnTo>
                    <a:lnTo>
                      <a:pt x="4957" y="1573"/>
                    </a:lnTo>
                    <a:lnTo>
                      <a:pt x="4960" y="1575"/>
                    </a:lnTo>
                    <a:lnTo>
                      <a:pt x="4968" y="1577"/>
                    </a:lnTo>
                    <a:lnTo>
                      <a:pt x="4978" y="1578"/>
                    </a:lnTo>
                    <a:lnTo>
                      <a:pt x="4985" y="1578"/>
                    </a:lnTo>
                    <a:lnTo>
                      <a:pt x="4994" y="1578"/>
                    </a:lnTo>
                    <a:lnTo>
                      <a:pt x="5001" y="1578"/>
                    </a:lnTo>
                    <a:lnTo>
                      <a:pt x="5007" y="1578"/>
                    </a:lnTo>
                    <a:lnTo>
                      <a:pt x="5014" y="1577"/>
                    </a:lnTo>
                    <a:lnTo>
                      <a:pt x="5021" y="1573"/>
                    </a:lnTo>
                    <a:lnTo>
                      <a:pt x="5029" y="1571"/>
                    </a:lnTo>
                    <a:lnTo>
                      <a:pt x="5036" y="1567"/>
                    </a:lnTo>
                    <a:lnTo>
                      <a:pt x="5047" y="1563"/>
                    </a:lnTo>
                    <a:lnTo>
                      <a:pt x="5057" y="1562"/>
                    </a:lnTo>
                    <a:lnTo>
                      <a:pt x="5070" y="1562"/>
                    </a:lnTo>
                    <a:lnTo>
                      <a:pt x="5077" y="1565"/>
                    </a:lnTo>
                    <a:lnTo>
                      <a:pt x="5082" y="1567"/>
                    </a:lnTo>
                    <a:lnTo>
                      <a:pt x="5090" y="1567"/>
                    </a:lnTo>
                    <a:lnTo>
                      <a:pt x="5097" y="1569"/>
                    </a:lnTo>
                    <a:lnTo>
                      <a:pt x="5107" y="1569"/>
                    </a:lnTo>
                    <a:lnTo>
                      <a:pt x="5114" y="1569"/>
                    </a:lnTo>
                    <a:lnTo>
                      <a:pt x="5131" y="1567"/>
                    </a:lnTo>
                    <a:lnTo>
                      <a:pt x="5146" y="1565"/>
                    </a:lnTo>
                    <a:lnTo>
                      <a:pt x="5162" y="1563"/>
                    </a:lnTo>
                    <a:lnTo>
                      <a:pt x="5177" y="1562"/>
                    </a:lnTo>
                    <a:lnTo>
                      <a:pt x="5190" y="1562"/>
                    </a:lnTo>
                    <a:lnTo>
                      <a:pt x="5197" y="1558"/>
                    </a:lnTo>
                    <a:lnTo>
                      <a:pt x="5204" y="1557"/>
                    </a:lnTo>
                    <a:lnTo>
                      <a:pt x="5212" y="1554"/>
                    </a:lnTo>
                    <a:lnTo>
                      <a:pt x="5219" y="1554"/>
                    </a:lnTo>
                    <a:lnTo>
                      <a:pt x="5227" y="1554"/>
                    </a:lnTo>
                    <a:lnTo>
                      <a:pt x="5234" y="1554"/>
                    </a:lnTo>
                    <a:lnTo>
                      <a:pt x="5251" y="1554"/>
                    </a:lnTo>
                    <a:lnTo>
                      <a:pt x="5268" y="1558"/>
                    </a:lnTo>
                    <a:lnTo>
                      <a:pt x="5282" y="1560"/>
                    </a:lnTo>
                    <a:lnTo>
                      <a:pt x="5297" y="1562"/>
                    </a:lnTo>
                    <a:lnTo>
                      <a:pt x="5312" y="1562"/>
                    </a:lnTo>
                    <a:lnTo>
                      <a:pt x="5304" y="1565"/>
                    </a:lnTo>
                    <a:lnTo>
                      <a:pt x="5297" y="1567"/>
                    </a:lnTo>
                    <a:lnTo>
                      <a:pt x="5289" y="1567"/>
                    </a:lnTo>
                    <a:lnTo>
                      <a:pt x="5282" y="1569"/>
                    </a:lnTo>
                    <a:lnTo>
                      <a:pt x="5275" y="1569"/>
                    </a:lnTo>
                    <a:lnTo>
                      <a:pt x="5268" y="1569"/>
                    </a:lnTo>
                    <a:lnTo>
                      <a:pt x="5251" y="1567"/>
                    </a:lnTo>
                    <a:lnTo>
                      <a:pt x="5234" y="1565"/>
                    </a:lnTo>
                    <a:lnTo>
                      <a:pt x="5219" y="1563"/>
                    </a:lnTo>
                    <a:lnTo>
                      <a:pt x="5204" y="1562"/>
                    </a:lnTo>
                    <a:lnTo>
                      <a:pt x="5190" y="1562"/>
                    </a:lnTo>
                    <a:lnTo>
                      <a:pt x="5192" y="1567"/>
                    </a:lnTo>
                    <a:lnTo>
                      <a:pt x="5194" y="1571"/>
                    </a:lnTo>
                    <a:lnTo>
                      <a:pt x="5197" y="1575"/>
                    </a:lnTo>
                    <a:lnTo>
                      <a:pt x="5201" y="1577"/>
                    </a:lnTo>
                    <a:lnTo>
                      <a:pt x="5207" y="1578"/>
                    </a:lnTo>
                    <a:lnTo>
                      <a:pt x="5212" y="1578"/>
                    </a:lnTo>
                    <a:lnTo>
                      <a:pt x="5225" y="1578"/>
                    </a:lnTo>
                    <a:lnTo>
                      <a:pt x="5214" y="1582"/>
                    </a:lnTo>
                    <a:lnTo>
                      <a:pt x="5204" y="1583"/>
                    </a:lnTo>
                    <a:lnTo>
                      <a:pt x="5194" y="1585"/>
                    </a:lnTo>
                    <a:lnTo>
                      <a:pt x="5184" y="1585"/>
                    </a:lnTo>
                    <a:lnTo>
                      <a:pt x="5162" y="1588"/>
                    </a:lnTo>
                    <a:lnTo>
                      <a:pt x="5140" y="1588"/>
                    </a:lnTo>
                    <a:lnTo>
                      <a:pt x="5120" y="1588"/>
                    </a:lnTo>
                    <a:lnTo>
                      <a:pt x="5110" y="1588"/>
                    </a:lnTo>
                    <a:lnTo>
                      <a:pt x="5101" y="1588"/>
                    </a:lnTo>
                    <a:lnTo>
                      <a:pt x="5092" y="1590"/>
                    </a:lnTo>
                    <a:lnTo>
                      <a:pt x="5085" y="1591"/>
                    </a:lnTo>
                    <a:lnTo>
                      <a:pt x="5077" y="1593"/>
                    </a:lnTo>
                    <a:lnTo>
                      <a:pt x="5070" y="1596"/>
                    </a:lnTo>
                    <a:lnTo>
                      <a:pt x="5060" y="1598"/>
                    </a:lnTo>
                    <a:lnTo>
                      <a:pt x="5051" y="1600"/>
                    </a:lnTo>
                    <a:lnTo>
                      <a:pt x="5041" y="1603"/>
                    </a:lnTo>
                    <a:lnTo>
                      <a:pt x="5031" y="1604"/>
                    </a:lnTo>
                    <a:lnTo>
                      <a:pt x="5013" y="1604"/>
                    </a:lnTo>
                    <a:lnTo>
                      <a:pt x="4994" y="1604"/>
                    </a:lnTo>
                    <a:lnTo>
                      <a:pt x="4978" y="1604"/>
                    </a:lnTo>
                    <a:lnTo>
                      <a:pt x="4960" y="1606"/>
                    </a:lnTo>
                    <a:lnTo>
                      <a:pt x="4953" y="1606"/>
                    </a:lnTo>
                    <a:lnTo>
                      <a:pt x="4947" y="1608"/>
                    </a:lnTo>
                    <a:lnTo>
                      <a:pt x="4939" y="1610"/>
                    </a:lnTo>
                    <a:lnTo>
                      <a:pt x="4932" y="1613"/>
                    </a:lnTo>
                    <a:lnTo>
                      <a:pt x="4919" y="1613"/>
                    </a:lnTo>
                    <a:lnTo>
                      <a:pt x="4906" y="1615"/>
                    </a:lnTo>
                    <a:lnTo>
                      <a:pt x="4894" y="1619"/>
                    </a:lnTo>
                    <a:lnTo>
                      <a:pt x="4881" y="1624"/>
                    </a:lnTo>
                    <a:lnTo>
                      <a:pt x="4873" y="1630"/>
                    </a:lnTo>
                    <a:lnTo>
                      <a:pt x="4861" y="1636"/>
                    </a:lnTo>
                    <a:lnTo>
                      <a:pt x="4852" y="1641"/>
                    </a:lnTo>
                    <a:lnTo>
                      <a:pt x="4846" y="1649"/>
                    </a:lnTo>
                    <a:lnTo>
                      <a:pt x="4843" y="1649"/>
                    </a:lnTo>
                    <a:lnTo>
                      <a:pt x="4841" y="1650"/>
                    </a:lnTo>
                    <a:lnTo>
                      <a:pt x="4841" y="1652"/>
                    </a:lnTo>
                    <a:lnTo>
                      <a:pt x="4841" y="1656"/>
                    </a:lnTo>
                    <a:lnTo>
                      <a:pt x="4843" y="1659"/>
                    </a:lnTo>
                    <a:lnTo>
                      <a:pt x="4845" y="1664"/>
                    </a:lnTo>
                    <a:lnTo>
                      <a:pt x="4846" y="1669"/>
                    </a:lnTo>
                    <a:lnTo>
                      <a:pt x="4850" y="1674"/>
                    </a:lnTo>
                    <a:lnTo>
                      <a:pt x="4858" y="1684"/>
                    </a:lnTo>
                    <a:lnTo>
                      <a:pt x="4861" y="1687"/>
                    </a:lnTo>
                    <a:lnTo>
                      <a:pt x="4865" y="1690"/>
                    </a:lnTo>
                    <a:lnTo>
                      <a:pt x="4868" y="1695"/>
                    </a:lnTo>
                    <a:lnTo>
                      <a:pt x="4873" y="1697"/>
                    </a:lnTo>
                    <a:lnTo>
                      <a:pt x="4876" y="1698"/>
                    </a:lnTo>
                    <a:lnTo>
                      <a:pt x="4879" y="1700"/>
                    </a:lnTo>
                    <a:lnTo>
                      <a:pt x="4899" y="1693"/>
                    </a:lnTo>
                    <a:lnTo>
                      <a:pt x="4922" y="1689"/>
                    </a:lnTo>
                    <a:lnTo>
                      <a:pt x="4944" y="1687"/>
                    </a:lnTo>
                    <a:lnTo>
                      <a:pt x="4967" y="1685"/>
                    </a:lnTo>
                    <a:lnTo>
                      <a:pt x="4988" y="1687"/>
                    </a:lnTo>
                    <a:lnTo>
                      <a:pt x="5011" y="1689"/>
                    </a:lnTo>
                    <a:lnTo>
                      <a:pt x="5033" y="1693"/>
                    </a:lnTo>
                    <a:lnTo>
                      <a:pt x="5054" y="1700"/>
                    </a:lnTo>
                    <a:lnTo>
                      <a:pt x="5077" y="1698"/>
                    </a:lnTo>
                    <a:lnTo>
                      <a:pt x="5101" y="1697"/>
                    </a:lnTo>
                    <a:lnTo>
                      <a:pt x="5125" y="1695"/>
                    </a:lnTo>
                    <a:lnTo>
                      <a:pt x="5148" y="1690"/>
                    </a:lnTo>
                    <a:lnTo>
                      <a:pt x="5169" y="1687"/>
                    </a:lnTo>
                    <a:lnTo>
                      <a:pt x="5194" y="1685"/>
                    </a:lnTo>
                    <a:lnTo>
                      <a:pt x="5217" y="1682"/>
                    </a:lnTo>
                    <a:lnTo>
                      <a:pt x="5241" y="1682"/>
                    </a:lnTo>
                    <a:lnTo>
                      <a:pt x="5280" y="1682"/>
                    </a:lnTo>
                    <a:lnTo>
                      <a:pt x="5301" y="1684"/>
                    </a:lnTo>
                    <a:lnTo>
                      <a:pt x="5319" y="1684"/>
                    </a:lnTo>
                    <a:lnTo>
                      <a:pt x="5339" y="1685"/>
                    </a:lnTo>
                    <a:lnTo>
                      <a:pt x="5358" y="1689"/>
                    </a:lnTo>
                    <a:lnTo>
                      <a:pt x="5378" y="1693"/>
                    </a:lnTo>
                    <a:lnTo>
                      <a:pt x="5396" y="1700"/>
                    </a:lnTo>
                    <a:lnTo>
                      <a:pt x="5400" y="1700"/>
                    </a:lnTo>
                    <a:lnTo>
                      <a:pt x="5406" y="1700"/>
                    </a:lnTo>
                    <a:lnTo>
                      <a:pt x="5409" y="1700"/>
                    </a:lnTo>
                    <a:lnTo>
                      <a:pt x="5415" y="1700"/>
                    </a:lnTo>
                    <a:lnTo>
                      <a:pt x="5426" y="1700"/>
                    </a:lnTo>
                    <a:lnTo>
                      <a:pt x="5437" y="1702"/>
                    </a:lnTo>
                    <a:lnTo>
                      <a:pt x="5449" y="1704"/>
                    </a:lnTo>
                    <a:lnTo>
                      <a:pt x="5454" y="1705"/>
                    </a:lnTo>
                    <a:lnTo>
                      <a:pt x="5457" y="1705"/>
                    </a:lnTo>
                    <a:lnTo>
                      <a:pt x="5461" y="1708"/>
                    </a:lnTo>
                    <a:lnTo>
                      <a:pt x="5462" y="1711"/>
                    </a:lnTo>
                    <a:lnTo>
                      <a:pt x="5465" y="1713"/>
                    </a:lnTo>
                    <a:lnTo>
                      <a:pt x="5467" y="1717"/>
                    </a:lnTo>
                    <a:lnTo>
                      <a:pt x="5472" y="1723"/>
                    </a:lnTo>
                    <a:lnTo>
                      <a:pt x="5475" y="1726"/>
                    </a:lnTo>
                    <a:lnTo>
                      <a:pt x="5482" y="1730"/>
                    </a:lnTo>
                    <a:lnTo>
                      <a:pt x="5485" y="1731"/>
                    </a:lnTo>
                    <a:lnTo>
                      <a:pt x="5490" y="1733"/>
                    </a:lnTo>
                    <a:lnTo>
                      <a:pt x="5495" y="1733"/>
                    </a:lnTo>
                    <a:lnTo>
                      <a:pt x="5498" y="1733"/>
                    </a:lnTo>
                    <a:lnTo>
                      <a:pt x="5502" y="1733"/>
                    </a:lnTo>
                    <a:lnTo>
                      <a:pt x="5505" y="1733"/>
                    </a:lnTo>
                    <a:lnTo>
                      <a:pt x="5511" y="1733"/>
                    </a:lnTo>
                    <a:lnTo>
                      <a:pt x="5518" y="1733"/>
                    </a:lnTo>
                    <a:lnTo>
                      <a:pt x="5511" y="1739"/>
                    </a:lnTo>
                    <a:lnTo>
                      <a:pt x="5502" y="1743"/>
                    </a:lnTo>
                    <a:lnTo>
                      <a:pt x="5492" y="1746"/>
                    </a:lnTo>
                    <a:lnTo>
                      <a:pt x="5483" y="1748"/>
                    </a:lnTo>
                    <a:lnTo>
                      <a:pt x="5474" y="1750"/>
                    </a:lnTo>
                    <a:lnTo>
                      <a:pt x="5465" y="1750"/>
                    </a:lnTo>
                    <a:lnTo>
                      <a:pt x="5456" y="1750"/>
                    </a:lnTo>
                    <a:lnTo>
                      <a:pt x="5449" y="1750"/>
                    </a:lnTo>
                    <a:lnTo>
                      <a:pt x="5444" y="1748"/>
                    </a:lnTo>
                    <a:lnTo>
                      <a:pt x="5441" y="1746"/>
                    </a:lnTo>
                    <a:lnTo>
                      <a:pt x="5437" y="1744"/>
                    </a:lnTo>
                    <a:lnTo>
                      <a:pt x="5434" y="1743"/>
                    </a:lnTo>
                    <a:lnTo>
                      <a:pt x="5428" y="1743"/>
                    </a:lnTo>
                    <a:lnTo>
                      <a:pt x="5422" y="1743"/>
                    </a:lnTo>
                    <a:lnTo>
                      <a:pt x="5411" y="1744"/>
                    </a:lnTo>
                    <a:lnTo>
                      <a:pt x="5400" y="1746"/>
                    </a:lnTo>
                    <a:lnTo>
                      <a:pt x="5388" y="1748"/>
                    </a:lnTo>
                    <a:lnTo>
                      <a:pt x="5376" y="1750"/>
                    </a:lnTo>
                    <a:lnTo>
                      <a:pt x="5363" y="1750"/>
                    </a:lnTo>
                    <a:lnTo>
                      <a:pt x="5343" y="1750"/>
                    </a:lnTo>
                    <a:lnTo>
                      <a:pt x="5321" y="1748"/>
                    </a:lnTo>
                    <a:lnTo>
                      <a:pt x="5299" y="1744"/>
                    </a:lnTo>
                    <a:lnTo>
                      <a:pt x="5275" y="1743"/>
                    </a:lnTo>
                    <a:lnTo>
                      <a:pt x="5248" y="1739"/>
                    </a:lnTo>
                    <a:lnTo>
                      <a:pt x="5225" y="1735"/>
                    </a:lnTo>
                    <a:lnTo>
                      <a:pt x="5199" y="1733"/>
                    </a:lnTo>
                    <a:lnTo>
                      <a:pt x="5173" y="1733"/>
                    </a:lnTo>
                    <a:lnTo>
                      <a:pt x="5148" y="1733"/>
                    </a:lnTo>
                    <a:lnTo>
                      <a:pt x="5121" y="1735"/>
                    </a:lnTo>
                    <a:lnTo>
                      <a:pt x="5095" y="1739"/>
                    </a:lnTo>
                    <a:lnTo>
                      <a:pt x="5070" y="1743"/>
                    </a:lnTo>
                    <a:lnTo>
                      <a:pt x="5044" y="1744"/>
                    </a:lnTo>
                    <a:lnTo>
                      <a:pt x="5018" y="1748"/>
                    </a:lnTo>
                    <a:lnTo>
                      <a:pt x="4993" y="1750"/>
                    </a:lnTo>
                    <a:lnTo>
                      <a:pt x="4967" y="1750"/>
                    </a:lnTo>
                    <a:lnTo>
                      <a:pt x="4940" y="1756"/>
                    </a:lnTo>
                    <a:lnTo>
                      <a:pt x="4914" y="1761"/>
                    </a:lnTo>
                    <a:lnTo>
                      <a:pt x="4889" y="1764"/>
                    </a:lnTo>
                    <a:lnTo>
                      <a:pt x="4865" y="1769"/>
                    </a:lnTo>
                    <a:lnTo>
                      <a:pt x="4841" y="1772"/>
                    </a:lnTo>
                    <a:lnTo>
                      <a:pt x="4819" y="1776"/>
                    </a:lnTo>
                    <a:lnTo>
                      <a:pt x="4797" y="1779"/>
                    </a:lnTo>
                    <a:lnTo>
                      <a:pt x="4776" y="1785"/>
                    </a:lnTo>
                    <a:lnTo>
                      <a:pt x="4771" y="1792"/>
                    </a:lnTo>
                    <a:lnTo>
                      <a:pt x="4766" y="1800"/>
                    </a:lnTo>
                    <a:lnTo>
                      <a:pt x="4759" y="1809"/>
                    </a:lnTo>
                    <a:lnTo>
                      <a:pt x="4758" y="1812"/>
                    </a:lnTo>
                    <a:lnTo>
                      <a:pt x="4758" y="1817"/>
                    </a:lnTo>
                    <a:lnTo>
                      <a:pt x="4756" y="1822"/>
                    </a:lnTo>
                    <a:lnTo>
                      <a:pt x="4758" y="1825"/>
                    </a:lnTo>
                    <a:lnTo>
                      <a:pt x="4758" y="1827"/>
                    </a:lnTo>
                    <a:lnTo>
                      <a:pt x="4759" y="1832"/>
                    </a:lnTo>
                    <a:lnTo>
                      <a:pt x="4764" y="1833"/>
                    </a:lnTo>
                    <a:lnTo>
                      <a:pt x="4767" y="1835"/>
                    </a:lnTo>
                    <a:lnTo>
                      <a:pt x="4771" y="1837"/>
                    </a:lnTo>
                    <a:lnTo>
                      <a:pt x="4776" y="1837"/>
                    </a:lnTo>
                    <a:lnTo>
                      <a:pt x="4771" y="1840"/>
                    </a:lnTo>
                    <a:lnTo>
                      <a:pt x="4767" y="1842"/>
                    </a:lnTo>
                    <a:lnTo>
                      <a:pt x="4764" y="1845"/>
                    </a:lnTo>
                    <a:lnTo>
                      <a:pt x="4764" y="1846"/>
                    </a:lnTo>
                    <a:lnTo>
                      <a:pt x="4761" y="1848"/>
                    </a:lnTo>
                    <a:lnTo>
                      <a:pt x="4764" y="1850"/>
                    </a:lnTo>
                    <a:lnTo>
                      <a:pt x="4764" y="1851"/>
                    </a:lnTo>
                    <a:lnTo>
                      <a:pt x="4766" y="1851"/>
                    </a:lnTo>
                    <a:lnTo>
                      <a:pt x="4769" y="1851"/>
                    </a:lnTo>
                    <a:lnTo>
                      <a:pt x="4772" y="1853"/>
                    </a:lnTo>
                    <a:lnTo>
                      <a:pt x="4780" y="1853"/>
                    </a:lnTo>
                    <a:lnTo>
                      <a:pt x="4787" y="1853"/>
                    </a:lnTo>
                    <a:lnTo>
                      <a:pt x="4795" y="1853"/>
                    </a:lnTo>
                    <a:lnTo>
                      <a:pt x="4789" y="1855"/>
                    </a:lnTo>
                    <a:lnTo>
                      <a:pt x="4786" y="1857"/>
                    </a:lnTo>
                    <a:lnTo>
                      <a:pt x="4784" y="1858"/>
                    </a:lnTo>
                    <a:lnTo>
                      <a:pt x="4782" y="1861"/>
                    </a:lnTo>
                    <a:lnTo>
                      <a:pt x="4782" y="1863"/>
                    </a:lnTo>
                    <a:lnTo>
                      <a:pt x="4782" y="1865"/>
                    </a:lnTo>
                    <a:lnTo>
                      <a:pt x="4782" y="1866"/>
                    </a:lnTo>
                    <a:lnTo>
                      <a:pt x="4784" y="1870"/>
                    </a:lnTo>
                    <a:lnTo>
                      <a:pt x="4786" y="1871"/>
                    </a:lnTo>
                    <a:lnTo>
                      <a:pt x="4787" y="1873"/>
                    </a:lnTo>
                    <a:lnTo>
                      <a:pt x="4791" y="1876"/>
                    </a:lnTo>
                    <a:lnTo>
                      <a:pt x="4795" y="1878"/>
                    </a:lnTo>
                    <a:lnTo>
                      <a:pt x="4802" y="1883"/>
                    </a:lnTo>
                    <a:lnTo>
                      <a:pt x="4812" y="1886"/>
                    </a:lnTo>
                    <a:lnTo>
                      <a:pt x="4820" y="1891"/>
                    </a:lnTo>
                    <a:lnTo>
                      <a:pt x="4832" y="1894"/>
                    </a:lnTo>
                    <a:lnTo>
                      <a:pt x="4843" y="1898"/>
                    </a:lnTo>
                    <a:lnTo>
                      <a:pt x="4852" y="1899"/>
                    </a:lnTo>
                    <a:lnTo>
                      <a:pt x="4861" y="1901"/>
                    </a:lnTo>
                    <a:lnTo>
                      <a:pt x="4868" y="1903"/>
                    </a:lnTo>
                    <a:lnTo>
                      <a:pt x="4873" y="1906"/>
                    </a:lnTo>
                    <a:lnTo>
                      <a:pt x="4876" y="1906"/>
                    </a:lnTo>
                    <a:lnTo>
                      <a:pt x="4878" y="1906"/>
                    </a:lnTo>
                    <a:lnTo>
                      <a:pt x="4879" y="1906"/>
                    </a:lnTo>
                    <a:lnTo>
                      <a:pt x="4983" y="1906"/>
                    </a:lnTo>
                    <a:lnTo>
                      <a:pt x="5087" y="1906"/>
                    </a:lnTo>
                    <a:lnTo>
                      <a:pt x="5079" y="1912"/>
                    </a:lnTo>
                    <a:lnTo>
                      <a:pt x="5072" y="1918"/>
                    </a:lnTo>
                    <a:lnTo>
                      <a:pt x="5062" y="1925"/>
                    </a:lnTo>
                    <a:lnTo>
                      <a:pt x="5055" y="1931"/>
                    </a:lnTo>
                    <a:lnTo>
                      <a:pt x="5047" y="1939"/>
                    </a:lnTo>
                    <a:lnTo>
                      <a:pt x="5044" y="1940"/>
                    </a:lnTo>
                    <a:lnTo>
                      <a:pt x="5041" y="1944"/>
                    </a:lnTo>
                    <a:lnTo>
                      <a:pt x="5039" y="1947"/>
                    </a:lnTo>
                    <a:lnTo>
                      <a:pt x="5036" y="1952"/>
                    </a:lnTo>
                    <a:lnTo>
                      <a:pt x="5034" y="1953"/>
                    </a:lnTo>
                    <a:lnTo>
                      <a:pt x="5034" y="1957"/>
                    </a:lnTo>
                    <a:lnTo>
                      <a:pt x="5029" y="1962"/>
                    </a:lnTo>
                    <a:lnTo>
                      <a:pt x="5026" y="1968"/>
                    </a:lnTo>
                    <a:lnTo>
                      <a:pt x="5021" y="1972"/>
                    </a:lnTo>
                    <a:lnTo>
                      <a:pt x="5020" y="1973"/>
                    </a:lnTo>
                    <a:lnTo>
                      <a:pt x="5020" y="1977"/>
                    </a:lnTo>
                    <a:lnTo>
                      <a:pt x="5018" y="1981"/>
                    </a:lnTo>
                    <a:lnTo>
                      <a:pt x="5018" y="1986"/>
                    </a:lnTo>
                    <a:lnTo>
                      <a:pt x="5018" y="1992"/>
                    </a:lnTo>
                    <a:lnTo>
                      <a:pt x="5018" y="1993"/>
                    </a:lnTo>
                    <a:lnTo>
                      <a:pt x="5020" y="1998"/>
                    </a:lnTo>
                    <a:lnTo>
                      <a:pt x="5021" y="1999"/>
                    </a:lnTo>
                    <a:lnTo>
                      <a:pt x="5024" y="2001"/>
                    </a:lnTo>
                    <a:lnTo>
                      <a:pt x="5027" y="2005"/>
                    </a:lnTo>
                    <a:lnTo>
                      <a:pt x="5031" y="2008"/>
                    </a:lnTo>
                    <a:lnTo>
                      <a:pt x="5033" y="2011"/>
                    </a:lnTo>
                    <a:lnTo>
                      <a:pt x="5033" y="2013"/>
                    </a:lnTo>
                    <a:lnTo>
                      <a:pt x="5033" y="2014"/>
                    </a:lnTo>
                    <a:lnTo>
                      <a:pt x="5033" y="2016"/>
                    </a:lnTo>
                    <a:lnTo>
                      <a:pt x="5031" y="2018"/>
                    </a:lnTo>
                    <a:lnTo>
                      <a:pt x="5027" y="2019"/>
                    </a:lnTo>
                    <a:lnTo>
                      <a:pt x="5024" y="2023"/>
                    </a:lnTo>
                    <a:lnTo>
                      <a:pt x="5018" y="2025"/>
                    </a:lnTo>
                    <a:lnTo>
                      <a:pt x="5024" y="2029"/>
                    </a:lnTo>
                    <a:lnTo>
                      <a:pt x="5031" y="2031"/>
                    </a:lnTo>
                    <a:lnTo>
                      <a:pt x="5036" y="2031"/>
                    </a:lnTo>
                    <a:lnTo>
                      <a:pt x="5044" y="2031"/>
                    </a:lnTo>
                    <a:lnTo>
                      <a:pt x="5049" y="2029"/>
                    </a:lnTo>
                    <a:lnTo>
                      <a:pt x="5057" y="2027"/>
                    </a:lnTo>
                    <a:lnTo>
                      <a:pt x="5070" y="2023"/>
                    </a:lnTo>
                    <a:lnTo>
                      <a:pt x="5082" y="2018"/>
                    </a:lnTo>
                    <a:lnTo>
                      <a:pt x="5095" y="2014"/>
                    </a:lnTo>
                    <a:lnTo>
                      <a:pt x="5101" y="2013"/>
                    </a:lnTo>
                    <a:lnTo>
                      <a:pt x="5108" y="2011"/>
                    </a:lnTo>
                    <a:lnTo>
                      <a:pt x="5116" y="2008"/>
                    </a:lnTo>
                    <a:lnTo>
                      <a:pt x="5121" y="2008"/>
                    </a:lnTo>
                    <a:lnTo>
                      <a:pt x="5134" y="2008"/>
                    </a:lnTo>
                    <a:lnTo>
                      <a:pt x="5143" y="2011"/>
                    </a:lnTo>
                    <a:lnTo>
                      <a:pt x="5154" y="2014"/>
                    </a:lnTo>
                    <a:lnTo>
                      <a:pt x="5164" y="2018"/>
                    </a:lnTo>
                    <a:lnTo>
                      <a:pt x="5175" y="2019"/>
                    </a:lnTo>
                    <a:lnTo>
                      <a:pt x="5184" y="2023"/>
                    </a:lnTo>
                    <a:lnTo>
                      <a:pt x="5195" y="2025"/>
                    </a:lnTo>
                    <a:lnTo>
                      <a:pt x="5208" y="2025"/>
                    </a:lnTo>
                    <a:lnTo>
                      <a:pt x="5210" y="2025"/>
                    </a:lnTo>
                    <a:lnTo>
                      <a:pt x="5214" y="2025"/>
                    </a:lnTo>
                    <a:lnTo>
                      <a:pt x="5217" y="2025"/>
                    </a:lnTo>
                    <a:lnTo>
                      <a:pt x="5223" y="2025"/>
                    </a:lnTo>
                    <a:lnTo>
                      <a:pt x="5227" y="2025"/>
                    </a:lnTo>
                    <a:lnTo>
                      <a:pt x="5238" y="2023"/>
                    </a:lnTo>
                    <a:lnTo>
                      <a:pt x="5241" y="2023"/>
                    </a:lnTo>
                    <a:lnTo>
                      <a:pt x="5245" y="2021"/>
                    </a:lnTo>
                    <a:lnTo>
                      <a:pt x="5248" y="2019"/>
                    </a:lnTo>
                    <a:lnTo>
                      <a:pt x="5251" y="2018"/>
                    </a:lnTo>
                    <a:lnTo>
                      <a:pt x="5251" y="2016"/>
                    </a:lnTo>
                    <a:lnTo>
                      <a:pt x="5251" y="2014"/>
                    </a:lnTo>
                    <a:lnTo>
                      <a:pt x="5248" y="2013"/>
                    </a:lnTo>
                    <a:lnTo>
                      <a:pt x="5247" y="2013"/>
                    </a:lnTo>
                    <a:lnTo>
                      <a:pt x="5245" y="2011"/>
                    </a:lnTo>
                    <a:lnTo>
                      <a:pt x="5241" y="2008"/>
                    </a:lnTo>
                    <a:lnTo>
                      <a:pt x="5248" y="2008"/>
                    </a:lnTo>
                    <a:lnTo>
                      <a:pt x="5258" y="2008"/>
                    </a:lnTo>
                    <a:lnTo>
                      <a:pt x="5268" y="2008"/>
                    </a:lnTo>
                    <a:lnTo>
                      <a:pt x="5276" y="2008"/>
                    </a:lnTo>
                    <a:lnTo>
                      <a:pt x="5286" y="2008"/>
                    </a:lnTo>
                    <a:lnTo>
                      <a:pt x="5291" y="2008"/>
                    </a:lnTo>
                    <a:lnTo>
                      <a:pt x="5293" y="2008"/>
                    </a:lnTo>
                    <a:lnTo>
                      <a:pt x="5294" y="2008"/>
                    </a:lnTo>
                    <a:lnTo>
                      <a:pt x="5297" y="2008"/>
                    </a:lnTo>
                    <a:lnTo>
                      <a:pt x="5299" y="2008"/>
                    </a:lnTo>
                    <a:lnTo>
                      <a:pt x="5302" y="2008"/>
                    </a:lnTo>
                    <a:lnTo>
                      <a:pt x="5304" y="2008"/>
                    </a:lnTo>
                    <a:lnTo>
                      <a:pt x="5301" y="2011"/>
                    </a:lnTo>
                    <a:lnTo>
                      <a:pt x="5294" y="2013"/>
                    </a:lnTo>
                    <a:lnTo>
                      <a:pt x="5293" y="2016"/>
                    </a:lnTo>
                    <a:lnTo>
                      <a:pt x="5289" y="2019"/>
                    </a:lnTo>
                    <a:lnTo>
                      <a:pt x="5284" y="2021"/>
                    </a:lnTo>
                    <a:lnTo>
                      <a:pt x="5280" y="2023"/>
                    </a:lnTo>
                    <a:lnTo>
                      <a:pt x="5275" y="2025"/>
                    </a:lnTo>
                    <a:lnTo>
                      <a:pt x="5280" y="2025"/>
                    </a:lnTo>
                    <a:lnTo>
                      <a:pt x="5284" y="2025"/>
                    </a:lnTo>
                    <a:lnTo>
                      <a:pt x="5289" y="2025"/>
                    </a:lnTo>
                    <a:lnTo>
                      <a:pt x="5293" y="2025"/>
                    </a:lnTo>
                    <a:lnTo>
                      <a:pt x="5294" y="2025"/>
                    </a:lnTo>
                    <a:lnTo>
                      <a:pt x="5301" y="2025"/>
                    </a:lnTo>
                    <a:lnTo>
                      <a:pt x="5304" y="2025"/>
                    </a:lnTo>
                    <a:lnTo>
                      <a:pt x="5312" y="2025"/>
                    </a:lnTo>
                    <a:lnTo>
                      <a:pt x="5312" y="2019"/>
                    </a:lnTo>
                    <a:lnTo>
                      <a:pt x="5312" y="2014"/>
                    </a:lnTo>
                    <a:lnTo>
                      <a:pt x="5312" y="2013"/>
                    </a:lnTo>
                    <a:lnTo>
                      <a:pt x="5312" y="2011"/>
                    </a:lnTo>
                    <a:lnTo>
                      <a:pt x="5312" y="2008"/>
                    </a:lnTo>
                    <a:lnTo>
                      <a:pt x="5314" y="2008"/>
                    </a:lnTo>
                    <a:lnTo>
                      <a:pt x="5324" y="2008"/>
                    </a:lnTo>
                    <a:lnTo>
                      <a:pt x="5332" y="2008"/>
                    </a:lnTo>
                    <a:lnTo>
                      <a:pt x="5337" y="2008"/>
                    </a:lnTo>
                    <a:lnTo>
                      <a:pt x="5341" y="2008"/>
                    </a:lnTo>
                    <a:lnTo>
                      <a:pt x="5345" y="2008"/>
                    </a:lnTo>
                    <a:lnTo>
                      <a:pt x="5358" y="2008"/>
                    </a:lnTo>
                    <a:lnTo>
                      <a:pt x="5368" y="2006"/>
                    </a:lnTo>
                    <a:lnTo>
                      <a:pt x="5378" y="2005"/>
                    </a:lnTo>
                    <a:lnTo>
                      <a:pt x="5389" y="2003"/>
                    </a:lnTo>
                    <a:lnTo>
                      <a:pt x="5398" y="2001"/>
                    </a:lnTo>
                    <a:lnTo>
                      <a:pt x="5404" y="2001"/>
                    </a:lnTo>
                    <a:lnTo>
                      <a:pt x="5408" y="2001"/>
                    </a:lnTo>
                    <a:lnTo>
                      <a:pt x="5413" y="2003"/>
                    </a:lnTo>
                    <a:lnTo>
                      <a:pt x="5419" y="2003"/>
                    </a:lnTo>
                    <a:lnTo>
                      <a:pt x="5424" y="2005"/>
                    </a:lnTo>
                    <a:lnTo>
                      <a:pt x="5431" y="2008"/>
                    </a:lnTo>
                    <a:lnTo>
                      <a:pt x="5444" y="2008"/>
                    </a:lnTo>
                    <a:lnTo>
                      <a:pt x="5459" y="2006"/>
                    </a:lnTo>
                    <a:lnTo>
                      <a:pt x="5475" y="2003"/>
                    </a:lnTo>
                    <a:lnTo>
                      <a:pt x="5492" y="1999"/>
                    </a:lnTo>
                    <a:lnTo>
                      <a:pt x="5507" y="1998"/>
                    </a:lnTo>
                    <a:lnTo>
                      <a:pt x="5523" y="1993"/>
                    </a:lnTo>
                    <a:lnTo>
                      <a:pt x="5538" y="1992"/>
                    </a:lnTo>
                    <a:lnTo>
                      <a:pt x="5551" y="1992"/>
                    </a:lnTo>
                    <a:lnTo>
                      <a:pt x="5569" y="1985"/>
                    </a:lnTo>
                    <a:lnTo>
                      <a:pt x="5589" y="1978"/>
                    </a:lnTo>
                    <a:lnTo>
                      <a:pt x="5603" y="1973"/>
                    </a:lnTo>
                    <a:lnTo>
                      <a:pt x="5618" y="1968"/>
                    </a:lnTo>
                    <a:lnTo>
                      <a:pt x="5633" y="1962"/>
                    </a:lnTo>
                    <a:lnTo>
                      <a:pt x="5645" y="1960"/>
                    </a:lnTo>
                    <a:lnTo>
                      <a:pt x="5658" y="1957"/>
                    </a:lnTo>
                    <a:lnTo>
                      <a:pt x="5673" y="1957"/>
                    </a:lnTo>
                    <a:lnTo>
                      <a:pt x="5691" y="1957"/>
                    </a:lnTo>
                    <a:lnTo>
                      <a:pt x="5709" y="1955"/>
                    </a:lnTo>
                    <a:lnTo>
                      <a:pt x="5725" y="1952"/>
                    </a:lnTo>
                    <a:lnTo>
                      <a:pt x="5740" y="1947"/>
                    </a:lnTo>
                    <a:lnTo>
                      <a:pt x="5752" y="1945"/>
                    </a:lnTo>
                    <a:lnTo>
                      <a:pt x="5767" y="1942"/>
                    </a:lnTo>
                    <a:lnTo>
                      <a:pt x="5780" y="1940"/>
                    </a:lnTo>
                    <a:lnTo>
                      <a:pt x="5793" y="1940"/>
                    </a:lnTo>
                    <a:lnTo>
                      <a:pt x="5803" y="1937"/>
                    </a:lnTo>
                    <a:lnTo>
                      <a:pt x="5810" y="1932"/>
                    </a:lnTo>
                    <a:lnTo>
                      <a:pt x="5819" y="1931"/>
                    </a:lnTo>
                    <a:lnTo>
                      <a:pt x="5826" y="1927"/>
                    </a:lnTo>
                    <a:lnTo>
                      <a:pt x="5832" y="1924"/>
                    </a:lnTo>
                    <a:lnTo>
                      <a:pt x="5839" y="1920"/>
                    </a:lnTo>
                    <a:lnTo>
                      <a:pt x="5851" y="1914"/>
                    </a:lnTo>
                    <a:lnTo>
                      <a:pt x="5862" y="1907"/>
                    </a:lnTo>
                    <a:lnTo>
                      <a:pt x="5872" y="1901"/>
                    </a:lnTo>
                    <a:lnTo>
                      <a:pt x="5884" y="1894"/>
                    </a:lnTo>
                    <a:lnTo>
                      <a:pt x="5897" y="1888"/>
                    </a:lnTo>
                    <a:lnTo>
                      <a:pt x="5904" y="1883"/>
                    </a:lnTo>
                    <a:lnTo>
                      <a:pt x="5911" y="1878"/>
                    </a:lnTo>
                    <a:lnTo>
                      <a:pt x="5920" y="1876"/>
                    </a:lnTo>
                    <a:lnTo>
                      <a:pt x="5930" y="1873"/>
                    </a:lnTo>
                    <a:lnTo>
                      <a:pt x="5941" y="1871"/>
                    </a:lnTo>
                    <a:lnTo>
                      <a:pt x="5950" y="1871"/>
                    </a:lnTo>
                    <a:lnTo>
                      <a:pt x="5958" y="1871"/>
                    </a:lnTo>
                    <a:lnTo>
                      <a:pt x="5964" y="1871"/>
                    </a:lnTo>
                    <a:lnTo>
                      <a:pt x="5969" y="1871"/>
                    </a:lnTo>
                    <a:lnTo>
                      <a:pt x="5971" y="1871"/>
                    </a:lnTo>
                    <a:lnTo>
                      <a:pt x="5974" y="1871"/>
                    </a:lnTo>
                    <a:lnTo>
                      <a:pt x="5976" y="1873"/>
                    </a:lnTo>
                    <a:lnTo>
                      <a:pt x="5976" y="1876"/>
                    </a:lnTo>
                    <a:lnTo>
                      <a:pt x="5976" y="1879"/>
                    </a:lnTo>
                    <a:lnTo>
                      <a:pt x="5974" y="1881"/>
                    </a:lnTo>
                    <a:lnTo>
                      <a:pt x="5971" y="1885"/>
                    </a:lnTo>
                    <a:lnTo>
                      <a:pt x="5966" y="1888"/>
                    </a:lnTo>
                    <a:lnTo>
                      <a:pt x="5963" y="1892"/>
                    </a:lnTo>
                    <a:lnTo>
                      <a:pt x="5958" y="1894"/>
                    </a:lnTo>
                    <a:lnTo>
                      <a:pt x="5948" y="1899"/>
                    </a:lnTo>
                    <a:lnTo>
                      <a:pt x="5943" y="1903"/>
                    </a:lnTo>
                    <a:lnTo>
                      <a:pt x="5939" y="1903"/>
                    </a:lnTo>
                    <a:lnTo>
                      <a:pt x="5933" y="1906"/>
                    </a:lnTo>
                    <a:lnTo>
                      <a:pt x="5931" y="1906"/>
                    </a:lnTo>
                    <a:lnTo>
                      <a:pt x="5943" y="1911"/>
                    </a:lnTo>
                    <a:lnTo>
                      <a:pt x="5954" y="1916"/>
                    </a:lnTo>
                    <a:lnTo>
                      <a:pt x="5963" y="1918"/>
                    </a:lnTo>
                    <a:lnTo>
                      <a:pt x="5972" y="1920"/>
                    </a:lnTo>
                    <a:lnTo>
                      <a:pt x="5979" y="1922"/>
                    </a:lnTo>
                    <a:lnTo>
                      <a:pt x="5987" y="1922"/>
                    </a:lnTo>
                    <a:lnTo>
                      <a:pt x="6000" y="1924"/>
                    </a:lnTo>
                    <a:lnTo>
                      <a:pt x="6011" y="1924"/>
                    </a:lnTo>
                    <a:lnTo>
                      <a:pt x="6022" y="1925"/>
                    </a:lnTo>
                    <a:lnTo>
                      <a:pt x="6033" y="1927"/>
                    </a:lnTo>
                    <a:lnTo>
                      <a:pt x="6042" y="1929"/>
                    </a:lnTo>
                    <a:lnTo>
                      <a:pt x="6052" y="1931"/>
                    </a:lnTo>
                    <a:lnTo>
                      <a:pt x="6057" y="1931"/>
                    </a:lnTo>
                    <a:lnTo>
                      <a:pt x="6063" y="1929"/>
                    </a:lnTo>
                    <a:lnTo>
                      <a:pt x="6068" y="1929"/>
                    </a:lnTo>
                    <a:lnTo>
                      <a:pt x="6074" y="1927"/>
                    </a:lnTo>
                    <a:lnTo>
                      <a:pt x="6079" y="1925"/>
                    </a:lnTo>
                    <a:lnTo>
                      <a:pt x="6086" y="1924"/>
                    </a:lnTo>
                    <a:lnTo>
                      <a:pt x="6079" y="1929"/>
                    </a:lnTo>
                    <a:lnTo>
                      <a:pt x="6071" y="1932"/>
                    </a:lnTo>
                    <a:lnTo>
                      <a:pt x="6066" y="1937"/>
                    </a:lnTo>
                    <a:lnTo>
                      <a:pt x="6059" y="1940"/>
                    </a:lnTo>
                    <a:lnTo>
                      <a:pt x="6053" y="1944"/>
                    </a:lnTo>
                    <a:lnTo>
                      <a:pt x="6046" y="1947"/>
                    </a:lnTo>
                    <a:lnTo>
                      <a:pt x="6040" y="1952"/>
                    </a:lnTo>
                    <a:lnTo>
                      <a:pt x="6035" y="1957"/>
                    </a:lnTo>
                    <a:lnTo>
                      <a:pt x="6040" y="1960"/>
                    </a:lnTo>
                    <a:lnTo>
                      <a:pt x="6046" y="1962"/>
                    </a:lnTo>
                    <a:lnTo>
                      <a:pt x="6053" y="1962"/>
                    </a:lnTo>
                    <a:lnTo>
                      <a:pt x="6059" y="1964"/>
                    </a:lnTo>
                    <a:lnTo>
                      <a:pt x="6066" y="1964"/>
                    </a:lnTo>
                    <a:lnTo>
                      <a:pt x="6071" y="1964"/>
                    </a:lnTo>
                    <a:lnTo>
                      <a:pt x="6085" y="1962"/>
                    </a:lnTo>
                    <a:lnTo>
                      <a:pt x="6098" y="1960"/>
                    </a:lnTo>
                    <a:lnTo>
                      <a:pt x="6111" y="1959"/>
                    </a:lnTo>
                    <a:lnTo>
                      <a:pt x="6124" y="1957"/>
                    </a:lnTo>
                    <a:lnTo>
                      <a:pt x="6139" y="1957"/>
                    </a:lnTo>
                    <a:lnTo>
                      <a:pt x="6144" y="1957"/>
                    </a:lnTo>
                    <a:lnTo>
                      <a:pt x="6150" y="1959"/>
                    </a:lnTo>
                    <a:lnTo>
                      <a:pt x="6157" y="1962"/>
                    </a:lnTo>
                    <a:lnTo>
                      <a:pt x="6162" y="1966"/>
                    </a:lnTo>
                    <a:lnTo>
                      <a:pt x="6170" y="1968"/>
                    </a:lnTo>
                    <a:lnTo>
                      <a:pt x="6175" y="1972"/>
                    </a:lnTo>
                    <a:lnTo>
                      <a:pt x="6183" y="1973"/>
                    </a:lnTo>
                    <a:lnTo>
                      <a:pt x="6188" y="1973"/>
                    </a:lnTo>
                    <a:lnTo>
                      <a:pt x="6196" y="1973"/>
                    </a:lnTo>
                    <a:lnTo>
                      <a:pt x="6199" y="1973"/>
                    </a:lnTo>
                    <a:lnTo>
                      <a:pt x="6205" y="1973"/>
                    </a:lnTo>
                    <a:lnTo>
                      <a:pt x="6208" y="1973"/>
                    </a:lnTo>
                    <a:lnTo>
                      <a:pt x="6216" y="1973"/>
                    </a:lnTo>
                    <a:lnTo>
                      <a:pt x="6223" y="1973"/>
                    </a:lnTo>
                    <a:lnTo>
                      <a:pt x="6231" y="1973"/>
                    </a:lnTo>
                    <a:lnTo>
                      <a:pt x="6238" y="1973"/>
                    </a:lnTo>
                    <a:lnTo>
                      <a:pt x="6242" y="1973"/>
                    </a:lnTo>
                    <a:lnTo>
                      <a:pt x="6247" y="1973"/>
                    </a:lnTo>
                    <a:lnTo>
                      <a:pt x="6251" y="1973"/>
                    </a:lnTo>
                    <a:lnTo>
                      <a:pt x="6259" y="1973"/>
                    </a:lnTo>
                    <a:lnTo>
                      <a:pt x="6262" y="1972"/>
                    </a:lnTo>
                    <a:lnTo>
                      <a:pt x="6264" y="1970"/>
                    </a:lnTo>
                    <a:lnTo>
                      <a:pt x="6267" y="1968"/>
                    </a:lnTo>
                    <a:lnTo>
                      <a:pt x="6272" y="1966"/>
                    </a:lnTo>
                    <a:lnTo>
                      <a:pt x="6273" y="1966"/>
                    </a:lnTo>
                    <a:lnTo>
                      <a:pt x="6277" y="1966"/>
                    </a:lnTo>
                    <a:lnTo>
                      <a:pt x="6284" y="1968"/>
                    </a:lnTo>
                    <a:lnTo>
                      <a:pt x="6290" y="1970"/>
                    </a:lnTo>
                    <a:lnTo>
                      <a:pt x="6297" y="1972"/>
                    </a:lnTo>
                    <a:lnTo>
                      <a:pt x="6303" y="1973"/>
                    </a:lnTo>
                    <a:lnTo>
                      <a:pt x="6310" y="1973"/>
                    </a:lnTo>
                    <a:lnTo>
                      <a:pt x="6318" y="1968"/>
                    </a:lnTo>
                    <a:lnTo>
                      <a:pt x="6325" y="1964"/>
                    </a:lnTo>
                    <a:lnTo>
                      <a:pt x="6334" y="1960"/>
                    </a:lnTo>
                    <a:lnTo>
                      <a:pt x="6343" y="1959"/>
                    </a:lnTo>
                    <a:lnTo>
                      <a:pt x="6354" y="1959"/>
                    </a:lnTo>
                    <a:lnTo>
                      <a:pt x="6364" y="1957"/>
                    </a:lnTo>
                    <a:lnTo>
                      <a:pt x="6371" y="1957"/>
                    </a:lnTo>
                    <a:lnTo>
                      <a:pt x="6379" y="1957"/>
                    </a:lnTo>
                    <a:lnTo>
                      <a:pt x="6386" y="1953"/>
                    </a:lnTo>
                    <a:lnTo>
                      <a:pt x="6391" y="1952"/>
                    </a:lnTo>
                    <a:lnTo>
                      <a:pt x="6399" y="1949"/>
                    </a:lnTo>
                    <a:lnTo>
                      <a:pt x="6406" y="1949"/>
                    </a:lnTo>
                    <a:lnTo>
                      <a:pt x="6422" y="1945"/>
                    </a:lnTo>
                    <a:lnTo>
                      <a:pt x="6437" y="1944"/>
                    </a:lnTo>
                    <a:lnTo>
                      <a:pt x="6443" y="1942"/>
                    </a:lnTo>
                    <a:lnTo>
                      <a:pt x="6450" y="1940"/>
                    </a:lnTo>
                    <a:lnTo>
                      <a:pt x="6458" y="1937"/>
                    </a:lnTo>
                    <a:lnTo>
                      <a:pt x="6463" y="1932"/>
                    </a:lnTo>
                    <a:lnTo>
                      <a:pt x="6468" y="1927"/>
                    </a:lnTo>
                    <a:lnTo>
                      <a:pt x="6474" y="1922"/>
                    </a:lnTo>
                    <a:lnTo>
                      <a:pt x="6478" y="1914"/>
                    </a:lnTo>
                    <a:lnTo>
                      <a:pt x="6481" y="1906"/>
                    </a:lnTo>
                    <a:lnTo>
                      <a:pt x="6476" y="1906"/>
                    </a:lnTo>
                    <a:lnTo>
                      <a:pt x="6473" y="1906"/>
                    </a:lnTo>
                    <a:lnTo>
                      <a:pt x="6468" y="1906"/>
                    </a:lnTo>
                    <a:lnTo>
                      <a:pt x="6465" y="1906"/>
                    </a:lnTo>
                    <a:lnTo>
                      <a:pt x="6461" y="1906"/>
                    </a:lnTo>
                    <a:lnTo>
                      <a:pt x="6458" y="1906"/>
                    </a:lnTo>
                    <a:lnTo>
                      <a:pt x="6453" y="1906"/>
                    </a:lnTo>
                    <a:lnTo>
                      <a:pt x="6460" y="1903"/>
                    </a:lnTo>
                    <a:lnTo>
                      <a:pt x="6467" y="1899"/>
                    </a:lnTo>
                    <a:lnTo>
                      <a:pt x="6473" y="1894"/>
                    </a:lnTo>
                    <a:lnTo>
                      <a:pt x="6480" y="1891"/>
                    </a:lnTo>
                    <a:lnTo>
                      <a:pt x="6486" y="1883"/>
                    </a:lnTo>
                    <a:lnTo>
                      <a:pt x="6498" y="1871"/>
                    </a:lnTo>
                    <a:lnTo>
                      <a:pt x="6494" y="1868"/>
                    </a:lnTo>
                    <a:lnTo>
                      <a:pt x="6491" y="1866"/>
                    </a:lnTo>
                    <a:lnTo>
                      <a:pt x="6487" y="1865"/>
                    </a:lnTo>
                    <a:lnTo>
                      <a:pt x="6481" y="1863"/>
                    </a:lnTo>
                    <a:lnTo>
                      <a:pt x="6478" y="1863"/>
                    </a:lnTo>
                    <a:lnTo>
                      <a:pt x="6473" y="1861"/>
                    </a:lnTo>
                    <a:lnTo>
                      <a:pt x="6460" y="1863"/>
                    </a:lnTo>
                    <a:lnTo>
                      <a:pt x="6447" y="1865"/>
                    </a:lnTo>
                    <a:lnTo>
                      <a:pt x="6433" y="1868"/>
                    </a:lnTo>
                    <a:lnTo>
                      <a:pt x="6419" y="1871"/>
                    </a:lnTo>
                    <a:lnTo>
                      <a:pt x="6404" y="1878"/>
                    </a:lnTo>
                    <a:lnTo>
                      <a:pt x="6389" y="1883"/>
                    </a:lnTo>
                    <a:lnTo>
                      <a:pt x="6374" y="1891"/>
                    </a:lnTo>
                    <a:lnTo>
                      <a:pt x="6361" y="1896"/>
                    </a:lnTo>
                    <a:lnTo>
                      <a:pt x="6349" y="1903"/>
                    </a:lnTo>
                    <a:lnTo>
                      <a:pt x="6338" y="1909"/>
                    </a:lnTo>
                    <a:lnTo>
                      <a:pt x="6326" y="1914"/>
                    </a:lnTo>
                    <a:lnTo>
                      <a:pt x="6318" y="1918"/>
                    </a:lnTo>
                    <a:lnTo>
                      <a:pt x="6313" y="1922"/>
                    </a:lnTo>
                    <a:lnTo>
                      <a:pt x="6310" y="1924"/>
                    </a:lnTo>
                    <a:lnTo>
                      <a:pt x="6318" y="1916"/>
                    </a:lnTo>
                    <a:lnTo>
                      <a:pt x="6325" y="1911"/>
                    </a:lnTo>
                    <a:lnTo>
                      <a:pt x="6334" y="1903"/>
                    </a:lnTo>
                    <a:lnTo>
                      <a:pt x="6343" y="1898"/>
                    </a:lnTo>
                    <a:lnTo>
                      <a:pt x="6354" y="1891"/>
                    </a:lnTo>
                    <a:lnTo>
                      <a:pt x="6364" y="1883"/>
                    </a:lnTo>
                    <a:lnTo>
                      <a:pt x="6371" y="1878"/>
                    </a:lnTo>
                    <a:lnTo>
                      <a:pt x="6379" y="1871"/>
                    </a:lnTo>
                    <a:lnTo>
                      <a:pt x="6374" y="1873"/>
                    </a:lnTo>
                    <a:lnTo>
                      <a:pt x="6373" y="1876"/>
                    </a:lnTo>
                    <a:lnTo>
                      <a:pt x="6371" y="1876"/>
                    </a:lnTo>
                    <a:lnTo>
                      <a:pt x="6371" y="1873"/>
                    </a:lnTo>
                    <a:lnTo>
                      <a:pt x="6369" y="1873"/>
                    </a:lnTo>
                    <a:lnTo>
                      <a:pt x="6369" y="1868"/>
                    </a:lnTo>
                    <a:lnTo>
                      <a:pt x="6369" y="1865"/>
                    </a:lnTo>
                    <a:lnTo>
                      <a:pt x="6369" y="1858"/>
                    </a:lnTo>
                    <a:lnTo>
                      <a:pt x="6367" y="1857"/>
                    </a:lnTo>
                    <a:lnTo>
                      <a:pt x="6366" y="1855"/>
                    </a:lnTo>
                    <a:lnTo>
                      <a:pt x="6364" y="1853"/>
                    </a:lnTo>
                    <a:lnTo>
                      <a:pt x="6361" y="1853"/>
                    </a:lnTo>
                    <a:lnTo>
                      <a:pt x="6361" y="1848"/>
                    </a:lnTo>
                    <a:lnTo>
                      <a:pt x="6364" y="1845"/>
                    </a:lnTo>
                    <a:lnTo>
                      <a:pt x="6366" y="1840"/>
                    </a:lnTo>
                    <a:lnTo>
                      <a:pt x="6367" y="1837"/>
                    </a:lnTo>
                    <a:lnTo>
                      <a:pt x="6369" y="1835"/>
                    </a:lnTo>
                    <a:lnTo>
                      <a:pt x="6373" y="1835"/>
                    </a:lnTo>
                    <a:lnTo>
                      <a:pt x="6376" y="1833"/>
                    </a:lnTo>
                    <a:lnTo>
                      <a:pt x="6380" y="1835"/>
                    </a:lnTo>
                    <a:lnTo>
                      <a:pt x="6384" y="1835"/>
                    </a:lnTo>
                    <a:lnTo>
                      <a:pt x="6389" y="1837"/>
                    </a:lnTo>
                    <a:lnTo>
                      <a:pt x="6397" y="1842"/>
                    </a:lnTo>
                    <a:lnTo>
                      <a:pt x="6406" y="1848"/>
                    </a:lnTo>
                    <a:lnTo>
                      <a:pt x="6414" y="1853"/>
                    </a:lnTo>
                    <a:lnTo>
                      <a:pt x="6417" y="1857"/>
                    </a:lnTo>
                    <a:lnTo>
                      <a:pt x="6420" y="1858"/>
                    </a:lnTo>
                    <a:lnTo>
                      <a:pt x="6425" y="1858"/>
                    </a:lnTo>
                    <a:lnTo>
                      <a:pt x="6428" y="1858"/>
                    </a:lnTo>
                    <a:lnTo>
                      <a:pt x="6433" y="1857"/>
                    </a:lnTo>
                    <a:lnTo>
                      <a:pt x="6437" y="1855"/>
                    </a:lnTo>
                    <a:lnTo>
                      <a:pt x="6447" y="1851"/>
                    </a:lnTo>
                    <a:lnTo>
                      <a:pt x="6458" y="1846"/>
                    </a:lnTo>
                    <a:lnTo>
                      <a:pt x="6467" y="1842"/>
                    </a:lnTo>
                    <a:lnTo>
                      <a:pt x="6471" y="1840"/>
                    </a:lnTo>
                    <a:lnTo>
                      <a:pt x="6474" y="1838"/>
                    </a:lnTo>
                    <a:lnTo>
                      <a:pt x="6478" y="1837"/>
                    </a:lnTo>
                    <a:lnTo>
                      <a:pt x="6481" y="1837"/>
                    </a:lnTo>
                    <a:lnTo>
                      <a:pt x="6481" y="1833"/>
                    </a:lnTo>
                    <a:lnTo>
                      <a:pt x="6483" y="1830"/>
                    </a:lnTo>
                    <a:lnTo>
                      <a:pt x="6487" y="1827"/>
                    </a:lnTo>
                    <a:lnTo>
                      <a:pt x="6489" y="1824"/>
                    </a:lnTo>
                    <a:lnTo>
                      <a:pt x="6494" y="1820"/>
                    </a:lnTo>
                    <a:lnTo>
                      <a:pt x="6498" y="1818"/>
                    </a:lnTo>
                    <a:lnTo>
                      <a:pt x="6507" y="1812"/>
                    </a:lnTo>
                    <a:lnTo>
                      <a:pt x="6517" y="1809"/>
                    </a:lnTo>
                    <a:lnTo>
                      <a:pt x="6522" y="1807"/>
                    </a:lnTo>
                    <a:lnTo>
                      <a:pt x="6526" y="1805"/>
                    </a:lnTo>
                    <a:lnTo>
                      <a:pt x="6527" y="1804"/>
                    </a:lnTo>
                    <a:lnTo>
                      <a:pt x="6532" y="1804"/>
                    </a:lnTo>
                    <a:lnTo>
                      <a:pt x="6534" y="1802"/>
                    </a:lnTo>
                    <a:lnTo>
                      <a:pt x="6539" y="1804"/>
                    </a:lnTo>
                    <a:lnTo>
                      <a:pt x="6544" y="1805"/>
                    </a:lnTo>
                    <a:lnTo>
                      <a:pt x="6548" y="1807"/>
                    </a:lnTo>
                    <a:lnTo>
                      <a:pt x="6550" y="1811"/>
                    </a:lnTo>
                    <a:lnTo>
                      <a:pt x="6554" y="1815"/>
                    </a:lnTo>
                    <a:lnTo>
                      <a:pt x="6557" y="1817"/>
                    </a:lnTo>
                    <a:lnTo>
                      <a:pt x="6563" y="1818"/>
                    </a:lnTo>
                    <a:lnTo>
                      <a:pt x="6568" y="1820"/>
                    </a:lnTo>
                    <a:lnTo>
                      <a:pt x="6574" y="1822"/>
                    </a:lnTo>
                    <a:lnTo>
                      <a:pt x="6580" y="1824"/>
                    </a:lnTo>
                    <a:lnTo>
                      <a:pt x="6585" y="1825"/>
                    </a:lnTo>
                    <a:lnTo>
                      <a:pt x="6590" y="1825"/>
                    </a:lnTo>
                    <a:lnTo>
                      <a:pt x="6596" y="1825"/>
                    </a:lnTo>
                    <a:lnTo>
                      <a:pt x="6600" y="1825"/>
                    </a:lnTo>
                    <a:lnTo>
                      <a:pt x="6605" y="1825"/>
                    </a:lnTo>
                    <a:lnTo>
                      <a:pt x="6609" y="1824"/>
                    </a:lnTo>
                    <a:lnTo>
                      <a:pt x="6616" y="1820"/>
                    </a:lnTo>
                    <a:lnTo>
                      <a:pt x="6618" y="1819"/>
                    </a:lnTo>
                    <a:lnTo>
                      <a:pt x="6618" y="1820"/>
                    </a:lnTo>
                    <a:lnTo>
                      <a:pt x="6618" y="1824"/>
                    </a:lnTo>
                    <a:lnTo>
                      <a:pt x="6620" y="1825"/>
                    </a:lnTo>
                    <a:lnTo>
                      <a:pt x="6621" y="1827"/>
                    </a:lnTo>
                    <a:lnTo>
                      <a:pt x="6624" y="1832"/>
                    </a:lnTo>
                    <a:lnTo>
                      <a:pt x="6628" y="1833"/>
                    </a:lnTo>
                    <a:lnTo>
                      <a:pt x="6631" y="1833"/>
                    </a:lnTo>
                    <a:lnTo>
                      <a:pt x="6636" y="1835"/>
                    </a:lnTo>
                    <a:lnTo>
                      <a:pt x="6642" y="1837"/>
                    </a:lnTo>
                    <a:lnTo>
                      <a:pt x="6648" y="1837"/>
                    </a:lnTo>
                    <a:lnTo>
                      <a:pt x="6654" y="1837"/>
                    </a:lnTo>
                    <a:lnTo>
                      <a:pt x="6661" y="1837"/>
                    </a:lnTo>
                    <a:lnTo>
                      <a:pt x="6666" y="1835"/>
                    </a:lnTo>
                    <a:lnTo>
                      <a:pt x="6672" y="1833"/>
                    </a:lnTo>
                    <a:lnTo>
                      <a:pt x="6677" y="1832"/>
                    </a:lnTo>
                    <a:close/>
                    <a:moveTo>
                      <a:pt x="5173" y="2062"/>
                    </a:moveTo>
                    <a:lnTo>
                      <a:pt x="5181" y="2062"/>
                    </a:lnTo>
                    <a:lnTo>
                      <a:pt x="5194" y="2062"/>
                    </a:lnTo>
                    <a:lnTo>
                      <a:pt x="5190" y="2059"/>
                    </a:lnTo>
                    <a:lnTo>
                      <a:pt x="5186" y="2057"/>
                    </a:lnTo>
                    <a:lnTo>
                      <a:pt x="5182" y="2054"/>
                    </a:lnTo>
                    <a:lnTo>
                      <a:pt x="5181" y="2052"/>
                    </a:lnTo>
                    <a:lnTo>
                      <a:pt x="5177" y="2052"/>
                    </a:lnTo>
                    <a:lnTo>
                      <a:pt x="5173" y="2052"/>
                    </a:lnTo>
                    <a:lnTo>
                      <a:pt x="5167" y="2054"/>
                    </a:lnTo>
                    <a:lnTo>
                      <a:pt x="5164" y="2057"/>
                    </a:lnTo>
                    <a:lnTo>
                      <a:pt x="5161" y="2059"/>
                    </a:lnTo>
                    <a:lnTo>
                      <a:pt x="5158" y="2060"/>
                    </a:lnTo>
                    <a:lnTo>
                      <a:pt x="5158" y="2062"/>
                    </a:lnTo>
                    <a:lnTo>
                      <a:pt x="5161" y="2062"/>
                    </a:lnTo>
                    <a:lnTo>
                      <a:pt x="5164" y="2062"/>
                    </a:lnTo>
                    <a:lnTo>
                      <a:pt x="5167" y="2062"/>
                    </a:lnTo>
                    <a:lnTo>
                      <a:pt x="5173" y="2062"/>
                    </a:lnTo>
                    <a:close/>
                    <a:moveTo>
                      <a:pt x="5393" y="2062"/>
                    </a:moveTo>
                    <a:lnTo>
                      <a:pt x="5389" y="2064"/>
                    </a:lnTo>
                    <a:lnTo>
                      <a:pt x="5383" y="2066"/>
                    </a:lnTo>
                    <a:lnTo>
                      <a:pt x="5376" y="2069"/>
                    </a:lnTo>
                    <a:lnTo>
                      <a:pt x="5370" y="2073"/>
                    </a:lnTo>
                    <a:lnTo>
                      <a:pt x="5365" y="2080"/>
                    </a:lnTo>
                    <a:lnTo>
                      <a:pt x="5370" y="2079"/>
                    </a:lnTo>
                    <a:lnTo>
                      <a:pt x="5376" y="2077"/>
                    </a:lnTo>
                    <a:lnTo>
                      <a:pt x="5383" y="2073"/>
                    </a:lnTo>
                    <a:lnTo>
                      <a:pt x="5389" y="2072"/>
                    </a:lnTo>
                    <a:lnTo>
                      <a:pt x="5393" y="2067"/>
                    </a:lnTo>
                    <a:lnTo>
                      <a:pt x="5396" y="2064"/>
                    </a:lnTo>
                    <a:lnTo>
                      <a:pt x="5398" y="2062"/>
                    </a:lnTo>
                    <a:lnTo>
                      <a:pt x="5396" y="2062"/>
                    </a:lnTo>
                    <a:lnTo>
                      <a:pt x="5393" y="2062"/>
                    </a:lnTo>
                    <a:close/>
                    <a:moveTo>
                      <a:pt x="5400" y="2080"/>
                    </a:moveTo>
                    <a:lnTo>
                      <a:pt x="5395" y="2087"/>
                    </a:lnTo>
                    <a:lnTo>
                      <a:pt x="5389" y="2090"/>
                    </a:lnTo>
                    <a:lnTo>
                      <a:pt x="5388" y="2093"/>
                    </a:lnTo>
                    <a:lnTo>
                      <a:pt x="5385" y="2095"/>
                    </a:lnTo>
                    <a:lnTo>
                      <a:pt x="5383" y="2097"/>
                    </a:lnTo>
                    <a:lnTo>
                      <a:pt x="5385" y="2100"/>
                    </a:lnTo>
                    <a:lnTo>
                      <a:pt x="5388" y="2103"/>
                    </a:lnTo>
                    <a:lnTo>
                      <a:pt x="5391" y="2103"/>
                    </a:lnTo>
                    <a:lnTo>
                      <a:pt x="5393" y="2105"/>
                    </a:lnTo>
                    <a:lnTo>
                      <a:pt x="5395" y="2105"/>
                    </a:lnTo>
                    <a:lnTo>
                      <a:pt x="5396" y="2103"/>
                    </a:lnTo>
                    <a:lnTo>
                      <a:pt x="5396" y="2100"/>
                    </a:lnTo>
                    <a:lnTo>
                      <a:pt x="5398" y="2097"/>
                    </a:lnTo>
                    <a:lnTo>
                      <a:pt x="5398" y="2092"/>
                    </a:lnTo>
                    <a:lnTo>
                      <a:pt x="5400" y="2087"/>
                    </a:lnTo>
                    <a:lnTo>
                      <a:pt x="5400" y="2080"/>
                    </a:lnTo>
                    <a:close/>
                    <a:moveTo>
                      <a:pt x="5437" y="2097"/>
                    </a:moveTo>
                    <a:lnTo>
                      <a:pt x="5436" y="2103"/>
                    </a:lnTo>
                    <a:lnTo>
                      <a:pt x="5434" y="2106"/>
                    </a:lnTo>
                    <a:lnTo>
                      <a:pt x="5429" y="2110"/>
                    </a:lnTo>
                    <a:lnTo>
                      <a:pt x="5428" y="2112"/>
                    </a:lnTo>
                    <a:lnTo>
                      <a:pt x="5424" y="2113"/>
                    </a:lnTo>
                    <a:lnTo>
                      <a:pt x="5421" y="2113"/>
                    </a:lnTo>
                    <a:lnTo>
                      <a:pt x="5419" y="2115"/>
                    </a:lnTo>
                    <a:lnTo>
                      <a:pt x="5424" y="2115"/>
                    </a:lnTo>
                    <a:lnTo>
                      <a:pt x="5428" y="2113"/>
                    </a:lnTo>
                    <a:lnTo>
                      <a:pt x="5431" y="2113"/>
                    </a:lnTo>
                    <a:lnTo>
                      <a:pt x="5434" y="2112"/>
                    </a:lnTo>
                    <a:lnTo>
                      <a:pt x="5436" y="2110"/>
                    </a:lnTo>
                    <a:lnTo>
                      <a:pt x="5436" y="2106"/>
                    </a:lnTo>
                    <a:lnTo>
                      <a:pt x="5437" y="2103"/>
                    </a:lnTo>
                    <a:lnTo>
                      <a:pt x="5437" y="2097"/>
                    </a:lnTo>
                    <a:close/>
                    <a:moveTo>
                      <a:pt x="5447" y="2167"/>
                    </a:moveTo>
                    <a:lnTo>
                      <a:pt x="5450" y="2166"/>
                    </a:lnTo>
                    <a:lnTo>
                      <a:pt x="5452" y="2164"/>
                    </a:lnTo>
                    <a:lnTo>
                      <a:pt x="5449" y="2166"/>
                    </a:lnTo>
                    <a:lnTo>
                      <a:pt x="5447" y="2167"/>
                    </a:lnTo>
                    <a:lnTo>
                      <a:pt x="5447" y="2167"/>
                    </a:lnTo>
                    <a:lnTo>
                      <a:pt x="5447" y="2167"/>
                    </a:lnTo>
                    <a:close/>
                    <a:moveTo>
                      <a:pt x="5447" y="2167"/>
                    </a:moveTo>
                    <a:lnTo>
                      <a:pt x="5447" y="2167"/>
                    </a:lnTo>
                    <a:lnTo>
                      <a:pt x="5447" y="2167"/>
                    </a:lnTo>
                    <a:lnTo>
                      <a:pt x="5446" y="2167"/>
                    </a:lnTo>
                    <a:lnTo>
                      <a:pt x="5442" y="2173"/>
                    </a:lnTo>
                    <a:lnTo>
                      <a:pt x="5446" y="2169"/>
                    </a:lnTo>
                    <a:lnTo>
                      <a:pt x="5447" y="2167"/>
                    </a:lnTo>
                    <a:close/>
                    <a:moveTo>
                      <a:pt x="5439" y="2174"/>
                    </a:moveTo>
                    <a:lnTo>
                      <a:pt x="5437" y="2176"/>
                    </a:lnTo>
                    <a:lnTo>
                      <a:pt x="5437" y="2179"/>
                    </a:lnTo>
                    <a:lnTo>
                      <a:pt x="5442" y="2173"/>
                    </a:lnTo>
                    <a:lnTo>
                      <a:pt x="5439" y="2174"/>
                    </a:lnTo>
                    <a:close/>
                    <a:moveTo>
                      <a:pt x="5469" y="2195"/>
                    </a:moveTo>
                    <a:lnTo>
                      <a:pt x="5472" y="2194"/>
                    </a:lnTo>
                    <a:lnTo>
                      <a:pt x="5475" y="2191"/>
                    </a:lnTo>
                    <a:lnTo>
                      <a:pt x="5477" y="2187"/>
                    </a:lnTo>
                    <a:lnTo>
                      <a:pt x="5480" y="2184"/>
                    </a:lnTo>
                    <a:lnTo>
                      <a:pt x="5482" y="2179"/>
                    </a:lnTo>
                    <a:lnTo>
                      <a:pt x="5480" y="2179"/>
                    </a:lnTo>
                    <a:lnTo>
                      <a:pt x="5477" y="2180"/>
                    </a:lnTo>
                    <a:lnTo>
                      <a:pt x="5475" y="2184"/>
                    </a:lnTo>
                    <a:lnTo>
                      <a:pt x="5472" y="2187"/>
                    </a:lnTo>
                    <a:lnTo>
                      <a:pt x="5469" y="2189"/>
                    </a:lnTo>
                    <a:lnTo>
                      <a:pt x="5465" y="2194"/>
                    </a:lnTo>
                    <a:lnTo>
                      <a:pt x="5459" y="2195"/>
                    </a:lnTo>
                    <a:lnTo>
                      <a:pt x="5456" y="2197"/>
                    </a:lnTo>
                    <a:lnTo>
                      <a:pt x="5465" y="2195"/>
                    </a:lnTo>
                    <a:lnTo>
                      <a:pt x="5469" y="2195"/>
                    </a:lnTo>
                    <a:close/>
                    <a:moveTo>
                      <a:pt x="5489" y="2167"/>
                    </a:moveTo>
                    <a:lnTo>
                      <a:pt x="5490" y="2166"/>
                    </a:lnTo>
                    <a:lnTo>
                      <a:pt x="5492" y="2164"/>
                    </a:lnTo>
                    <a:lnTo>
                      <a:pt x="5495" y="2161"/>
                    </a:lnTo>
                    <a:lnTo>
                      <a:pt x="5496" y="2160"/>
                    </a:lnTo>
                    <a:lnTo>
                      <a:pt x="5498" y="2158"/>
                    </a:lnTo>
                    <a:lnTo>
                      <a:pt x="5498" y="2153"/>
                    </a:lnTo>
                    <a:lnTo>
                      <a:pt x="5498" y="2149"/>
                    </a:lnTo>
                    <a:lnTo>
                      <a:pt x="5500" y="2143"/>
                    </a:lnTo>
                    <a:lnTo>
                      <a:pt x="5496" y="2143"/>
                    </a:lnTo>
                    <a:lnTo>
                      <a:pt x="5492" y="2143"/>
                    </a:lnTo>
                    <a:lnTo>
                      <a:pt x="5490" y="2145"/>
                    </a:lnTo>
                    <a:lnTo>
                      <a:pt x="5489" y="2146"/>
                    </a:lnTo>
                    <a:lnTo>
                      <a:pt x="5485" y="2154"/>
                    </a:lnTo>
                    <a:lnTo>
                      <a:pt x="5482" y="2160"/>
                    </a:lnTo>
                    <a:lnTo>
                      <a:pt x="5477" y="2167"/>
                    </a:lnTo>
                    <a:lnTo>
                      <a:pt x="5476" y="2169"/>
                    </a:lnTo>
                    <a:lnTo>
                      <a:pt x="5475" y="2169"/>
                    </a:lnTo>
                    <a:lnTo>
                      <a:pt x="5474" y="2171"/>
                    </a:lnTo>
                    <a:lnTo>
                      <a:pt x="5470" y="2173"/>
                    </a:lnTo>
                    <a:lnTo>
                      <a:pt x="5467" y="2174"/>
                    </a:lnTo>
                    <a:lnTo>
                      <a:pt x="5465" y="2179"/>
                    </a:lnTo>
                    <a:lnTo>
                      <a:pt x="5467" y="2176"/>
                    </a:lnTo>
                    <a:lnTo>
                      <a:pt x="5470" y="2176"/>
                    </a:lnTo>
                    <a:lnTo>
                      <a:pt x="5472" y="2174"/>
                    </a:lnTo>
                    <a:lnTo>
                      <a:pt x="5474" y="2173"/>
                    </a:lnTo>
                    <a:lnTo>
                      <a:pt x="5476" y="2169"/>
                    </a:lnTo>
                    <a:lnTo>
                      <a:pt x="5483" y="2167"/>
                    </a:lnTo>
                    <a:lnTo>
                      <a:pt x="5489" y="2167"/>
                    </a:lnTo>
                    <a:close/>
                    <a:moveTo>
                      <a:pt x="5528" y="2115"/>
                    </a:moveTo>
                    <a:lnTo>
                      <a:pt x="5533" y="2115"/>
                    </a:lnTo>
                    <a:lnTo>
                      <a:pt x="5541" y="2115"/>
                    </a:lnTo>
                    <a:lnTo>
                      <a:pt x="5553" y="2115"/>
                    </a:lnTo>
                    <a:lnTo>
                      <a:pt x="5549" y="2112"/>
                    </a:lnTo>
                    <a:lnTo>
                      <a:pt x="5546" y="2110"/>
                    </a:lnTo>
                    <a:lnTo>
                      <a:pt x="5543" y="2108"/>
                    </a:lnTo>
                    <a:lnTo>
                      <a:pt x="5541" y="2106"/>
                    </a:lnTo>
                    <a:lnTo>
                      <a:pt x="5536" y="2106"/>
                    </a:lnTo>
                    <a:lnTo>
                      <a:pt x="5533" y="2106"/>
                    </a:lnTo>
                    <a:lnTo>
                      <a:pt x="5528" y="2108"/>
                    </a:lnTo>
                    <a:lnTo>
                      <a:pt x="5523" y="2110"/>
                    </a:lnTo>
                    <a:lnTo>
                      <a:pt x="5520" y="2112"/>
                    </a:lnTo>
                    <a:lnTo>
                      <a:pt x="5518" y="2113"/>
                    </a:lnTo>
                    <a:lnTo>
                      <a:pt x="5518" y="2115"/>
                    </a:lnTo>
                    <a:lnTo>
                      <a:pt x="5520" y="2115"/>
                    </a:lnTo>
                    <a:lnTo>
                      <a:pt x="5523" y="2115"/>
                    </a:lnTo>
                    <a:lnTo>
                      <a:pt x="5528" y="2115"/>
                    </a:lnTo>
                    <a:close/>
                    <a:moveTo>
                      <a:pt x="10065" y="4024"/>
                    </a:moveTo>
                    <a:lnTo>
                      <a:pt x="10062" y="4024"/>
                    </a:lnTo>
                    <a:lnTo>
                      <a:pt x="10060" y="4024"/>
                    </a:lnTo>
                    <a:lnTo>
                      <a:pt x="10057" y="4024"/>
                    </a:lnTo>
                    <a:lnTo>
                      <a:pt x="10053" y="4024"/>
                    </a:lnTo>
                    <a:lnTo>
                      <a:pt x="10049" y="4024"/>
                    </a:lnTo>
                    <a:lnTo>
                      <a:pt x="10045" y="4024"/>
                    </a:lnTo>
                    <a:lnTo>
                      <a:pt x="10050" y="4031"/>
                    </a:lnTo>
                    <a:lnTo>
                      <a:pt x="10057" y="4034"/>
                    </a:lnTo>
                    <a:lnTo>
                      <a:pt x="10062" y="4038"/>
                    </a:lnTo>
                    <a:lnTo>
                      <a:pt x="10068" y="4038"/>
                    </a:lnTo>
                    <a:lnTo>
                      <a:pt x="10073" y="4038"/>
                    </a:lnTo>
                    <a:lnTo>
                      <a:pt x="10078" y="4034"/>
                    </a:lnTo>
                    <a:lnTo>
                      <a:pt x="10084" y="4031"/>
                    </a:lnTo>
                    <a:lnTo>
                      <a:pt x="10090" y="4024"/>
                    </a:lnTo>
                    <a:lnTo>
                      <a:pt x="10084" y="4024"/>
                    </a:lnTo>
                    <a:lnTo>
                      <a:pt x="10080" y="4024"/>
                    </a:lnTo>
                    <a:lnTo>
                      <a:pt x="10077" y="4024"/>
                    </a:lnTo>
                    <a:lnTo>
                      <a:pt x="10075" y="4024"/>
                    </a:lnTo>
                    <a:lnTo>
                      <a:pt x="10070" y="4024"/>
                    </a:lnTo>
                    <a:lnTo>
                      <a:pt x="10065" y="4024"/>
                    </a:lnTo>
                    <a:close/>
                    <a:moveTo>
                      <a:pt x="10086" y="4016"/>
                    </a:moveTo>
                    <a:lnTo>
                      <a:pt x="10091" y="4019"/>
                    </a:lnTo>
                    <a:lnTo>
                      <a:pt x="10099" y="4021"/>
                    </a:lnTo>
                    <a:lnTo>
                      <a:pt x="10106" y="4023"/>
                    </a:lnTo>
                    <a:lnTo>
                      <a:pt x="10111" y="4023"/>
                    </a:lnTo>
                    <a:lnTo>
                      <a:pt x="10126" y="4024"/>
                    </a:lnTo>
                    <a:lnTo>
                      <a:pt x="10119" y="4018"/>
                    </a:lnTo>
                    <a:lnTo>
                      <a:pt x="10116" y="4014"/>
                    </a:lnTo>
                    <a:lnTo>
                      <a:pt x="10111" y="4010"/>
                    </a:lnTo>
                    <a:lnTo>
                      <a:pt x="10108" y="4008"/>
                    </a:lnTo>
                    <a:lnTo>
                      <a:pt x="10104" y="4006"/>
                    </a:lnTo>
                    <a:lnTo>
                      <a:pt x="10101" y="4006"/>
                    </a:lnTo>
                    <a:lnTo>
                      <a:pt x="10098" y="4006"/>
                    </a:lnTo>
                    <a:lnTo>
                      <a:pt x="10090" y="4006"/>
                    </a:lnTo>
                    <a:lnTo>
                      <a:pt x="10084" y="4006"/>
                    </a:lnTo>
                    <a:lnTo>
                      <a:pt x="10080" y="4006"/>
                    </a:lnTo>
                    <a:lnTo>
                      <a:pt x="10077" y="4006"/>
                    </a:lnTo>
                    <a:lnTo>
                      <a:pt x="10075" y="4006"/>
                    </a:lnTo>
                    <a:lnTo>
                      <a:pt x="10073" y="4006"/>
                    </a:lnTo>
                    <a:lnTo>
                      <a:pt x="10078" y="4011"/>
                    </a:lnTo>
                    <a:lnTo>
                      <a:pt x="10086" y="4016"/>
                    </a:lnTo>
                    <a:close/>
                    <a:moveTo>
                      <a:pt x="10136" y="3947"/>
                    </a:moveTo>
                    <a:lnTo>
                      <a:pt x="10139" y="3945"/>
                    </a:lnTo>
                    <a:lnTo>
                      <a:pt x="10141" y="3940"/>
                    </a:lnTo>
                    <a:lnTo>
                      <a:pt x="10144" y="3934"/>
                    </a:lnTo>
                    <a:lnTo>
                      <a:pt x="10139" y="3932"/>
                    </a:lnTo>
                    <a:lnTo>
                      <a:pt x="10136" y="3929"/>
                    </a:lnTo>
                    <a:lnTo>
                      <a:pt x="10132" y="3929"/>
                    </a:lnTo>
                    <a:lnTo>
                      <a:pt x="10129" y="3927"/>
                    </a:lnTo>
                    <a:lnTo>
                      <a:pt x="10126" y="3927"/>
                    </a:lnTo>
                    <a:lnTo>
                      <a:pt x="10123" y="3927"/>
                    </a:lnTo>
                    <a:lnTo>
                      <a:pt x="10119" y="3929"/>
                    </a:lnTo>
                    <a:lnTo>
                      <a:pt x="10116" y="3930"/>
                    </a:lnTo>
                    <a:lnTo>
                      <a:pt x="10108" y="3934"/>
                    </a:lnTo>
                    <a:lnTo>
                      <a:pt x="10103" y="3940"/>
                    </a:lnTo>
                    <a:lnTo>
                      <a:pt x="10095" y="3945"/>
                    </a:lnTo>
                    <a:lnTo>
                      <a:pt x="10090" y="3953"/>
                    </a:lnTo>
                    <a:lnTo>
                      <a:pt x="10090" y="3957"/>
                    </a:lnTo>
                    <a:lnTo>
                      <a:pt x="10090" y="3962"/>
                    </a:lnTo>
                    <a:lnTo>
                      <a:pt x="10090" y="3965"/>
                    </a:lnTo>
                    <a:lnTo>
                      <a:pt x="10091" y="3967"/>
                    </a:lnTo>
                    <a:lnTo>
                      <a:pt x="10095" y="3973"/>
                    </a:lnTo>
                    <a:lnTo>
                      <a:pt x="10099" y="3977"/>
                    </a:lnTo>
                    <a:lnTo>
                      <a:pt x="10104" y="3978"/>
                    </a:lnTo>
                    <a:lnTo>
                      <a:pt x="10108" y="3980"/>
                    </a:lnTo>
                    <a:lnTo>
                      <a:pt x="10114" y="3980"/>
                    </a:lnTo>
                    <a:lnTo>
                      <a:pt x="10117" y="3978"/>
                    </a:lnTo>
                    <a:lnTo>
                      <a:pt x="10121" y="3977"/>
                    </a:lnTo>
                    <a:lnTo>
                      <a:pt x="10124" y="3975"/>
                    </a:lnTo>
                    <a:lnTo>
                      <a:pt x="10126" y="3971"/>
                    </a:lnTo>
                    <a:lnTo>
                      <a:pt x="10126" y="3967"/>
                    </a:lnTo>
                    <a:lnTo>
                      <a:pt x="10126" y="3965"/>
                    </a:lnTo>
                    <a:lnTo>
                      <a:pt x="10124" y="3964"/>
                    </a:lnTo>
                    <a:lnTo>
                      <a:pt x="10123" y="3962"/>
                    </a:lnTo>
                    <a:lnTo>
                      <a:pt x="10121" y="3960"/>
                    </a:lnTo>
                    <a:lnTo>
                      <a:pt x="10119" y="3958"/>
                    </a:lnTo>
                    <a:lnTo>
                      <a:pt x="10116" y="3957"/>
                    </a:lnTo>
                    <a:lnTo>
                      <a:pt x="10111" y="3955"/>
                    </a:lnTo>
                    <a:lnTo>
                      <a:pt x="10106" y="3953"/>
                    </a:lnTo>
                    <a:lnTo>
                      <a:pt x="10119" y="3953"/>
                    </a:lnTo>
                    <a:lnTo>
                      <a:pt x="10126" y="3950"/>
                    </a:lnTo>
                    <a:lnTo>
                      <a:pt x="10132" y="3950"/>
                    </a:lnTo>
                    <a:lnTo>
                      <a:pt x="10136" y="3947"/>
                    </a:lnTo>
                    <a:close/>
                    <a:moveTo>
                      <a:pt x="10104" y="4084"/>
                    </a:moveTo>
                    <a:lnTo>
                      <a:pt x="10114" y="4080"/>
                    </a:lnTo>
                    <a:lnTo>
                      <a:pt x="10121" y="4077"/>
                    </a:lnTo>
                    <a:lnTo>
                      <a:pt x="10124" y="4072"/>
                    </a:lnTo>
                    <a:lnTo>
                      <a:pt x="10126" y="4071"/>
                    </a:lnTo>
                    <a:lnTo>
                      <a:pt x="10129" y="4067"/>
                    </a:lnTo>
                    <a:lnTo>
                      <a:pt x="10131" y="4064"/>
                    </a:lnTo>
                    <a:lnTo>
                      <a:pt x="10131" y="4062"/>
                    </a:lnTo>
                    <a:lnTo>
                      <a:pt x="10131" y="4057"/>
                    </a:lnTo>
                    <a:lnTo>
                      <a:pt x="10129" y="4054"/>
                    </a:lnTo>
                    <a:lnTo>
                      <a:pt x="10126" y="4052"/>
                    </a:lnTo>
                    <a:lnTo>
                      <a:pt x="10119" y="4057"/>
                    </a:lnTo>
                    <a:lnTo>
                      <a:pt x="10111" y="4062"/>
                    </a:lnTo>
                    <a:lnTo>
                      <a:pt x="10106" y="4065"/>
                    </a:lnTo>
                    <a:lnTo>
                      <a:pt x="10101" y="4069"/>
                    </a:lnTo>
                    <a:lnTo>
                      <a:pt x="10095" y="4072"/>
                    </a:lnTo>
                    <a:lnTo>
                      <a:pt x="10091" y="4077"/>
                    </a:lnTo>
                    <a:lnTo>
                      <a:pt x="10090" y="4080"/>
                    </a:lnTo>
                    <a:lnTo>
                      <a:pt x="10090" y="4087"/>
                    </a:lnTo>
                    <a:lnTo>
                      <a:pt x="10098" y="4085"/>
                    </a:lnTo>
                    <a:lnTo>
                      <a:pt x="10104" y="4084"/>
                    </a:lnTo>
                    <a:close/>
                    <a:moveTo>
                      <a:pt x="10137" y="3837"/>
                    </a:moveTo>
                    <a:lnTo>
                      <a:pt x="10141" y="3835"/>
                    </a:lnTo>
                    <a:lnTo>
                      <a:pt x="10144" y="3835"/>
                    </a:lnTo>
                    <a:lnTo>
                      <a:pt x="10145" y="3835"/>
                    </a:lnTo>
                    <a:lnTo>
                      <a:pt x="10141" y="3830"/>
                    </a:lnTo>
                    <a:lnTo>
                      <a:pt x="10137" y="3829"/>
                    </a:lnTo>
                    <a:lnTo>
                      <a:pt x="10134" y="3827"/>
                    </a:lnTo>
                    <a:lnTo>
                      <a:pt x="10131" y="3825"/>
                    </a:lnTo>
                    <a:lnTo>
                      <a:pt x="10126" y="3823"/>
                    </a:lnTo>
                    <a:lnTo>
                      <a:pt x="10124" y="3823"/>
                    </a:lnTo>
                    <a:lnTo>
                      <a:pt x="10121" y="3823"/>
                    </a:lnTo>
                    <a:lnTo>
                      <a:pt x="10119" y="3823"/>
                    </a:lnTo>
                    <a:lnTo>
                      <a:pt x="10116" y="3825"/>
                    </a:lnTo>
                    <a:lnTo>
                      <a:pt x="10114" y="3827"/>
                    </a:lnTo>
                    <a:lnTo>
                      <a:pt x="10111" y="3829"/>
                    </a:lnTo>
                    <a:lnTo>
                      <a:pt x="10110" y="3833"/>
                    </a:lnTo>
                    <a:lnTo>
                      <a:pt x="10110" y="3837"/>
                    </a:lnTo>
                    <a:lnTo>
                      <a:pt x="10108" y="3840"/>
                    </a:lnTo>
                    <a:lnTo>
                      <a:pt x="10108" y="3845"/>
                    </a:lnTo>
                    <a:lnTo>
                      <a:pt x="10108" y="3853"/>
                    </a:lnTo>
                    <a:lnTo>
                      <a:pt x="10114" y="3845"/>
                    </a:lnTo>
                    <a:lnTo>
                      <a:pt x="10121" y="3842"/>
                    </a:lnTo>
                    <a:lnTo>
                      <a:pt x="10126" y="3838"/>
                    </a:lnTo>
                    <a:lnTo>
                      <a:pt x="10132" y="3837"/>
                    </a:lnTo>
                    <a:lnTo>
                      <a:pt x="10137" y="3837"/>
                    </a:lnTo>
                    <a:close/>
                    <a:moveTo>
                      <a:pt x="10126" y="3781"/>
                    </a:moveTo>
                    <a:lnTo>
                      <a:pt x="10132" y="3781"/>
                    </a:lnTo>
                    <a:lnTo>
                      <a:pt x="10136" y="3779"/>
                    </a:lnTo>
                    <a:lnTo>
                      <a:pt x="10139" y="3779"/>
                    </a:lnTo>
                    <a:lnTo>
                      <a:pt x="10144" y="3777"/>
                    </a:lnTo>
                    <a:lnTo>
                      <a:pt x="10147" y="3776"/>
                    </a:lnTo>
                    <a:lnTo>
                      <a:pt x="10151" y="3774"/>
                    </a:lnTo>
                    <a:lnTo>
                      <a:pt x="10154" y="3768"/>
                    </a:lnTo>
                    <a:lnTo>
                      <a:pt x="10162" y="3764"/>
                    </a:lnTo>
                    <a:lnTo>
                      <a:pt x="10149" y="3764"/>
                    </a:lnTo>
                    <a:lnTo>
                      <a:pt x="10141" y="3764"/>
                    </a:lnTo>
                    <a:lnTo>
                      <a:pt x="10136" y="3766"/>
                    </a:lnTo>
                    <a:lnTo>
                      <a:pt x="10132" y="3768"/>
                    </a:lnTo>
                    <a:lnTo>
                      <a:pt x="10129" y="3769"/>
                    </a:lnTo>
                    <a:lnTo>
                      <a:pt x="10126" y="3776"/>
                    </a:lnTo>
                    <a:lnTo>
                      <a:pt x="10126" y="3781"/>
                    </a:lnTo>
                    <a:close/>
                    <a:moveTo>
                      <a:pt x="10156" y="3781"/>
                    </a:moveTo>
                    <a:lnTo>
                      <a:pt x="10149" y="3787"/>
                    </a:lnTo>
                    <a:lnTo>
                      <a:pt x="10147" y="3789"/>
                    </a:lnTo>
                    <a:lnTo>
                      <a:pt x="10145" y="3792"/>
                    </a:lnTo>
                    <a:lnTo>
                      <a:pt x="10145" y="3796"/>
                    </a:lnTo>
                    <a:lnTo>
                      <a:pt x="10145" y="3799"/>
                    </a:lnTo>
                    <a:lnTo>
                      <a:pt x="10151" y="3799"/>
                    </a:lnTo>
                    <a:lnTo>
                      <a:pt x="10154" y="3797"/>
                    </a:lnTo>
                    <a:lnTo>
                      <a:pt x="10157" y="3797"/>
                    </a:lnTo>
                    <a:lnTo>
                      <a:pt x="10162" y="3796"/>
                    </a:lnTo>
                    <a:lnTo>
                      <a:pt x="10165" y="3794"/>
                    </a:lnTo>
                    <a:lnTo>
                      <a:pt x="10169" y="3792"/>
                    </a:lnTo>
                    <a:lnTo>
                      <a:pt x="10172" y="3787"/>
                    </a:lnTo>
                    <a:lnTo>
                      <a:pt x="10180" y="3781"/>
                    </a:lnTo>
                    <a:lnTo>
                      <a:pt x="10178" y="3777"/>
                    </a:lnTo>
                    <a:lnTo>
                      <a:pt x="10178" y="3776"/>
                    </a:lnTo>
                    <a:lnTo>
                      <a:pt x="10177" y="3776"/>
                    </a:lnTo>
                    <a:lnTo>
                      <a:pt x="10175" y="3774"/>
                    </a:lnTo>
                    <a:lnTo>
                      <a:pt x="10170" y="3774"/>
                    </a:lnTo>
                    <a:lnTo>
                      <a:pt x="10169" y="3774"/>
                    </a:lnTo>
                    <a:lnTo>
                      <a:pt x="10165" y="3776"/>
                    </a:lnTo>
                    <a:lnTo>
                      <a:pt x="10162" y="3777"/>
                    </a:lnTo>
                    <a:lnTo>
                      <a:pt x="10156" y="3781"/>
                    </a:lnTo>
                    <a:close/>
                    <a:moveTo>
                      <a:pt x="9181" y="5832"/>
                    </a:moveTo>
                    <a:lnTo>
                      <a:pt x="9191" y="5827"/>
                    </a:lnTo>
                    <a:lnTo>
                      <a:pt x="9200" y="5822"/>
                    </a:lnTo>
                    <a:lnTo>
                      <a:pt x="9207" y="5817"/>
                    </a:lnTo>
                    <a:lnTo>
                      <a:pt x="9215" y="5814"/>
                    </a:lnTo>
                    <a:lnTo>
                      <a:pt x="9220" y="5812"/>
                    </a:lnTo>
                    <a:lnTo>
                      <a:pt x="9227" y="5810"/>
                    </a:lnTo>
                    <a:lnTo>
                      <a:pt x="9233" y="5810"/>
                    </a:lnTo>
                    <a:lnTo>
                      <a:pt x="9240" y="5808"/>
                    </a:lnTo>
                    <a:lnTo>
                      <a:pt x="9247" y="5805"/>
                    </a:lnTo>
                    <a:lnTo>
                      <a:pt x="9253" y="5802"/>
                    </a:lnTo>
                    <a:lnTo>
                      <a:pt x="9260" y="5799"/>
                    </a:lnTo>
                    <a:lnTo>
                      <a:pt x="9267" y="5795"/>
                    </a:lnTo>
                    <a:lnTo>
                      <a:pt x="9272" y="5794"/>
                    </a:lnTo>
                    <a:lnTo>
                      <a:pt x="9280" y="5794"/>
                    </a:lnTo>
                    <a:lnTo>
                      <a:pt x="9268" y="5792"/>
                    </a:lnTo>
                    <a:lnTo>
                      <a:pt x="9257" y="5790"/>
                    </a:lnTo>
                    <a:lnTo>
                      <a:pt x="9245" y="5789"/>
                    </a:lnTo>
                    <a:lnTo>
                      <a:pt x="9232" y="5789"/>
                    </a:lnTo>
                    <a:lnTo>
                      <a:pt x="9219" y="5789"/>
                    </a:lnTo>
                    <a:lnTo>
                      <a:pt x="9206" y="5790"/>
                    </a:lnTo>
                    <a:lnTo>
                      <a:pt x="9176" y="5792"/>
                    </a:lnTo>
                    <a:lnTo>
                      <a:pt x="9161" y="5792"/>
                    </a:lnTo>
                    <a:lnTo>
                      <a:pt x="9148" y="5792"/>
                    </a:lnTo>
                    <a:lnTo>
                      <a:pt x="9133" y="5792"/>
                    </a:lnTo>
                    <a:lnTo>
                      <a:pt x="9120" y="5792"/>
                    </a:lnTo>
                    <a:lnTo>
                      <a:pt x="9108" y="5790"/>
                    </a:lnTo>
                    <a:lnTo>
                      <a:pt x="9095" y="5786"/>
                    </a:lnTo>
                    <a:lnTo>
                      <a:pt x="9084" y="5782"/>
                    </a:lnTo>
                    <a:lnTo>
                      <a:pt x="9074" y="5777"/>
                    </a:lnTo>
                    <a:lnTo>
                      <a:pt x="9072" y="5777"/>
                    </a:lnTo>
                    <a:lnTo>
                      <a:pt x="9069" y="5777"/>
                    </a:lnTo>
                    <a:lnTo>
                      <a:pt x="9067" y="5777"/>
                    </a:lnTo>
                    <a:lnTo>
                      <a:pt x="9066" y="5777"/>
                    </a:lnTo>
                    <a:lnTo>
                      <a:pt x="9064" y="5777"/>
                    </a:lnTo>
                    <a:lnTo>
                      <a:pt x="9059" y="5777"/>
                    </a:lnTo>
                    <a:lnTo>
                      <a:pt x="9056" y="5777"/>
                    </a:lnTo>
                    <a:lnTo>
                      <a:pt x="9051" y="5777"/>
                    </a:lnTo>
                    <a:lnTo>
                      <a:pt x="9046" y="5777"/>
                    </a:lnTo>
                    <a:lnTo>
                      <a:pt x="9039" y="5777"/>
                    </a:lnTo>
                    <a:lnTo>
                      <a:pt x="9036" y="5774"/>
                    </a:lnTo>
                    <a:lnTo>
                      <a:pt x="9034" y="5771"/>
                    </a:lnTo>
                    <a:lnTo>
                      <a:pt x="9033" y="5771"/>
                    </a:lnTo>
                    <a:lnTo>
                      <a:pt x="9028" y="5771"/>
                    </a:lnTo>
                    <a:lnTo>
                      <a:pt x="9026" y="5771"/>
                    </a:lnTo>
                    <a:lnTo>
                      <a:pt x="9025" y="5774"/>
                    </a:lnTo>
                    <a:lnTo>
                      <a:pt x="9021" y="5777"/>
                    </a:lnTo>
                    <a:lnTo>
                      <a:pt x="9016" y="5779"/>
                    </a:lnTo>
                    <a:lnTo>
                      <a:pt x="9012" y="5781"/>
                    </a:lnTo>
                    <a:lnTo>
                      <a:pt x="9008" y="5781"/>
                    </a:lnTo>
                    <a:lnTo>
                      <a:pt x="9005" y="5781"/>
                    </a:lnTo>
                    <a:lnTo>
                      <a:pt x="8998" y="5781"/>
                    </a:lnTo>
                    <a:lnTo>
                      <a:pt x="8995" y="5779"/>
                    </a:lnTo>
                    <a:lnTo>
                      <a:pt x="8988" y="5777"/>
                    </a:lnTo>
                    <a:lnTo>
                      <a:pt x="8993" y="5775"/>
                    </a:lnTo>
                    <a:lnTo>
                      <a:pt x="8997" y="5774"/>
                    </a:lnTo>
                    <a:lnTo>
                      <a:pt x="9001" y="5771"/>
                    </a:lnTo>
                    <a:lnTo>
                      <a:pt x="9003" y="5769"/>
                    </a:lnTo>
                    <a:lnTo>
                      <a:pt x="9006" y="5768"/>
                    </a:lnTo>
                    <a:lnTo>
                      <a:pt x="9008" y="5766"/>
                    </a:lnTo>
                    <a:lnTo>
                      <a:pt x="9010" y="5764"/>
                    </a:lnTo>
                    <a:lnTo>
                      <a:pt x="9012" y="5761"/>
                    </a:lnTo>
                    <a:lnTo>
                      <a:pt x="9012" y="5756"/>
                    </a:lnTo>
                    <a:lnTo>
                      <a:pt x="9012" y="5753"/>
                    </a:lnTo>
                    <a:lnTo>
                      <a:pt x="9010" y="5751"/>
                    </a:lnTo>
                    <a:lnTo>
                      <a:pt x="9006" y="5744"/>
                    </a:lnTo>
                    <a:lnTo>
                      <a:pt x="9005" y="5740"/>
                    </a:lnTo>
                    <a:lnTo>
                      <a:pt x="9003" y="5738"/>
                    </a:lnTo>
                    <a:lnTo>
                      <a:pt x="9003" y="5734"/>
                    </a:lnTo>
                    <a:lnTo>
                      <a:pt x="9003" y="5731"/>
                    </a:lnTo>
                    <a:lnTo>
                      <a:pt x="9003" y="5727"/>
                    </a:lnTo>
                    <a:lnTo>
                      <a:pt x="9006" y="5725"/>
                    </a:lnTo>
                    <a:lnTo>
                      <a:pt x="9006" y="5718"/>
                    </a:lnTo>
                    <a:lnTo>
                      <a:pt x="9008" y="5713"/>
                    </a:lnTo>
                    <a:lnTo>
                      <a:pt x="9010" y="5705"/>
                    </a:lnTo>
                    <a:lnTo>
                      <a:pt x="9013" y="5700"/>
                    </a:lnTo>
                    <a:lnTo>
                      <a:pt x="9018" y="5692"/>
                    </a:lnTo>
                    <a:lnTo>
                      <a:pt x="9019" y="5687"/>
                    </a:lnTo>
                    <a:lnTo>
                      <a:pt x="9021" y="5679"/>
                    </a:lnTo>
                    <a:lnTo>
                      <a:pt x="9023" y="5674"/>
                    </a:lnTo>
                    <a:lnTo>
                      <a:pt x="8997" y="5687"/>
                    </a:lnTo>
                    <a:lnTo>
                      <a:pt x="8985" y="5694"/>
                    </a:lnTo>
                    <a:lnTo>
                      <a:pt x="8973" y="5701"/>
                    </a:lnTo>
                    <a:lnTo>
                      <a:pt x="8962" y="5708"/>
                    </a:lnTo>
                    <a:lnTo>
                      <a:pt x="8952" y="5720"/>
                    </a:lnTo>
                    <a:lnTo>
                      <a:pt x="8944" y="5729"/>
                    </a:lnTo>
                    <a:lnTo>
                      <a:pt x="8939" y="5741"/>
                    </a:lnTo>
                    <a:lnTo>
                      <a:pt x="8944" y="5748"/>
                    </a:lnTo>
                    <a:lnTo>
                      <a:pt x="8949" y="5751"/>
                    </a:lnTo>
                    <a:lnTo>
                      <a:pt x="8957" y="5754"/>
                    </a:lnTo>
                    <a:lnTo>
                      <a:pt x="8962" y="5756"/>
                    </a:lnTo>
                    <a:lnTo>
                      <a:pt x="8970" y="5759"/>
                    </a:lnTo>
                    <a:lnTo>
                      <a:pt x="8975" y="5759"/>
                    </a:lnTo>
                    <a:lnTo>
                      <a:pt x="8988" y="5759"/>
                    </a:lnTo>
                    <a:lnTo>
                      <a:pt x="8986" y="5766"/>
                    </a:lnTo>
                    <a:lnTo>
                      <a:pt x="8982" y="5769"/>
                    </a:lnTo>
                    <a:lnTo>
                      <a:pt x="8980" y="5775"/>
                    </a:lnTo>
                    <a:lnTo>
                      <a:pt x="8979" y="5779"/>
                    </a:lnTo>
                    <a:lnTo>
                      <a:pt x="8979" y="5782"/>
                    </a:lnTo>
                    <a:lnTo>
                      <a:pt x="8979" y="5784"/>
                    </a:lnTo>
                    <a:lnTo>
                      <a:pt x="8979" y="5789"/>
                    </a:lnTo>
                    <a:lnTo>
                      <a:pt x="8980" y="5790"/>
                    </a:lnTo>
                    <a:lnTo>
                      <a:pt x="8982" y="5790"/>
                    </a:lnTo>
                    <a:lnTo>
                      <a:pt x="8985" y="5792"/>
                    </a:lnTo>
                    <a:lnTo>
                      <a:pt x="8988" y="5792"/>
                    </a:lnTo>
                    <a:lnTo>
                      <a:pt x="8993" y="5794"/>
                    </a:lnTo>
                    <a:lnTo>
                      <a:pt x="8998" y="5794"/>
                    </a:lnTo>
                    <a:lnTo>
                      <a:pt x="9006" y="5794"/>
                    </a:lnTo>
                    <a:lnTo>
                      <a:pt x="9013" y="5794"/>
                    </a:lnTo>
                    <a:lnTo>
                      <a:pt x="9023" y="5794"/>
                    </a:lnTo>
                    <a:lnTo>
                      <a:pt x="9019" y="5797"/>
                    </a:lnTo>
                    <a:lnTo>
                      <a:pt x="9018" y="5799"/>
                    </a:lnTo>
                    <a:lnTo>
                      <a:pt x="9016" y="5801"/>
                    </a:lnTo>
                    <a:lnTo>
                      <a:pt x="9016" y="5805"/>
                    </a:lnTo>
                    <a:lnTo>
                      <a:pt x="9016" y="5807"/>
                    </a:lnTo>
                    <a:lnTo>
                      <a:pt x="9016" y="5808"/>
                    </a:lnTo>
                    <a:lnTo>
                      <a:pt x="9016" y="5810"/>
                    </a:lnTo>
                    <a:lnTo>
                      <a:pt x="9018" y="5814"/>
                    </a:lnTo>
                    <a:lnTo>
                      <a:pt x="9019" y="5817"/>
                    </a:lnTo>
                    <a:lnTo>
                      <a:pt x="9021" y="5822"/>
                    </a:lnTo>
                    <a:lnTo>
                      <a:pt x="9023" y="5828"/>
                    </a:lnTo>
                    <a:lnTo>
                      <a:pt x="9034" y="5835"/>
                    </a:lnTo>
                    <a:lnTo>
                      <a:pt x="9039" y="5836"/>
                    </a:lnTo>
                    <a:lnTo>
                      <a:pt x="9046" y="5838"/>
                    </a:lnTo>
                    <a:lnTo>
                      <a:pt x="9051" y="5838"/>
                    </a:lnTo>
                    <a:lnTo>
                      <a:pt x="9056" y="5840"/>
                    </a:lnTo>
                    <a:lnTo>
                      <a:pt x="9059" y="5840"/>
                    </a:lnTo>
                    <a:lnTo>
                      <a:pt x="9066" y="5838"/>
                    </a:lnTo>
                    <a:lnTo>
                      <a:pt x="9071" y="5838"/>
                    </a:lnTo>
                    <a:lnTo>
                      <a:pt x="9074" y="5836"/>
                    </a:lnTo>
                    <a:lnTo>
                      <a:pt x="9080" y="5835"/>
                    </a:lnTo>
                    <a:lnTo>
                      <a:pt x="9086" y="5830"/>
                    </a:lnTo>
                    <a:lnTo>
                      <a:pt x="9089" y="5827"/>
                    </a:lnTo>
                    <a:lnTo>
                      <a:pt x="9095" y="5822"/>
                    </a:lnTo>
                    <a:lnTo>
                      <a:pt x="9100" y="5818"/>
                    </a:lnTo>
                    <a:lnTo>
                      <a:pt x="9100" y="5820"/>
                    </a:lnTo>
                    <a:lnTo>
                      <a:pt x="9102" y="5822"/>
                    </a:lnTo>
                    <a:lnTo>
                      <a:pt x="9104" y="5822"/>
                    </a:lnTo>
                    <a:lnTo>
                      <a:pt x="9108" y="5823"/>
                    </a:lnTo>
                    <a:lnTo>
                      <a:pt x="9110" y="5825"/>
                    </a:lnTo>
                    <a:lnTo>
                      <a:pt x="9113" y="5827"/>
                    </a:lnTo>
                    <a:lnTo>
                      <a:pt x="9115" y="5830"/>
                    </a:lnTo>
                    <a:lnTo>
                      <a:pt x="9119" y="5835"/>
                    </a:lnTo>
                    <a:lnTo>
                      <a:pt x="9123" y="5840"/>
                    </a:lnTo>
                    <a:lnTo>
                      <a:pt x="9125" y="5845"/>
                    </a:lnTo>
                    <a:lnTo>
                      <a:pt x="9123" y="5847"/>
                    </a:lnTo>
                    <a:lnTo>
                      <a:pt x="9119" y="5851"/>
                    </a:lnTo>
                    <a:lnTo>
                      <a:pt x="9117" y="5855"/>
                    </a:lnTo>
                    <a:lnTo>
                      <a:pt x="9113" y="5856"/>
                    </a:lnTo>
                    <a:lnTo>
                      <a:pt x="9110" y="5860"/>
                    </a:lnTo>
                    <a:lnTo>
                      <a:pt x="9108" y="5861"/>
                    </a:lnTo>
                    <a:lnTo>
                      <a:pt x="9112" y="5860"/>
                    </a:lnTo>
                    <a:lnTo>
                      <a:pt x="9113" y="5858"/>
                    </a:lnTo>
                    <a:lnTo>
                      <a:pt x="9115" y="5858"/>
                    </a:lnTo>
                    <a:lnTo>
                      <a:pt x="9119" y="5858"/>
                    </a:lnTo>
                    <a:lnTo>
                      <a:pt x="9120" y="5858"/>
                    </a:lnTo>
                    <a:lnTo>
                      <a:pt x="9123" y="5860"/>
                    </a:lnTo>
                    <a:lnTo>
                      <a:pt x="9125" y="5863"/>
                    </a:lnTo>
                    <a:lnTo>
                      <a:pt x="9128" y="5869"/>
                    </a:lnTo>
                    <a:lnTo>
                      <a:pt x="9132" y="5875"/>
                    </a:lnTo>
                    <a:lnTo>
                      <a:pt x="9133" y="5876"/>
                    </a:lnTo>
                    <a:lnTo>
                      <a:pt x="9135" y="5878"/>
                    </a:lnTo>
                    <a:lnTo>
                      <a:pt x="9140" y="5878"/>
                    </a:lnTo>
                    <a:lnTo>
                      <a:pt x="9143" y="5881"/>
                    </a:lnTo>
                    <a:lnTo>
                      <a:pt x="9145" y="5878"/>
                    </a:lnTo>
                    <a:lnTo>
                      <a:pt x="9150" y="5878"/>
                    </a:lnTo>
                    <a:lnTo>
                      <a:pt x="9154" y="5876"/>
                    </a:lnTo>
                    <a:lnTo>
                      <a:pt x="9159" y="5875"/>
                    </a:lnTo>
                    <a:lnTo>
                      <a:pt x="9169" y="5869"/>
                    </a:lnTo>
                    <a:lnTo>
                      <a:pt x="9173" y="5866"/>
                    </a:lnTo>
                    <a:lnTo>
                      <a:pt x="9176" y="5861"/>
                    </a:lnTo>
                    <a:lnTo>
                      <a:pt x="9179" y="5860"/>
                    </a:lnTo>
                    <a:lnTo>
                      <a:pt x="9179" y="5856"/>
                    </a:lnTo>
                    <a:lnTo>
                      <a:pt x="9181" y="5853"/>
                    </a:lnTo>
                    <a:lnTo>
                      <a:pt x="9179" y="5851"/>
                    </a:lnTo>
                    <a:lnTo>
                      <a:pt x="9178" y="5848"/>
                    </a:lnTo>
                    <a:lnTo>
                      <a:pt x="9176" y="5847"/>
                    </a:lnTo>
                    <a:lnTo>
                      <a:pt x="9174" y="5847"/>
                    </a:lnTo>
                    <a:lnTo>
                      <a:pt x="9171" y="5845"/>
                    </a:lnTo>
                    <a:lnTo>
                      <a:pt x="9166" y="5845"/>
                    </a:lnTo>
                    <a:lnTo>
                      <a:pt x="9163" y="5845"/>
                    </a:lnTo>
                    <a:lnTo>
                      <a:pt x="9159" y="5845"/>
                    </a:lnTo>
                    <a:lnTo>
                      <a:pt x="9171" y="5838"/>
                    </a:lnTo>
                    <a:lnTo>
                      <a:pt x="9181" y="5832"/>
                    </a:lnTo>
                    <a:close/>
                    <a:moveTo>
                      <a:pt x="9467" y="5844"/>
                    </a:moveTo>
                    <a:lnTo>
                      <a:pt x="9464" y="5845"/>
                    </a:lnTo>
                    <a:lnTo>
                      <a:pt x="9466" y="5845"/>
                    </a:lnTo>
                    <a:lnTo>
                      <a:pt x="9467" y="5844"/>
                    </a:lnTo>
                    <a:lnTo>
                      <a:pt x="9467" y="5844"/>
                    </a:lnTo>
                    <a:lnTo>
                      <a:pt x="9467" y="5844"/>
                    </a:lnTo>
                    <a:close/>
                    <a:moveTo>
                      <a:pt x="9569" y="5847"/>
                    </a:moveTo>
                    <a:lnTo>
                      <a:pt x="9571" y="5847"/>
                    </a:lnTo>
                    <a:lnTo>
                      <a:pt x="9566" y="5848"/>
                    </a:lnTo>
                    <a:lnTo>
                      <a:pt x="9561" y="5853"/>
                    </a:lnTo>
                    <a:lnTo>
                      <a:pt x="9558" y="5856"/>
                    </a:lnTo>
                    <a:lnTo>
                      <a:pt x="9556" y="5858"/>
                    </a:lnTo>
                    <a:lnTo>
                      <a:pt x="9553" y="5861"/>
                    </a:lnTo>
                    <a:lnTo>
                      <a:pt x="9547" y="5863"/>
                    </a:lnTo>
                    <a:lnTo>
                      <a:pt x="9541" y="5863"/>
                    </a:lnTo>
                    <a:lnTo>
                      <a:pt x="9547" y="5869"/>
                    </a:lnTo>
                    <a:lnTo>
                      <a:pt x="9553" y="5875"/>
                    </a:lnTo>
                    <a:lnTo>
                      <a:pt x="9555" y="5876"/>
                    </a:lnTo>
                    <a:lnTo>
                      <a:pt x="9556" y="5881"/>
                    </a:lnTo>
                    <a:lnTo>
                      <a:pt x="9558" y="5881"/>
                    </a:lnTo>
                    <a:lnTo>
                      <a:pt x="9558" y="5882"/>
                    </a:lnTo>
                    <a:lnTo>
                      <a:pt x="9553" y="5882"/>
                    </a:lnTo>
                    <a:lnTo>
                      <a:pt x="9547" y="5884"/>
                    </a:lnTo>
                    <a:lnTo>
                      <a:pt x="9541" y="5886"/>
                    </a:lnTo>
                    <a:lnTo>
                      <a:pt x="9536" y="5888"/>
                    </a:lnTo>
                    <a:lnTo>
                      <a:pt x="9530" y="5889"/>
                    </a:lnTo>
                    <a:lnTo>
                      <a:pt x="9527" y="5893"/>
                    </a:lnTo>
                    <a:lnTo>
                      <a:pt x="9518" y="5901"/>
                    </a:lnTo>
                    <a:lnTo>
                      <a:pt x="9507" y="5909"/>
                    </a:lnTo>
                    <a:lnTo>
                      <a:pt x="9497" y="5919"/>
                    </a:lnTo>
                    <a:lnTo>
                      <a:pt x="9486" y="5927"/>
                    </a:lnTo>
                    <a:lnTo>
                      <a:pt x="9475" y="5934"/>
                    </a:lnTo>
                    <a:lnTo>
                      <a:pt x="9467" y="5935"/>
                    </a:lnTo>
                    <a:lnTo>
                      <a:pt x="9459" y="5937"/>
                    </a:lnTo>
                    <a:lnTo>
                      <a:pt x="9449" y="5939"/>
                    </a:lnTo>
                    <a:lnTo>
                      <a:pt x="9440" y="5943"/>
                    </a:lnTo>
                    <a:lnTo>
                      <a:pt x="9431" y="5947"/>
                    </a:lnTo>
                    <a:lnTo>
                      <a:pt x="9421" y="5949"/>
                    </a:lnTo>
                    <a:lnTo>
                      <a:pt x="9414" y="5950"/>
                    </a:lnTo>
                    <a:lnTo>
                      <a:pt x="9407" y="5952"/>
                    </a:lnTo>
                    <a:lnTo>
                      <a:pt x="9381" y="5952"/>
                    </a:lnTo>
                    <a:lnTo>
                      <a:pt x="9370" y="5952"/>
                    </a:lnTo>
                    <a:lnTo>
                      <a:pt x="9368" y="5954"/>
                    </a:lnTo>
                    <a:lnTo>
                      <a:pt x="9367" y="5956"/>
                    </a:lnTo>
                    <a:lnTo>
                      <a:pt x="9362" y="5958"/>
                    </a:lnTo>
                    <a:lnTo>
                      <a:pt x="9360" y="5958"/>
                    </a:lnTo>
                    <a:lnTo>
                      <a:pt x="9357" y="5958"/>
                    </a:lnTo>
                    <a:lnTo>
                      <a:pt x="9354" y="5956"/>
                    </a:lnTo>
                    <a:lnTo>
                      <a:pt x="9352" y="5954"/>
                    </a:lnTo>
                    <a:lnTo>
                      <a:pt x="9352" y="5952"/>
                    </a:lnTo>
                    <a:lnTo>
                      <a:pt x="9347" y="5952"/>
                    </a:lnTo>
                    <a:lnTo>
                      <a:pt x="9339" y="5952"/>
                    </a:lnTo>
                    <a:lnTo>
                      <a:pt x="9329" y="5952"/>
                    </a:lnTo>
                    <a:lnTo>
                      <a:pt x="9322" y="5952"/>
                    </a:lnTo>
                    <a:lnTo>
                      <a:pt x="9318" y="5945"/>
                    </a:lnTo>
                    <a:lnTo>
                      <a:pt x="9314" y="5939"/>
                    </a:lnTo>
                    <a:lnTo>
                      <a:pt x="9311" y="5932"/>
                    </a:lnTo>
                    <a:lnTo>
                      <a:pt x="9309" y="5927"/>
                    </a:lnTo>
                    <a:lnTo>
                      <a:pt x="9309" y="5921"/>
                    </a:lnTo>
                    <a:lnTo>
                      <a:pt x="9307" y="5914"/>
                    </a:lnTo>
                    <a:lnTo>
                      <a:pt x="9309" y="5908"/>
                    </a:lnTo>
                    <a:lnTo>
                      <a:pt x="9309" y="5902"/>
                    </a:lnTo>
                    <a:lnTo>
                      <a:pt x="9311" y="5897"/>
                    </a:lnTo>
                    <a:lnTo>
                      <a:pt x="9313" y="5891"/>
                    </a:lnTo>
                    <a:lnTo>
                      <a:pt x="9314" y="5886"/>
                    </a:lnTo>
                    <a:lnTo>
                      <a:pt x="9318" y="5881"/>
                    </a:lnTo>
                    <a:lnTo>
                      <a:pt x="9324" y="5869"/>
                    </a:lnTo>
                    <a:lnTo>
                      <a:pt x="9333" y="5860"/>
                    </a:lnTo>
                    <a:lnTo>
                      <a:pt x="9342" y="5851"/>
                    </a:lnTo>
                    <a:lnTo>
                      <a:pt x="9352" y="5842"/>
                    </a:lnTo>
                    <a:lnTo>
                      <a:pt x="9372" y="5823"/>
                    </a:lnTo>
                    <a:lnTo>
                      <a:pt x="9383" y="5815"/>
                    </a:lnTo>
                    <a:lnTo>
                      <a:pt x="9392" y="5808"/>
                    </a:lnTo>
                    <a:lnTo>
                      <a:pt x="9400" y="5801"/>
                    </a:lnTo>
                    <a:lnTo>
                      <a:pt x="9407" y="5795"/>
                    </a:lnTo>
                    <a:lnTo>
                      <a:pt x="9410" y="5789"/>
                    </a:lnTo>
                    <a:lnTo>
                      <a:pt x="9414" y="5782"/>
                    </a:lnTo>
                    <a:lnTo>
                      <a:pt x="9420" y="5777"/>
                    </a:lnTo>
                    <a:lnTo>
                      <a:pt x="9425" y="5771"/>
                    </a:lnTo>
                    <a:lnTo>
                      <a:pt x="9436" y="5761"/>
                    </a:lnTo>
                    <a:lnTo>
                      <a:pt x="9449" y="5751"/>
                    </a:lnTo>
                    <a:lnTo>
                      <a:pt x="9462" y="5740"/>
                    </a:lnTo>
                    <a:lnTo>
                      <a:pt x="9474" y="5731"/>
                    </a:lnTo>
                    <a:lnTo>
                      <a:pt x="9479" y="5725"/>
                    </a:lnTo>
                    <a:lnTo>
                      <a:pt x="9484" y="5720"/>
                    </a:lnTo>
                    <a:lnTo>
                      <a:pt x="9488" y="5713"/>
                    </a:lnTo>
                    <a:lnTo>
                      <a:pt x="9492" y="5707"/>
                    </a:lnTo>
                    <a:lnTo>
                      <a:pt x="9494" y="5703"/>
                    </a:lnTo>
                    <a:lnTo>
                      <a:pt x="9497" y="5698"/>
                    </a:lnTo>
                    <a:lnTo>
                      <a:pt x="9499" y="5694"/>
                    </a:lnTo>
                    <a:lnTo>
                      <a:pt x="9501" y="5692"/>
                    </a:lnTo>
                    <a:lnTo>
                      <a:pt x="9505" y="5690"/>
                    </a:lnTo>
                    <a:lnTo>
                      <a:pt x="9507" y="5688"/>
                    </a:lnTo>
                    <a:lnTo>
                      <a:pt x="9507" y="5687"/>
                    </a:lnTo>
                    <a:lnTo>
                      <a:pt x="9508" y="5685"/>
                    </a:lnTo>
                    <a:lnTo>
                      <a:pt x="9512" y="5685"/>
                    </a:lnTo>
                    <a:lnTo>
                      <a:pt x="9514" y="5685"/>
                    </a:lnTo>
                    <a:lnTo>
                      <a:pt x="9515" y="5687"/>
                    </a:lnTo>
                    <a:lnTo>
                      <a:pt x="9518" y="5690"/>
                    </a:lnTo>
                    <a:lnTo>
                      <a:pt x="9518" y="5694"/>
                    </a:lnTo>
                    <a:lnTo>
                      <a:pt x="9520" y="5698"/>
                    </a:lnTo>
                    <a:lnTo>
                      <a:pt x="9521" y="5701"/>
                    </a:lnTo>
                    <a:lnTo>
                      <a:pt x="9525" y="5707"/>
                    </a:lnTo>
                    <a:lnTo>
                      <a:pt x="9528" y="5713"/>
                    </a:lnTo>
                    <a:lnTo>
                      <a:pt x="9532" y="5716"/>
                    </a:lnTo>
                    <a:lnTo>
                      <a:pt x="9536" y="5721"/>
                    </a:lnTo>
                    <a:lnTo>
                      <a:pt x="9541" y="5725"/>
                    </a:lnTo>
                    <a:lnTo>
                      <a:pt x="9535" y="5738"/>
                    </a:lnTo>
                    <a:lnTo>
                      <a:pt x="9527" y="5751"/>
                    </a:lnTo>
                    <a:lnTo>
                      <a:pt x="9518" y="5764"/>
                    </a:lnTo>
                    <a:lnTo>
                      <a:pt x="9507" y="5777"/>
                    </a:lnTo>
                    <a:lnTo>
                      <a:pt x="9495" y="5790"/>
                    </a:lnTo>
                    <a:lnTo>
                      <a:pt x="9482" y="5802"/>
                    </a:lnTo>
                    <a:lnTo>
                      <a:pt x="9459" y="5828"/>
                    </a:lnTo>
                    <a:lnTo>
                      <a:pt x="9464" y="5828"/>
                    </a:lnTo>
                    <a:lnTo>
                      <a:pt x="9467" y="5827"/>
                    </a:lnTo>
                    <a:lnTo>
                      <a:pt x="9471" y="5823"/>
                    </a:lnTo>
                    <a:lnTo>
                      <a:pt x="9475" y="5822"/>
                    </a:lnTo>
                    <a:lnTo>
                      <a:pt x="9477" y="5817"/>
                    </a:lnTo>
                    <a:lnTo>
                      <a:pt x="9481" y="5814"/>
                    </a:lnTo>
                    <a:lnTo>
                      <a:pt x="9486" y="5812"/>
                    </a:lnTo>
                    <a:lnTo>
                      <a:pt x="9492" y="5812"/>
                    </a:lnTo>
                    <a:lnTo>
                      <a:pt x="9479" y="5825"/>
                    </a:lnTo>
                    <a:lnTo>
                      <a:pt x="9471" y="5830"/>
                    </a:lnTo>
                    <a:lnTo>
                      <a:pt x="9466" y="5836"/>
                    </a:lnTo>
                    <a:lnTo>
                      <a:pt x="9461" y="5840"/>
                    </a:lnTo>
                    <a:lnTo>
                      <a:pt x="9453" y="5843"/>
                    </a:lnTo>
                    <a:lnTo>
                      <a:pt x="9448" y="5845"/>
                    </a:lnTo>
                    <a:lnTo>
                      <a:pt x="9440" y="5847"/>
                    </a:lnTo>
                    <a:lnTo>
                      <a:pt x="9434" y="5853"/>
                    </a:lnTo>
                    <a:lnTo>
                      <a:pt x="9428" y="5856"/>
                    </a:lnTo>
                    <a:lnTo>
                      <a:pt x="9421" y="5860"/>
                    </a:lnTo>
                    <a:lnTo>
                      <a:pt x="9416" y="5863"/>
                    </a:lnTo>
                    <a:lnTo>
                      <a:pt x="9408" y="5868"/>
                    </a:lnTo>
                    <a:lnTo>
                      <a:pt x="9407" y="5869"/>
                    </a:lnTo>
                    <a:lnTo>
                      <a:pt x="9410" y="5868"/>
                    </a:lnTo>
                    <a:lnTo>
                      <a:pt x="9418" y="5866"/>
                    </a:lnTo>
                    <a:lnTo>
                      <a:pt x="9423" y="5863"/>
                    </a:lnTo>
                    <a:lnTo>
                      <a:pt x="9423" y="5868"/>
                    </a:lnTo>
                    <a:lnTo>
                      <a:pt x="9421" y="5871"/>
                    </a:lnTo>
                    <a:lnTo>
                      <a:pt x="9418" y="5875"/>
                    </a:lnTo>
                    <a:lnTo>
                      <a:pt x="9416" y="5878"/>
                    </a:lnTo>
                    <a:lnTo>
                      <a:pt x="9413" y="5881"/>
                    </a:lnTo>
                    <a:lnTo>
                      <a:pt x="9407" y="5884"/>
                    </a:lnTo>
                    <a:lnTo>
                      <a:pt x="9398" y="5893"/>
                    </a:lnTo>
                    <a:lnTo>
                      <a:pt x="9388" y="5901"/>
                    </a:lnTo>
                    <a:lnTo>
                      <a:pt x="9385" y="5906"/>
                    </a:lnTo>
                    <a:lnTo>
                      <a:pt x="9381" y="5912"/>
                    </a:lnTo>
                    <a:lnTo>
                      <a:pt x="9377" y="5917"/>
                    </a:lnTo>
                    <a:lnTo>
                      <a:pt x="9375" y="5922"/>
                    </a:lnTo>
                    <a:lnTo>
                      <a:pt x="9374" y="5929"/>
                    </a:lnTo>
                    <a:lnTo>
                      <a:pt x="9374" y="5934"/>
                    </a:lnTo>
                    <a:lnTo>
                      <a:pt x="9379" y="5929"/>
                    </a:lnTo>
                    <a:lnTo>
                      <a:pt x="9385" y="5924"/>
                    </a:lnTo>
                    <a:lnTo>
                      <a:pt x="9390" y="5922"/>
                    </a:lnTo>
                    <a:lnTo>
                      <a:pt x="9394" y="5921"/>
                    </a:lnTo>
                    <a:lnTo>
                      <a:pt x="9395" y="5921"/>
                    </a:lnTo>
                    <a:lnTo>
                      <a:pt x="9395" y="5922"/>
                    </a:lnTo>
                    <a:lnTo>
                      <a:pt x="9398" y="5922"/>
                    </a:lnTo>
                    <a:lnTo>
                      <a:pt x="9398" y="5924"/>
                    </a:lnTo>
                    <a:lnTo>
                      <a:pt x="9395" y="5927"/>
                    </a:lnTo>
                    <a:lnTo>
                      <a:pt x="9394" y="5929"/>
                    </a:lnTo>
                    <a:lnTo>
                      <a:pt x="9392" y="5932"/>
                    </a:lnTo>
                    <a:lnTo>
                      <a:pt x="9390" y="5934"/>
                    </a:lnTo>
                    <a:lnTo>
                      <a:pt x="9395" y="5934"/>
                    </a:lnTo>
                    <a:lnTo>
                      <a:pt x="9403" y="5932"/>
                    </a:lnTo>
                    <a:lnTo>
                      <a:pt x="9408" y="5930"/>
                    </a:lnTo>
                    <a:lnTo>
                      <a:pt x="9414" y="5927"/>
                    </a:lnTo>
                    <a:lnTo>
                      <a:pt x="9421" y="5922"/>
                    </a:lnTo>
                    <a:lnTo>
                      <a:pt x="9428" y="5917"/>
                    </a:lnTo>
                    <a:lnTo>
                      <a:pt x="9438" y="5908"/>
                    </a:lnTo>
                    <a:lnTo>
                      <a:pt x="9449" y="5899"/>
                    </a:lnTo>
                    <a:lnTo>
                      <a:pt x="9454" y="5893"/>
                    </a:lnTo>
                    <a:lnTo>
                      <a:pt x="9459" y="5889"/>
                    </a:lnTo>
                    <a:lnTo>
                      <a:pt x="9464" y="5886"/>
                    </a:lnTo>
                    <a:lnTo>
                      <a:pt x="9467" y="5884"/>
                    </a:lnTo>
                    <a:lnTo>
                      <a:pt x="9471" y="5882"/>
                    </a:lnTo>
                    <a:lnTo>
                      <a:pt x="9467" y="5882"/>
                    </a:lnTo>
                    <a:lnTo>
                      <a:pt x="9462" y="5884"/>
                    </a:lnTo>
                    <a:lnTo>
                      <a:pt x="9454" y="5886"/>
                    </a:lnTo>
                    <a:lnTo>
                      <a:pt x="9449" y="5888"/>
                    </a:lnTo>
                    <a:lnTo>
                      <a:pt x="9442" y="5889"/>
                    </a:lnTo>
                    <a:lnTo>
                      <a:pt x="9440" y="5889"/>
                    </a:lnTo>
                    <a:lnTo>
                      <a:pt x="9436" y="5889"/>
                    </a:lnTo>
                    <a:lnTo>
                      <a:pt x="9433" y="5888"/>
                    </a:lnTo>
                    <a:lnTo>
                      <a:pt x="9429" y="5886"/>
                    </a:lnTo>
                    <a:lnTo>
                      <a:pt x="9428" y="5884"/>
                    </a:lnTo>
                    <a:lnTo>
                      <a:pt x="9423" y="5882"/>
                    </a:lnTo>
                    <a:lnTo>
                      <a:pt x="9436" y="5875"/>
                    </a:lnTo>
                    <a:lnTo>
                      <a:pt x="9446" y="5869"/>
                    </a:lnTo>
                    <a:lnTo>
                      <a:pt x="9456" y="5861"/>
                    </a:lnTo>
                    <a:lnTo>
                      <a:pt x="9466" y="5856"/>
                    </a:lnTo>
                    <a:lnTo>
                      <a:pt x="9475" y="5848"/>
                    </a:lnTo>
                    <a:lnTo>
                      <a:pt x="9486" y="5842"/>
                    </a:lnTo>
                    <a:lnTo>
                      <a:pt x="9495" y="5836"/>
                    </a:lnTo>
                    <a:lnTo>
                      <a:pt x="9508" y="5828"/>
                    </a:lnTo>
                    <a:lnTo>
                      <a:pt x="9503" y="5830"/>
                    </a:lnTo>
                    <a:lnTo>
                      <a:pt x="9495" y="5832"/>
                    </a:lnTo>
                    <a:lnTo>
                      <a:pt x="9490" y="5835"/>
                    </a:lnTo>
                    <a:lnTo>
                      <a:pt x="9482" y="5838"/>
                    </a:lnTo>
                    <a:lnTo>
                      <a:pt x="9477" y="5842"/>
                    </a:lnTo>
                    <a:lnTo>
                      <a:pt x="9469" y="5843"/>
                    </a:lnTo>
                    <a:lnTo>
                      <a:pt x="9467" y="5844"/>
                    </a:lnTo>
                    <a:lnTo>
                      <a:pt x="9467" y="5844"/>
                    </a:lnTo>
                    <a:lnTo>
                      <a:pt x="9467" y="5844"/>
                    </a:lnTo>
                    <a:lnTo>
                      <a:pt x="9471" y="5842"/>
                    </a:lnTo>
                    <a:lnTo>
                      <a:pt x="9477" y="5840"/>
                    </a:lnTo>
                    <a:lnTo>
                      <a:pt x="9490" y="5832"/>
                    </a:lnTo>
                    <a:lnTo>
                      <a:pt x="9497" y="5830"/>
                    </a:lnTo>
                    <a:lnTo>
                      <a:pt x="9505" y="5827"/>
                    </a:lnTo>
                    <a:lnTo>
                      <a:pt x="9510" y="5825"/>
                    </a:lnTo>
                    <a:lnTo>
                      <a:pt x="9515" y="5823"/>
                    </a:lnTo>
                    <a:lnTo>
                      <a:pt x="9520" y="5823"/>
                    </a:lnTo>
                    <a:lnTo>
                      <a:pt x="9523" y="5825"/>
                    </a:lnTo>
                    <a:lnTo>
                      <a:pt x="9527" y="5827"/>
                    </a:lnTo>
                    <a:lnTo>
                      <a:pt x="9527" y="5828"/>
                    </a:lnTo>
                    <a:lnTo>
                      <a:pt x="9527" y="5832"/>
                    </a:lnTo>
                    <a:lnTo>
                      <a:pt x="9527" y="5835"/>
                    </a:lnTo>
                    <a:lnTo>
                      <a:pt x="9528" y="5832"/>
                    </a:lnTo>
                    <a:lnTo>
                      <a:pt x="9530" y="5830"/>
                    </a:lnTo>
                    <a:lnTo>
                      <a:pt x="9532" y="5830"/>
                    </a:lnTo>
                    <a:lnTo>
                      <a:pt x="9535" y="5832"/>
                    </a:lnTo>
                    <a:lnTo>
                      <a:pt x="9538" y="5835"/>
                    </a:lnTo>
                    <a:lnTo>
                      <a:pt x="9545" y="5838"/>
                    </a:lnTo>
                    <a:lnTo>
                      <a:pt x="9555" y="5842"/>
                    </a:lnTo>
                    <a:lnTo>
                      <a:pt x="9558" y="5843"/>
                    </a:lnTo>
                    <a:lnTo>
                      <a:pt x="9564" y="5845"/>
                    </a:lnTo>
                    <a:lnTo>
                      <a:pt x="9569" y="5847"/>
                    </a:lnTo>
                    <a:close/>
                    <a:moveTo>
                      <a:pt x="9395" y="5876"/>
                    </a:moveTo>
                    <a:lnTo>
                      <a:pt x="9401" y="5873"/>
                    </a:lnTo>
                    <a:lnTo>
                      <a:pt x="9403" y="5871"/>
                    </a:lnTo>
                    <a:lnTo>
                      <a:pt x="9403" y="5871"/>
                    </a:lnTo>
                    <a:lnTo>
                      <a:pt x="9395" y="5876"/>
                    </a:lnTo>
                    <a:close/>
                    <a:moveTo>
                      <a:pt x="9459" y="5847"/>
                    </a:moveTo>
                    <a:lnTo>
                      <a:pt x="9464" y="5845"/>
                    </a:lnTo>
                    <a:lnTo>
                      <a:pt x="9462" y="5845"/>
                    </a:lnTo>
                    <a:lnTo>
                      <a:pt x="9459" y="5847"/>
                    </a:lnTo>
                    <a:close/>
                    <a:moveTo>
                      <a:pt x="9386" y="5597"/>
                    </a:moveTo>
                    <a:lnTo>
                      <a:pt x="9385" y="5598"/>
                    </a:lnTo>
                    <a:lnTo>
                      <a:pt x="9381" y="5601"/>
                    </a:lnTo>
                    <a:lnTo>
                      <a:pt x="9385" y="5600"/>
                    </a:lnTo>
                    <a:lnTo>
                      <a:pt x="9386" y="5597"/>
                    </a:lnTo>
                    <a:lnTo>
                      <a:pt x="9386" y="5597"/>
                    </a:lnTo>
                    <a:lnTo>
                      <a:pt x="9386" y="5597"/>
                    </a:lnTo>
                    <a:close/>
                    <a:moveTo>
                      <a:pt x="9386" y="5597"/>
                    </a:moveTo>
                    <a:lnTo>
                      <a:pt x="9386" y="5597"/>
                    </a:lnTo>
                    <a:lnTo>
                      <a:pt x="9387" y="5596"/>
                    </a:lnTo>
                    <a:lnTo>
                      <a:pt x="9387" y="5594"/>
                    </a:lnTo>
                    <a:lnTo>
                      <a:pt x="9386" y="5597"/>
                    </a:lnTo>
                    <a:lnTo>
                      <a:pt x="9386" y="5597"/>
                    </a:lnTo>
                    <a:close/>
                    <a:moveTo>
                      <a:pt x="9349" y="5626"/>
                    </a:moveTo>
                    <a:lnTo>
                      <a:pt x="9359" y="5620"/>
                    </a:lnTo>
                    <a:lnTo>
                      <a:pt x="9368" y="5614"/>
                    </a:lnTo>
                    <a:lnTo>
                      <a:pt x="9375" y="5607"/>
                    </a:lnTo>
                    <a:lnTo>
                      <a:pt x="9379" y="5605"/>
                    </a:lnTo>
                    <a:lnTo>
                      <a:pt x="9381" y="5601"/>
                    </a:lnTo>
                    <a:lnTo>
                      <a:pt x="9379" y="5603"/>
                    </a:lnTo>
                    <a:lnTo>
                      <a:pt x="9375" y="5605"/>
                    </a:lnTo>
                    <a:lnTo>
                      <a:pt x="9372" y="5605"/>
                    </a:lnTo>
                    <a:lnTo>
                      <a:pt x="9370" y="5605"/>
                    </a:lnTo>
                    <a:lnTo>
                      <a:pt x="9372" y="5603"/>
                    </a:lnTo>
                    <a:lnTo>
                      <a:pt x="9375" y="5601"/>
                    </a:lnTo>
                    <a:lnTo>
                      <a:pt x="9381" y="5598"/>
                    </a:lnTo>
                    <a:lnTo>
                      <a:pt x="9387" y="5594"/>
                    </a:lnTo>
                    <a:lnTo>
                      <a:pt x="9387" y="5593"/>
                    </a:lnTo>
                    <a:lnTo>
                      <a:pt x="9388" y="5590"/>
                    </a:lnTo>
                    <a:lnTo>
                      <a:pt x="9387" y="5594"/>
                    </a:lnTo>
                    <a:lnTo>
                      <a:pt x="9392" y="5593"/>
                    </a:lnTo>
                    <a:lnTo>
                      <a:pt x="9400" y="5590"/>
                    </a:lnTo>
                    <a:lnTo>
                      <a:pt x="9405" y="5590"/>
                    </a:lnTo>
                    <a:lnTo>
                      <a:pt x="9413" y="5590"/>
                    </a:lnTo>
                    <a:lnTo>
                      <a:pt x="9416" y="5588"/>
                    </a:lnTo>
                    <a:lnTo>
                      <a:pt x="9420" y="5588"/>
                    </a:lnTo>
                    <a:lnTo>
                      <a:pt x="9423" y="5587"/>
                    </a:lnTo>
                    <a:lnTo>
                      <a:pt x="9428" y="5585"/>
                    </a:lnTo>
                    <a:lnTo>
                      <a:pt x="9431" y="5583"/>
                    </a:lnTo>
                    <a:lnTo>
                      <a:pt x="9434" y="5578"/>
                    </a:lnTo>
                    <a:lnTo>
                      <a:pt x="9442" y="5573"/>
                    </a:lnTo>
                    <a:lnTo>
                      <a:pt x="9434" y="5573"/>
                    </a:lnTo>
                    <a:lnTo>
                      <a:pt x="9428" y="5573"/>
                    </a:lnTo>
                    <a:lnTo>
                      <a:pt x="9420" y="5575"/>
                    </a:lnTo>
                    <a:lnTo>
                      <a:pt x="9413" y="5580"/>
                    </a:lnTo>
                    <a:lnTo>
                      <a:pt x="9403" y="5581"/>
                    </a:lnTo>
                    <a:lnTo>
                      <a:pt x="9395" y="5585"/>
                    </a:lnTo>
                    <a:lnTo>
                      <a:pt x="9388" y="5588"/>
                    </a:lnTo>
                    <a:lnTo>
                      <a:pt x="9381" y="5594"/>
                    </a:lnTo>
                    <a:lnTo>
                      <a:pt x="9367" y="5603"/>
                    </a:lnTo>
                    <a:lnTo>
                      <a:pt x="9359" y="5609"/>
                    </a:lnTo>
                    <a:lnTo>
                      <a:pt x="9354" y="5614"/>
                    </a:lnTo>
                    <a:lnTo>
                      <a:pt x="9347" y="5620"/>
                    </a:lnTo>
                    <a:lnTo>
                      <a:pt x="9342" y="5626"/>
                    </a:lnTo>
                    <a:lnTo>
                      <a:pt x="9337" y="5631"/>
                    </a:lnTo>
                    <a:lnTo>
                      <a:pt x="9333" y="5639"/>
                    </a:lnTo>
                    <a:lnTo>
                      <a:pt x="9340" y="5631"/>
                    </a:lnTo>
                    <a:lnTo>
                      <a:pt x="9349" y="5626"/>
                    </a:lnTo>
                    <a:close/>
                    <a:moveTo>
                      <a:pt x="9329" y="5642"/>
                    </a:moveTo>
                    <a:lnTo>
                      <a:pt x="9326" y="5644"/>
                    </a:lnTo>
                    <a:lnTo>
                      <a:pt x="9322" y="5649"/>
                    </a:lnTo>
                    <a:lnTo>
                      <a:pt x="9316" y="5655"/>
                    </a:lnTo>
                    <a:lnTo>
                      <a:pt x="9329" y="5654"/>
                    </a:lnTo>
                    <a:lnTo>
                      <a:pt x="9334" y="5654"/>
                    </a:lnTo>
                    <a:lnTo>
                      <a:pt x="9340" y="5651"/>
                    </a:lnTo>
                    <a:lnTo>
                      <a:pt x="9344" y="5649"/>
                    </a:lnTo>
                    <a:lnTo>
                      <a:pt x="9347" y="5647"/>
                    </a:lnTo>
                    <a:lnTo>
                      <a:pt x="9352" y="5644"/>
                    </a:lnTo>
                    <a:lnTo>
                      <a:pt x="9352" y="5639"/>
                    </a:lnTo>
                    <a:lnTo>
                      <a:pt x="9349" y="5639"/>
                    </a:lnTo>
                    <a:lnTo>
                      <a:pt x="9347" y="5639"/>
                    </a:lnTo>
                    <a:lnTo>
                      <a:pt x="9344" y="5639"/>
                    </a:lnTo>
                    <a:lnTo>
                      <a:pt x="9339" y="5639"/>
                    </a:lnTo>
                    <a:lnTo>
                      <a:pt x="9333" y="5639"/>
                    </a:lnTo>
                    <a:lnTo>
                      <a:pt x="9331" y="5641"/>
                    </a:lnTo>
                    <a:lnTo>
                      <a:pt x="9329" y="5642"/>
                    </a:lnTo>
                    <a:close/>
                    <a:moveTo>
                      <a:pt x="9388" y="6240"/>
                    </a:moveTo>
                    <a:lnTo>
                      <a:pt x="9390" y="6242"/>
                    </a:lnTo>
                    <a:lnTo>
                      <a:pt x="9392" y="6245"/>
                    </a:lnTo>
                    <a:lnTo>
                      <a:pt x="9395" y="6248"/>
                    </a:lnTo>
                    <a:lnTo>
                      <a:pt x="9400" y="6251"/>
                    </a:lnTo>
                    <a:lnTo>
                      <a:pt x="9405" y="6258"/>
                    </a:lnTo>
                    <a:lnTo>
                      <a:pt x="9413" y="6257"/>
                    </a:lnTo>
                    <a:lnTo>
                      <a:pt x="9418" y="6255"/>
                    </a:lnTo>
                    <a:lnTo>
                      <a:pt x="9425" y="6251"/>
                    </a:lnTo>
                    <a:lnTo>
                      <a:pt x="9431" y="6250"/>
                    </a:lnTo>
                    <a:lnTo>
                      <a:pt x="9434" y="6246"/>
                    </a:lnTo>
                    <a:lnTo>
                      <a:pt x="9438" y="6242"/>
                    </a:lnTo>
                    <a:lnTo>
                      <a:pt x="9440" y="6240"/>
                    </a:lnTo>
                    <a:lnTo>
                      <a:pt x="9414" y="6240"/>
                    </a:lnTo>
                    <a:lnTo>
                      <a:pt x="9388" y="6240"/>
                    </a:lnTo>
                    <a:close/>
                    <a:moveTo>
                      <a:pt x="10477" y="5581"/>
                    </a:moveTo>
                    <a:lnTo>
                      <a:pt x="10486" y="5573"/>
                    </a:lnTo>
                    <a:lnTo>
                      <a:pt x="10479" y="5580"/>
                    </a:lnTo>
                    <a:lnTo>
                      <a:pt x="10477" y="5581"/>
                    </a:lnTo>
                    <a:lnTo>
                      <a:pt x="10477" y="5581"/>
                    </a:lnTo>
                    <a:lnTo>
                      <a:pt x="10477" y="5581"/>
                    </a:lnTo>
                    <a:close/>
                    <a:moveTo>
                      <a:pt x="10460" y="5607"/>
                    </a:moveTo>
                    <a:lnTo>
                      <a:pt x="10465" y="5601"/>
                    </a:lnTo>
                    <a:lnTo>
                      <a:pt x="10468" y="5596"/>
                    </a:lnTo>
                    <a:lnTo>
                      <a:pt x="10472" y="5590"/>
                    </a:lnTo>
                    <a:lnTo>
                      <a:pt x="10475" y="5585"/>
                    </a:lnTo>
                    <a:lnTo>
                      <a:pt x="10477" y="5581"/>
                    </a:lnTo>
                    <a:lnTo>
                      <a:pt x="10477" y="5581"/>
                    </a:lnTo>
                    <a:lnTo>
                      <a:pt x="10477" y="5581"/>
                    </a:lnTo>
                    <a:lnTo>
                      <a:pt x="10473" y="5585"/>
                    </a:lnTo>
                    <a:lnTo>
                      <a:pt x="10466" y="5590"/>
                    </a:lnTo>
                    <a:lnTo>
                      <a:pt x="10460" y="5596"/>
                    </a:lnTo>
                    <a:lnTo>
                      <a:pt x="10457" y="5601"/>
                    </a:lnTo>
                    <a:lnTo>
                      <a:pt x="10453" y="5607"/>
                    </a:lnTo>
                    <a:lnTo>
                      <a:pt x="10452" y="5613"/>
                    </a:lnTo>
                    <a:lnTo>
                      <a:pt x="10452" y="5618"/>
                    </a:lnTo>
                    <a:lnTo>
                      <a:pt x="10457" y="5613"/>
                    </a:lnTo>
                    <a:lnTo>
                      <a:pt x="10460" y="5607"/>
                    </a:lnTo>
                    <a:close/>
                    <a:moveTo>
                      <a:pt x="10407" y="4298"/>
                    </a:moveTo>
                    <a:lnTo>
                      <a:pt x="10411" y="4299"/>
                    </a:lnTo>
                    <a:lnTo>
                      <a:pt x="10412" y="4302"/>
                    </a:lnTo>
                    <a:lnTo>
                      <a:pt x="10416" y="4302"/>
                    </a:lnTo>
                    <a:lnTo>
                      <a:pt x="10419" y="4302"/>
                    </a:lnTo>
                    <a:lnTo>
                      <a:pt x="10422" y="4302"/>
                    </a:lnTo>
                    <a:lnTo>
                      <a:pt x="10427" y="4302"/>
                    </a:lnTo>
                    <a:lnTo>
                      <a:pt x="10433" y="4299"/>
                    </a:lnTo>
                    <a:lnTo>
                      <a:pt x="10439" y="4296"/>
                    </a:lnTo>
                    <a:lnTo>
                      <a:pt x="10444" y="4294"/>
                    </a:lnTo>
                    <a:lnTo>
                      <a:pt x="10442" y="4294"/>
                    </a:lnTo>
                    <a:lnTo>
                      <a:pt x="10440" y="4294"/>
                    </a:lnTo>
                    <a:lnTo>
                      <a:pt x="10439" y="4293"/>
                    </a:lnTo>
                    <a:lnTo>
                      <a:pt x="10440" y="4291"/>
                    </a:lnTo>
                    <a:lnTo>
                      <a:pt x="10442" y="4287"/>
                    </a:lnTo>
                    <a:lnTo>
                      <a:pt x="10445" y="4283"/>
                    </a:lnTo>
                    <a:lnTo>
                      <a:pt x="10452" y="4278"/>
                    </a:lnTo>
                    <a:lnTo>
                      <a:pt x="10444" y="4278"/>
                    </a:lnTo>
                    <a:lnTo>
                      <a:pt x="10439" y="4279"/>
                    </a:lnTo>
                    <a:lnTo>
                      <a:pt x="10433" y="4283"/>
                    </a:lnTo>
                    <a:lnTo>
                      <a:pt x="10427" y="4285"/>
                    </a:lnTo>
                    <a:lnTo>
                      <a:pt x="10422" y="4289"/>
                    </a:lnTo>
                    <a:lnTo>
                      <a:pt x="10416" y="4293"/>
                    </a:lnTo>
                    <a:lnTo>
                      <a:pt x="10411" y="4294"/>
                    </a:lnTo>
                    <a:lnTo>
                      <a:pt x="10406" y="4294"/>
                    </a:lnTo>
                    <a:lnTo>
                      <a:pt x="10407" y="4298"/>
                    </a:lnTo>
                    <a:close/>
                    <a:moveTo>
                      <a:pt x="10623" y="4546"/>
                    </a:moveTo>
                    <a:lnTo>
                      <a:pt x="10625" y="4543"/>
                    </a:lnTo>
                    <a:lnTo>
                      <a:pt x="10626" y="4541"/>
                    </a:lnTo>
                    <a:lnTo>
                      <a:pt x="10631" y="4540"/>
                    </a:lnTo>
                    <a:lnTo>
                      <a:pt x="10634" y="4538"/>
                    </a:lnTo>
                    <a:lnTo>
                      <a:pt x="10631" y="4538"/>
                    </a:lnTo>
                    <a:lnTo>
                      <a:pt x="10628" y="4538"/>
                    </a:lnTo>
                    <a:lnTo>
                      <a:pt x="10626" y="4538"/>
                    </a:lnTo>
                    <a:lnTo>
                      <a:pt x="10625" y="4538"/>
                    </a:lnTo>
                    <a:lnTo>
                      <a:pt x="10621" y="4538"/>
                    </a:lnTo>
                    <a:lnTo>
                      <a:pt x="10618" y="4538"/>
                    </a:lnTo>
                    <a:lnTo>
                      <a:pt x="10613" y="4538"/>
                    </a:lnTo>
                    <a:lnTo>
                      <a:pt x="10612" y="4538"/>
                    </a:lnTo>
                    <a:lnTo>
                      <a:pt x="10613" y="4540"/>
                    </a:lnTo>
                    <a:lnTo>
                      <a:pt x="10616" y="4541"/>
                    </a:lnTo>
                    <a:lnTo>
                      <a:pt x="10618" y="4543"/>
                    </a:lnTo>
                    <a:lnTo>
                      <a:pt x="10620" y="4546"/>
                    </a:lnTo>
                    <a:lnTo>
                      <a:pt x="10621" y="4546"/>
                    </a:lnTo>
                    <a:lnTo>
                      <a:pt x="10623" y="4546"/>
                    </a:lnTo>
                    <a:close/>
                    <a:moveTo>
                      <a:pt x="9306" y="5284"/>
                    </a:moveTo>
                    <a:lnTo>
                      <a:pt x="9327" y="5292"/>
                    </a:lnTo>
                    <a:lnTo>
                      <a:pt x="9349" y="5298"/>
                    </a:lnTo>
                    <a:lnTo>
                      <a:pt x="9372" y="5305"/>
                    </a:lnTo>
                    <a:lnTo>
                      <a:pt x="9394" y="5310"/>
                    </a:lnTo>
                    <a:lnTo>
                      <a:pt x="9416" y="5312"/>
                    </a:lnTo>
                    <a:lnTo>
                      <a:pt x="9436" y="5312"/>
                    </a:lnTo>
                    <a:lnTo>
                      <a:pt x="9448" y="5315"/>
                    </a:lnTo>
                    <a:lnTo>
                      <a:pt x="9459" y="5315"/>
                    </a:lnTo>
                    <a:lnTo>
                      <a:pt x="9466" y="5315"/>
                    </a:lnTo>
                    <a:lnTo>
                      <a:pt x="9474" y="5313"/>
                    </a:lnTo>
                    <a:lnTo>
                      <a:pt x="9481" y="5312"/>
                    </a:lnTo>
                    <a:lnTo>
                      <a:pt x="9484" y="5308"/>
                    </a:lnTo>
                    <a:lnTo>
                      <a:pt x="9488" y="5305"/>
                    </a:lnTo>
                    <a:lnTo>
                      <a:pt x="9488" y="5298"/>
                    </a:lnTo>
                    <a:lnTo>
                      <a:pt x="9488" y="5295"/>
                    </a:lnTo>
                    <a:lnTo>
                      <a:pt x="9488" y="5290"/>
                    </a:lnTo>
                    <a:lnTo>
                      <a:pt x="9484" y="5284"/>
                    </a:lnTo>
                    <a:lnTo>
                      <a:pt x="9481" y="5278"/>
                    </a:lnTo>
                    <a:lnTo>
                      <a:pt x="9475" y="5273"/>
                    </a:lnTo>
                    <a:lnTo>
                      <a:pt x="9469" y="5269"/>
                    </a:lnTo>
                    <a:lnTo>
                      <a:pt x="9462" y="5264"/>
                    </a:lnTo>
                    <a:lnTo>
                      <a:pt x="9453" y="5262"/>
                    </a:lnTo>
                    <a:lnTo>
                      <a:pt x="9414" y="5236"/>
                    </a:lnTo>
                    <a:lnTo>
                      <a:pt x="9394" y="5223"/>
                    </a:lnTo>
                    <a:lnTo>
                      <a:pt x="9374" y="5211"/>
                    </a:lnTo>
                    <a:lnTo>
                      <a:pt x="9352" y="5201"/>
                    </a:lnTo>
                    <a:lnTo>
                      <a:pt x="9329" y="5191"/>
                    </a:lnTo>
                    <a:lnTo>
                      <a:pt x="9306" y="5183"/>
                    </a:lnTo>
                    <a:lnTo>
                      <a:pt x="9281" y="5175"/>
                    </a:lnTo>
                    <a:lnTo>
                      <a:pt x="9273" y="5175"/>
                    </a:lnTo>
                    <a:lnTo>
                      <a:pt x="9268" y="5175"/>
                    </a:lnTo>
                    <a:lnTo>
                      <a:pt x="9261" y="5173"/>
                    </a:lnTo>
                    <a:lnTo>
                      <a:pt x="9252" y="5171"/>
                    </a:lnTo>
                    <a:lnTo>
                      <a:pt x="9237" y="5165"/>
                    </a:lnTo>
                    <a:lnTo>
                      <a:pt x="9219" y="5162"/>
                    </a:lnTo>
                    <a:lnTo>
                      <a:pt x="9209" y="5160"/>
                    </a:lnTo>
                    <a:lnTo>
                      <a:pt x="9200" y="5160"/>
                    </a:lnTo>
                    <a:lnTo>
                      <a:pt x="9191" y="5160"/>
                    </a:lnTo>
                    <a:lnTo>
                      <a:pt x="9181" y="5160"/>
                    </a:lnTo>
                    <a:lnTo>
                      <a:pt x="9173" y="5162"/>
                    </a:lnTo>
                    <a:lnTo>
                      <a:pt x="9163" y="5165"/>
                    </a:lnTo>
                    <a:lnTo>
                      <a:pt x="9154" y="5170"/>
                    </a:lnTo>
                    <a:lnTo>
                      <a:pt x="9145" y="5175"/>
                    </a:lnTo>
                    <a:lnTo>
                      <a:pt x="9156" y="5177"/>
                    </a:lnTo>
                    <a:lnTo>
                      <a:pt x="9166" y="5178"/>
                    </a:lnTo>
                    <a:lnTo>
                      <a:pt x="9176" y="5183"/>
                    </a:lnTo>
                    <a:lnTo>
                      <a:pt x="9186" y="5186"/>
                    </a:lnTo>
                    <a:lnTo>
                      <a:pt x="9193" y="5191"/>
                    </a:lnTo>
                    <a:lnTo>
                      <a:pt x="9200" y="5198"/>
                    </a:lnTo>
                    <a:lnTo>
                      <a:pt x="9214" y="5210"/>
                    </a:lnTo>
                    <a:lnTo>
                      <a:pt x="9219" y="5214"/>
                    </a:lnTo>
                    <a:lnTo>
                      <a:pt x="9224" y="5216"/>
                    </a:lnTo>
                    <a:lnTo>
                      <a:pt x="9227" y="5219"/>
                    </a:lnTo>
                    <a:lnTo>
                      <a:pt x="9233" y="5223"/>
                    </a:lnTo>
                    <a:lnTo>
                      <a:pt x="9237" y="5224"/>
                    </a:lnTo>
                    <a:lnTo>
                      <a:pt x="9239" y="5229"/>
                    </a:lnTo>
                    <a:lnTo>
                      <a:pt x="9245" y="5236"/>
                    </a:lnTo>
                    <a:lnTo>
                      <a:pt x="9250" y="5241"/>
                    </a:lnTo>
                    <a:lnTo>
                      <a:pt x="9253" y="5249"/>
                    </a:lnTo>
                    <a:lnTo>
                      <a:pt x="9257" y="5254"/>
                    </a:lnTo>
                    <a:lnTo>
                      <a:pt x="9265" y="5262"/>
                    </a:lnTo>
                    <a:lnTo>
                      <a:pt x="9283" y="5273"/>
                    </a:lnTo>
                    <a:lnTo>
                      <a:pt x="9306" y="5284"/>
                    </a:lnTo>
                    <a:close/>
                    <a:moveTo>
                      <a:pt x="10420" y="5611"/>
                    </a:moveTo>
                    <a:lnTo>
                      <a:pt x="10412" y="5616"/>
                    </a:lnTo>
                    <a:lnTo>
                      <a:pt x="10402" y="5624"/>
                    </a:lnTo>
                    <a:lnTo>
                      <a:pt x="10407" y="5622"/>
                    </a:lnTo>
                    <a:lnTo>
                      <a:pt x="10411" y="5620"/>
                    </a:lnTo>
                    <a:lnTo>
                      <a:pt x="10414" y="5616"/>
                    </a:lnTo>
                    <a:lnTo>
                      <a:pt x="10419" y="5613"/>
                    </a:lnTo>
                    <a:lnTo>
                      <a:pt x="10420" y="5611"/>
                    </a:lnTo>
                    <a:lnTo>
                      <a:pt x="10420" y="5611"/>
                    </a:lnTo>
                    <a:lnTo>
                      <a:pt x="10420" y="5611"/>
                    </a:lnTo>
                    <a:close/>
                    <a:moveTo>
                      <a:pt x="10699" y="5404"/>
                    </a:moveTo>
                    <a:lnTo>
                      <a:pt x="10700" y="5407"/>
                    </a:lnTo>
                    <a:lnTo>
                      <a:pt x="10700" y="5412"/>
                    </a:lnTo>
                    <a:lnTo>
                      <a:pt x="10700" y="5413"/>
                    </a:lnTo>
                    <a:lnTo>
                      <a:pt x="10700" y="5417"/>
                    </a:lnTo>
                    <a:lnTo>
                      <a:pt x="10699" y="5419"/>
                    </a:lnTo>
                    <a:lnTo>
                      <a:pt x="10699" y="5422"/>
                    </a:lnTo>
                    <a:lnTo>
                      <a:pt x="10694" y="5426"/>
                    </a:lnTo>
                    <a:lnTo>
                      <a:pt x="10689" y="5430"/>
                    </a:lnTo>
                    <a:lnTo>
                      <a:pt x="10682" y="5432"/>
                    </a:lnTo>
                    <a:lnTo>
                      <a:pt x="10677" y="5433"/>
                    </a:lnTo>
                    <a:lnTo>
                      <a:pt x="10669" y="5440"/>
                    </a:lnTo>
                    <a:lnTo>
                      <a:pt x="10662" y="5443"/>
                    </a:lnTo>
                    <a:lnTo>
                      <a:pt x="10653" y="5446"/>
                    </a:lnTo>
                    <a:lnTo>
                      <a:pt x="10641" y="5450"/>
                    </a:lnTo>
                    <a:lnTo>
                      <a:pt x="10633" y="5453"/>
                    </a:lnTo>
                    <a:lnTo>
                      <a:pt x="10623" y="5458"/>
                    </a:lnTo>
                    <a:lnTo>
                      <a:pt x="10616" y="5461"/>
                    </a:lnTo>
                    <a:lnTo>
                      <a:pt x="10608" y="5466"/>
                    </a:lnTo>
                    <a:lnTo>
                      <a:pt x="10603" y="5473"/>
                    </a:lnTo>
                    <a:lnTo>
                      <a:pt x="10597" y="5476"/>
                    </a:lnTo>
                    <a:lnTo>
                      <a:pt x="10597" y="5481"/>
                    </a:lnTo>
                    <a:lnTo>
                      <a:pt x="10595" y="5486"/>
                    </a:lnTo>
                    <a:lnTo>
                      <a:pt x="10593" y="5489"/>
                    </a:lnTo>
                    <a:lnTo>
                      <a:pt x="10590" y="5491"/>
                    </a:lnTo>
                    <a:lnTo>
                      <a:pt x="10587" y="5493"/>
                    </a:lnTo>
                    <a:lnTo>
                      <a:pt x="10582" y="5494"/>
                    </a:lnTo>
                    <a:lnTo>
                      <a:pt x="10579" y="5494"/>
                    </a:lnTo>
                    <a:lnTo>
                      <a:pt x="10573" y="5494"/>
                    </a:lnTo>
                    <a:lnTo>
                      <a:pt x="10570" y="5494"/>
                    </a:lnTo>
                    <a:lnTo>
                      <a:pt x="10566" y="5493"/>
                    </a:lnTo>
                    <a:lnTo>
                      <a:pt x="10562" y="5491"/>
                    </a:lnTo>
                    <a:lnTo>
                      <a:pt x="10560" y="5489"/>
                    </a:lnTo>
                    <a:lnTo>
                      <a:pt x="10559" y="5486"/>
                    </a:lnTo>
                    <a:lnTo>
                      <a:pt x="10559" y="5483"/>
                    </a:lnTo>
                    <a:lnTo>
                      <a:pt x="10560" y="5479"/>
                    </a:lnTo>
                    <a:lnTo>
                      <a:pt x="10564" y="5478"/>
                    </a:lnTo>
                    <a:lnTo>
                      <a:pt x="10567" y="5476"/>
                    </a:lnTo>
                    <a:lnTo>
                      <a:pt x="10572" y="5474"/>
                    </a:lnTo>
                    <a:lnTo>
                      <a:pt x="10577" y="5474"/>
                    </a:lnTo>
                    <a:lnTo>
                      <a:pt x="10581" y="5474"/>
                    </a:lnTo>
                    <a:lnTo>
                      <a:pt x="10579" y="5473"/>
                    </a:lnTo>
                    <a:lnTo>
                      <a:pt x="10573" y="5466"/>
                    </a:lnTo>
                    <a:lnTo>
                      <a:pt x="10560" y="5466"/>
                    </a:lnTo>
                    <a:lnTo>
                      <a:pt x="10555" y="5468"/>
                    </a:lnTo>
                    <a:lnTo>
                      <a:pt x="10549" y="5468"/>
                    </a:lnTo>
                    <a:lnTo>
                      <a:pt x="10546" y="5473"/>
                    </a:lnTo>
                    <a:lnTo>
                      <a:pt x="10542" y="5474"/>
                    </a:lnTo>
                    <a:lnTo>
                      <a:pt x="10540" y="5478"/>
                    </a:lnTo>
                    <a:lnTo>
                      <a:pt x="10538" y="5486"/>
                    </a:lnTo>
                    <a:lnTo>
                      <a:pt x="10544" y="5486"/>
                    </a:lnTo>
                    <a:lnTo>
                      <a:pt x="10549" y="5487"/>
                    </a:lnTo>
                    <a:lnTo>
                      <a:pt x="10552" y="5491"/>
                    </a:lnTo>
                    <a:lnTo>
                      <a:pt x="10557" y="5493"/>
                    </a:lnTo>
                    <a:lnTo>
                      <a:pt x="10560" y="5496"/>
                    </a:lnTo>
                    <a:lnTo>
                      <a:pt x="10564" y="5499"/>
                    </a:lnTo>
                    <a:lnTo>
                      <a:pt x="10567" y="5502"/>
                    </a:lnTo>
                    <a:lnTo>
                      <a:pt x="10570" y="5502"/>
                    </a:lnTo>
                    <a:lnTo>
                      <a:pt x="10573" y="5502"/>
                    </a:lnTo>
                    <a:lnTo>
                      <a:pt x="10573" y="5506"/>
                    </a:lnTo>
                    <a:lnTo>
                      <a:pt x="10572" y="5509"/>
                    </a:lnTo>
                    <a:lnTo>
                      <a:pt x="10570" y="5513"/>
                    </a:lnTo>
                    <a:lnTo>
                      <a:pt x="10567" y="5517"/>
                    </a:lnTo>
                    <a:lnTo>
                      <a:pt x="10562" y="5524"/>
                    </a:lnTo>
                    <a:lnTo>
                      <a:pt x="10557" y="5532"/>
                    </a:lnTo>
                    <a:lnTo>
                      <a:pt x="10552" y="5535"/>
                    </a:lnTo>
                    <a:lnTo>
                      <a:pt x="10549" y="5537"/>
                    </a:lnTo>
                    <a:lnTo>
                      <a:pt x="10547" y="5539"/>
                    </a:lnTo>
                    <a:lnTo>
                      <a:pt x="10544" y="5540"/>
                    </a:lnTo>
                    <a:lnTo>
                      <a:pt x="10542" y="5540"/>
                    </a:lnTo>
                    <a:lnTo>
                      <a:pt x="10540" y="5540"/>
                    </a:lnTo>
                    <a:lnTo>
                      <a:pt x="10538" y="5539"/>
                    </a:lnTo>
                    <a:lnTo>
                      <a:pt x="10538" y="5542"/>
                    </a:lnTo>
                    <a:lnTo>
                      <a:pt x="10536" y="5550"/>
                    </a:lnTo>
                    <a:lnTo>
                      <a:pt x="10534" y="5555"/>
                    </a:lnTo>
                    <a:lnTo>
                      <a:pt x="10534" y="5560"/>
                    </a:lnTo>
                    <a:lnTo>
                      <a:pt x="10534" y="5563"/>
                    </a:lnTo>
                    <a:lnTo>
                      <a:pt x="10536" y="5565"/>
                    </a:lnTo>
                    <a:lnTo>
                      <a:pt x="10536" y="5567"/>
                    </a:lnTo>
                    <a:lnTo>
                      <a:pt x="10538" y="5568"/>
                    </a:lnTo>
                    <a:lnTo>
                      <a:pt x="10542" y="5570"/>
                    </a:lnTo>
                    <a:lnTo>
                      <a:pt x="10546" y="5570"/>
                    </a:lnTo>
                    <a:lnTo>
                      <a:pt x="10551" y="5570"/>
                    </a:lnTo>
                    <a:lnTo>
                      <a:pt x="10557" y="5572"/>
                    </a:lnTo>
                    <a:lnTo>
                      <a:pt x="10552" y="5572"/>
                    </a:lnTo>
                    <a:lnTo>
                      <a:pt x="10551" y="5572"/>
                    </a:lnTo>
                    <a:lnTo>
                      <a:pt x="10547" y="5573"/>
                    </a:lnTo>
                    <a:lnTo>
                      <a:pt x="10546" y="5575"/>
                    </a:lnTo>
                    <a:lnTo>
                      <a:pt x="10544" y="5581"/>
                    </a:lnTo>
                    <a:lnTo>
                      <a:pt x="10544" y="5587"/>
                    </a:lnTo>
                    <a:lnTo>
                      <a:pt x="10544" y="5590"/>
                    </a:lnTo>
                    <a:lnTo>
                      <a:pt x="10546" y="5593"/>
                    </a:lnTo>
                    <a:lnTo>
                      <a:pt x="10547" y="5593"/>
                    </a:lnTo>
                    <a:lnTo>
                      <a:pt x="10551" y="5593"/>
                    </a:lnTo>
                    <a:lnTo>
                      <a:pt x="10552" y="5590"/>
                    </a:lnTo>
                    <a:lnTo>
                      <a:pt x="10557" y="5588"/>
                    </a:lnTo>
                    <a:lnTo>
                      <a:pt x="10560" y="5588"/>
                    </a:lnTo>
                    <a:lnTo>
                      <a:pt x="10562" y="5587"/>
                    </a:lnTo>
                    <a:lnTo>
                      <a:pt x="10566" y="5585"/>
                    </a:lnTo>
                    <a:lnTo>
                      <a:pt x="10570" y="5583"/>
                    </a:lnTo>
                    <a:lnTo>
                      <a:pt x="10575" y="5578"/>
                    </a:lnTo>
                    <a:lnTo>
                      <a:pt x="10579" y="5570"/>
                    </a:lnTo>
                    <a:lnTo>
                      <a:pt x="10585" y="5565"/>
                    </a:lnTo>
                    <a:lnTo>
                      <a:pt x="10588" y="5559"/>
                    </a:lnTo>
                    <a:lnTo>
                      <a:pt x="10588" y="5557"/>
                    </a:lnTo>
                    <a:lnTo>
                      <a:pt x="10590" y="5555"/>
                    </a:lnTo>
                    <a:lnTo>
                      <a:pt x="10590" y="5553"/>
                    </a:lnTo>
                    <a:lnTo>
                      <a:pt x="10593" y="5547"/>
                    </a:lnTo>
                    <a:lnTo>
                      <a:pt x="10599" y="5540"/>
                    </a:lnTo>
                    <a:lnTo>
                      <a:pt x="10603" y="5533"/>
                    </a:lnTo>
                    <a:lnTo>
                      <a:pt x="10608" y="5526"/>
                    </a:lnTo>
                    <a:lnTo>
                      <a:pt x="10616" y="5519"/>
                    </a:lnTo>
                    <a:lnTo>
                      <a:pt x="10621" y="5511"/>
                    </a:lnTo>
                    <a:lnTo>
                      <a:pt x="10628" y="5506"/>
                    </a:lnTo>
                    <a:lnTo>
                      <a:pt x="10636" y="5499"/>
                    </a:lnTo>
                    <a:lnTo>
                      <a:pt x="10643" y="5494"/>
                    </a:lnTo>
                    <a:lnTo>
                      <a:pt x="10651" y="5489"/>
                    </a:lnTo>
                    <a:lnTo>
                      <a:pt x="10658" y="5486"/>
                    </a:lnTo>
                    <a:lnTo>
                      <a:pt x="10666" y="5483"/>
                    </a:lnTo>
                    <a:lnTo>
                      <a:pt x="10673" y="5481"/>
                    </a:lnTo>
                    <a:lnTo>
                      <a:pt x="10680" y="5481"/>
                    </a:lnTo>
                    <a:lnTo>
                      <a:pt x="10687" y="5481"/>
                    </a:lnTo>
                    <a:lnTo>
                      <a:pt x="10694" y="5486"/>
                    </a:lnTo>
                    <a:lnTo>
                      <a:pt x="10687" y="5491"/>
                    </a:lnTo>
                    <a:lnTo>
                      <a:pt x="10680" y="5499"/>
                    </a:lnTo>
                    <a:lnTo>
                      <a:pt x="10673" y="5509"/>
                    </a:lnTo>
                    <a:lnTo>
                      <a:pt x="10666" y="5519"/>
                    </a:lnTo>
                    <a:lnTo>
                      <a:pt x="10658" y="5529"/>
                    </a:lnTo>
                    <a:lnTo>
                      <a:pt x="10647" y="5539"/>
                    </a:lnTo>
                    <a:lnTo>
                      <a:pt x="10638" y="5547"/>
                    </a:lnTo>
                    <a:lnTo>
                      <a:pt x="10625" y="5553"/>
                    </a:lnTo>
                    <a:lnTo>
                      <a:pt x="10623" y="5557"/>
                    </a:lnTo>
                    <a:lnTo>
                      <a:pt x="10620" y="5559"/>
                    </a:lnTo>
                    <a:lnTo>
                      <a:pt x="10616" y="5563"/>
                    </a:lnTo>
                    <a:lnTo>
                      <a:pt x="10613" y="5567"/>
                    </a:lnTo>
                    <a:lnTo>
                      <a:pt x="10610" y="5568"/>
                    </a:lnTo>
                    <a:lnTo>
                      <a:pt x="10608" y="5570"/>
                    </a:lnTo>
                    <a:lnTo>
                      <a:pt x="10608" y="5572"/>
                    </a:lnTo>
                    <a:lnTo>
                      <a:pt x="10608" y="5583"/>
                    </a:lnTo>
                    <a:lnTo>
                      <a:pt x="10608" y="5590"/>
                    </a:lnTo>
                    <a:lnTo>
                      <a:pt x="10608" y="5594"/>
                    </a:lnTo>
                    <a:lnTo>
                      <a:pt x="10608" y="5600"/>
                    </a:lnTo>
                    <a:lnTo>
                      <a:pt x="10608" y="5603"/>
                    </a:lnTo>
                    <a:lnTo>
                      <a:pt x="10608" y="5605"/>
                    </a:lnTo>
                    <a:lnTo>
                      <a:pt x="10613" y="5605"/>
                    </a:lnTo>
                    <a:lnTo>
                      <a:pt x="10620" y="5603"/>
                    </a:lnTo>
                    <a:lnTo>
                      <a:pt x="10625" y="5601"/>
                    </a:lnTo>
                    <a:lnTo>
                      <a:pt x="10631" y="5598"/>
                    </a:lnTo>
                    <a:lnTo>
                      <a:pt x="10636" y="5594"/>
                    </a:lnTo>
                    <a:lnTo>
                      <a:pt x="10641" y="5588"/>
                    </a:lnTo>
                    <a:lnTo>
                      <a:pt x="10651" y="5580"/>
                    </a:lnTo>
                    <a:lnTo>
                      <a:pt x="10659" y="5570"/>
                    </a:lnTo>
                    <a:lnTo>
                      <a:pt x="10666" y="5567"/>
                    </a:lnTo>
                    <a:lnTo>
                      <a:pt x="10671" y="5560"/>
                    </a:lnTo>
                    <a:lnTo>
                      <a:pt x="10677" y="5559"/>
                    </a:lnTo>
                    <a:lnTo>
                      <a:pt x="10682" y="5555"/>
                    </a:lnTo>
                    <a:lnTo>
                      <a:pt x="10687" y="5553"/>
                    </a:lnTo>
                    <a:lnTo>
                      <a:pt x="10694" y="5553"/>
                    </a:lnTo>
                    <a:lnTo>
                      <a:pt x="10694" y="5567"/>
                    </a:lnTo>
                    <a:lnTo>
                      <a:pt x="10694" y="5573"/>
                    </a:lnTo>
                    <a:lnTo>
                      <a:pt x="10692" y="5580"/>
                    </a:lnTo>
                    <a:lnTo>
                      <a:pt x="10689" y="5587"/>
                    </a:lnTo>
                    <a:lnTo>
                      <a:pt x="10686" y="5593"/>
                    </a:lnTo>
                    <a:lnTo>
                      <a:pt x="10682" y="5600"/>
                    </a:lnTo>
                    <a:lnTo>
                      <a:pt x="10677" y="5605"/>
                    </a:lnTo>
                    <a:lnTo>
                      <a:pt x="10651" y="5657"/>
                    </a:lnTo>
                    <a:lnTo>
                      <a:pt x="10625" y="5710"/>
                    </a:lnTo>
                    <a:lnTo>
                      <a:pt x="10623" y="5713"/>
                    </a:lnTo>
                    <a:lnTo>
                      <a:pt x="10620" y="5715"/>
                    </a:lnTo>
                    <a:lnTo>
                      <a:pt x="10618" y="5718"/>
                    </a:lnTo>
                    <a:lnTo>
                      <a:pt x="10613" y="5721"/>
                    </a:lnTo>
                    <a:lnTo>
                      <a:pt x="10608" y="5725"/>
                    </a:lnTo>
                    <a:lnTo>
                      <a:pt x="10599" y="5733"/>
                    </a:lnTo>
                    <a:lnTo>
                      <a:pt x="10593" y="5736"/>
                    </a:lnTo>
                    <a:lnTo>
                      <a:pt x="10590" y="5740"/>
                    </a:lnTo>
                    <a:lnTo>
                      <a:pt x="10587" y="5744"/>
                    </a:lnTo>
                    <a:lnTo>
                      <a:pt x="10580" y="5746"/>
                    </a:lnTo>
                    <a:lnTo>
                      <a:pt x="10579" y="5748"/>
                    </a:lnTo>
                    <a:lnTo>
                      <a:pt x="10575" y="5748"/>
                    </a:lnTo>
                    <a:lnTo>
                      <a:pt x="10573" y="5748"/>
                    </a:lnTo>
                    <a:lnTo>
                      <a:pt x="10573" y="5744"/>
                    </a:lnTo>
                    <a:lnTo>
                      <a:pt x="10567" y="5741"/>
                    </a:lnTo>
                    <a:lnTo>
                      <a:pt x="10560" y="5740"/>
                    </a:lnTo>
                    <a:lnTo>
                      <a:pt x="10555" y="5738"/>
                    </a:lnTo>
                    <a:lnTo>
                      <a:pt x="10551" y="5736"/>
                    </a:lnTo>
                    <a:lnTo>
                      <a:pt x="10546" y="5736"/>
                    </a:lnTo>
                    <a:lnTo>
                      <a:pt x="10540" y="5738"/>
                    </a:lnTo>
                    <a:lnTo>
                      <a:pt x="10536" y="5738"/>
                    </a:lnTo>
                    <a:lnTo>
                      <a:pt x="10532" y="5740"/>
                    </a:lnTo>
                    <a:lnTo>
                      <a:pt x="10526" y="5744"/>
                    </a:lnTo>
                    <a:lnTo>
                      <a:pt x="10518" y="5749"/>
                    </a:lnTo>
                    <a:lnTo>
                      <a:pt x="10511" y="5754"/>
                    </a:lnTo>
                    <a:lnTo>
                      <a:pt x="10505" y="5762"/>
                    </a:lnTo>
                    <a:lnTo>
                      <a:pt x="10501" y="5759"/>
                    </a:lnTo>
                    <a:lnTo>
                      <a:pt x="10499" y="5754"/>
                    </a:lnTo>
                    <a:lnTo>
                      <a:pt x="10498" y="5751"/>
                    </a:lnTo>
                    <a:lnTo>
                      <a:pt x="10498" y="5749"/>
                    </a:lnTo>
                    <a:lnTo>
                      <a:pt x="10498" y="5746"/>
                    </a:lnTo>
                    <a:lnTo>
                      <a:pt x="10498" y="5741"/>
                    </a:lnTo>
                    <a:lnTo>
                      <a:pt x="10499" y="5738"/>
                    </a:lnTo>
                    <a:lnTo>
                      <a:pt x="10499" y="5736"/>
                    </a:lnTo>
                    <a:lnTo>
                      <a:pt x="10505" y="5729"/>
                    </a:lnTo>
                    <a:lnTo>
                      <a:pt x="10507" y="5723"/>
                    </a:lnTo>
                    <a:lnTo>
                      <a:pt x="10506" y="5723"/>
                    </a:lnTo>
                    <a:lnTo>
                      <a:pt x="10509" y="5721"/>
                    </a:lnTo>
                    <a:lnTo>
                      <a:pt x="10507" y="5723"/>
                    </a:lnTo>
                    <a:lnTo>
                      <a:pt x="10509" y="5723"/>
                    </a:lnTo>
                    <a:lnTo>
                      <a:pt x="10510" y="5721"/>
                    </a:lnTo>
                    <a:lnTo>
                      <a:pt x="10509" y="5721"/>
                    </a:lnTo>
                    <a:lnTo>
                      <a:pt x="10510" y="5720"/>
                    </a:lnTo>
                    <a:lnTo>
                      <a:pt x="10510" y="5720"/>
                    </a:lnTo>
                    <a:lnTo>
                      <a:pt x="10510" y="5720"/>
                    </a:lnTo>
                    <a:lnTo>
                      <a:pt x="10510" y="5720"/>
                    </a:lnTo>
                    <a:lnTo>
                      <a:pt x="10510" y="5720"/>
                    </a:lnTo>
                    <a:lnTo>
                      <a:pt x="10511" y="5720"/>
                    </a:lnTo>
                    <a:lnTo>
                      <a:pt x="10513" y="5719"/>
                    </a:lnTo>
                    <a:lnTo>
                      <a:pt x="10515" y="5717"/>
                    </a:lnTo>
                    <a:lnTo>
                      <a:pt x="10516" y="5715"/>
                    </a:lnTo>
                    <a:lnTo>
                      <a:pt x="10524" y="5707"/>
                    </a:lnTo>
                    <a:lnTo>
                      <a:pt x="10531" y="5700"/>
                    </a:lnTo>
                    <a:lnTo>
                      <a:pt x="10538" y="5692"/>
                    </a:lnTo>
                    <a:lnTo>
                      <a:pt x="10532" y="5692"/>
                    </a:lnTo>
                    <a:lnTo>
                      <a:pt x="10529" y="5692"/>
                    </a:lnTo>
                    <a:lnTo>
                      <a:pt x="10526" y="5690"/>
                    </a:lnTo>
                    <a:lnTo>
                      <a:pt x="10524" y="5688"/>
                    </a:lnTo>
                    <a:lnTo>
                      <a:pt x="10524" y="5687"/>
                    </a:lnTo>
                    <a:lnTo>
                      <a:pt x="10526" y="5683"/>
                    </a:lnTo>
                    <a:lnTo>
                      <a:pt x="10526" y="5680"/>
                    </a:lnTo>
                    <a:lnTo>
                      <a:pt x="10529" y="5675"/>
                    </a:lnTo>
                    <a:lnTo>
                      <a:pt x="10534" y="5670"/>
                    </a:lnTo>
                    <a:lnTo>
                      <a:pt x="10536" y="5668"/>
                    </a:lnTo>
                    <a:lnTo>
                      <a:pt x="10538" y="5664"/>
                    </a:lnTo>
                    <a:lnTo>
                      <a:pt x="10538" y="5661"/>
                    </a:lnTo>
                    <a:lnTo>
                      <a:pt x="10538" y="5657"/>
                    </a:lnTo>
                    <a:lnTo>
                      <a:pt x="10532" y="5661"/>
                    </a:lnTo>
                    <a:lnTo>
                      <a:pt x="10526" y="5666"/>
                    </a:lnTo>
                    <a:lnTo>
                      <a:pt x="10519" y="5670"/>
                    </a:lnTo>
                    <a:lnTo>
                      <a:pt x="10513" y="5675"/>
                    </a:lnTo>
                    <a:lnTo>
                      <a:pt x="10499" y="5687"/>
                    </a:lnTo>
                    <a:lnTo>
                      <a:pt x="10486" y="5700"/>
                    </a:lnTo>
                    <a:lnTo>
                      <a:pt x="10473" y="5708"/>
                    </a:lnTo>
                    <a:lnTo>
                      <a:pt x="10468" y="5715"/>
                    </a:lnTo>
                    <a:lnTo>
                      <a:pt x="10460" y="5718"/>
                    </a:lnTo>
                    <a:lnTo>
                      <a:pt x="10455" y="5721"/>
                    </a:lnTo>
                    <a:lnTo>
                      <a:pt x="10448" y="5725"/>
                    </a:lnTo>
                    <a:lnTo>
                      <a:pt x="10442" y="5725"/>
                    </a:lnTo>
                    <a:lnTo>
                      <a:pt x="10437" y="5727"/>
                    </a:lnTo>
                    <a:lnTo>
                      <a:pt x="10437" y="5720"/>
                    </a:lnTo>
                    <a:lnTo>
                      <a:pt x="10437" y="5715"/>
                    </a:lnTo>
                    <a:lnTo>
                      <a:pt x="10440" y="5703"/>
                    </a:lnTo>
                    <a:lnTo>
                      <a:pt x="10444" y="5692"/>
                    </a:lnTo>
                    <a:lnTo>
                      <a:pt x="10450" y="5683"/>
                    </a:lnTo>
                    <a:lnTo>
                      <a:pt x="10455" y="5674"/>
                    </a:lnTo>
                    <a:lnTo>
                      <a:pt x="10463" y="5666"/>
                    </a:lnTo>
                    <a:lnTo>
                      <a:pt x="10470" y="5659"/>
                    </a:lnTo>
                    <a:lnTo>
                      <a:pt x="10479" y="5651"/>
                    </a:lnTo>
                    <a:lnTo>
                      <a:pt x="10486" y="5644"/>
                    </a:lnTo>
                    <a:lnTo>
                      <a:pt x="10494" y="5636"/>
                    </a:lnTo>
                    <a:lnTo>
                      <a:pt x="10501" y="5629"/>
                    </a:lnTo>
                    <a:lnTo>
                      <a:pt x="10509" y="5622"/>
                    </a:lnTo>
                    <a:lnTo>
                      <a:pt x="10514" y="5614"/>
                    </a:lnTo>
                    <a:lnTo>
                      <a:pt x="10518" y="5607"/>
                    </a:lnTo>
                    <a:lnTo>
                      <a:pt x="10519" y="5598"/>
                    </a:lnTo>
                    <a:lnTo>
                      <a:pt x="10521" y="5593"/>
                    </a:lnTo>
                    <a:lnTo>
                      <a:pt x="10521" y="5588"/>
                    </a:lnTo>
                    <a:lnTo>
                      <a:pt x="10521" y="5585"/>
                    </a:lnTo>
                    <a:lnTo>
                      <a:pt x="10521" y="5581"/>
                    </a:lnTo>
                    <a:lnTo>
                      <a:pt x="10519" y="5575"/>
                    </a:lnTo>
                    <a:lnTo>
                      <a:pt x="10518" y="5570"/>
                    </a:lnTo>
                    <a:lnTo>
                      <a:pt x="10516" y="5559"/>
                    </a:lnTo>
                    <a:lnTo>
                      <a:pt x="10511" y="5550"/>
                    </a:lnTo>
                    <a:lnTo>
                      <a:pt x="10509" y="5544"/>
                    </a:lnTo>
                    <a:lnTo>
                      <a:pt x="10505" y="5540"/>
                    </a:lnTo>
                    <a:lnTo>
                      <a:pt x="10503" y="5537"/>
                    </a:lnTo>
                    <a:lnTo>
                      <a:pt x="10499" y="5535"/>
                    </a:lnTo>
                    <a:lnTo>
                      <a:pt x="10498" y="5533"/>
                    </a:lnTo>
                    <a:lnTo>
                      <a:pt x="10494" y="5533"/>
                    </a:lnTo>
                    <a:lnTo>
                      <a:pt x="10490" y="5533"/>
                    </a:lnTo>
                    <a:lnTo>
                      <a:pt x="10486" y="5537"/>
                    </a:lnTo>
                    <a:lnTo>
                      <a:pt x="10475" y="5550"/>
                    </a:lnTo>
                    <a:lnTo>
                      <a:pt x="10465" y="5563"/>
                    </a:lnTo>
                    <a:lnTo>
                      <a:pt x="10453" y="5573"/>
                    </a:lnTo>
                    <a:lnTo>
                      <a:pt x="10444" y="5587"/>
                    </a:lnTo>
                    <a:lnTo>
                      <a:pt x="10435" y="5598"/>
                    </a:lnTo>
                    <a:lnTo>
                      <a:pt x="10424" y="5607"/>
                    </a:lnTo>
                    <a:lnTo>
                      <a:pt x="10420" y="5611"/>
                    </a:lnTo>
                    <a:lnTo>
                      <a:pt x="10420" y="5611"/>
                    </a:lnTo>
                    <a:lnTo>
                      <a:pt x="10420" y="5611"/>
                    </a:lnTo>
                    <a:lnTo>
                      <a:pt x="10422" y="5607"/>
                    </a:lnTo>
                    <a:lnTo>
                      <a:pt x="10425" y="5601"/>
                    </a:lnTo>
                    <a:lnTo>
                      <a:pt x="10429" y="5594"/>
                    </a:lnTo>
                    <a:lnTo>
                      <a:pt x="10437" y="5588"/>
                    </a:lnTo>
                    <a:lnTo>
                      <a:pt x="10425" y="5594"/>
                    </a:lnTo>
                    <a:lnTo>
                      <a:pt x="10416" y="5600"/>
                    </a:lnTo>
                    <a:lnTo>
                      <a:pt x="10409" y="5605"/>
                    </a:lnTo>
                    <a:lnTo>
                      <a:pt x="10399" y="5609"/>
                    </a:lnTo>
                    <a:lnTo>
                      <a:pt x="10385" y="5616"/>
                    </a:lnTo>
                    <a:lnTo>
                      <a:pt x="10370" y="5624"/>
                    </a:lnTo>
                    <a:lnTo>
                      <a:pt x="10359" y="5629"/>
                    </a:lnTo>
                    <a:lnTo>
                      <a:pt x="10348" y="5636"/>
                    </a:lnTo>
                    <a:lnTo>
                      <a:pt x="10345" y="5641"/>
                    </a:lnTo>
                    <a:lnTo>
                      <a:pt x="10338" y="5646"/>
                    </a:lnTo>
                    <a:lnTo>
                      <a:pt x="10335" y="5651"/>
                    </a:lnTo>
                    <a:lnTo>
                      <a:pt x="10333" y="5657"/>
                    </a:lnTo>
                    <a:lnTo>
                      <a:pt x="10318" y="5670"/>
                    </a:lnTo>
                    <a:lnTo>
                      <a:pt x="10305" y="5680"/>
                    </a:lnTo>
                    <a:lnTo>
                      <a:pt x="10292" y="5688"/>
                    </a:lnTo>
                    <a:lnTo>
                      <a:pt x="10278" y="5695"/>
                    </a:lnTo>
                    <a:lnTo>
                      <a:pt x="10263" y="5703"/>
                    </a:lnTo>
                    <a:lnTo>
                      <a:pt x="10246" y="5707"/>
                    </a:lnTo>
                    <a:lnTo>
                      <a:pt x="10233" y="5708"/>
                    </a:lnTo>
                    <a:lnTo>
                      <a:pt x="10233" y="5708"/>
                    </a:lnTo>
                    <a:lnTo>
                      <a:pt x="10230" y="5708"/>
                    </a:lnTo>
                    <a:lnTo>
                      <a:pt x="10211" y="5710"/>
                    </a:lnTo>
                    <a:lnTo>
                      <a:pt x="10205" y="5710"/>
                    </a:lnTo>
                    <a:lnTo>
                      <a:pt x="10197" y="5708"/>
                    </a:lnTo>
                    <a:lnTo>
                      <a:pt x="10190" y="5708"/>
                    </a:lnTo>
                    <a:lnTo>
                      <a:pt x="10182" y="5707"/>
                    </a:lnTo>
                    <a:lnTo>
                      <a:pt x="10178" y="5707"/>
                    </a:lnTo>
                    <a:lnTo>
                      <a:pt x="10177" y="5705"/>
                    </a:lnTo>
                    <a:lnTo>
                      <a:pt x="10175" y="5703"/>
                    </a:lnTo>
                    <a:lnTo>
                      <a:pt x="10172" y="5703"/>
                    </a:lnTo>
                    <a:lnTo>
                      <a:pt x="10172" y="5700"/>
                    </a:lnTo>
                    <a:lnTo>
                      <a:pt x="10172" y="5698"/>
                    </a:lnTo>
                    <a:lnTo>
                      <a:pt x="10175" y="5695"/>
                    </a:lnTo>
                    <a:lnTo>
                      <a:pt x="10178" y="5692"/>
                    </a:lnTo>
                    <a:lnTo>
                      <a:pt x="10184" y="5689"/>
                    </a:lnTo>
                    <a:lnTo>
                      <a:pt x="10187" y="5685"/>
                    </a:lnTo>
                    <a:lnTo>
                      <a:pt x="10195" y="5680"/>
                    </a:lnTo>
                    <a:lnTo>
                      <a:pt x="10200" y="5679"/>
                    </a:lnTo>
                    <a:lnTo>
                      <a:pt x="10205" y="5675"/>
                    </a:lnTo>
                    <a:lnTo>
                      <a:pt x="10210" y="5675"/>
                    </a:lnTo>
                    <a:lnTo>
                      <a:pt x="10213" y="5674"/>
                    </a:lnTo>
                    <a:lnTo>
                      <a:pt x="10215" y="5674"/>
                    </a:lnTo>
                    <a:lnTo>
                      <a:pt x="10221" y="5675"/>
                    </a:lnTo>
                    <a:lnTo>
                      <a:pt x="10230" y="5672"/>
                    </a:lnTo>
                    <a:lnTo>
                      <a:pt x="10241" y="5668"/>
                    </a:lnTo>
                    <a:lnTo>
                      <a:pt x="10251" y="5662"/>
                    </a:lnTo>
                    <a:lnTo>
                      <a:pt x="10263" y="5657"/>
                    </a:lnTo>
                    <a:lnTo>
                      <a:pt x="10289" y="5631"/>
                    </a:lnTo>
                    <a:lnTo>
                      <a:pt x="10315" y="5605"/>
                    </a:lnTo>
                    <a:lnTo>
                      <a:pt x="10328" y="5605"/>
                    </a:lnTo>
                    <a:lnTo>
                      <a:pt x="10335" y="5605"/>
                    </a:lnTo>
                    <a:lnTo>
                      <a:pt x="10341" y="5603"/>
                    </a:lnTo>
                    <a:lnTo>
                      <a:pt x="10348" y="5601"/>
                    </a:lnTo>
                    <a:lnTo>
                      <a:pt x="10353" y="5598"/>
                    </a:lnTo>
                    <a:lnTo>
                      <a:pt x="10361" y="5594"/>
                    </a:lnTo>
                    <a:lnTo>
                      <a:pt x="10366" y="5588"/>
                    </a:lnTo>
                    <a:lnTo>
                      <a:pt x="10372" y="5587"/>
                    </a:lnTo>
                    <a:lnTo>
                      <a:pt x="10378" y="5585"/>
                    </a:lnTo>
                    <a:lnTo>
                      <a:pt x="10381" y="5583"/>
                    </a:lnTo>
                    <a:lnTo>
                      <a:pt x="10383" y="5580"/>
                    </a:lnTo>
                    <a:lnTo>
                      <a:pt x="10387" y="5575"/>
                    </a:lnTo>
                    <a:lnTo>
                      <a:pt x="10391" y="5573"/>
                    </a:lnTo>
                    <a:lnTo>
                      <a:pt x="10396" y="5572"/>
                    </a:lnTo>
                    <a:lnTo>
                      <a:pt x="10394" y="5572"/>
                    </a:lnTo>
                    <a:lnTo>
                      <a:pt x="10389" y="5573"/>
                    </a:lnTo>
                    <a:lnTo>
                      <a:pt x="10381" y="5575"/>
                    </a:lnTo>
                    <a:lnTo>
                      <a:pt x="10376" y="5580"/>
                    </a:lnTo>
                    <a:lnTo>
                      <a:pt x="10368" y="5583"/>
                    </a:lnTo>
                    <a:lnTo>
                      <a:pt x="10363" y="5585"/>
                    </a:lnTo>
                    <a:lnTo>
                      <a:pt x="10355" y="5587"/>
                    </a:lnTo>
                    <a:lnTo>
                      <a:pt x="10350" y="5588"/>
                    </a:lnTo>
                    <a:lnTo>
                      <a:pt x="10350" y="5581"/>
                    </a:lnTo>
                    <a:lnTo>
                      <a:pt x="10351" y="5575"/>
                    </a:lnTo>
                    <a:lnTo>
                      <a:pt x="10355" y="5570"/>
                    </a:lnTo>
                    <a:lnTo>
                      <a:pt x="10361" y="5565"/>
                    </a:lnTo>
                    <a:lnTo>
                      <a:pt x="10365" y="5560"/>
                    </a:lnTo>
                    <a:lnTo>
                      <a:pt x="10369" y="5558"/>
                    </a:lnTo>
                    <a:lnTo>
                      <a:pt x="10366" y="5559"/>
                    </a:lnTo>
                    <a:lnTo>
                      <a:pt x="10359" y="5560"/>
                    </a:lnTo>
                    <a:lnTo>
                      <a:pt x="10353" y="5565"/>
                    </a:lnTo>
                    <a:lnTo>
                      <a:pt x="10348" y="5565"/>
                    </a:lnTo>
                    <a:lnTo>
                      <a:pt x="10343" y="5567"/>
                    </a:lnTo>
                    <a:lnTo>
                      <a:pt x="10335" y="5568"/>
                    </a:lnTo>
                    <a:lnTo>
                      <a:pt x="10326" y="5570"/>
                    </a:lnTo>
                    <a:lnTo>
                      <a:pt x="10318" y="5570"/>
                    </a:lnTo>
                    <a:lnTo>
                      <a:pt x="10315" y="5570"/>
                    </a:lnTo>
                    <a:lnTo>
                      <a:pt x="10309" y="5572"/>
                    </a:lnTo>
                    <a:lnTo>
                      <a:pt x="10304" y="5572"/>
                    </a:lnTo>
                    <a:lnTo>
                      <a:pt x="10298" y="5572"/>
                    </a:lnTo>
                    <a:lnTo>
                      <a:pt x="10298" y="5578"/>
                    </a:lnTo>
                    <a:lnTo>
                      <a:pt x="10297" y="5583"/>
                    </a:lnTo>
                    <a:lnTo>
                      <a:pt x="10297" y="5587"/>
                    </a:lnTo>
                    <a:lnTo>
                      <a:pt x="10294" y="5593"/>
                    </a:lnTo>
                    <a:lnTo>
                      <a:pt x="10292" y="5594"/>
                    </a:lnTo>
                    <a:lnTo>
                      <a:pt x="10291" y="5598"/>
                    </a:lnTo>
                    <a:lnTo>
                      <a:pt x="10287" y="5603"/>
                    </a:lnTo>
                    <a:lnTo>
                      <a:pt x="10282" y="5609"/>
                    </a:lnTo>
                    <a:lnTo>
                      <a:pt x="10276" y="5613"/>
                    </a:lnTo>
                    <a:lnTo>
                      <a:pt x="10271" y="5616"/>
                    </a:lnTo>
                    <a:lnTo>
                      <a:pt x="10263" y="5624"/>
                    </a:lnTo>
                    <a:lnTo>
                      <a:pt x="10263" y="5616"/>
                    </a:lnTo>
                    <a:lnTo>
                      <a:pt x="10263" y="5613"/>
                    </a:lnTo>
                    <a:lnTo>
                      <a:pt x="10261" y="5609"/>
                    </a:lnTo>
                    <a:lnTo>
                      <a:pt x="10259" y="5605"/>
                    </a:lnTo>
                    <a:lnTo>
                      <a:pt x="10259" y="5603"/>
                    </a:lnTo>
                    <a:lnTo>
                      <a:pt x="10258" y="5601"/>
                    </a:lnTo>
                    <a:lnTo>
                      <a:pt x="10254" y="5601"/>
                    </a:lnTo>
                    <a:lnTo>
                      <a:pt x="10252" y="5601"/>
                    </a:lnTo>
                    <a:lnTo>
                      <a:pt x="10246" y="5601"/>
                    </a:lnTo>
                    <a:lnTo>
                      <a:pt x="10241" y="5603"/>
                    </a:lnTo>
                    <a:lnTo>
                      <a:pt x="10236" y="5605"/>
                    </a:lnTo>
                    <a:lnTo>
                      <a:pt x="10230" y="5605"/>
                    </a:lnTo>
                    <a:lnTo>
                      <a:pt x="10236" y="5600"/>
                    </a:lnTo>
                    <a:lnTo>
                      <a:pt x="10239" y="5596"/>
                    </a:lnTo>
                    <a:lnTo>
                      <a:pt x="10243" y="5593"/>
                    </a:lnTo>
                    <a:lnTo>
                      <a:pt x="10244" y="5590"/>
                    </a:lnTo>
                    <a:lnTo>
                      <a:pt x="10244" y="5588"/>
                    </a:lnTo>
                    <a:lnTo>
                      <a:pt x="10239" y="5588"/>
                    </a:lnTo>
                    <a:lnTo>
                      <a:pt x="10233" y="5590"/>
                    </a:lnTo>
                    <a:lnTo>
                      <a:pt x="10226" y="5594"/>
                    </a:lnTo>
                    <a:lnTo>
                      <a:pt x="10221" y="5598"/>
                    </a:lnTo>
                    <a:lnTo>
                      <a:pt x="10213" y="5600"/>
                    </a:lnTo>
                    <a:lnTo>
                      <a:pt x="10208" y="5603"/>
                    </a:lnTo>
                    <a:lnTo>
                      <a:pt x="10200" y="5605"/>
                    </a:lnTo>
                    <a:lnTo>
                      <a:pt x="10195" y="5605"/>
                    </a:lnTo>
                    <a:lnTo>
                      <a:pt x="10200" y="5600"/>
                    </a:lnTo>
                    <a:lnTo>
                      <a:pt x="10208" y="5596"/>
                    </a:lnTo>
                    <a:lnTo>
                      <a:pt x="10215" y="5593"/>
                    </a:lnTo>
                    <a:lnTo>
                      <a:pt x="10223" y="5588"/>
                    </a:lnTo>
                    <a:lnTo>
                      <a:pt x="10231" y="5585"/>
                    </a:lnTo>
                    <a:lnTo>
                      <a:pt x="10241" y="5581"/>
                    </a:lnTo>
                    <a:lnTo>
                      <a:pt x="10251" y="5578"/>
                    </a:lnTo>
                    <a:lnTo>
                      <a:pt x="10263" y="5572"/>
                    </a:lnTo>
                    <a:lnTo>
                      <a:pt x="10258" y="5573"/>
                    </a:lnTo>
                    <a:lnTo>
                      <a:pt x="10254" y="5573"/>
                    </a:lnTo>
                    <a:lnTo>
                      <a:pt x="10251" y="5573"/>
                    </a:lnTo>
                    <a:lnTo>
                      <a:pt x="10248" y="5572"/>
                    </a:lnTo>
                    <a:lnTo>
                      <a:pt x="10248" y="5570"/>
                    </a:lnTo>
                    <a:lnTo>
                      <a:pt x="10248" y="5568"/>
                    </a:lnTo>
                    <a:lnTo>
                      <a:pt x="10248" y="5565"/>
                    </a:lnTo>
                    <a:lnTo>
                      <a:pt x="10251" y="5560"/>
                    </a:lnTo>
                    <a:lnTo>
                      <a:pt x="10254" y="5552"/>
                    </a:lnTo>
                    <a:lnTo>
                      <a:pt x="10256" y="5548"/>
                    </a:lnTo>
                    <a:lnTo>
                      <a:pt x="10258" y="5544"/>
                    </a:lnTo>
                    <a:lnTo>
                      <a:pt x="10259" y="5540"/>
                    </a:lnTo>
                    <a:lnTo>
                      <a:pt x="10258" y="5542"/>
                    </a:lnTo>
                    <a:lnTo>
                      <a:pt x="10251" y="5547"/>
                    </a:lnTo>
                    <a:lnTo>
                      <a:pt x="10244" y="5550"/>
                    </a:lnTo>
                    <a:lnTo>
                      <a:pt x="10238" y="5552"/>
                    </a:lnTo>
                    <a:lnTo>
                      <a:pt x="10231" y="5553"/>
                    </a:lnTo>
                    <a:lnTo>
                      <a:pt x="10225" y="5553"/>
                    </a:lnTo>
                    <a:lnTo>
                      <a:pt x="10211" y="5553"/>
                    </a:lnTo>
                    <a:lnTo>
                      <a:pt x="10211" y="5548"/>
                    </a:lnTo>
                    <a:lnTo>
                      <a:pt x="10211" y="5544"/>
                    </a:lnTo>
                    <a:lnTo>
                      <a:pt x="10211" y="5540"/>
                    </a:lnTo>
                    <a:lnTo>
                      <a:pt x="10211" y="5539"/>
                    </a:lnTo>
                    <a:lnTo>
                      <a:pt x="10211" y="5537"/>
                    </a:lnTo>
                    <a:lnTo>
                      <a:pt x="10208" y="5540"/>
                    </a:lnTo>
                    <a:lnTo>
                      <a:pt x="10205" y="5544"/>
                    </a:lnTo>
                    <a:lnTo>
                      <a:pt x="10197" y="5553"/>
                    </a:lnTo>
                    <a:lnTo>
                      <a:pt x="10190" y="5563"/>
                    </a:lnTo>
                    <a:lnTo>
                      <a:pt x="10185" y="5567"/>
                    </a:lnTo>
                    <a:lnTo>
                      <a:pt x="10182" y="5570"/>
                    </a:lnTo>
                    <a:lnTo>
                      <a:pt x="10178" y="5573"/>
                    </a:lnTo>
                    <a:lnTo>
                      <a:pt x="10177" y="5575"/>
                    </a:lnTo>
                    <a:lnTo>
                      <a:pt x="10175" y="5575"/>
                    </a:lnTo>
                    <a:lnTo>
                      <a:pt x="10172" y="5575"/>
                    </a:lnTo>
                    <a:lnTo>
                      <a:pt x="10172" y="5572"/>
                    </a:lnTo>
                    <a:lnTo>
                      <a:pt x="10172" y="5570"/>
                    </a:lnTo>
                    <a:lnTo>
                      <a:pt x="10169" y="5573"/>
                    </a:lnTo>
                    <a:lnTo>
                      <a:pt x="10165" y="5578"/>
                    </a:lnTo>
                    <a:lnTo>
                      <a:pt x="10160" y="5580"/>
                    </a:lnTo>
                    <a:lnTo>
                      <a:pt x="10154" y="5581"/>
                    </a:lnTo>
                    <a:lnTo>
                      <a:pt x="10149" y="5583"/>
                    </a:lnTo>
                    <a:lnTo>
                      <a:pt x="10141" y="5585"/>
                    </a:lnTo>
                    <a:lnTo>
                      <a:pt x="10147" y="5590"/>
                    </a:lnTo>
                    <a:lnTo>
                      <a:pt x="10134" y="5590"/>
                    </a:lnTo>
                    <a:lnTo>
                      <a:pt x="10129" y="5590"/>
                    </a:lnTo>
                    <a:lnTo>
                      <a:pt x="10124" y="5590"/>
                    </a:lnTo>
                    <a:lnTo>
                      <a:pt x="10119" y="5590"/>
                    </a:lnTo>
                    <a:lnTo>
                      <a:pt x="10116" y="5590"/>
                    </a:lnTo>
                    <a:lnTo>
                      <a:pt x="10114" y="5590"/>
                    </a:lnTo>
                    <a:lnTo>
                      <a:pt x="10108" y="5590"/>
                    </a:lnTo>
                    <a:lnTo>
                      <a:pt x="10103" y="5590"/>
                    </a:lnTo>
                    <a:lnTo>
                      <a:pt x="10101" y="5590"/>
                    </a:lnTo>
                    <a:lnTo>
                      <a:pt x="10099" y="5590"/>
                    </a:lnTo>
                    <a:lnTo>
                      <a:pt x="10098" y="5590"/>
                    </a:lnTo>
                    <a:lnTo>
                      <a:pt x="10090" y="5590"/>
                    </a:lnTo>
                    <a:lnTo>
                      <a:pt x="10086" y="5590"/>
                    </a:lnTo>
                    <a:lnTo>
                      <a:pt x="10083" y="5590"/>
                    </a:lnTo>
                    <a:lnTo>
                      <a:pt x="10078" y="5590"/>
                    </a:lnTo>
                    <a:lnTo>
                      <a:pt x="10077" y="5590"/>
                    </a:lnTo>
                    <a:lnTo>
                      <a:pt x="10073" y="5590"/>
                    </a:lnTo>
                    <a:lnTo>
                      <a:pt x="10068" y="5590"/>
                    </a:lnTo>
                    <a:lnTo>
                      <a:pt x="10062" y="5590"/>
                    </a:lnTo>
                    <a:lnTo>
                      <a:pt x="10060" y="5590"/>
                    </a:lnTo>
                    <a:lnTo>
                      <a:pt x="10058" y="5590"/>
                    </a:lnTo>
                    <a:lnTo>
                      <a:pt x="10055" y="5590"/>
                    </a:lnTo>
                    <a:lnTo>
                      <a:pt x="10050" y="5590"/>
                    </a:lnTo>
                    <a:lnTo>
                      <a:pt x="10045" y="5590"/>
                    </a:lnTo>
                    <a:lnTo>
                      <a:pt x="10047" y="5588"/>
                    </a:lnTo>
                    <a:lnTo>
                      <a:pt x="10045" y="5588"/>
                    </a:lnTo>
                    <a:lnTo>
                      <a:pt x="10042" y="5588"/>
                    </a:lnTo>
                    <a:lnTo>
                      <a:pt x="10040" y="5588"/>
                    </a:lnTo>
                    <a:lnTo>
                      <a:pt x="10034" y="5588"/>
                    </a:lnTo>
                    <a:lnTo>
                      <a:pt x="10029" y="5588"/>
                    </a:lnTo>
                    <a:lnTo>
                      <a:pt x="10027" y="5587"/>
                    </a:lnTo>
                    <a:lnTo>
                      <a:pt x="10025" y="5587"/>
                    </a:lnTo>
                    <a:lnTo>
                      <a:pt x="10024" y="5585"/>
                    </a:lnTo>
                    <a:lnTo>
                      <a:pt x="10024" y="5581"/>
                    </a:lnTo>
                    <a:lnTo>
                      <a:pt x="10024" y="5578"/>
                    </a:lnTo>
                    <a:lnTo>
                      <a:pt x="10024" y="5572"/>
                    </a:lnTo>
                    <a:lnTo>
                      <a:pt x="10016" y="5572"/>
                    </a:lnTo>
                    <a:lnTo>
                      <a:pt x="10007" y="5573"/>
                    </a:lnTo>
                    <a:lnTo>
                      <a:pt x="9997" y="5575"/>
                    </a:lnTo>
                    <a:lnTo>
                      <a:pt x="9988" y="5578"/>
                    </a:lnTo>
                    <a:lnTo>
                      <a:pt x="9979" y="5580"/>
                    </a:lnTo>
                    <a:lnTo>
                      <a:pt x="9973" y="5580"/>
                    </a:lnTo>
                    <a:lnTo>
                      <a:pt x="9970" y="5578"/>
                    </a:lnTo>
                    <a:lnTo>
                      <a:pt x="9964" y="5578"/>
                    </a:lnTo>
                    <a:lnTo>
                      <a:pt x="9961" y="5575"/>
                    </a:lnTo>
                    <a:lnTo>
                      <a:pt x="9956" y="5573"/>
                    </a:lnTo>
                    <a:lnTo>
                      <a:pt x="9953" y="5572"/>
                    </a:lnTo>
                    <a:lnTo>
                      <a:pt x="9948" y="5572"/>
                    </a:lnTo>
                    <a:lnTo>
                      <a:pt x="9943" y="5572"/>
                    </a:lnTo>
                    <a:lnTo>
                      <a:pt x="9940" y="5572"/>
                    </a:lnTo>
                    <a:lnTo>
                      <a:pt x="9936" y="5572"/>
                    </a:lnTo>
                    <a:lnTo>
                      <a:pt x="9933" y="5572"/>
                    </a:lnTo>
                    <a:lnTo>
                      <a:pt x="9930" y="5572"/>
                    </a:lnTo>
                    <a:lnTo>
                      <a:pt x="9925" y="5572"/>
                    </a:lnTo>
                    <a:lnTo>
                      <a:pt x="9920" y="5572"/>
                    </a:lnTo>
                    <a:lnTo>
                      <a:pt x="9912" y="5572"/>
                    </a:lnTo>
                    <a:lnTo>
                      <a:pt x="9903" y="5570"/>
                    </a:lnTo>
                    <a:lnTo>
                      <a:pt x="9896" y="5570"/>
                    </a:lnTo>
                    <a:lnTo>
                      <a:pt x="9889" y="5568"/>
                    </a:lnTo>
                    <a:lnTo>
                      <a:pt x="9887" y="5568"/>
                    </a:lnTo>
                    <a:lnTo>
                      <a:pt x="9882" y="5567"/>
                    </a:lnTo>
                    <a:lnTo>
                      <a:pt x="9881" y="5565"/>
                    </a:lnTo>
                    <a:lnTo>
                      <a:pt x="9879" y="5560"/>
                    </a:lnTo>
                    <a:lnTo>
                      <a:pt x="9881" y="5559"/>
                    </a:lnTo>
                    <a:lnTo>
                      <a:pt x="9882" y="5557"/>
                    </a:lnTo>
                    <a:lnTo>
                      <a:pt x="9879" y="5559"/>
                    </a:lnTo>
                    <a:lnTo>
                      <a:pt x="9876" y="5563"/>
                    </a:lnTo>
                    <a:lnTo>
                      <a:pt x="9874" y="5567"/>
                    </a:lnTo>
                    <a:lnTo>
                      <a:pt x="9870" y="5568"/>
                    </a:lnTo>
                    <a:lnTo>
                      <a:pt x="9869" y="5570"/>
                    </a:lnTo>
                    <a:lnTo>
                      <a:pt x="9869" y="5572"/>
                    </a:lnTo>
                    <a:lnTo>
                      <a:pt x="9856" y="5572"/>
                    </a:lnTo>
                    <a:lnTo>
                      <a:pt x="9848" y="5572"/>
                    </a:lnTo>
                    <a:lnTo>
                      <a:pt x="9843" y="5573"/>
                    </a:lnTo>
                    <a:lnTo>
                      <a:pt x="9835" y="5575"/>
                    </a:lnTo>
                    <a:lnTo>
                      <a:pt x="9829" y="5578"/>
                    </a:lnTo>
                    <a:lnTo>
                      <a:pt x="9823" y="5583"/>
                    </a:lnTo>
                    <a:lnTo>
                      <a:pt x="9816" y="5588"/>
                    </a:lnTo>
                    <a:lnTo>
                      <a:pt x="9810" y="5588"/>
                    </a:lnTo>
                    <a:lnTo>
                      <a:pt x="9802" y="5588"/>
                    </a:lnTo>
                    <a:lnTo>
                      <a:pt x="9785" y="5587"/>
                    </a:lnTo>
                    <a:lnTo>
                      <a:pt x="9770" y="5585"/>
                    </a:lnTo>
                    <a:lnTo>
                      <a:pt x="9763" y="5583"/>
                    </a:lnTo>
                    <a:lnTo>
                      <a:pt x="9755" y="5581"/>
                    </a:lnTo>
                    <a:lnTo>
                      <a:pt x="9750" y="5580"/>
                    </a:lnTo>
                    <a:lnTo>
                      <a:pt x="9744" y="5575"/>
                    </a:lnTo>
                    <a:lnTo>
                      <a:pt x="9741" y="5572"/>
                    </a:lnTo>
                    <a:lnTo>
                      <a:pt x="9739" y="5567"/>
                    </a:lnTo>
                    <a:lnTo>
                      <a:pt x="9737" y="5560"/>
                    </a:lnTo>
                    <a:lnTo>
                      <a:pt x="9737" y="5557"/>
                    </a:lnTo>
                    <a:lnTo>
                      <a:pt x="9739" y="5553"/>
                    </a:lnTo>
                    <a:lnTo>
                      <a:pt x="9739" y="5550"/>
                    </a:lnTo>
                    <a:lnTo>
                      <a:pt x="9741" y="5547"/>
                    </a:lnTo>
                    <a:lnTo>
                      <a:pt x="9744" y="5540"/>
                    </a:lnTo>
                    <a:lnTo>
                      <a:pt x="9747" y="5537"/>
                    </a:lnTo>
                    <a:lnTo>
                      <a:pt x="9754" y="5524"/>
                    </a:lnTo>
                    <a:lnTo>
                      <a:pt x="9763" y="5513"/>
                    </a:lnTo>
                    <a:lnTo>
                      <a:pt x="9772" y="5506"/>
                    </a:lnTo>
                    <a:lnTo>
                      <a:pt x="9782" y="5498"/>
                    </a:lnTo>
                    <a:lnTo>
                      <a:pt x="9790" y="5493"/>
                    </a:lnTo>
                    <a:lnTo>
                      <a:pt x="9800" y="5487"/>
                    </a:lnTo>
                    <a:lnTo>
                      <a:pt x="9810" y="5486"/>
                    </a:lnTo>
                    <a:lnTo>
                      <a:pt x="9816" y="5486"/>
                    </a:lnTo>
                    <a:lnTo>
                      <a:pt x="9835" y="5473"/>
                    </a:lnTo>
                    <a:lnTo>
                      <a:pt x="9851" y="5461"/>
                    </a:lnTo>
                    <a:lnTo>
                      <a:pt x="9869" y="5452"/>
                    </a:lnTo>
                    <a:lnTo>
                      <a:pt x="9882" y="5443"/>
                    </a:lnTo>
                    <a:lnTo>
                      <a:pt x="9896" y="5435"/>
                    </a:lnTo>
                    <a:lnTo>
                      <a:pt x="9910" y="5428"/>
                    </a:lnTo>
                    <a:lnTo>
                      <a:pt x="9936" y="5415"/>
                    </a:lnTo>
                    <a:lnTo>
                      <a:pt x="9910" y="5415"/>
                    </a:lnTo>
                    <a:lnTo>
                      <a:pt x="9885" y="5415"/>
                    </a:lnTo>
                    <a:lnTo>
                      <a:pt x="9877" y="5415"/>
                    </a:lnTo>
                    <a:lnTo>
                      <a:pt x="9869" y="5415"/>
                    </a:lnTo>
                    <a:lnTo>
                      <a:pt x="9859" y="5415"/>
                    </a:lnTo>
                    <a:lnTo>
                      <a:pt x="9849" y="5415"/>
                    </a:lnTo>
                    <a:lnTo>
                      <a:pt x="9841" y="5415"/>
                    </a:lnTo>
                    <a:lnTo>
                      <a:pt x="9831" y="5415"/>
                    </a:lnTo>
                    <a:lnTo>
                      <a:pt x="9823" y="5415"/>
                    </a:lnTo>
                    <a:lnTo>
                      <a:pt x="9816" y="5415"/>
                    </a:lnTo>
                    <a:lnTo>
                      <a:pt x="9816" y="5412"/>
                    </a:lnTo>
                    <a:lnTo>
                      <a:pt x="9818" y="5410"/>
                    </a:lnTo>
                    <a:lnTo>
                      <a:pt x="9820" y="5405"/>
                    </a:lnTo>
                    <a:lnTo>
                      <a:pt x="9824" y="5402"/>
                    </a:lnTo>
                    <a:lnTo>
                      <a:pt x="9828" y="5399"/>
                    </a:lnTo>
                    <a:lnTo>
                      <a:pt x="9833" y="5397"/>
                    </a:lnTo>
                    <a:lnTo>
                      <a:pt x="9844" y="5389"/>
                    </a:lnTo>
                    <a:lnTo>
                      <a:pt x="9856" y="5384"/>
                    </a:lnTo>
                    <a:lnTo>
                      <a:pt x="9866" y="5376"/>
                    </a:lnTo>
                    <a:lnTo>
                      <a:pt x="9872" y="5372"/>
                    </a:lnTo>
                    <a:lnTo>
                      <a:pt x="9877" y="5371"/>
                    </a:lnTo>
                    <a:lnTo>
                      <a:pt x="9881" y="5367"/>
                    </a:lnTo>
                    <a:lnTo>
                      <a:pt x="9885" y="5364"/>
                    </a:lnTo>
                    <a:lnTo>
                      <a:pt x="9879" y="5369"/>
                    </a:lnTo>
                    <a:lnTo>
                      <a:pt x="9874" y="5374"/>
                    </a:lnTo>
                    <a:lnTo>
                      <a:pt x="9870" y="5378"/>
                    </a:lnTo>
                    <a:lnTo>
                      <a:pt x="9869" y="5380"/>
                    </a:lnTo>
                    <a:lnTo>
                      <a:pt x="9864" y="5384"/>
                    </a:lnTo>
                    <a:lnTo>
                      <a:pt x="9861" y="5387"/>
                    </a:lnTo>
                    <a:lnTo>
                      <a:pt x="9856" y="5392"/>
                    </a:lnTo>
                    <a:lnTo>
                      <a:pt x="9849" y="5399"/>
                    </a:lnTo>
                    <a:lnTo>
                      <a:pt x="9856" y="5399"/>
                    </a:lnTo>
                    <a:lnTo>
                      <a:pt x="9861" y="5399"/>
                    </a:lnTo>
                    <a:lnTo>
                      <a:pt x="9863" y="5399"/>
                    </a:lnTo>
                    <a:lnTo>
                      <a:pt x="9864" y="5399"/>
                    </a:lnTo>
                    <a:lnTo>
                      <a:pt x="9866" y="5399"/>
                    </a:lnTo>
                    <a:lnTo>
                      <a:pt x="9869" y="5399"/>
                    </a:lnTo>
                    <a:lnTo>
                      <a:pt x="9874" y="5399"/>
                    </a:lnTo>
                    <a:lnTo>
                      <a:pt x="9877" y="5399"/>
                    </a:lnTo>
                    <a:lnTo>
                      <a:pt x="9881" y="5399"/>
                    </a:lnTo>
                    <a:lnTo>
                      <a:pt x="9882" y="5399"/>
                    </a:lnTo>
                    <a:lnTo>
                      <a:pt x="9885" y="5399"/>
                    </a:lnTo>
                    <a:lnTo>
                      <a:pt x="9910" y="5372"/>
                    </a:lnTo>
                    <a:lnTo>
                      <a:pt x="9936" y="5346"/>
                    </a:lnTo>
                    <a:lnTo>
                      <a:pt x="9942" y="5339"/>
                    </a:lnTo>
                    <a:lnTo>
                      <a:pt x="9948" y="5334"/>
                    </a:lnTo>
                    <a:lnTo>
                      <a:pt x="9951" y="5328"/>
                    </a:lnTo>
                    <a:lnTo>
                      <a:pt x="9955" y="5323"/>
                    </a:lnTo>
                    <a:lnTo>
                      <a:pt x="9961" y="5317"/>
                    </a:lnTo>
                    <a:lnTo>
                      <a:pt x="9964" y="5315"/>
                    </a:lnTo>
                    <a:lnTo>
                      <a:pt x="9968" y="5313"/>
                    </a:lnTo>
                    <a:lnTo>
                      <a:pt x="9971" y="5313"/>
                    </a:lnTo>
                    <a:lnTo>
                      <a:pt x="9977" y="5312"/>
                    </a:lnTo>
                    <a:lnTo>
                      <a:pt x="9983" y="5312"/>
                    </a:lnTo>
                    <a:lnTo>
                      <a:pt x="9988" y="5312"/>
                    </a:lnTo>
                    <a:lnTo>
                      <a:pt x="9991" y="5312"/>
                    </a:lnTo>
                    <a:lnTo>
                      <a:pt x="9994" y="5313"/>
                    </a:lnTo>
                    <a:lnTo>
                      <a:pt x="9996" y="5313"/>
                    </a:lnTo>
                    <a:lnTo>
                      <a:pt x="9997" y="5317"/>
                    </a:lnTo>
                    <a:lnTo>
                      <a:pt x="10001" y="5321"/>
                    </a:lnTo>
                    <a:lnTo>
                      <a:pt x="10004" y="5326"/>
                    </a:lnTo>
                    <a:lnTo>
                      <a:pt x="10009" y="5330"/>
                    </a:lnTo>
                    <a:lnTo>
                      <a:pt x="10010" y="5332"/>
                    </a:lnTo>
                    <a:lnTo>
                      <a:pt x="10012" y="5334"/>
                    </a:lnTo>
                    <a:lnTo>
                      <a:pt x="10014" y="5334"/>
                    </a:lnTo>
                    <a:lnTo>
                      <a:pt x="10016" y="5334"/>
                    </a:lnTo>
                    <a:lnTo>
                      <a:pt x="10019" y="5332"/>
                    </a:lnTo>
                    <a:lnTo>
                      <a:pt x="10024" y="5328"/>
                    </a:lnTo>
                    <a:lnTo>
                      <a:pt x="10016" y="5328"/>
                    </a:lnTo>
                    <a:lnTo>
                      <a:pt x="10012" y="5328"/>
                    </a:lnTo>
                    <a:lnTo>
                      <a:pt x="10010" y="5328"/>
                    </a:lnTo>
                    <a:lnTo>
                      <a:pt x="10007" y="5326"/>
                    </a:lnTo>
                    <a:lnTo>
                      <a:pt x="10007" y="5325"/>
                    </a:lnTo>
                    <a:lnTo>
                      <a:pt x="10004" y="5321"/>
                    </a:lnTo>
                    <a:lnTo>
                      <a:pt x="10004" y="5317"/>
                    </a:lnTo>
                    <a:lnTo>
                      <a:pt x="10004" y="5312"/>
                    </a:lnTo>
                    <a:lnTo>
                      <a:pt x="10007" y="5310"/>
                    </a:lnTo>
                    <a:lnTo>
                      <a:pt x="10009" y="5308"/>
                    </a:lnTo>
                    <a:lnTo>
                      <a:pt x="10012" y="5306"/>
                    </a:lnTo>
                    <a:lnTo>
                      <a:pt x="10016" y="5305"/>
                    </a:lnTo>
                    <a:lnTo>
                      <a:pt x="10019" y="5305"/>
                    </a:lnTo>
                    <a:lnTo>
                      <a:pt x="10019" y="5302"/>
                    </a:lnTo>
                    <a:lnTo>
                      <a:pt x="10022" y="5300"/>
                    </a:lnTo>
                    <a:lnTo>
                      <a:pt x="10024" y="5298"/>
                    </a:lnTo>
                    <a:lnTo>
                      <a:pt x="10027" y="5297"/>
                    </a:lnTo>
                    <a:lnTo>
                      <a:pt x="10032" y="5295"/>
                    </a:lnTo>
                    <a:lnTo>
                      <a:pt x="10040" y="5295"/>
                    </a:lnTo>
                    <a:lnTo>
                      <a:pt x="10034" y="5293"/>
                    </a:lnTo>
                    <a:lnTo>
                      <a:pt x="10029" y="5293"/>
                    </a:lnTo>
                    <a:lnTo>
                      <a:pt x="10024" y="5293"/>
                    </a:lnTo>
                    <a:lnTo>
                      <a:pt x="10019" y="5292"/>
                    </a:lnTo>
                    <a:lnTo>
                      <a:pt x="10016" y="5290"/>
                    </a:lnTo>
                    <a:lnTo>
                      <a:pt x="10014" y="5287"/>
                    </a:lnTo>
                    <a:lnTo>
                      <a:pt x="10012" y="5285"/>
                    </a:lnTo>
                    <a:lnTo>
                      <a:pt x="10010" y="5284"/>
                    </a:lnTo>
                    <a:lnTo>
                      <a:pt x="10007" y="5278"/>
                    </a:lnTo>
                    <a:lnTo>
                      <a:pt x="10007" y="5273"/>
                    </a:lnTo>
                    <a:lnTo>
                      <a:pt x="10004" y="5265"/>
                    </a:lnTo>
                    <a:lnTo>
                      <a:pt x="10004" y="5260"/>
                    </a:lnTo>
                    <a:lnTo>
                      <a:pt x="10012" y="5252"/>
                    </a:lnTo>
                    <a:lnTo>
                      <a:pt x="10022" y="5245"/>
                    </a:lnTo>
                    <a:lnTo>
                      <a:pt x="10029" y="5238"/>
                    </a:lnTo>
                    <a:lnTo>
                      <a:pt x="10034" y="5234"/>
                    </a:lnTo>
                    <a:lnTo>
                      <a:pt x="10038" y="5231"/>
                    </a:lnTo>
                    <a:lnTo>
                      <a:pt x="10042" y="5229"/>
                    </a:lnTo>
                    <a:lnTo>
                      <a:pt x="10045" y="5229"/>
                    </a:lnTo>
                    <a:lnTo>
                      <a:pt x="10049" y="5226"/>
                    </a:lnTo>
                    <a:lnTo>
                      <a:pt x="10050" y="5229"/>
                    </a:lnTo>
                    <a:lnTo>
                      <a:pt x="10053" y="5229"/>
                    </a:lnTo>
                    <a:lnTo>
                      <a:pt x="10055" y="5232"/>
                    </a:lnTo>
                    <a:lnTo>
                      <a:pt x="10057" y="5236"/>
                    </a:lnTo>
                    <a:lnTo>
                      <a:pt x="10057" y="5241"/>
                    </a:lnTo>
                    <a:lnTo>
                      <a:pt x="10060" y="5241"/>
                    </a:lnTo>
                    <a:lnTo>
                      <a:pt x="10062" y="5239"/>
                    </a:lnTo>
                    <a:lnTo>
                      <a:pt x="10063" y="5238"/>
                    </a:lnTo>
                    <a:lnTo>
                      <a:pt x="10063" y="5236"/>
                    </a:lnTo>
                    <a:lnTo>
                      <a:pt x="10065" y="5234"/>
                    </a:lnTo>
                    <a:lnTo>
                      <a:pt x="10065" y="5231"/>
                    </a:lnTo>
                    <a:lnTo>
                      <a:pt x="10065" y="5223"/>
                    </a:lnTo>
                    <a:lnTo>
                      <a:pt x="10065" y="5214"/>
                    </a:lnTo>
                    <a:lnTo>
                      <a:pt x="10065" y="5206"/>
                    </a:lnTo>
                    <a:lnTo>
                      <a:pt x="10068" y="5201"/>
                    </a:lnTo>
                    <a:lnTo>
                      <a:pt x="10070" y="5198"/>
                    </a:lnTo>
                    <a:lnTo>
                      <a:pt x="10071" y="5193"/>
                    </a:lnTo>
                    <a:lnTo>
                      <a:pt x="10075" y="5190"/>
                    </a:lnTo>
                    <a:lnTo>
                      <a:pt x="10101" y="5164"/>
                    </a:lnTo>
                    <a:lnTo>
                      <a:pt x="10126" y="5138"/>
                    </a:lnTo>
                    <a:lnTo>
                      <a:pt x="10132" y="5131"/>
                    </a:lnTo>
                    <a:lnTo>
                      <a:pt x="10139" y="5124"/>
                    </a:lnTo>
                    <a:lnTo>
                      <a:pt x="10145" y="5114"/>
                    </a:lnTo>
                    <a:lnTo>
                      <a:pt x="10152" y="5104"/>
                    </a:lnTo>
                    <a:lnTo>
                      <a:pt x="10165" y="5086"/>
                    </a:lnTo>
                    <a:lnTo>
                      <a:pt x="10170" y="5076"/>
                    </a:lnTo>
                    <a:lnTo>
                      <a:pt x="10178" y="5066"/>
                    </a:lnTo>
                    <a:lnTo>
                      <a:pt x="10184" y="5058"/>
                    </a:lnTo>
                    <a:lnTo>
                      <a:pt x="10191" y="5051"/>
                    </a:lnTo>
                    <a:lnTo>
                      <a:pt x="10197" y="5043"/>
                    </a:lnTo>
                    <a:lnTo>
                      <a:pt x="10202" y="5038"/>
                    </a:lnTo>
                    <a:lnTo>
                      <a:pt x="10210" y="5035"/>
                    </a:lnTo>
                    <a:lnTo>
                      <a:pt x="10213" y="5033"/>
                    </a:lnTo>
                    <a:lnTo>
                      <a:pt x="10217" y="5033"/>
                    </a:lnTo>
                    <a:lnTo>
                      <a:pt x="10218" y="5033"/>
                    </a:lnTo>
                    <a:lnTo>
                      <a:pt x="10223" y="5033"/>
                    </a:lnTo>
                    <a:lnTo>
                      <a:pt x="10226" y="5033"/>
                    </a:lnTo>
                    <a:lnTo>
                      <a:pt x="10230" y="5035"/>
                    </a:lnTo>
                    <a:lnTo>
                      <a:pt x="10223" y="5029"/>
                    </a:lnTo>
                    <a:lnTo>
                      <a:pt x="10218" y="5023"/>
                    </a:lnTo>
                    <a:lnTo>
                      <a:pt x="10215" y="5022"/>
                    </a:lnTo>
                    <a:lnTo>
                      <a:pt x="10213" y="5020"/>
                    </a:lnTo>
                    <a:lnTo>
                      <a:pt x="10213" y="5018"/>
                    </a:lnTo>
                    <a:lnTo>
                      <a:pt x="10225" y="5018"/>
                    </a:lnTo>
                    <a:lnTo>
                      <a:pt x="10233" y="5017"/>
                    </a:lnTo>
                    <a:lnTo>
                      <a:pt x="10244" y="5017"/>
                    </a:lnTo>
                    <a:lnTo>
                      <a:pt x="10252" y="5015"/>
                    </a:lnTo>
                    <a:lnTo>
                      <a:pt x="10259" y="5012"/>
                    </a:lnTo>
                    <a:lnTo>
                      <a:pt x="10267" y="5010"/>
                    </a:lnTo>
                    <a:lnTo>
                      <a:pt x="10274" y="5005"/>
                    </a:lnTo>
                    <a:lnTo>
                      <a:pt x="10282" y="5000"/>
                    </a:lnTo>
                    <a:lnTo>
                      <a:pt x="10287" y="4992"/>
                    </a:lnTo>
                    <a:lnTo>
                      <a:pt x="10292" y="4985"/>
                    </a:lnTo>
                    <a:lnTo>
                      <a:pt x="10300" y="4976"/>
                    </a:lnTo>
                    <a:lnTo>
                      <a:pt x="10305" y="4964"/>
                    </a:lnTo>
                    <a:lnTo>
                      <a:pt x="10313" y="4956"/>
                    </a:lnTo>
                    <a:lnTo>
                      <a:pt x="10318" y="4946"/>
                    </a:lnTo>
                    <a:lnTo>
                      <a:pt x="10326" y="4936"/>
                    </a:lnTo>
                    <a:lnTo>
                      <a:pt x="10333" y="4931"/>
                    </a:lnTo>
                    <a:lnTo>
                      <a:pt x="10343" y="4922"/>
                    </a:lnTo>
                    <a:lnTo>
                      <a:pt x="10351" y="4915"/>
                    </a:lnTo>
                    <a:lnTo>
                      <a:pt x="10361" y="4907"/>
                    </a:lnTo>
                    <a:lnTo>
                      <a:pt x="10372" y="4902"/>
                    </a:lnTo>
                    <a:lnTo>
                      <a:pt x="10381" y="4898"/>
                    </a:lnTo>
                    <a:lnTo>
                      <a:pt x="10391" y="4895"/>
                    </a:lnTo>
                    <a:lnTo>
                      <a:pt x="10399" y="4892"/>
                    </a:lnTo>
                    <a:lnTo>
                      <a:pt x="10409" y="4889"/>
                    </a:lnTo>
                    <a:lnTo>
                      <a:pt x="10429" y="4885"/>
                    </a:lnTo>
                    <a:lnTo>
                      <a:pt x="10439" y="4882"/>
                    </a:lnTo>
                    <a:lnTo>
                      <a:pt x="10448" y="4880"/>
                    </a:lnTo>
                    <a:lnTo>
                      <a:pt x="10459" y="4876"/>
                    </a:lnTo>
                    <a:lnTo>
                      <a:pt x="10468" y="4872"/>
                    </a:lnTo>
                    <a:lnTo>
                      <a:pt x="10477" y="4867"/>
                    </a:lnTo>
                    <a:lnTo>
                      <a:pt x="10486" y="4861"/>
                    </a:lnTo>
                    <a:lnTo>
                      <a:pt x="10486" y="4862"/>
                    </a:lnTo>
                    <a:lnTo>
                      <a:pt x="10488" y="4867"/>
                    </a:lnTo>
                    <a:lnTo>
                      <a:pt x="10488" y="4870"/>
                    </a:lnTo>
                    <a:lnTo>
                      <a:pt x="10492" y="4872"/>
                    </a:lnTo>
                    <a:lnTo>
                      <a:pt x="10494" y="4876"/>
                    </a:lnTo>
                    <a:lnTo>
                      <a:pt x="10499" y="4877"/>
                    </a:lnTo>
                    <a:lnTo>
                      <a:pt x="10505" y="4877"/>
                    </a:lnTo>
                    <a:lnTo>
                      <a:pt x="10505" y="4872"/>
                    </a:lnTo>
                    <a:lnTo>
                      <a:pt x="10506" y="4869"/>
                    </a:lnTo>
                    <a:lnTo>
                      <a:pt x="10509" y="4865"/>
                    </a:lnTo>
                    <a:lnTo>
                      <a:pt x="10513" y="4861"/>
                    </a:lnTo>
                    <a:lnTo>
                      <a:pt x="10516" y="4859"/>
                    </a:lnTo>
                    <a:lnTo>
                      <a:pt x="10519" y="4859"/>
                    </a:lnTo>
                    <a:lnTo>
                      <a:pt x="10524" y="4859"/>
                    </a:lnTo>
                    <a:lnTo>
                      <a:pt x="10529" y="4861"/>
                    </a:lnTo>
                    <a:lnTo>
                      <a:pt x="10532" y="4862"/>
                    </a:lnTo>
                    <a:lnTo>
                      <a:pt x="10536" y="4867"/>
                    </a:lnTo>
                    <a:lnTo>
                      <a:pt x="10538" y="4869"/>
                    </a:lnTo>
                    <a:lnTo>
                      <a:pt x="10540" y="4874"/>
                    </a:lnTo>
                    <a:lnTo>
                      <a:pt x="10542" y="4877"/>
                    </a:lnTo>
                    <a:lnTo>
                      <a:pt x="10542" y="4883"/>
                    </a:lnTo>
                    <a:lnTo>
                      <a:pt x="10542" y="4889"/>
                    </a:lnTo>
                    <a:lnTo>
                      <a:pt x="10538" y="4896"/>
                    </a:lnTo>
                    <a:lnTo>
                      <a:pt x="10534" y="4898"/>
                    </a:lnTo>
                    <a:lnTo>
                      <a:pt x="10529" y="4902"/>
                    </a:lnTo>
                    <a:lnTo>
                      <a:pt x="10519" y="4905"/>
                    </a:lnTo>
                    <a:lnTo>
                      <a:pt x="10513" y="4907"/>
                    </a:lnTo>
                    <a:lnTo>
                      <a:pt x="10503" y="4910"/>
                    </a:lnTo>
                    <a:lnTo>
                      <a:pt x="10496" y="4910"/>
                    </a:lnTo>
                    <a:lnTo>
                      <a:pt x="10488" y="4907"/>
                    </a:lnTo>
                    <a:lnTo>
                      <a:pt x="10473" y="4907"/>
                    </a:lnTo>
                    <a:lnTo>
                      <a:pt x="10468" y="4905"/>
                    </a:lnTo>
                    <a:lnTo>
                      <a:pt x="10463" y="4905"/>
                    </a:lnTo>
                    <a:lnTo>
                      <a:pt x="10457" y="4905"/>
                    </a:lnTo>
                    <a:lnTo>
                      <a:pt x="10452" y="4907"/>
                    </a:lnTo>
                    <a:lnTo>
                      <a:pt x="10448" y="4911"/>
                    </a:lnTo>
                    <a:lnTo>
                      <a:pt x="10445" y="4913"/>
                    </a:lnTo>
                    <a:lnTo>
                      <a:pt x="10442" y="4915"/>
                    </a:lnTo>
                    <a:lnTo>
                      <a:pt x="10440" y="4918"/>
                    </a:lnTo>
                    <a:lnTo>
                      <a:pt x="10439" y="4922"/>
                    </a:lnTo>
                    <a:lnTo>
                      <a:pt x="10437" y="4926"/>
                    </a:lnTo>
                    <a:lnTo>
                      <a:pt x="10437" y="4931"/>
                    </a:lnTo>
                    <a:lnTo>
                      <a:pt x="10439" y="4931"/>
                    </a:lnTo>
                    <a:lnTo>
                      <a:pt x="10444" y="4931"/>
                    </a:lnTo>
                    <a:lnTo>
                      <a:pt x="10453" y="4931"/>
                    </a:lnTo>
                    <a:lnTo>
                      <a:pt x="10463" y="4931"/>
                    </a:lnTo>
                    <a:lnTo>
                      <a:pt x="10468" y="4931"/>
                    </a:lnTo>
                    <a:lnTo>
                      <a:pt x="10472" y="4933"/>
                    </a:lnTo>
                    <a:lnTo>
                      <a:pt x="10475" y="4933"/>
                    </a:lnTo>
                    <a:lnTo>
                      <a:pt x="10479" y="4935"/>
                    </a:lnTo>
                    <a:lnTo>
                      <a:pt x="10481" y="4936"/>
                    </a:lnTo>
                    <a:lnTo>
                      <a:pt x="10481" y="4938"/>
                    </a:lnTo>
                    <a:lnTo>
                      <a:pt x="10481" y="4941"/>
                    </a:lnTo>
                    <a:lnTo>
                      <a:pt x="10479" y="4943"/>
                    </a:lnTo>
                    <a:lnTo>
                      <a:pt x="10475" y="4944"/>
                    </a:lnTo>
                    <a:lnTo>
                      <a:pt x="10473" y="4946"/>
                    </a:lnTo>
                    <a:lnTo>
                      <a:pt x="10470" y="4948"/>
                    </a:lnTo>
                    <a:lnTo>
                      <a:pt x="10468" y="4950"/>
                    </a:lnTo>
                    <a:lnTo>
                      <a:pt x="10465" y="4953"/>
                    </a:lnTo>
                    <a:lnTo>
                      <a:pt x="10460" y="4957"/>
                    </a:lnTo>
                    <a:lnTo>
                      <a:pt x="10459" y="4959"/>
                    </a:lnTo>
                    <a:lnTo>
                      <a:pt x="10455" y="4963"/>
                    </a:lnTo>
                    <a:lnTo>
                      <a:pt x="10453" y="4964"/>
                    </a:lnTo>
                    <a:lnTo>
                      <a:pt x="10445" y="4972"/>
                    </a:lnTo>
                    <a:lnTo>
                      <a:pt x="10437" y="4981"/>
                    </a:lnTo>
                    <a:lnTo>
                      <a:pt x="10429" y="4989"/>
                    </a:lnTo>
                    <a:lnTo>
                      <a:pt x="10420" y="4996"/>
                    </a:lnTo>
                    <a:lnTo>
                      <a:pt x="10416" y="4997"/>
                    </a:lnTo>
                    <a:lnTo>
                      <a:pt x="10412" y="5002"/>
                    </a:lnTo>
                    <a:lnTo>
                      <a:pt x="10409" y="5004"/>
                    </a:lnTo>
                    <a:lnTo>
                      <a:pt x="10407" y="5004"/>
                    </a:lnTo>
                    <a:lnTo>
                      <a:pt x="10406" y="5005"/>
                    </a:lnTo>
                    <a:lnTo>
                      <a:pt x="10404" y="5004"/>
                    </a:lnTo>
                    <a:lnTo>
                      <a:pt x="10402" y="5002"/>
                    </a:lnTo>
                    <a:lnTo>
                      <a:pt x="10402" y="5000"/>
                    </a:lnTo>
                    <a:lnTo>
                      <a:pt x="10398" y="5000"/>
                    </a:lnTo>
                    <a:lnTo>
                      <a:pt x="10396" y="5002"/>
                    </a:lnTo>
                    <a:lnTo>
                      <a:pt x="10392" y="5004"/>
                    </a:lnTo>
                    <a:lnTo>
                      <a:pt x="10391" y="5005"/>
                    </a:lnTo>
                    <a:lnTo>
                      <a:pt x="10389" y="5009"/>
                    </a:lnTo>
                    <a:lnTo>
                      <a:pt x="10387" y="5010"/>
                    </a:lnTo>
                    <a:lnTo>
                      <a:pt x="10383" y="5020"/>
                    </a:lnTo>
                    <a:lnTo>
                      <a:pt x="10381" y="5027"/>
                    </a:lnTo>
                    <a:lnTo>
                      <a:pt x="10378" y="5037"/>
                    </a:lnTo>
                    <a:lnTo>
                      <a:pt x="10372" y="5043"/>
                    </a:lnTo>
                    <a:lnTo>
                      <a:pt x="10366" y="5051"/>
                    </a:lnTo>
                    <a:lnTo>
                      <a:pt x="10353" y="5064"/>
                    </a:lnTo>
                    <a:lnTo>
                      <a:pt x="10346" y="5071"/>
                    </a:lnTo>
                    <a:lnTo>
                      <a:pt x="10338" y="5079"/>
                    </a:lnTo>
                    <a:lnTo>
                      <a:pt x="10330" y="5088"/>
                    </a:lnTo>
                    <a:lnTo>
                      <a:pt x="10320" y="5097"/>
                    </a:lnTo>
                    <a:lnTo>
                      <a:pt x="10309" y="5109"/>
                    </a:lnTo>
                    <a:lnTo>
                      <a:pt x="10298" y="5122"/>
                    </a:lnTo>
                    <a:lnTo>
                      <a:pt x="10291" y="5127"/>
                    </a:lnTo>
                    <a:lnTo>
                      <a:pt x="10285" y="5131"/>
                    </a:lnTo>
                    <a:lnTo>
                      <a:pt x="10278" y="5134"/>
                    </a:lnTo>
                    <a:lnTo>
                      <a:pt x="10272" y="5138"/>
                    </a:lnTo>
                    <a:lnTo>
                      <a:pt x="10265" y="5142"/>
                    </a:lnTo>
                    <a:lnTo>
                      <a:pt x="10259" y="5145"/>
                    </a:lnTo>
                    <a:lnTo>
                      <a:pt x="10252" y="5149"/>
                    </a:lnTo>
                    <a:lnTo>
                      <a:pt x="10246" y="5157"/>
                    </a:lnTo>
                    <a:lnTo>
                      <a:pt x="10244" y="5162"/>
                    </a:lnTo>
                    <a:lnTo>
                      <a:pt x="10243" y="5165"/>
                    </a:lnTo>
                    <a:lnTo>
                      <a:pt x="10241" y="5170"/>
                    </a:lnTo>
                    <a:lnTo>
                      <a:pt x="10238" y="5173"/>
                    </a:lnTo>
                    <a:lnTo>
                      <a:pt x="10233" y="5177"/>
                    </a:lnTo>
                    <a:lnTo>
                      <a:pt x="10231" y="5180"/>
                    </a:lnTo>
                    <a:lnTo>
                      <a:pt x="10230" y="5185"/>
                    </a:lnTo>
                    <a:lnTo>
                      <a:pt x="10230" y="5190"/>
                    </a:lnTo>
                    <a:lnTo>
                      <a:pt x="10226" y="5193"/>
                    </a:lnTo>
                    <a:lnTo>
                      <a:pt x="10225" y="5195"/>
                    </a:lnTo>
                    <a:lnTo>
                      <a:pt x="10223" y="5199"/>
                    </a:lnTo>
                    <a:lnTo>
                      <a:pt x="10223" y="5201"/>
                    </a:lnTo>
                    <a:lnTo>
                      <a:pt x="10221" y="5203"/>
                    </a:lnTo>
                    <a:lnTo>
                      <a:pt x="10221" y="5205"/>
                    </a:lnTo>
                    <a:lnTo>
                      <a:pt x="10223" y="5208"/>
                    </a:lnTo>
                    <a:lnTo>
                      <a:pt x="10225" y="5210"/>
                    </a:lnTo>
                    <a:lnTo>
                      <a:pt x="10226" y="5214"/>
                    </a:lnTo>
                    <a:lnTo>
                      <a:pt x="10228" y="5219"/>
                    </a:lnTo>
                    <a:lnTo>
                      <a:pt x="10230" y="5224"/>
                    </a:lnTo>
                    <a:lnTo>
                      <a:pt x="10256" y="5199"/>
                    </a:lnTo>
                    <a:lnTo>
                      <a:pt x="10269" y="5186"/>
                    </a:lnTo>
                    <a:lnTo>
                      <a:pt x="10284" y="5173"/>
                    </a:lnTo>
                    <a:lnTo>
                      <a:pt x="10298" y="5160"/>
                    </a:lnTo>
                    <a:lnTo>
                      <a:pt x="10313" y="5147"/>
                    </a:lnTo>
                    <a:lnTo>
                      <a:pt x="10332" y="5134"/>
                    </a:lnTo>
                    <a:lnTo>
                      <a:pt x="10350" y="5122"/>
                    </a:lnTo>
                    <a:lnTo>
                      <a:pt x="10350" y="5127"/>
                    </a:lnTo>
                    <a:lnTo>
                      <a:pt x="10350" y="5131"/>
                    </a:lnTo>
                    <a:lnTo>
                      <a:pt x="10350" y="5134"/>
                    </a:lnTo>
                    <a:lnTo>
                      <a:pt x="10350" y="5138"/>
                    </a:lnTo>
                    <a:lnTo>
                      <a:pt x="10350" y="5142"/>
                    </a:lnTo>
                    <a:lnTo>
                      <a:pt x="10350" y="5145"/>
                    </a:lnTo>
                    <a:lnTo>
                      <a:pt x="10350" y="5149"/>
                    </a:lnTo>
                    <a:lnTo>
                      <a:pt x="10350" y="5157"/>
                    </a:lnTo>
                    <a:lnTo>
                      <a:pt x="10361" y="5157"/>
                    </a:lnTo>
                    <a:lnTo>
                      <a:pt x="10372" y="5155"/>
                    </a:lnTo>
                    <a:lnTo>
                      <a:pt x="10383" y="5155"/>
                    </a:lnTo>
                    <a:lnTo>
                      <a:pt x="10392" y="5153"/>
                    </a:lnTo>
                    <a:lnTo>
                      <a:pt x="10402" y="5150"/>
                    </a:lnTo>
                    <a:lnTo>
                      <a:pt x="10412" y="5149"/>
                    </a:lnTo>
                    <a:lnTo>
                      <a:pt x="10424" y="5144"/>
                    </a:lnTo>
                    <a:lnTo>
                      <a:pt x="10437" y="5138"/>
                    </a:lnTo>
                    <a:lnTo>
                      <a:pt x="10435" y="5142"/>
                    </a:lnTo>
                    <a:lnTo>
                      <a:pt x="10435" y="5145"/>
                    </a:lnTo>
                    <a:lnTo>
                      <a:pt x="10431" y="5150"/>
                    </a:lnTo>
                    <a:lnTo>
                      <a:pt x="10427" y="5157"/>
                    </a:lnTo>
                    <a:lnTo>
                      <a:pt x="10422" y="5164"/>
                    </a:lnTo>
                    <a:lnTo>
                      <a:pt x="10414" y="5170"/>
                    </a:lnTo>
                    <a:lnTo>
                      <a:pt x="10407" y="5175"/>
                    </a:lnTo>
                    <a:lnTo>
                      <a:pt x="10398" y="5180"/>
                    </a:lnTo>
                    <a:lnTo>
                      <a:pt x="10389" y="5186"/>
                    </a:lnTo>
                    <a:lnTo>
                      <a:pt x="10378" y="5190"/>
                    </a:lnTo>
                    <a:lnTo>
                      <a:pt x="10368" y="5195"/>
                    </a:lnTo>
                    <a:lnTo>
                      <a:pt x="10359" y="5199"/>
                    </a:lnTo>
                    <a:lnTo>
                      <a:pt x="10352" y="5200"/>
                    </a:lnTo>
                    <a:lnTo>
                      <a:pt x="10353" y="5201"/>
                    </a:lnTo>
                    <a:lnTo>
                      <a:pt x="10358" y="5201"/>
                    </a:lnTo>
                    <a:lnTo>
                      <a:pt x="10361" y="5203"/>
                    </a:lnTo>
                    <a:lnTo>
                      <a:pt x="10363" y="5205"/>
                    </a:lnTo>
                    <a:lnTo>
                      <a:pt x="10366" y="5208"/>
                    </a:lnTo>
                    <a:lnTo>
                      <a:pt x="10361" y="5208"/>
                    </a:lnTo>
                    <a:lnTo>
                      <a:pt x="10358" y="5210"/>
                    </a:lnTo>
                    <a:lnTo>
                      <a:pt x="10353" y="5214"/>
                    </a:lnTo>
                    <a:lnTo>
                      <a:pt x="10350" y="5218"/>
                    </a:lnTo>
                    <a:lnTo>
                      <a:pt x="10346" y="5223"/>
                    </a:lnTo>
                    <a:lnTo>
                      <a:pt x="10343" y="5229"/>
                    </a:lnTo>
                    <a:lnTo>
                      <a:pt x="10338" y="5236"/>
                    </a:lnTo>
                    <a:lnTo>
                      <a:pt x="10333" y="5241"/>
                    </a:lnTo>
                    <a:lnTo>
                      <a:pt x="10337" y="5241"/>
                    </a:lnTo>
                    <a:lnTo>
                      <a:pt x="10350" y="5241"/>
                    </a:lnTo>
                    <a:lnTo>
                      <a:pt x="10351" y="5241"/>
                    </a:lnTo>
                    <a:lnTo>
                      <a:pt x="10355" y="5241"/>
                    </a:lnTo>
                    <a:lnTo>
                      <a:pt x="10358" y="5241"/>
                    </a:lnTo>
                    <a:lnTo>
                      <a:pt x="10361" y="5241"/>
                    </a:lnTo>
                    <a:lnTo>
                      <a:pt x="10365" y="5241"/>
                    </a:lnTo>
                    <a:lnTo>
                      <a:pt x="10366" y="5241"/>
                    </a:lnTo>
                    <a:lnTo>
                      <a:pt x="10370" y="5241"/>
                    </a:lnTo>
                    <a:lnTo>
                      <a:pt x="10372" y="5241"/>
                    </a:lnTo>
                    <a:lnTo>
                      <a:pt x="10376" y="5241"/>
                    </a:lnTo>
                    <a:lnTo>
                      <a:pt x="10379" y="5241"/>
                    </a:lnTo>
                    <a:lnTo>
                      <a:pt x="10381" y="5241"/>
                    </a:lnTo>
                    <a:lnTo>
                      <a:pt x="10383" y="5241"/>
                    </a:lnTo>
                    <a:lnTo>
                      <a:pt x="10385" y="5241"/>
                    </a:lnTo>
                    <a:lnTo>
                      <a:pt x="10385" y="5244"/>
                    </a:lnTo>
                    <a:lnTo>
                      <a:pt x="10385" y="5245"/>
                    </a:lnTo>
                    <a:lnTo>
                      <a:pt x="10385" y="5247"/>
                    </a:lnTo>
                    <a:lnTo>
                      <a:pt x="10385" y="5251"/>
                    </a:lnTo>
                    <a:lnTo>
                      <a:pt x="10385" y="5254"/>
                    </a:lnTo>
                    <a:lnTo>
                      <a:pt x="10385" y="5256"/>
                    </a:lnTo>
                    <a:lnTo>
                      <a:pt x="10385" y="5259"/>
                    </a:lnTo>
                    <a:lnTo>
                      <a:pt x="10387" y="5256"/>
                    </a:lnTo>
                    <a:lnTo>
                      <a:pt x="10391" y="5254"/>
                    </a:lnTo>
                    <a:lnTo>
                      <a:pt x="10394" y="5251"/>
                    </a:lnTo>
                    <a:lnTo>
                      <a:pt x="10399" y="5247"/>
                    </a:lnTo>
                    <a:lnTo>
                      <a:pt x="10406" y="5245"/>
                    </a:lnTo>
                    <a:lnTo>
                      <a:pt x="10412" y="5244"/>
                    </a:lnTo>
                    <a:lnTo>
                      <a:pt x="10419" y="5241"/>
                    </a:lnTo>
                    <a:lnTo>
                      <a:pt x="10419" y="5244"/>
                    </a:lnTo>
                    <a:lnTo>
                      <a:pt x="10419" y="5245"/>
                    </a:lnTo>
                    <a:lnTo>
                      <a:pt x="10419" y="5249"/>
                    </a:lnTo>
                    <a:lnTo>
                      <a:pt x="10419" y="5252"/>
                    </a:lnTo>
                    <a:lnTo>
                      <a:pt x="10419" y="5259"/>
                    </a:lnTo>
                    <a:lnTo>
                      <a:pt x="10419" y="5264"/>
                    </a:lnTo>
                    <a:lnTo>
                      <a:pt x="10419" y="5277"/>
                    </a:lnTo>
                    <a:lnTo>
                      <a:pt x="10424" y="5271"/>
                    </a:lnTo>
                    <a:lnTo>
                      <a:pt x="10429" y="5264"/>
                    </a:lnTo>
                    <a:lnTo>
                      <a:pt x="10433" y="5259"/>
                    </a:lnTo>
                    <a:lnTo>
                      <a:pt x="10435" y="5251"/>
                    </a:lnTo>
                    <a:lnTo>
                      <a:pt x="10439" y="5245"/>
                    </a:lnTo>
                    <a:lnTo>
                      <a:pt x="10442" y="5238"/>
                    </a:lnTo>
                    <a:lnTo>
                      <a:pt x="10448" y="5232"/>
                    </a:lnTo>
                    <a:lnTo>
                      <a:pt x="10453" y="5224"/>
                    </a:lnTo>
                    <a:lnTo>
                      <a:pt x="10452" y="5232"/>
                    </a:lnTo>
                    <a:lnTo>
                      <a:pt x="10452" y="5238"/>
                    </a:lnTo>
                    <a:lnTo>
                      <a:pt x="10448" y="5245"/>
                    </a:lnTo>
                    <a:lnTo>
                      <a:pt x="10444" y="5251"/>
                    </a:lnTo>
                    <a:lnTo>
                      <a:pt x="10440" y="5259"/>
                    </a:lnTo>
                    <a:lnTo>
                      <a:pt x="10435" y="5264"/>
                    </a:lnTo>
                    <a:lnTo>
                      <a:pt x="10425" y="5277"/>
                    </a:lnTo>
                    <a:lnTo>
                      <a:pt x="10412" y="5290"/>
                    </a:lnTo>
                    <a:lnTo>
                      <a:pt x="10402" y="5302"/>
                    </a:lnTo>
                    <a:lnTo>
                      <a:pt x="10396" y="5310"/>
                    </a:lnTo>
                    <a:lnTo>
                      <a:pt x="10392" y="5315"/>
                    </a:lnTo>
                    <a:lnTo>
                      <a:pt x="10387" y="5323"/>
                    </a:lnTo>
                    <a:lnTo>
                      <a:pt x="10385" y="5328"/>
                    </a:lnTo>
                    <a:lnTo>
                      <a:pt x="10391" y="5323"/>
                    </a:lnTo>
                    <a:lnTo>
                      <a:pt x="10396" y="5319"/>
                    </a:lnTo>
                    <a:lnTo>
                      <a:pt x="10402" y="5315"/>
                    </a:lnTo>
                    <a:lnTo>
                      <a:pt x="10407" y="5313"/>
                    </a:lnTo>
                    <a:lnTo>
                      <a:pt x="10412" y="5312"/>
                    </a:lnTo>
                    <a:lnTo>
                      <a:pt x="10414" y="5312"/>
                    </a:lnTo>
                    <a:lnTo>
                      <a:pt x="10419" y="5312"/>
                    </a:lnTo>
                    <a:lnTo>
                      <a:pt x="10419" y="5306"/>
                    </a:lnTo>
                    <a:lnTo>
                      <a:pt x="10419" y="5300"/>
                    </a:lnTo>
                    <a:lnTo>
                      <a:pt x="10419" y="5298"/>
                    </a:lnTo>
                    <a:lnTo>
                      <a:pt x="10419" y="5297"/>
                    </a:lnTo>
                    <a:lnTo>
                      <a:pt x="10419" y="5295"/>
                    </a:lnTo>
                    <a:lnTo>
                      <a:pt x="10422" y="5292"/>
                    </a:lnTo>
                    <a:lnTo>
                      <a:pt x="10425" y="5290"/>
                    </a:lnTo>
                    <a:lnTo>
                      <a:pt x="10431" y="5287"/>
                    </a:lnTo>
                    <a:lnTo>
                      <a:pt x="10437" y="5285"/>
                    </a:lnTo>
                    <a:lnTo>
                      <a:pt x="10448" y="5284"/>
                    </a:lnTo>
                    <a:lnTo>
                      <a:pt x="10459" y="5284"/>
                    </a:lnTo>
                    <a:lnTo>
                      <a:pt x="10470" y="5280"/>
                    </a:lnTo>
                    <a:lnTo>
                      <a:pt x="10475" y="5280"/>
                    </a:lnTo>
                    <a:lnTo>
                      <a:pt x="10479" y="5277"/>
                    </a:lnTo>
                    <a:lnTo>
                      <a:pt x="10483" y="5275"/>
                    </a:lnTo>
                    <a:lnTo>
                      <a:pt x="10485" y="5271"/>
                    </a:lnTo>
                    <a:lnTo>
                      <a:pt x="10486" y="5265"/>
                    </a:lnTo>
                    <a:lnTo>
                      <a:pt x="10488" y="5267"/>
                    </a:lnTo>
                    <a:lnTo>
                      <a:pt x="10488" y="5269"/>
                    </a:lnTo>
                    <a:lnTo>
                      <a:pt x="10490" y="5271"/>
                    </a:lnTo>
                    <a:lnTo>
                      <a:pt x="10492" y="5271"/>
                    </a:lnTo>
                    <a:lnTo>
                      <a:pt x="10496" y="5271"/>
                    </a:lnTo>
                    <a:lnTo>
                      <a:pt x="10499" y="5269"/>
                    </a:lnTo>
                    <a:lnTo>
                      <a:pt x="10503" y="5265"/>
                    </a:lnTo>
                    <a:lnTo>
                      <a:pt x="10506" y="5262"/>
                    </a:lnTo>
                    <a:lnTo>
                      <a:pt x="10511" y="5259"/>
                    </a:lnTo>
                    <a:lnTo>
                      <a:pt x="10514" y="5252"/>
                    </a:lnTo>
                    <a:lnTo>
                      <a:pt x="10524" y="5241"/>
                    </a:lnTo>
                    <a:lnTo>
                      <a:pt x="10527" y="5238"/>
                    </a:lnTo>
                    <a:lnTo>
                      <a:pt x="10531" y="5232"/>
                    </a:lnTo>
                    <a:lnTo>
                      <a:pt x="10534" y="5229"/>
                    </a:lnTo>
                    <a:lnTo>
                      <a:pt x="10538" y="5224"/>
                    </a:lnTo>
                    <a:lnTo>
                      <a:pt x="10542" y="5229"/>
                    </a:lnTo>
                    <a:lnTo>
                      <a:pt x="10544" y="5232"/>
                    </a:lnTo>
                    <a:lnTo>
                      <a:pt x="10546" y="5234"/>
                    </a:lnTo>
                    <a:lnTo>
                      <a:pt x="10546" y="5238"/>
                    </a:lnTo>
                    <a:lnTo>
                      <a:pt x="10546" y="5241"/>
                    </a:lnTo>
                    <a:lnTo>
                      <a:pt x="10546" y="5245"/>
                    </a:lnTo>
                    <a:lnTo>
                      <a:pt x="10546" y="5251"/>
                    </a:lnTo>
                    <a:lnTo>
                      <a:pt x="10544" y="5259"/>
                    </a:lnTo>
                    <a:lnTo>
                      <a:pt x="10542" y="5264"/>
                    </a:lnTo>
                    <a:lnTo>
                      <a:pt x="10540" y="5271"/>
                    </a:lnTo>
                    <a:lnTo>
                      <a:pt x="10538" y="5277"/>
                    </a:lnTo>
                    <a:lnTo>
                      <a:pt x="10540" y="5277"/>
                    </a:lnTo>
                    <a:lnTo>
                      <a:pt x="10542" y="5275"/>
                    </a:lnTo>
                    <a:lnTo>
                      <a:pt x="10544" y="5271"/>
                    </a:lnTo>
                    <a:lnTo>
                      <a:pt x="10547" y="5267"/>
                    </a:lnTo>
                    <a:lnTo>
                      <a:pt x="10551" y="5265"/>
                    </a:lnTo>
                    <a:lnTo>
                      <a:pt x="10552" y="5262"/>
                    </a:lnTo>
                    <a:lnTo>
                      <a:pt x="10555" y="5260"/>
                    </a:lnTo>
                    <a:lnTo>
                      <a:pt x="10557" y="5260"/>
                    </a:lnTo>
                    <a:lnTo>
                      <a:pt x="10560" y="5256"/>
                    </a:lnTo>
                    <a:lnTo>
                      <a:pt x="10562" y="5254"/>
                    </a:lnTo>
                    <a:lnTo>
                      <a:pt x="10566" y="5252"/>
                    </a:lnTo>
                    <a:lnTo>
                      <a:pt x="10570" y="5252"/>
                    </a:lnTo>
                    <a:lnTo>
                      <a:pt x="10575" y="5251"/>
                    </a:lnTo>
                    <a:lnTo>
                      <a:pt x="10582" y="5251"/>
                    </a:lnTo>
                    <a:lnTo>
                      <a:pt x="10588" y="5251"/>
                    </a:lnTo>
                    <a:lnTo>
                      <a:pt x="10595" y="5249"/>
                    </a:lnTo>
                    <a:lnTo>
                      <a:pt x="10597" y="5249"/>
                    </a:lnTo>
                    <a:lnTo>
                      <a:pt x="10601" y="5247"/>
                    </a:lnTo>
                    <a:lnTo>
                      <a:pt x="10605" y="5245"/>
                    </a:lnTo>
                    <a:lnTo>
                      <a:pt x="10608" y="5241"/>
                    </a:lnTo>
                    <a:lnTo>
                      <a:pt x="10612" y="5239"/>
                    </a:lnTo>
                    <a:lnTo>
                      <a:pt x="10616" y="5238"/>
                    </a:lnTo>
                    <a:lnTo>
                      <a:pt x="10620" y="5239"/>
                    </a:lnTo>
                    <a:lnTo>
                      <a:pt x="10623" y="5239"/>
                    </a:lnTo>
                    <a:lnTo>
                      <a:pt x="10628" y="5244"/>
                    </a:lnTo>
                    <a:lnTo>
                      <a:pt x="10633" y="5245"/>
                    </a:lnTo>
                    <a:lnTo>
                      <a:pt x="10638" y="5249"/>
                    </a:lnTo>
                    <a:lnTo>
                      <a:pt x="10641" y="5252"/>
                    </a:lnTo>
                    <a:lnTo>
                      <a:pt x="10653" y="5262"/>
                    </a:lnTo>
                    <a:lnTo>
                      <a:pt x="10656" y="5265"/>
                    </a:lnTo>
                    <a:lnTo>
                      <a:pt x="10662" y="5269"/>
                    </a:lnTo>
                    <a:lnTo>
                      <a:pt x="10666" y="5271"/>
                    </a:lnTo>
                    <a:lnTo>
                      <a:pt x="10669" y="5275"/>
                    </a:lnTo>
                    <a:lnTo>
                      <a:pt x="10673" y="5277"/>
                    </a:lnTo>
                    <a:lnTo>
                      <a:pt x="10677" y="5277"/>
                    </a:lnTo>
                    <a:lnTo>
                      <a:pt x="10664" y="5290"/>
                    </a:lnTo>
                    <a:lnTo>
                      <a:pt x="10649" y="5305"/>
                    </a:lnTo>
                    <a:lnTo>
                      <a:pt x="10633" y="5319"/>
                    </a:lnTo>
                    <a:lnTo>
                      <a:pt x="10616" y="5334"/>
                    </a:lnTo>
                    <a:lnTo>
                      <a:pt x="10608" y="5339"/>
                    </a:lnTo>
                    <a:lnTo>
                      <a:pt x="10601" y="5345"/>
                    </a:lnTo>
                    <a:lnTo>
                      <a:pt x="10592" y="5351"/>
                    </a:lnTo>
                    <a:lnTo>
                      <a:pt x="10585" y="5354"/>
                    </a:lnTo>
                    <a:lnTo>
                      <a:pt x="10577" y="5358"/>
                    </a:lnTo>
                    <a:lnTo>
                      <a:pt x="10570" y="5361"/>
                    </a:lnTo>
                    <a:lnTo>
                      <a:pt x="10562" y="5364"/>
                    </a:lnTo>
                    <a:lnTo>
                      <a:pt x="10564" y="5364"/>
                    </a:lnTo>
                    <a:lnTo>
                      <a:pt x="10567" y="5364"/>
                    </a:lnTo>
                    <a:lnTo>
                      <a:pt x="10572" y="5364"/>
                    </a:lnTo>
                    <a:lnTo>
                      <a:pt x="10573" y="5364"/>
                    </a:lnTo>
                    <a:lnTo>
                      <a:pt x="10579" y="5364"/>
                    </a:lnTo>
                    <a:lnTo>
                      <a:pt x="10582" y="5364"/>
                    </a:lnTo>
                    <a:lnTo>
                      <a:pt x="10587" y="5364"/>
                    </a:lnTo>
                    <a:lnTo>
                      <a:pt x="10588" y="5364"/>
                    </a:lnTo>
                    <a:lnTo>
                      <a:pt x="10590" y="5364"/>
                    </a:lnTo>
                    <a:lnTo>
                      <a:pt x="10590" y="5366"/>
                    </a:lnTo>
                    <a:lnTo>
                      <a:pt x="10590" y="5369"/>
                    </a:lnTo>
                    <a:lnTo>
                      <a:pt x="10588" y="5372"/>
                    </a:lnTo>
                    <a:lnTo>
                      <a:pt x="10587" y="5374"/>
                    </a:lnTo>
                    <a:lnTo>
                      <a:pt x="10582" y="5378"/>
                    </a:lnTo>
                    <a:lnTo>
                      <a:pt x="10579" y="5380"/>
                    </a:lnTo>
                    <a:lnTo>
                      <a:pt x="10573" y="5380"/>
                    </a:lnTo>
                    <a:lnTo>
                      <a:pt x="10573" y="5382"/>
                    </a:lnTo>
                    <a:lnTo>
                      <a:pt x="10573" y="5386"/>
                    </a:lnTo>
                    <a:lnTo>
                      <a:pt x="10573" y="5387"/>
                    </a:lnTo>
                    <a:lnTo>
                      <a:pt x="10573" y="5392"/>
                    </a:lnTo>
                    <a:lnTo>
                      <a:pt x="10573" y="5399"/>
                    </a:lnTo>
                    <a:lnTo>
                      <a:pt x="10577" y="5400"/>
                    </a:lnTo>
                    <a:lnTo>
                      <a:pt x="10579" y="5402"/>
                    </a:lnTo>
                    <a:lnTo>
                      <a:pt x="10580" y="5402"/>
                    </a:lnTo>
                    <a:lnTo>
                      <a:pt x="10582" y="5404"/>
                    </a:lnTo>
                    <a:lnTo>
                      <a:pt x="10582" y="5405"/>
                    </a:lnTo>
                    <a:lnTo>
                      <a:pt x="10582" y="5407"/>
                    </a:lnTo>
                    <a:lnTo>
                      <a:pt x="10582" y="5412"/>
                    </a:lnTo>
                    <a:lnTo>
                      <a:pt x="10580" y="5415"/>
                    </a:lnTo>
                    <a:lnTo>
                      <a:pt x="10577" y="5417"/>
                    </a:lnTo>
                    <a:lnTo>
                      <a:pt x="10575" y="5418"/>
                    </a:lnTo>
                    <a:lnTo>
                      <a:pt x="10575" y="5419"/>
                    </a:lnTo>
                    <a:lnTo>
                      <a:pt x="10577" y="5420"/>
                    </a:lnTo>
                    <a:lnTo>
                      <a:pt x="10577" y="5422"/>
                    </a:lnTo>
                    <a:lnTo>
                      <a:pt x="10575" y="5426"/>
                    </a:lnTo>
                    <a:lnTo>
                      <a:pt x="10573" y="5433"/>
                    </a:lnTo>
                    <a:lnTo>
                      <a:pt x="10575" y="5432"/>
                    </a:lnTo>
                    <a:lnTo>
                      <a:pt x="10579" y="5432"/>
                    </a:lnTo>
                    <a:lnTo>
                      <a:pt x="10582" y="5430"/>
                    </a:lnTo>
                    <a:lnTo>
                      <a:pt x="10585" y="5428"/>
                    </a:lnTo>
                    <a:lnTo>
                      <a:pt x="10588" y="5427"/>
                    </a:lnTo>
                    <a:lnTo>
                      <a:pt x="10587" y="5425"/>
                    </a:lnTo>
                    <a:lnTo>
                      <a:pt x="10588" y="5420"/>
                    </a:lnTo>
                    <a:lnTo>
                      <a:pt x="10590" y="5415"/>
                    </a:lnTo>
                    <a:lnTo>
                      <a:pt x="10590" y="5420"/>
                    </a:lnTo>
                    <a:lnTo>
                      <a:pt x="10588" y="5426"/>
                    </a:lnTo>
                    <a:lnTo>
                      <a:pt x="10588" y="5427"/>
                    </a:lnTo>
                    <a:lnTo>
                      <a:pt x="10588" y="5428"/>
                    </a:lnTo>
                    <a:lnTo>
                      <a:pt x="10588" y="5430"/>
                    </a:lnTo>
                    <a:lnTo>
                      <a:pt x="10592" y="5430"/>
                    </a:lnTo>
                    <a:lnTo>
                      <a:pt x="10595" y="5430"/>
                    </a:lnTo>
                    <a:lnTo>
                      <a:pt x="10599" y="5430"/>
                    </a:lnTo>
                    <a:lnTo>
                      <a:pt x="10603" y="5428"/>
                    </a:lnTo>
                    <a:lnTo>
                      <a:pt x="10613" y="5425"/>
                    </a:lnTo>
                    <a:lnTo>
                      <a:pt x="10625" y="5420"/>
                    </a:lnTo>
                    <a:lnTo>
                      <a:pt x="10628" y="5419"/>
                    </a:lnTo>
                    <a:lnTo>
                      <a:pt x="10634" y="5417"/>
                    </a:lnTo>
                    <a:lnTo>
                      <a:pt x="10638" y="5415"/>
                    </a:lnTo>
                    <a:lnTo>
                      <a:pt x="10641" y="5415"/>
                    </a:lnTo>
                    <a:lnTo>
                      <a:pt x="10646" y="5412"/>
                    </a:lnTo>
                    <a:lnTo>
                      <a:pt x="10647" y="5410"/>
                    </a:lnTo>
                    <a:lnTo>
                      <a:pt x="10649" y="5407"/>
                    </a:lnTo>
                    <a:lnTo>
                      <a:pt x="10649" y="5405"/>
                    </a:lnTo>
                    <a:lnTo>
                      <a:pt x="10651" y="5404"/>
                    </a:lnTo>
                    <a:lnTo>
                      <a:pt x="10653" y="5405"/>
                    </a:lnTo>
                    <a:lnTo>
                      <a:pt x="10653" y="5407"/>
                    </a:lnTo>
                    <a:lnTo>
                      <a:pt x="10654" y="5410"/>
                    </a:lnTo>
                    <a:lnTo>
                      <a:pt x="10656" y="5412"/>
                    </a:lnTo>
                    <a:lnTo>
                      <a:pt x="10659" y="5415"/>
                    </a:lnTo>
                    <a:lnTo>
                      <a:pt x="10662" y="5415"/>
                    </a:lnTo>
                    <a:lnTo>
                      <a:pt x="10666" y="5415"/>
                    </a:lnTo>
                    <a:lnTo>
                      <a:pt x="10667" y="5413"/>
                    </a:lnTo>
                    <a:lnTo>
                      <a:pt x="10671" y="5412"/>
                    </a:lnTo>
                    <a:lnTo>
                      <a:pt x="10674" y="5407"/>
                    </a:lnTo>
                    <a:lnTo>
                      <a:pt x="10677" y="5404"/>
                    </a:lnTo>
                    <a:lnTo>
                      <a:pt x="10677" y="5399"/>
                    </a:lnTo>
                    <a:lnTo>
                      <a:pt x="10677" y="5397"/>
                    </a:lnTo>
                    <a:lnTo>
                      <a:pt x="10679" y="5395"/>
                    </a:lnTo>
                    <a:lnTo>
                      <a:pt x="10682" y="5392"/>
                    </a:lnTo>
                    <a:lnTo>
                      <a:pt x="10686" y="5391"/>
                    </a:lnTo>
                    <a:lnTo>
                      <a:pt x="10687" y="5391"/>
                    </a:lnTo>
                    <a:lnTo>
                      <a:pt x="10689" y="5391"/>
                    </a:lnTo>
                    <a:lnTo>
                      <a:pt x="10692" y="5391"/>
                    </a:lnTo>
                    <a:lnTo>
                      <a:pt x="10694" y="5392"/>
                    </a:lnTo>
                    <a:lnTo>
                      <a:pt x="10694" y="5395"/>
                    </a:lnTo>
                    <a:lnTo>
                      <a:pt x="10694" y="5399"/>
                    </a:lnTo>
                    <a:lnTo>
                      <a:pt x="10697" y="5402"/>
                    </a:lnTo>
                    <a:lnTo>
                      <a:pt x="10699" y="5404"/>
                    </a:lnTo>
                    <a:close/>
                    <a:moveTo>
                      <a:pt x="10175" y="5565"/>
                    </a:moveTo>
                    <a:lnTo>
                      <a:pt x="10174" y="5567"/>
                    </a:lnTo>
                    <a:lnTo>
                      <a:pt x="10175" y="5567"/>
                    </a:lnTo>
                    <a:lnTo>
                      <a:pt x="10175" y="5565"/>
                    </a:lnTo>
                    <a:close/>
                    <a:moveTo>
                      <a:pt x="10625" y="5380"/>
                    </a:moveTo>
                    <a:lnTo>
                      <a:pt x="10620" y="5386"/>
                    </a:lnTo>
                    <a:lnTo>
                      <a:pt x="10621" y="5384"/>
                    </a:lnTo>
                    <a:lnTo>
                      <a:pt x="10625" y="5380"/>
                    </a:lnTo>
                    <a:close/>
                    <a:moveTo>
                      <a:pt x="10593" y="5397"/>
                    </a:moveTo>
                    <a:lnTo>
                      <a:pt x="10599" y="5397"/>
                    </a:lnTo>
                    <a:lnTo>
                      <a:pt x="10606" y="5392"/>
                    </a:lnTo>
                    <a:lnTo>
                      <a:pt x="10612" y="5391"/>
                    </a:lnTo>
                    <a:lnTo>
                      <a:pt x="10620" y="5386"/>
                    </a:lnTo>
                    <a:lnTo>
                      <a:pt x="10616" y="5387"/>
                    </a:lnTo>
                    <a:lnTo>
                      <a:pt x="10612" y="5387"/>
                    </a:lnTo>
                    <a:lnTo>
                      <a:pt x="10610" y="5387"/>
                    </a:lnTo>
                    <a:lnTo>
                      <a:pt x="10606" y="5387"/>
                    </a:lnTo>
                    <a:lnTo>
                      <a:pt x="10601" y="5387"/>
                    </a:lnTo>
                    <a:lnTo>
                      <a:pt x="10597" y="5386"/>
                    </a:lnTo>
                    <a:lnTo>
                      <a:pt x="10593" y="5384"/>
                    </a:lnTo>
                    <a:lnTo>
                      <a:pt x="10592" y="5382"/>
                    </a:lnTo>
                    <a:lnTo>
                      <a:pt x="10590" y="5380"/>
                    </a:lnTo>
                    <a:lnTo>
                      <a:pt x="10590" y="5382"/>
                    </a:lnTo>
                    <a:lnTo>
                      <a:pt x="10590" y="5384"/>
                    </a:lnTo>
                    <a:lnTo>
                      <a:pt x="10590" y="5386"/>
                    </a:lnTo>
                    <a:lnTo>
                      <a:pt x="10588" y="5389"/>
                    </a:lnTo>
                    <a:lnTo>
                      <a:pt x="10587" y="5392"/>
                    </a:lnTo>
                    <a:lnTo>
                      <a:pt x="10582" y="5395"/>
                    </a:lnTo>
                    <a:lnTo>
                      <a:pt x="10579" y="5397"/>
                    </a:lnTo>
                    <a:lnTo>
                      <a:pt x="10573" y="5399"/>
                    </a:lnTo>
                    <a:lnTo>
                      <a:pt x="10587" y="5399"/>
                    </a:lnTo>
                    <a:lnTo>
                      <a:pt x="10593" y="5397"/>
                    </a:lnTo>
                    <a:close/>
                    <a:moveTo>
                      <a:pt x="10473" y="5009"/>
                    </a:moveTo>
                    <a:lnTo>
                      <a:pt x="10473" y="5009"/>
                    </a:lnTo>
                    <a:lnTo>
                      <a:pt x="10470" y="5012"/>
                    </a:lnTo>
                    <a:lnTo>
                      <a:pt x="10472" y="5010"/>
                    </a:lnTo>
                    <a:lnTo>
                      <a:pt x="10473" y="5009"/>
                    </a:lnTo>
                    <a:lnTo>
                      <a:pt x="10473" y="5009"/>
                    </a:lnTo>
                    <a:lnTo>
                      <a:pt x="10473" y="5009"/>
                    </a:lnTo>
                    <a:close/>
                    <a:moveTo>
                      <a:pt x="10473" y="5009"/>
                    </a:moveTo>
                    <a:lnTo>
                      <a:pt x="10473" y="5009"/>
                    </a:lnTo>
                    <a:lnTo>
                      <a:pt x="10473" y="5009"/>
                    </a:lnTo>
                    <a:lnTo>
                      <a:pt x="10477" y="5007"/>
                    </a:lnTo>
                    <a:lnTo>
                      <a:pt x="10479" y="5004"/>
                    </a:lnTo>
                    <a:lnTo>
                      <a:pt x="10475" y="5007"/>
                    </a:lnTo>
                    <a:lnTo>
                      <a:pt x="10473" y="5009"/>
                    </a:lnTo>
                    <a:close/>
                    <a:moveTo>
                      <a:pt x="10485" y="4997"/>
                    </a:moveTo>
                    <a:lnTo>
                      <a:pt x="10483" y="5000"/>
                    </a:lnTo>
                    <a:lnTo>
                      <a:pt x="10479" y="5004"/>
                    </a:lnTo>
                    <a:lnTo>
                      <a:pt x="10486" y="4997"/>
                    </a:lnTo>
                    <a:lnTo>
                      <a:pt x="10485" y="4997"/>
                    </a:lnTo>
                    <a:close/>
                    <a:moveTo>
                      <a:pt x="10494" y="5232"/>
                    </a:moveTo>
                    <a:lnTo>
                      <a:pt x="10498" y="5234"/>
                    </a:lnTo>
                    <a:lnTo>
                      <a:pt x="10501" y="5236"/>
                    </a:lnTo>
                    <a:lnTo>
                      <a:pt x="10506" y="5238"/>
                    </a:lnTo>
                    <a:lnTo>
                      <a:pt x="10513" y="5236"/>
                    </a:lnTo>
                    <a:lnTo>
                      <a:pt x="10516" y="5234"/>
                    </a:lnTo>
                    <a:lnTo>
                      <a:pt x="10521" y="5232"/>
                    </a:lnTo>
                    <a:lnTo>
                      <a:pt x="10527" y="5231"/>
                    </a:lnTo>
                    <a:lnTo>
                      <a:pt x="10531" y="5226"/>
                    </a:lnTo>
                    <a:lnTo>
                      <a:pt x="10542" y="5219"/>
                    </a:lnTo>
                    <a:lnTo>
                      <a:pt x="10549" y="5211"/>
                    </a:lnTo>
                    <a:lnTo>
                      <a:pt x="10559" y="5205"/>
                    </a:lnTo>
                    <a:lnTo>
                      <a:pt x="10555" y="5206"/>
                    </a:lnTo>
                    <a:lnTo>
                      <a:pt x="10549" y="5208"/>
                    </a:lnTo>
                    <a:lnTo>
                      <a:pt x="10546" y="5210"/>
                    </a:lnTo>
                    <a:lnTo>
                      <a:pt x="10542" y="5211"/>
                    </a:lnTo>
                    <a:lnTo>
                      <a:pt x="10531" y="5211"/>
                    </a:lnTo>
                    <a:lnTo>
                      <a:pt x="10521" y="5211"/>
                    </a:lnTo>
                    <a:lnTo>
                      <a:pt x="10513" y="5211"/>
                    </a:lnTo>
                    <a:lnTo>
                      <a:pt x="10501" y="5214"/>
                    </a:lnTo>
                    <a:lnTo>
                      <a:pt x="10498" y="5216"/>
                    </a:lnTo>
                    <a:lnTo>
                      <a:pt x="10494" y="5216"/>
                    </a:lnTo>
                    <a:lnTo>
                      <a:pt x="10488" y="5219"/>
                    </a:lnTo>
                    <a:lnTo>
                      <a:pt x="10486" y="5221"/>
                    </a:lnTo>
                    <a:lnTo>
                      <a:pt x="10488" y="5226"/>
                    </a:lnTo>
                    <a:lnTo>
                      <a:pt x="10494" y="5232"/>
                    </a:lnTo>
                    <a:close/>
                    <a:moveTo>
                      <a:pt x="10606" y="5198"/>
                    </a:moveTo>
                    <a:lnTo>
                      <a:pt x="10599" y="5199"/>
                    </a:lnTo>
                    <a:lnTo>
                      <a:pt x="10593" y="5203"/>
                    </a:lnTo>
                    <a:lnTo>
                      <a:pt x="10587" y="5206"/>
                    </a:lnTo>
                    <a:lnTo>
                      <a:pt x="10580" y="5211"/>
                    </a:lnTo>
                    <a:lnTo>
                      <a:pt x="10579" y="5214"/>
                    </a:lnTo>
                    <a:lnTo>
                      <a:pt x="10577" y="5218"/>
                    </a:lnTo>
                    <a:lnTo>
                      <a:pt x="10577" y="5219"/>
                    </a:lnTo>
                    <a:lnTo>
                      <a:pt x="10577" y="5223"/>
                    </a:lnTo>
                    <a:lnTo>
                      <a:pt x="10582" y="5221"/>
                    </a:lnTo>
                    <a:lnTo>
                      <a:pt x="10588" y="5219"/>
                    </a:lnTo>
                    <a:lnTo>
                      <a:pt x="10593" y="5218"/>
                    </a:lnTo>
                    <a:lnTo>
                      <a:pt x="10599" y="5216"/>
                    </a:lnTo>
                    <a:lnTo>
                      <a:pt x="10605" y="5211"/>
                    </a:lnTo>
                    <a:lnTo>
                      <a:pt x="10610" y="5210"/>
                    </a:lnTo>
                    <a:lnTo>
                      <a:pt x="10616" y="5208"/>
                    </a:lnTo>
                    <a:lnTo>
                      <a:pt x="10621" y="5208"/>
                    </a:lnTo>
                    <a:lnTo>
                      <a:pt x="10621" y="5206"/>
                    </a:lnTo>
                    <a:lnTo>
                      <a:pt x="10621" y="5205"/>
                    </a:lnTo>
                    <a:lnTo>
                      <a:pt x="10621" y="5203"/>
                    </a:lnTo>
                    <a:lnTo>
                      <a:pt x="10621" y="5199"/>
                    </a:lnTo>
                    <a:lnTo>
                      <a:pt x="10621" y="5195"/>
                    </a:lnTo>
                    <a:lnTo>
                      <a:pt x="10613" y="5195"/>
                    </a:lnTo>
                    <a:lnTo>
                      <a:pt x="10606" y="5198"/>
                    </a:lnTo>
                    <a:close/>
                    <a:moveTo>
                      <a:pt x="311" y="5218"/>
                    </a:moveTo>
                    <a:lnTo>
                      <a:pt x="316" y="5219"/>
                    </a:lnTo>
                    <a:lnTo>
                      <a:pt x="318" y="5219"/>
                    </a:lnTo>
                    <a:lnTo>
                      <a:pt x="321" y="5218"/>
                    </a:lnTo>
                    <a:lnTo>
                      <a:pt x="325" y="5216"/>
                    </a:lnTo>
                    <a:lnTo>
                      <a:pt x="326" y="5214"/>
                    </a:lnTo>
                    <a:lnTo>
                      <a:pt x="331" y="5210"/>
                    </a:lnTo>
                    <a:lnTo>
                      <a:pt x="332" y="5206"/>
                    </a:lnTo>
                    <a:lnTo>
                      <a:pt x="334" y="5203"/>
                    </a:lnTo>
                    <a:lnTo>
                      <a:pt x="338" y="5191"/>
                    </a:lnTo>
                    <a:lnTo>
                      <a:pt x="339" y="5185"/>
                    </a:lnTo>
                    <a:lnTo>
                      <a:pt x="339" y="5178"/>
                    </a:lnTo>
                    <a:lnTo>
                      <a:pt x="341" y="5177"/>
                    </a:lnTo>
                    <a:lnTo>
                      <a:pt x="338" y="5177"/>
                    </a:lnTo>
                    <a:lnTo>
                      <a:pt x="334" y="5177"/>
                    </a:lnTo>
                    <a:lnTo>
                      <a:pt x="329" y="5178"/>
                    </a:lnTo>
                    <a:lnTo>
                      <a:pt x="325" y="5180"/>
                    </a:lnTo>
                    <a:lnTo>
                      <a:pt x="318" y="5186"/>
                    </a:lnTo>
                    <a:lnTo>
                      <a:pt x="310" y="5191"/>
                    </a:lnTo>
                    <a:lnTo>
                      <a:pt x="306" y="5195"/>
                    </a:lnTo>
                    <a:lnTo>
                      <a:pt x="305" y="5198"/>
                    </a:lnTo>
                    <a:lnTo>
                      <a:pt x="301" y="5201"/>
                    </a:lnTo>
                    <a:lnTo>
                      <a:pt x="301" y="5203"/>
                    </a:lnTo>
                    <a:lnTo>
                      <a:pt x="301" y="5205"/>
                    </a:lnTo>
                    <a:lnTo>
                      <a:pt x="301" y="5206"/>
                    </a:lnTo>
                    <a:lnTo>
                      <a:pt x="303" y="5208"/>
                    </a:lnTo>
                    <a:lnTo>
                      <a:pt x="305" y="5208"/>
                    </a:lnTo>
                    <a:lnTo>
                      <a:pt x="306" y="5211"/>
                    </a:lnTo>
                    <a:lnTo>
                      <a:pt x="308" y="5214"/>
                    </a:lnTo>
                    <a:lnTo>
                      <a:pt x="311" y="5218"/>
                    </a:lnTo>
                    <a:close/>
                    <a:moveTo>
                      <a:pt x="359" y="5267"/>
                    </a:moveTo>
                    <a:lnTo>
                      <a:pt x="360" y="5264"/>
                    </a:lnTo>
                    <a:lnTo>
                      <a:pt x="360" y="5259"/>
                    </a:lnTo>
                    <a:lnTo>
                      <a:pt x="359" y="5259"/>
                    </a:lnTo>
                    <a:lnTo>
                      <a:pt x="356" y="5259"/>
                    </a:lnTo>
                    <a:lnTo>
                      <a:pt x="352" y="5259"/>
                    </a:lnTo>
                    <a:lnTo>
                      <a:pt x="351" y="5260"/>
                    </a:lnTo>
                    <a:lnTo>
                      <a:pt x="347" y="5262"/>
                    </a:lnTo>
                    <a:lnTo>
                      <a:pt x="344" y="5265"/>
                    </a:lnTo>
                    <a:lnTo>
                      <a:pt x="341" y="5269"/>
                    </a:lnTo>
                    <a:lnTo>
                      <a:pt x="341" y="5277"/>
                    </a:lnTo>
                    <a:lnTo>
                      <a:pt x="347" y="5277"/>
                    </a:lnTo>
                    <a:lnTo>
                      <a:pt x="351" y="5275"/>
                    </a:lnTo>
                    <a:lnTo>
                      <a:pt x="354" y="5275"/>
                    </a:lnTo>
                    <a:lnTo>
                      <a:pt x="356" y="5273"/>
                    </a:lnTo>
                    <a:lnTo>
                      <a:pt x="359" y="5271"/>
                    </a:lnTo>
                    <a:lnTo>
                      <a:pt x="359" y="5267"/>
                    </a:lnTo>
                    <a:close/>
                    <a:moveTo>
                      <a:pt x="418" y="4846"/>
                    </a:moveTo>
                    <a:lnTo>
                      <a:pt x="413" y="4849"/>
                    </a:lnTo>
                    <a:lnTo>
                      <a:pt x="408" y="4852"/>
                    </a:lnTo>
                    <a:lnTo>
                      <a:pt x="405" y="4856"/>
                    </a:lnTo>
                    <a:lnTo>
                      <a:pt x="398" y="4861"/>
                    </a:lnTo>
                    <a:lnTo>
                      <a:pt x="397" y="4865"/>
                    </a:lnTo>
                    <a:lnTo>
                      <a:pt x="393" y="4870"/>
                    </a:lnTo>
                    <a:lnTo>
                      <a:pt x="392" y="4876"/>
                    </a:lnTo>
                    <a:lnTo>
                      <a:pt x="390" y="4880"/>
                    </a:lnTo>
                    <a:lnTo>
                      <a:pt x="390" y="4885"/>
                    </a:lnTo>
                    <a:lnTo>
                      <a:pt x="387" y="4889"/>
                    </a:lnTo>
                    <a:lnTo>
                      <a:pt x="390" y="4892"/>
                    </a:lnTo>
                    <a:lnTo>
                      <a:pt x="392" y="4895"/>
                    </a:lnTo>
                    <a:lnTo>
                      <a:pt x="393" y="4896"/>
                    </a:lnTo>
                    <a:lnTo>
                      <a:pt x="395" y="4898"/>
                    </a:lnTo>
                    <a:lnTo>
                      <a:pt x="400" y="4890"/>
                    </a:lnTo>
                    <a:lnTo>
                      <a:pt x="406" y="4883"/>
                    </a:lnTo>
                    <a:lnTo>
                      <a:pt x="410" y="4877"/>
                    </a:lnTo>
                    <a:lnTo>
                      <a:pt x="413" y="4870"/>
                    </a:lnTo>
                    <a:lnTo>
                      <a:pt x="417" y="4862"/>
                    </a:lnTo>
                    <a:lnTo>
                      <a:pt x="421" y="4857"/>
                    </a:lnTo>
                    <a:lnTo>
                      <a:pt x="425" y="4850"/>
                    </a:lnTo>
                    <a:lnTo>
                      <a:pt x="432" y="4844"/>
                    </a:lnTo>
                    <a:lnTo>
                      <a:pt x="425" y="4844"/>
                    </a:lnTo>
                    <a:lnTo>
                      <a:pt x="418" y="4846"/>
                    </a:lnTo>
                    <a:close/>
                    <a:moveTo>
                      <a:pt x="410" y="5025"/>
                    </a:moveTo>
                    <a:lnTo>
                      <a:pt x="408" y="5025"/>
                    </a:lnTo>
                    <a:lnTo>
                      <a:pt x="406" y="5025"/>
                    </a:lnTo>
                    <a:lnTo>
                      <a:pt x="405" y="5025"/>
                    </a:lnTo>
                    <a:lnTo>
                      <a:pt x="400" y="5027"/>
                    </a:lnTo>
                    <a:lnTo>
                      <a:pt x="398" y="5029"/>
                    </a:lnTo>
                    <a:lnTo>
                      <a:pt x="397" y="5033"/>
                    </a:lnTo>
                    <a:lnTo>
                      <a:pt x="400" y="5033"/>
                    </a:lnTo>
                    <a:lnTo>
                      <a:pt x="406" y="5033"/>
                    </a:lnTo>
                    <a:lnTo>
                      <a:pt x="408" y="5033"/>
                    </a:lnTo>
                    <a:lnTo>
                      <a:pt x="410" y="5033"/>
                    </a:lnTo>
                    <a:lnTo>
                      <a:pt x="412" y="5033"/>
                    </a:lnTo>
                    <a:lnTo>
                      <a:pt x="413" y="5033"/>
                    </a:lnTo>
                    <a:lnTo>
                      <a:pt x="413" y="5031"/>
                    </a:lnTo>
                    <a:lnTo>
                      <a:pt x="412" y="5029"/>
                    </a:lnTo>
                    <a:lnTo>
                      <a:pt x="412" y="5027"/>
                    </a:lnTo>
                    <a:lnTo>
                      <a:pt x="410" y="5025"/>
                    </a:lnTo>
                    <a:close/>
                    <a:moveTo>
                      <a:pt x="432" y="4804"/>
                    </a:moveTo>
                    <a:lnTo>
                      <a:pt x="425" y="4811"/>
                    </a:lnTo>
                    <a:lnTo>
                      <a:pt x="418" y="4819"/>
                    </a:lnTo>
                    <a:lnTo>
                      <a:pt x="413" y="4826"/>
                    </a:lnTo>
                    <a:lnTo>
                      <a:pt x="418" y="4824"/>
                    </a:lnTo>
                    <a:lnTo>
                      <a:pt x="425" y="4824"/>
                    </a:lnTo>
                    <a:lnTo>
                      <a:pt x="428" y="4822"/>
                    </a:lnTo>
                    <a:lnTo>
                      <a:pt x="433" y="4821"/>
                    </a:lnTo>
                    <a:lnTo>
                      <a:pt x="443" y="4815"/>
                    </a:lnTo>
                    <a:lnTo>
                      <a:pt x="451" y="4809"/>
                    </a:lnTo>
                    <a:lnTo>
                      <a:pt x="458" y="4803"/>
                    </a:lnTo>
                    <a:lnTo>
                      <a:pt x="466" y="4795"/>
                    </a:lnTo>
                    <a:lnTo>
                      <a:pt x="471" y="4788"/>
                    </a:lnTo>
                    <a:lnTo>
                      <a:pt x="478" y="4782"/>
                    </a:lnTo>
                    <a:lnTo>
                      <a:pt x="471" y="4782"/>
                    </a:lnTo>
                    <a:lnTo>
                      <a:pt x="469" y="4782"/>
                    </a:lnTo>
                    <a:lnTo>
                      <a:pt x="466" y="4782"/>
                    </a:lnTo>
                    <a:lnTo>
                      <a:pt x="461" y="4783"/>
                    </a:lnTo>
                    <a:lnTo>
                      <a:pt x="456" y="4785"/>
                    </a:lnTo>
                    <a:lnTo>
                      <a:pt x="454" y="4786"/>
                    </a:lnTo>
                    <a:lnTo>
                      <a:pt x="456" y="4783"/>
                    </a:lnTo>
                    <a:lnTo>
                      <a:pt x="459" y="4782"/>
                    </a:lnTo>
                    <a:lnTo>
                      <a:pt x="461" y="4778"/>
                    </a:lnTo>
                    <a:lnTo>
                      <a:pt x="466" y="4773"/>
                    </a:lnTo>
                    <a:lnTo>
                      <a:pt x="467" y="4768"/>
                    </a:lnTo>
                    <a:lnTo>
                      <a:pt x="469" y="4763"/>
                    </a:lnTo>
                    <a:lnTo>
                      <a:pt x="466" y="4760"/>
                    </a:lnTo>
                    <a:lnTo>
                      <a:pt x="461" y="4758"/>
                    </a:lnTo>
                    <a:lnTo>
                      <a:pt x="459" y="4755"/>
                    </a:lnTo>
                    <a:lnTo>
                      <a:pt x="458" y="4754"/>
                    </a:lnTo>
                    <a:lnTo>
                      <a:pt x="456" y="4754"/>
                    </a:lnTo>
                    <a:lnTo>
                      <a:pt x="454" y="4755"/>
                    </a:lnTo>
                    <a:lnTo>
                      <a:pt x="453" y="4755"/>
                    </a:lnTo>
                    <a:lnTo>
                      <a:pt x="453" y="4758"/>
                    </a:lnTo>
                    <a:lnTo>
                      <a:pt x="451" y="4762"/>
                    </a:lnTo>
                    <a:lnTo>
                      <a:pt x="451" y="4767"/>
                    </a:lnTo>
                    <a:lnTo>
                      <a:pt x="453" y="4765"/>
                    </a:lnTo>
                    <a:lnTo>
                      <a:pt x="454" y="4763"/>
                    </a:lnTo>
                    <a:lnTo>
                      <a:pt x="458" y="4763"/>
                    </a:lnTo>
                    <a:lnTo>
                      <a:pt x="461" y="4763"/>
                    </a:lnTo>
                    <a:lnTo>
                      <a:pt x="454" y="4765"/>
                    </a:lnTo>
                    <a:lnTo>
                      <a:pt x="448" y="4768"/>
                    </a:lnTo>
                    <a:lnTo>
                      <a:pt x="445" y="4775"/>
                    </a:lnTo>
                    <a:lnTo>
                      <a:pt x="443" y="4776"/>
                    </a:lnTo>
                    <a:lnTo>
                      <a:pt x="443" y="4780"/>
                    </a:lnTo>
                    <a:lnTo>
                      <a:pt x="441" y="4782"/>
                    </a:lnTo>
                    <a:lnTo>
                      <a:pt x="441" y="4785"/>
                    </a:lnTo>
                    <a:lnTo>
                      <a:pt x="443" y="4789"/>
                    </a:lnTo>
                    <a:lnTo>
                      <a:pt x="445" y="4793"/>
                    </a:lnTo>
                    <a:lnTo>
                      <a:pt x="445" y="4793"/>
                    </a:lnTo>
                    <a:lnTo>
                      <a:pt x="439" y="4798"/>
                    </a:lnTo>
                    <a:lnTo>
                      <a:pt x="432" y="4804"/>
                    </a:lnTo>
                    <a:close/>
                    <a:moveTo>
                      <a:pt x="478" y="5050"/>
                    </a:moveTo>
                    <a:lnTo>
                      <a:pt x="482" y="5050"/>
                    </a:lnTo>
                    <a:lnTo>
                      <a:pt x="486" y="5048"/>
                    </a:lnTo>
                    <a:lnTo>
                      <a:pt x="489" y="5046"/>
                    </a:lnTo>
                    <a:lnTo>
                      <a:pt x="491" y="5042"/>
                    </a:lnTo>
                    <a:lnTo>
                      <a:pt x="492" y="5038"/>
                    </a:lnTo>
                    <a:lnTo>
                      <a:pt x="494" y="5033"/>
                    </a:lnTo>
                    <a:lnTo>
                      <a:pt x="489" y="5033"/>
                    </a:lnTo>
                    <a:lnTo>
                      <a:pt x="486" y="5035"/>
                    </a:lnTo>
                    <a:lnTo>
                      <a:pt x="484" y="5038"/>
                    </a:lnTo>
                    <a:lnTo>
                      <a:pt x="482" y="5042"/>
                    </a:lnTo>
                    <a:lnTo>
                      <a:pt x="478" y="5043"/>
                    </a:lnTo>
                    <a:lnTo>
                      <a:pt x="476" y="5048"/>
                    </a:lnTo>
                    <a:lnTo>
                      <a:pt x="472" y="5050"/>
                    </a:lnTo>
                    <a:lnTo>
                      <a:pt x="469" y="5051"/>
                    </a:lnTo>
                    <a:lnTo>
                      <a:pt x="478" y="5050"/>
                    </a:lnTo>
                    <a:close/>
                    <a:moveTo>
                      <a:pt x="474" y="4431"/>
                    </a:moveTo>
                    <a:lnTo>
                      <a:pt x="472" y="4431"/>
                    </a:lnTo>
                    <a:lnTo>
                      <a:pt x="471" y="4431"/>
                    </a:lnTo>
                    <a:lnTo>
                      <a:pt x="469" y="4433"/>
                    </a:lnTo>
                    <a:lnTo>
                      <a:pt x="469" y="4434"/>
                    </a:lnTo>
                    <a:lnTo>
                      <a:pt x="469" y="4436"/>
                    </a:lnTo>
                    <a:lnTo>
                      <a:pt x="469" y="4442"/>
                    </a:lnTo>
                    <a:lnTo>
                      <a:pt x="469" y="4447"/>
                    </a:lnTo>
                    <a:lnTo>
                      <a:pt x="471" y="4442"/>
                    </a:lnTo>
                    <a:lnTo>
                      <a:pt x="472" y="4436"/>
                    </a:lnTo>
                    <a:lnTo>
                      <a:pt x="474" y="4434"/>
                    </a:lnTo>
                    <a:lnTo>
                      <a:pt x="476" y="4433"/>
                    </a:lnTo>
                    <a:lnTo>
                      <a:pt x="476" y="4431"/>
                    </a:lnTo>
                    <a:lnTo>
                      <a:pt x="474" y="4431"/>
                    </a:lnTo>
                    <a:close/>
                    <a:moveTo>
                      <a:pt x="482" y="4780"/>
                    </a:moveTo>
                    <a:lnTo>
                      <a:pt x="486" y="4778"/>
                    </a:lnTo>
                    <a:lnTo>
                      <a:pt x="489" y="4776"/>
                    </a:lnTo>
                    <a:lnTo>
                      <a:pt x="491" y="4773"/>
                    </a:lnTo>
                    <a:lnTo>
                      <a:pt x="492" y="4768"/>
                    </a:lnTo>
                    <a:lnTo>
                      <a:pt x="494" y="4763"/>
                    </a:lnTo>
                    <a:lnTo>
                      <a:pt x="489" y="4763"/>
                    </a:lnTo>
                    <a:lnTo>
                      <a:pt x="486" y="4763"/>
                    </a:lnTo>
                    <a:lnTo>
                      <a:pt x="484" y="4763"/>
                    </a:lnTo>
                    <a:lnTo>
                      <a:pt x="482" y="4763"/>
                    </a:lnTo>
                    <a:lnTo>
                      <a:pt x="476" y="4768"/>
                    </a:lnTo>
                    <a:lnTo>
                      <a:pt x="472" y="4773"/>
                    </a:lnTo>
                    <a:lnTo>
                      <a:pt x="471" y="4776"/>
                    </a:lnTo>
                    <a:lnTo>
                      <a:pt x="469" y="4778"/>
                    </a:lnTo>
                    <a:lnTo>
                      <a:pt x="469" y="4780"/>
                    </a:lnTo>
                    <a:lnTo>
                      <a:pt x="469" y="4782"/>
                    </a:lnTo>
                    <a:lnTo>
                      <a:pt x="478" y="4780"/>
                    </a:lnTo>
                    <a:lnTo>
                      <a:pt x="482" y="4780"/>
                    </a:lnTo>
                    <a:close/>
                    <a:moveTo>
                      <a:pt x="479" y="5031"/>
                    </a:moveTo>
                    <a:lnTo>
                      <a:pt x="491" y="5031"/>
                    </a:lnTo>
                    <a:lnTo>
                      <a:pt x="502" y="5031"/>
                    </a:lnTo>
                    <a:lnTo>
                      <a:pt x="512" y="5027"/>
                    </a:lnTo>
                    <a:lnTo>
                      <a:pt x="515" y="5025"/>
                    </a:lnTo>
                    <a:lnTo>
                      <a:pt x="519" y="5023"/>
                    </a:lnTo>
                    <a:lnTo>
                      <a:pt x="522" y="5020"/>
                    </a:lnTo>
                    <a:lnTo>
                      <a:pt x="525" y="5018"/>
                    </a:lnTo>
                    <a:lnTo>
                      <a:pt x="528" y="5012"/>
                    </a:lnTo>
                    <a:lnTo>
                      <a:pt x="530" y="5009"/>
                    </a:lnTo>
                    <a:lnTo>
                      <a:pt x="530" y="5004"/>
                    </a:lnTo>
                    <a:lnTo>
                      <a:pt x="532" y="4997"/>
                    </a:lnTo>
                    <a:lnTo>
                      <a:pt x="524" y="4997"/>
                    </a:lnTo>
                    <a:lnTo>
                      <a:pt x="517" y="5000"/>
                    </a:lnTo>
                    <a:lnTo>
                      <a:pt x="507" y="5004"/>
                    </a:lnTo>
                    <a:lnTo>
                      <a:pt x="500" y="5007"/>
                    </a:lnTo>
                    <a:lnTo>
                      <a:pt x="491" y="5012"/>
                    </a:lnTo>
                    <a:lnTo>
                      <a:pt x="486" y="5017"/>
                    </a:lnTo>
                    <a:lnTo>
                      <a:pt x="486" y="5017"/>
                    </a:lnTo>
                    <a:lnTo>
                      <a:pt x="478" y="5017"/>
                    </a:lnTo>
                    <a:lnTo>
                      <a:pt x="478" y="5023"/>
                    </a:lnTo>
                    <a:lnTo>
                      <a:pt x="474" y="5025"/>
                    </a:lnTo>
                    <a:lnTo>
                      <a:pt x="469" y="5033"/>
                    </a:lnTo>
                    <a:lnTo>
                      <a:pt x="479" y="5031"/>
                    </a:lnTo>
                    <a:close/>
                    <a:moveTo>
                      <a:pt x="500" y="4745"/>
                    </a:moveTo>
                    <a:lnTo>
                      <a:pt x="492" y="4745"/>
                    </a:lnTo>
                    <a:lnTo>
                      <a:pt x="487" y="4747"/>
                    </a:lnTo>
                    <a:lnTo>
                      <a:pt x="484" y="4749"/>
                    </a:lnTo>
                    <a:lnTo>
                      <a:pt x="479" y="4752"/>
                    </a:lnTo>
                    <a:lnTo>
                      <a:pt x="478" y="4755"/>
                    </a:lnTo>
                    <a:lnTo>
                      <a:pt x="478" y="4763"/>
                    </a:lnTo>
                    <a:lnTo>
                      <a:pt x="489" y="4762"/>
                    </a:lnTo>
                    <a:lnTo>
                      <a:pt x="497" y="4762"/>
                    </a:lnTo>
                    <a:lnTo>
                      <a:pt x="502" y="4760"/>
                    </a:lnTo>
                    <a:lnTo>
                      <a:pt x="506" y="4758"/>
                    </a:lnTo>
                    <a:lnTo>
                      <a:pt x="509" y="4754"/>
                    </a:lnTo>
                    <a:lnTo>
                      <a:pt x="512" y="4750"/>
                    </a:lnTo>
                    <a:lnTo>
                      <a:pt x="513" y="4745"/>
                    </a:lnTo>
                    <a:lnTo>
                      <a:pt x="500" y="4745"/>
                    </a:lnTo>
                    <a:close/>
                    <a:moveTo>
                      <a:pt x="50" y="4773"/>
                    </a:moveTo>
                    <a:lnTo>
                      <a:pt x="48" y="4778"/>
                    </a:lnTo>
                    <a:lnTo>
                      <a:pt x="44" y="4782"/>
                    </a:lnTo>
                    <a:lnTo>
                      <a:pt x="41" y="4783"/>
                    </a:lnTo>
                    <a:lnTo>
                      <a:pt x="39" y="4789"/>
                    </a:lnTo>
                    <a:lnTo>
                      <a:pt x="37" y="4793"/>
                    </a:lnTo>
                    <a:lnTo>
                      <a:pt x="37" y="4800"/>
                    </a:lnTo>
                    <a:lnTo>
                      <a:pt x="41" y="4798"/>
                    </a:lnTo>
                    <a:lnTo>
                      <a:pt x="46" y="4796"/>
                    </a:lnTo>
                    <a:lnTo>
                      <a:pt x="48" y="4793"/>
                    </a:lnTo>
                    <a:lnTo>
                      <a:pt x="50" y="4788"/>
                    </a:lnTo>
                    <a:lnTo>
                      <a:pt x="51" y="4782"/>
                    </a:lnTo>
                    <a:lnTo>
                      <a:pt x="51" y="4776"/>
                    </a:lnTo>
                    <a:lnTo>
                      <a:pt x="54" y="4763"/>
                    </a:lnTo>
                    <a:lnTo>
                      <a:pt x="51" y="4768"/>
                    </a:lnTo>
                    <a:lnTo>
                      <a:pt x="50" y="4773"/>
                    </a:lnTo>
                    <a:close/>
                    <a:moveTo>
                      <a:pt x="89" y="4615"/>
                    </a:moveTo>
                    <a:lnTo>
                      <a:pt x="83" y="4614"/>
                    </a:lnTo>
                    <a:lnTo>
                      <a:pt x="79" y="4612"/>
                    </a:lnTo>
                    <a:lnTo>
                      <a:pt x="76" y="4614"/>
                    </a:lnTo>
                    <a:lnTo>
                      <a:pt x="74" y="4615"/>
                    </a:lnTo>
                    <a:lnTo>
                      <a:pt x="72" y="4619"/>
                    </a:lnTo>
                    <a:lnTo>
                      <a:pt x="72" y="4623"/>
                    </a:lnTo>
                    <a:lnTo>
                      <a:pt x="76" y="4627"/>
                    </a:lnTo>
                    <a:lnTo>
                      <a:pt x="81" y="4630"/>
                    </a:lnTo>
                    <a:lnTo>
                      <a:pt x="87" y="4632"/>
                    </a:lnTo>
                    <a:lnTo>
                      <a:pt x="91" y="4634"/>
                    </a:lnTo>
                    <a:lnTo>
                      <a:pt x="94" y="4632"/>
                    </a:lnTo>
                    <a:lnTo>
                      <a:pt x="96" y="4630"/>
                    </a:lnTo>
                    <a:lnTo>
                      <a:pt x="97" y="4627"/>
                    </a:lnTo>
                    <a:lnTo>
                      <a:pt x="100" y="4623"/>
                    </a:lnTo>
                    <a:lnTo>
                      <a:pt x="94" y="4619"/>
                    </a:lnTo>
                    <a:lnTo>
                      <a:pt x="89" y="4615"/>
                    </a:lnTo>
                    <a:close/>
                    <a:moveTo>
                      <a:pt x="410" y="4543"/>
                    </a:moveTo>
                    <a:lnTo>
                      <a:pt x="406" y="4540"/>
                    </a:lnTo>
                    <a:lnTo>
                      <a:pt x="405" y="4534"/>
                    </a:lnTo>
                    <a:lnTo>
                      <a:pt x="400" y="4531"/>
                    </a:lnTo>
                    <a:lnTo>
                      <a:pt x="393" y="4521"/>
                    </a:lnTo>
                    <a:lnTo>
                      <a:pt x="384" y="4513"/>
                    </a:lnTo>
                    <a:lnTo>
                      <a:pt x="379" y="4510"/>
                    </a:lnTo>
                    <a:lnTo>
                      <a:pt x="375" y="4508"/>
                    </a:lnTo>
                    <a:lnTo>
                      <a:pt x="371" y="4505"/>
                    </a:lnTo>
                    <a:lnTo>
                      <a:pt x="365" y="4503"/>
                    </a:lnTo>
                    <a:lnTo>
                      <a:pt x="362" y="4503"/>
                    </a:lnTo>
                    <a:lnTo>
                      <a:pt x="359" y="4503"/>
                    </a:lnTo>
                    <a:lnTo>
                      <a:pt x="356" y="4503"/>
                    </a:lnTo>
                    <a:lnTo>
                      <a:pt x="354" y="4505"/>
                    </a:lnTo>
                    <a:lnTo>
                      <a:pt x="352" y="4508"/>
                    </a:lnTo>
                    <a:lnTo>
                      <a:pt x="354" y="4513"/>
                    </a:lnTo>
                    <a:lnTo>
                      <a:pt x="354" y="4518"/>
                    </a:lnTo>
                    <a:lnTo>
                      <a:pt x="356" y="4525"/>
                    </a:lnTo>
                    <a:lnTo>
                      <a:pt x="359" y="4538"/>
                    </a:lnTo>
                    <a:lnTo>
                      <a:pt x="362" y="4551"/>
                    </a:lnTo>
                    <a:lnTo>
                      <a:pt x="364" y="4556"/>
                    </a:lnTo>
                    <a:lnTo>
                      <a:pt x="364" y="4562"/>
                    </a:lnTo>
                    <a:lnTo>
                      <a:pt x="364" y="4566"/>
                    </a:lnTo>
                    <a:lnTo>
                      <a:pt x="364" y="4569"/>
                    </a:lnTo>
                    <a:lnTo>
                      <a:pt x="362" y="4573"/>
                    </a:lnTo>
                    <a:lnTo>
                      <a:pt x="359" y="4573"/>
                    </a:lnTo>
                    <a:lnTo>
                      <a:pt x="359" y="4579"/>
                    </a:lnTo>
                    <a:lnTo>
                      <a:pt x="359" y="4584"/>
                    </a:lnTo>
                    <a:lnTo>
                      <a:pt x="359" y="4586"/>
                    </a:lnTo>
                    <a:lnTo>
                      <a:pt x="359" y="4587"/>
                    </a:lnTo>
                    <a:lnTo>
                      <a:pt x="359" y="4589"/>
                    </a:lnTo>
                    <a:lnTo>
                      <a:pt x="359" y="4592"/>
                    </a:lnTo>
                    <a:lnTo>
                      <a:pt x="371" y="4589"/>
                    </a:lnTo>
                    <a:lnTo>
                      <a:pt x="382" y="4589"/>
                    </a:lnTo>
                    <a:lnTo>
                      <a:pt x="392" y="4589"/>
                    </a:lnTo>
                    <a:lnTo>
                      <a:pt x="398" y="4586"/>
                    </a:lnTo>
                    <a:lnTo>
                      <a:pt x="402" y="4584"/>
                    </a:lnTo>
                    <a:lnTo>
                      <a:pt x="405" y="4582"/>
                    </a:lnTo>
                    <a:lnTo>
                      <a:pt x="408" y="4579"/>
                    </a:lnTo>
                    <a:lnTo>
                      <a:pt x="410" y="4575"/>
                    </a:lnTo>
                    <a:lnTo>
                      <a:pt x="410" y="4571"/>
                    </a:lnTo>
                    <a:lnTo>
                      <a:pt x="412" y="4567"/>
                    </a:lnTo>
                    <a:lnTo>
                      <a:pt x="412" y="4562"/>
                    </a:lnTo>
                    <a:lnTo>
                      <a:pt x="413" y="4554"/>
                    </a:lnTo>
                    <a:lnTo>
                      <a:pt x="412" y="4551"/>
                    </a:lnTo>
                    <a:lnTo>
                      <a:pt x="412" y="4548"/>
                    </a:lnTo>
                    <a:lnTo>
                      <a:pt x="410" y="4543"/>
                    </a:lnTo>
                    <a:close/>
                    <a:moveTo>
                      <a:pt x="451" y="4451"/>
                    </a:moveTo>
                    <a:lnTo>
                      <a:pt x="454" y="4449"/>
                    </a:lnTo>
                    <a:lnTo>
                      <a:pt x="454" y="4446"/>
                    </a:lnTo>
                    <a:lnTo>
                      <a:pt x="454" y="4444"/>
                    </a:lnTo>
                    <a:lnTo>
                      <a:pt x="454" y="4442"/>
                    </a:lnTo>
                    <a:lnTo>
                      <a:pt x="453" y="4439"/>
                    </a:lnTo>
                    <a:lnTo>
                      <a:pt x="451" y="4436"/>
                    </a:lnTo>
                    <a:lnTo>
                      <a:pt x="446" y="4433"/>
                    </a:lnTo>
                    <a:lnTo>
                      <a:pt x="441" y="4431"/>
                    </a:lnTo>
                    <a:lnTo>
                      <a:pt x="438" y="4431"/>
                    </a:lnTo>
                    <a:lnTo>
                      <a:pt x="432" y="4429"/>
                    </a:lnTo>
                    <a:lnTo>
                      <a:pt x="425" y="4429"/>
                    </a:lnTo>
                    <a:lnTo>
                      <a:pt x="418" y="4431"/>
                    </a:lnTo>
                    <a:lnTo>
                      <a:pt x="413" y="4433"/>
                    </a:lnTo>
                    <a:lnTo>
                      <a:pt x="406" y="4434"/>
                    </a:lnTo>
                    <a:lnTo>
                      <a:pt x="400" y="4436"/>
                    </a:lnTo>
                    <a:lnTo>
                      <a:pt x="395" y="4439"/>
                    </a:lnTo>
                    <a:lnTo>
                      <a:pt x="392" y="4442"/>
                    </a:lnTo>
                    <a:lnTo>
                      <a:pt x="385" y="4446"/>
                    </a:lnTo>
                    <a:lnTo>
                      <a:pt x="382" y="4449"/>
                    </a:lnTo>
                    <a:lnTo>
                      <a:pt x="380" y="4455"/>
                    </a:lnTo>
                    <a:lnTo>
                      <a:pt x="379" y="4460"/>
                    </a:lnTo>
                    <a:lnTo>
                      <a:pt x="379" y="4466"/>
                    </a:lnTo>
                    <a:lnTo>
                      <a:pt x="380" y="4460"/>
                    </a:lnTo>
                    <a:lnTo>
                      <a:pt x="384" y="4457"/>
                    </a:lnTo>
                    <a:lnTo>
                      <a:pt x="385" y="4455"/>
                    </a:lnTo>
                    <a:lnTo>
                      <a:pt x="387" y="4454"/>
                    </a:lnTo>
                    <a:lnTo>
                      <a:pt x="390" y="4451"/>
                    </a:lnTo>
                    <a:lnTo>
                      <a:pt x="392" y="4451"/>
                    </a:lnTo>
                    <a:lnTo>
                      <a:pt x="393" y="4451"/>
                    </a:lnTo>
                    <a:lnTo>
                      <a:pt x="395" y="4454"/>
                    </a:lnTo>
                    <a:lnTo>
                      <a:pt x="398" y="4454"/>
                    </a:lnTo>
                    <a:lnTo>
                      <a:pt x="402" y="4455"/>
                    </a:lnTo>
                    <a:lnTo>
                      <a:pt x="406" y="4455"/>
                    </a:lnTo>
                    <a:lnTo>
                      <a:pt x="408" y="4455"/>
                    </a:lnTo>
                    <a:lnTo>
                      <a:pt x="410" y="4454"/>
                    </a:lnTo>
                    <a:lnTo>
                      <a:pt x="413" y="4451"/>
                    </a:lnTo>
                    <a:lnTo>
                      <a:pt x="415" y="4451"/>
                    </a:lnTo>
                    <a:lnTo>
                      <a:pt x="417" y="4451"/>
                    </a:lnTo>
                    <a:lnTo>
                      <a:pt x="418" y="4451"/>
                    </a:lnTo>
                    <a:lnTo>
                      <a:pt x="423" y="4451"/>
                    </a:lnTo>
                    <a:lnTo>
                      <a:pt x="426" y="4451"/>
                    </a:lnTo>
                    <a:lnTo>
                      <a:pt x="423" y="4454"/>
                    </a:lnTo>
                    <a:lnTo>
                      <a:pt x="418" y="4454"/>
                    </a:lnTo>
                    <a:lnTo>
                      <a:pt x="417" y="4457"/>
                    </a:lnTo>
                    <a:lnTo>
                      <a:pt x="415" y="4460"/>
                    </a:lnTo>
                    <a:lnTo>
                      <a:pt x="413" y="4466"/>
                    </a:lnTo>
                    <a:lnTo>
                      <a:pt x="421" y="4464"/>
                    </a:lnTo>
                    <a:lnTo>
                      <a:pt x="430" y="4462"/>
                    </a:lnTo>
                    <a:lnTo>
                      <a:pt x="438" y="4460"/>
                    </a:lnTo>
                    <a:lnTo>
                      <a:pt x="445" y="4457"/>
                    </a:lnTo>
                    <a:lnTo>
                      <a:pt x="448" y="4454"/>
                    </a:lnTo>
                    <a:lnTo>
                      <a:pt x="451" y="4451"/>
                    </a:lnTo>
                    <a:close/>
                    <a:moveTo>
                      <a:pt x="412" y="4472"/>
                    </a:moveTo>
                    <a:lnTo>
                      <a:pt x="410" y="4475"/>
                    </a:lnTo>
                    <a:lnTo>
                      <a:pt x="408" y="4479"/>
                    </a:lnTo>
                    <a:lnTo>
                      <a:pt x="402" y="4485"/>
                    </a:lnTo>
                    <a:lnTo>
                      <a:pt x="397" y="4490"/>
                    </a:lnTo>
                    <a:lnTo>
                      <a:pt x="395" y="4492"/>
                    </a:lnTo>
                    <a:lnTo>
                      <a:pt x="393" y="4494"/>
                    </a:lnTo>
                    <a:lnTo>
                      <a:pt x="392" y="4495"/>
                    </a:lnTo>
                    <a:lnTo>
                      <a:pt x="390" y="4497"/>
                    </a:lnTo>
                    <a:lnTo>
                      <a:pt x="390" y="4500"/>
                    </a:lnTo>
                    <a:lnTo>
                      <a:pt x="392" y="4500"/>
                    </a:lnTo>
                    <a:lnTo>
                      <a:pt x="393" y="4501"/>
                    </a:lnTo>
                    <a:lnTo>
                      <a:pt x="395" y="4501"/>
                    </a:lnTo>
                    <a:lnTo>
                      <a:pt x="398" y="4503"/>
                    </a:lnTo>
                    <a:lnTo>
                      <a:pt x="400" y="4505"/>
                    </a:lnTo>
                    <a:lnTo>
                      <a:pt x="402" y="4507"/>
                    </a:lnTo>
                    <a:lnTo>
                      <a:pt x="406" y="4505"/>
                    </a:lnTo>
                    <a:lnTo>
                      <a:pt x="408" y="4503"/>
                    </a:lnTo>
                    <a:lnTo>
                      <a:pt x="410" y="4500"/>
                    </a:lnTo>
                    <a:lnTo>
                      <a:pt x="410" y="4495"/>
                    </a:lnTo>
                    <a:lnTo>
                      <a:pt x="412" y="4488"/>
                    </a:lnTo>
                    <a:lnTo>
                      <a:pt x="412" y="4480"/>
                    </a:lnTo>
                    <a:lnTo>
                      <a:pt x="413" y="4474"/>
                    </a:lnTo>
                    <a:lnTo>
                      <a:pt x="413" y="4466"/>
                    </a:lnTo>
                    <a:lnTo>
                      <a:pt x="412" y="4467"/>
                    </a:lnTo>
                    <a:lnTo>
                      <a:pt x="412" y="4472"/>
                    </a:lnTo>
                    <a:close/>
                    <a:moveTo>
                      <a:pt x="418" y="4691"/>
                    </a:moveTo>
                    <a:lnTo>
                      <a:pt x="421" y="4688"/>
                    </a:lnTo>
                    <a:lnTo>
                      <a:pt x="423" y="4684"/>
                    </a:lnTo>
                    <a:lnTo>
                      <a:pt x="425" y="4680"/>
                    </a:lnTo>
                    <a:lnTo>
                      <a:pt x="425" y="4675"/>
                    </a:lnTo>
                    <a:lnTo>
                      <a:pt x="425" y="4671"/>
                    </a:lnTo>
                    <a:lnTo>
                      <a:pt x="425" y="4665"/>
                    </a:lnTo>
                    <a:lnTo>
                      <a:pt x="423" y="4660"/>
                    </a:lnTo>
                    <a:lnTo>
                      <a:pt x="421" y="4656"/>
                    </a:lnTo>
                    <a:lnTo>
                      <a:pt x="418" y="4648"/>
                    </a:lnTo>
                    <a:lnTo>
                      <a:pt x="417" y="4643"/>
                    </a:lnTo>
                    <a:lnTo>
                      <a:pt x="413" y="4638"/>
                    </a:lnTo>
                    <a:lnTo>
                      <a:pt x="408" y="4645"/>
                    </a:lnTo>
                    <a:lnTo>
                      <a:pt x="405" y="4653"/>
                    </a:lnTo>
                    <a:lnTo>
                      <a:pt x="400" y="4663"/>
                    </a:lnTo>
                    <a:lnTo>
                      <a:pt x="398" y="4673"/>
                    </a:lnTo>
                    <a:lnTo>
                      <a:pt x="397" y="4682"/>
                    </a:lnTo>
                    <a:lnTo>
                      <a:pt x="397" y="4693"/>
                    </a:lnTo>
                    <a:lnTo>
                      <a:pt x="397" y="4701"/>
                    </a:lnTo>
                    <a:lnTo>
                      <a:pt x="397" y="4709"/>
                    </a:lnTo>
                    <a:lnTo>
                      <a:pt x="402" y="4706"/>
                    </a:lnTo>
                    <a:lnTo>
                      <a:pt x="408" y="4702"/>
                    </a:lnTo>
                    <a:lnTo>
                      <a:pt x="412" y="4699"/>
                    </a:lnTo>
                    <a:lnTo>
                      <a:pt x="415" y="4694"/>
                    </a:lnTo>
                    <a:lnTo>
                      <a:pt x="418" y="4691"/>
                    </a:lnTo>
                    <a:close/>
                    <a:moveTo>
                      <a:pt x="413" y="4619"/>
                    </a:moveTo>
                    <a:lnTo>
                      <a:pt x="418" y="4617"/>
                    </a:lnTo>
                    <a:lnTo>
                      <a:pt x="425" y="4617"/>
                    </a:lnTo>
                    <a:lnTo>
                      <a:pt x="428" y="4615"/>
                    </a:lnTo>
                    <a:lnTo>
                      <a:pt x="432" y="4614"/>
                    </a:lnTo>
                    <a:lnTo>
                      <a:pt x="433" y="4612"/>
                    </a:lnTo>
                    <a:lnTo>
                      <a:pt x="433" y="4610"/>
                    </a:lnTo>
                    <a:lnTo>
                      <a:pt x="436" y="4607"/>
                    </a:lnTo>
                    <a:lnTo>
                      <a:pt x="436" y="4604"/>
                    </a:lnTo>
                    <a:lnTo>
                      <a:pt x="436" y="4599"/>
                    </a:lnTo>
                    <a:lnTo>
                      <a:pt x="433" y="4595"/>
                    </a:lnTo>
                    <a:lnTo>
                      <a:pt x="432" y="4594"/>
                    </a:lnTo>
                    <a:lnTo>
                      <a:pt x="432" y="4592"/>
                    </a:lnTo>
                    <a:lnTo>
                      <a:pt x="430" y="4592"/>
                    </a:lnTo>
                    <a:lnTo>
                      <a:pt x="428" y="4594"/>
                    </a:lnTo>
                    <a:lnTo>
                      <a:pt x="425" y="4595"/>
                    </a:lnTo>
                    <a:lnTo>
                      <a:pt x="423" y="4599"/>
                    </a:lnTo>
                    <a:lnTo>
                      <a:pt x="418" y="4602"/>
                    </a:lnTo>
                    <a:lnTo>
                      <a:pt x="415" y="4608"/>
                    </a:lnTo>
                    <a:lnTo>
                      <a:pt x="413" y="4614"/>
                    </a:lnTo>
                    <a:lnTo>
                      <a:pt x="413" y="4619"/>
                    </a:lnTo>
                    <a:close/>
                    <a:moveTo>
                      <a:pt x="212" y="4472"/>
                    </a:moveTo>
                    <a:lnTo>
                      <a:pt x="196" y="4485"/>
                    </a:lnTo>
                    <a:lnTo>
                      <a:pt x="179" y="4497"/>
                    </a:lnTo>
                    <a:lnTo>
                      <a:pt x="164" y="4510"/>
                    </a:lnTo>
                    <a:lnTo>
                      <a:pt x="151" y="4523"/>
                    </a:lnTo>
                    <a:lnTo>
                      <a:pt x="138" y="4534"/>
                    </a:lnTo>
                    <a:lnTo>
                      <a:pt x="124" y="4546"/>
                    </a:lnTo>
                    <a:lnTo>
                      <a:pt x="107" y="4554"/>
                    </a:lnTo>
                    <a:lnTo>
                      <a:pt x="91" y="4562"/>
                    </a:lnTo>
                    <a:lnTo>
                      <a:pt x="72" y="4571"/>
                    </a:lnTo>
                    <a:lnTo>
                      <a:pt x="54" y="4577"/>
                    </a:lnTo>
                    <a:lnTo>
                      <a:pt x="17" y="4592"/>
                    </a:lnTo>
                    <a:lnTo>
                      <a:pt x="17" y="4584"/>
                    </a:lnTo>
                    <a:lnTo>
                      <a:pt x="17" y="4581"/>
                    </a:lnTo>
                    <a:lnTo>
                      <a:pt x="15" y="4579"/>
                    </a:lnTo>
                    <a:lnTo>
                      <a:pt x="15" y="4575"/>
                    </a:lnTo>
                    <a:lnTo>
                      <a:pt x="13" y="4575"/>
                    </a:lnTo>
                    <a:lnTo>
                      <a:pt x="10" y="4573"/>
                    </a:lnTo>
                    <a:lnTo>
                      <a:pt x="5" y="4573"/>
                    </a:lnTo>
                    <a:lnTo>
                      <a:pt x="13" y="4571"/>
                    </a:lnTo>
                    <a:lnTo>
                      <a:pt x="20" y="4567"/>
                    </a:lnTo>
                    <a:lnTo>
                      <a:pt x="24" y="4567"/>
                    </a:lnTo>
                    <a:lnTo>
                      <a:pt x="28" y="4566"/>
                    </a:lnTo>
                    <a:lnTo>
                      <a:pt x="30" y="4564"/>
                    </a:lnTo>
                    <a:lnTo>
                      <a:pt x="30" y="4562"/>
                    </a:lnTo>
                    <a:lnTo>
                      <a:pt x="31" y="4561"/>
                    </a:lnTo>
                    <a:lnTo>
                      <a:pt x="30" y="4558"/>
                    </a:lnTo>
                    <a:lnTo>
                      <a:pt x="26" y="4556"/>
                    </a:lnTo>
                    <a:lnTo>
                      <a:pt x="30" y="4556"/>
                    </a:lnTo>
                    <a:lnTo>
                      <a:pt x="33" y="4556"/>
                    </a:lnTo>
                    <a:lnTo>
                      <a:pt x="37" y="4556"/>
                    </a:lnTo>
                    <a:lnTo>
                      <a:pt x="41" y="4556"/>
                    </a:lnTo>
                    <a:lnTo>
                      <a:pt x="44" y="4556"/>
                    </a:lnTo>
                    <a:lnTo>
                      <a:pt x="50" y="4556"/>
                    </a:lnTo>
                    <a:lnTo>
                      <a:pt x="44" y="4551"/>
                    </a:lnTo>
                    <a:lnTo>
                      <a:pt x="37" y="4548"/>
                    </a:lnTo>
                    <a:lnTo>
                      <a:pt x="31" y="4543"/>
                    </a:lnTo>
                    <a:lnTo>
                      <a:pt x="26" y="4540"/>
                    </a:lnTo>
                    <a:lnTo>
                      <a:pt x="22" y="4536"/>
                    </a:lnTo>
                    <a:lnTo>
                      <a:pt x="18" y="4533"/>
                    </a:lnTo>
                    <a:lnTo>
                      <a:pt x="17" y="4528"/>
                    </a:lnTo>
                    <a:lnTo>
                      <a:pt x="17" y="4523"/>
                    </a:lnTo>
                    <a:lnTo>
                      <a:pt x="22" y="4516"/>
                    </a:lnTo>
                    <a:lnTo>
                      <a:pt x="26" y="4512"/>
                    </a:lnTo>
                    <a:lnTo>
                      <a:pt x="30" y="4510"/>
                    </a:lnTo>
                    <a:lnTo>
                      <a:pt x="31" y="4507"/>
                    </a:lnTo>
                    <a:lnTo>
                      <a:pt x="33" y="4505"/>
                    </a:lnTo>
                    <a:lnTo>
                      <a:pt x="41" y="4487"/>
                    </a:lnTo>
                    <a:lnTo>
                      <a:pt x="44" y="4477"/>
                    </a:lnTo>
                    <a:lnTo>
                      <a:pt x="50" y="4467"/>
                    </a:lnTo>
                    <a:lnTo>
                      <a:pt x="56" y="4459"/>
                    </a:lnTo>
                    <a:lnTo>
                      <a:pt x="61" y="4451"/>
                    </a:lnTo>
                    <a:lnTo>
                      <a:pt x="66" y="4444"/>
                    </a:lnTo>
                    <a:lnTo>
                      <a:pt x="74" y="4436"/>
                    </a:lnTo>
                    <a:lnTo>
                      <a:pt x="81" y="4431"/>
                    </a:lnTo>
                    <a:lnTo>
                      <a:pt x="89" y="4426"/>
                    </a:lnTo>
                    <a:lnTo>
                      <a:pt x="97" y="4421"/>
                    </a:lnTo>
                    <a:lnTo>
                      <a:pt x="107" y="4418"/>
                    </a:lnTo>
                    <a:lnTo>
                      <a:pt x="117" y="4416"/>
                    </a:lnTo>
                    <a:lnTo>
                      <a:pt x="127" y="4416"/>
                    </a:lnTo>
                    <a:lnTo>
                      <a:pt x="138" y="4418"/>
                    </a:lnTo>
                    <a:lnTo>
                      <a:pt x="151" y="4420"/>
                    </a:lnTo>
                    <a:lnTo>
                      <a:pt x="151" y="4426"/>
                    </a:lnTo>
                    <a:lnTo>
                      <a:pt x="150" y="4429"/>
                    </a:lnTo>
                    <a:lnTo>
                      <a:pt x="146" y="4433"/>
                    </a:lnTo>
                    <a:lnTo>
                      <a:pt x="140" y="4436"/>
                    </a:lnTo>
                    <a:lnTo>
                      <a:pt x="137" y="4440"/>
                    </a:lnTo>
                    <a:lnTo>
                      <a:pt x="131" y="4444"/>
                    </a:lnTo>
                    <a:lnTo>
                      <a:pt x="124" y="4447"/>
                    </a:lnTo>
                    <a:lnTo>
                      <a:pt x="118" y="4454"/>
                    </a:lnTo>
                    <a:lnTo>
                      <a:pt x="122" y="4451"/>
                    </a:lnTo>
                    <a:lnTo>
                      <a:pt x="125" y="4447"/>
                    </a:lnTo>
                    <a:lnTo>
                      <a:pt x="131" y="4444"/>
                    </a:lnTo>
                    <a:lnTo>
                      <a:pt x="138" y="4442"/>
                    </a:lnTo>
                    <a:lnTo>
                      <a:pt x="151" y="4436"/>
                    </a:lnTo>
                    <a:lnTo>
                      <a:pt x="158" y="4436"/>
                    </a:lnTo>
                    <a:lnTo>
                      <a:pt x="164" y="4434"/>
                    </a:lnTo>
                    <a:lnTo>
                      <a:pt x="170" y="4434"/>
                    </a:lnTo>
                    <a:lnTo>
                      <a:pt x="176" y="4434"/>
                    </a:lnTo>
                    <a:lnTo>
                      <a:pt x="181" y="4434"/>
                    </a:lnTo>
                    <a:lnTo>
                      <a:pt x="184" y="4436"/>
                    </a:lnTo>
                    <a:lnTo>
                      <a:pt x="186" y="4440"/>
                    </a:lnTo>
                    <a:lnTo>
                      <a:pt x="188" y="4444"/>
                    </a:lnTo>
                    <a:lnTo>
                      <a:pt x="188" y="4447"/>
                    </a:lnTo>
                    <a:lnTo>
                      <a:pt x="186" y="4451"/>
                    </a:lnTo>
                    <a:lnTo>
                      <a:pt x="186" y="4454"/>
                    </a:lnTo>
                    <a:lnTo>
                      <a:pt x="198" y="4447"/>
                    </a:lnTo>
                    <a:lnTo>
                      <a:pt x="211" y="4444"/>
                    </a:lnTo>
                    <a:lnTo>
                      <a:pt x="224" y="4440"/>
                    </a:lnTo>
                    <a:lnTo>
                      <a:pt x="237" y="4436"/>
                    </a:lnTo>
                    <a:lnTo>
                      <a:pt x="249" y="4433"/>
                    </a:lnTo>
                    <a:lnTo>
                      <a:pt x="262" y="4429"/>
                    </a:lnTo>
                    <a:lnTo>
                      <a:pt x="275" y="4426"/>
                    </a:lnTo>
                    <a:lnTo>
                      <a:pt x="288" y="4420"/>
                    </a:lnTo>
                    <a:lnTo>
                      <a:pt x="249" y="4446"/>
                    </a:lnTo>
                    <a:lnTo>
                      <a:pt x="231" y="4459"/>
                    </a:lnTo>
                    <a:lnTo>
                      <a:pt x="212" y="4472"/>
                    </a:lnTo>
                    <a:close/>
                    <a:moveTo>
                      <a:pt x="161" y="4477"/>
                    </a:moveTo>
                    <a:lnTo>
                      <a:pt x="155" y="4480"/>
                    </a:lnTo>
                    <a:lnTo>
                      <a:pt x="140" y="4487"/>
                    </a:lnTo>
                    <a:lnTo>
                      <a:pt x="127" y="4490"/>
                    </a:lnTo>
                    <a:lnTo>
                      <a:pt x="112" y="4495"/>
                    </a:lnTo>
                    <a:lnTo>
                      <a:pt x="97" y="4500"/>
                    </a:lnTo>
                    <a:lnTo>
                      <a:pt x="85" y="4505"/>
                    </a:lnTo>
                    <a:lnTo>
                      <a:pt x="87" y="4505"/>
                    </a:lnTo>
                    <a:lnTo>
                      <a:pt x="91" y="4505"/>
                    </a:lnTo>
                    <a:lnTo>
                      <a:pt x="94" y="4505"/>
                    </a:lnTo>
                    <a:lnTo>
                      <a:pt x="100" y="4505"/>
                    </a:lnTo>
                    <a:lnTo>
                      <a:pt x="105" y="4505"/>
                    </a:lnTo>
                    <a:lnTo>
                      <a:pt x="100" y="4507"/>
                    </a:lnTo>
                    <a:lnTo>
                      <a:pt x="94" y="4507"/>
                    </a:lnTo>
                    <a:lnTo>
                      <a:pt x="91" y="4510"/>
                    </a:lnTo>
                    <a:lnTo>
                      <a:pt x="87" y="4512"/>
                    </a:lnTo>
                    <a:lnTo>
                      <a:pt x="85" y="4516"/>
                    </a:lnTo>
                    <a:lnTo>
                      <a:pt x="85" y="4523"/>
                    </a:lnTo>
                    <a:lnTo>
                      <a:pt x="109" y="4508"/>
                    </a:lnTo>
                    <a:lnTo>
                      <a:pt x="122" y="4503"/>
                    </a:lnTo>
                    <a:lnTo>
                      <a:pt x="135" y="4494"/>
                    </a:lnTo>
                    <a:lnTo>
                      <a:pt x="148" y="4487"/>
                    </a:lnTo>
                    <a:lnTo>
                      <a:pt x="161" y="4477"/>
                    </a:lnTo>
                    <a:close/>
                    <a:moveTo>
                      <a:pt x="117" y="4577"/>
                    </a:moveTo>
                    <a:lnTo>
                      <a:pt x="115" y="4575"/>
                    </a:lnTo>
                    <a:lnTo>
                      <a:pt x="109" y="4575"/>
                    </a:lnTo>
                    <a:lnTo>
                      <a:pt x="104" y="4575"/>
                    </a:lnTo>
                    <a:lnTo>
                      <a:pt x="96" y="4577"/>
                    </a:lnTo>
                    <a:lnTo>
                      <a:pt x="91" y="4577"/>
                    </a:lnTo>
                    <a:lnTo>
                      <a:pt x="76" y="4581"/>
                    </a:lnTo>
                    <a:lnTo>
                      <a:pt x="68" y="4584"/>
                    </a:lnTo>
                    <a:lnTo>
                      <a:pt x="63" y="4586"/>
                    </a:lnTo>
                    <a:lnTo>
                      <a:pt x="57" y="4587"/>
                    </a:lnTo>
                    <a:lnTo>
                      <a:pt x="54" y="4589"/>
                    </a:lnTo>
                    <a:lnTo>
                      <a:pt x="50" y="4589"/>
                    </a:lnTo>
                    <a:lnTo>
                      <a:pt x="43" y="4589"/>
                    </a:lnTo>
                    <a:lnTo>
                      <a:pt x="35" y="4592"/>
                    </a:lnTo>
                    <a:lnTo>
                      <a:pt x="26" y="4592"/>
                    </a:lnTo>
                    <a:lnTo>
                      <a:pt x="18" y="4594"/>
                    </a:lnTo>
                    <a:lnTo>
                      <a:pt x="11" y="4595"/>
                    </a:lnTo>
                    <a:lnTo>
                      <a:pt x="7" y="4595"/>
                    </a:lnTo>
                    <a:lnTo>
                      <a:pt x="5" y="4597"/>
                    </a:lnTo>
                    <a:lnTo>
                      <a:pt x="2" y="4599"/>
                    </a:lnTo>
                    <a:lnTo>
                      <a:pt x="0" y="4602"/>
                    </a:lnTo>
                    <a:lnTo>
                      <a:pt x="0" y="4604"/>
                    </a:lnTo>
                    <a:lnTo>
                      <a:pt x="0" y="4608"/>
                    </a:lnTo>
                    <a:lnTo>
                      <a:pt x="11" y="4608"/>
                    </a:lnTo>
                    <a:lnTo>
                      <a:pt x="18" y="4608"/>
                    </a:lnTo>
                    <a:lnTo>
                      <a:pt x="24" y="4610"/>
                    </a:lnTo>
                    <a:lnTo>
                      <a:pt x="31" y="4612"/>
                    </a:lnTo>
                    <a:lnTo>
                      <a:pt x="37" y="4615"/>
                    </a:lnTo>
                    <a:lnTo>
                      <a:pt x="43" y="4619"/>
                    </a:lnTo>
                    <a:lnTo>
                      <a:pt x="50" y="4625"/>
                    </a:lnTo>
                    <a:lnTo>
                      <a:pt x="37" y="4625"/>
                    </a:lnTo>
                    <a:lnTo>
                      <a:pt x="31" y="4627"/>
                    </a:lnTo>
                    <a:lnTo>
                      <a:pt x="26" y="4627"/>
                    </a:lnTo>
                    <a:lnTo>
                      <a:pt x="22" y="4628"/>
                    </a:lnTo>
                    <a:lnTo>
                      <a:pt x="18" y="4632"/>
                    </a:lnTo>
                    <a:lnTo>
                      <a:pt x="17" y="4636"/>
                    </a:lnTo>
                    <a:lnTo>
                      <a:pt x="17" y="4643"/>
                    </a:lnTo>
                    <a:lnTo>
                      <a:pt x="13" y="4643"/>
                    </a:lnTo>
                    <a:lnTo>
                      <a:pt x="11" y="4643"/>
                    </a:lnTo>
                    <a:lnTo>
                      <a:pt x="7" y="4645"/>
                    </a:lnTo>
                    <a:lnTo>
                      <a:pt x="7" y="4647"/>
                    </a:lnTo>
                    <a:lnTo>
                      <a:pt x="3" y="4653"/>
                    </a:lnTo>
                    <a:lnTo>
                      <a:pt x="3" y="4658"/>
                    </a:lnTo>
                    <a:lnTo>
                      <a:pt x="3" y="4661"/>
                    </a:lnTo>
                    <a:lnTo>
                      <a:pt x="5" y="4663"/>
                    </a:lnTo>
                    <a:lnTo>
                      <a:pt x="7" y="4663"/>
                    </a:lnTo>
                    <a:lnTo>
                      <a:pt x="7" y="4665"/>
                    </a:lnTo>
                    <a:lnTo>
                      <a:pt x="11" y="4663"/>
                    </a:lnTo>
                    <a:lnTo>
                      <a:pt x="13" y="4661"/>
                    </a:lnTo>
                    <a:lnTo>
                      <a:pt x="17" y="4660"/>
                    </a:lnTo>
                    <a:lnTo>
                      <a:pt x="13" y="4663"/>
                    </a:lnTo>
                    <a:lnTo>
                      <a:pt x="11" y="4665"/>
                    </a:lnTo>
                    <a:lnTo>
                      <a:pt x="10" y="4669"/>
                    </a:lnTo>
                    <a:lnTo>
                      <a:pt x="10" y="4673"/>
                    </a:lnTo>
                    <a:lnTo>
                      <a:pt x="10" y="4676"/>
                    </a:lnTo>
                    <a:lnTo>
                      <a:pt x="10" y="4678"/>
                    </a:lnTo>
                    <a:lnTo>
                      <a:pt x="10" y="4686"/>
                    </a:lnTo>
                    <a:lnTo>
                      <a:pt x="11" y="4691"/>
                    </a:lnTo>
                    <a:lnTo>
                      <a:pt x="13" y="4699"/>
                    </a:lnTo>
                    <a:lnTo>
                      <a:pt x="15" y="4706"/>
                    </a:lnTo>
                    <a:lnTo>
                      <a:pt x="17" y="4712"/>
                    </a:lnTo>
                    <a:lnTo>
                      <a:pt x="18" y="4715"/>
                    </a:lnTo>
                    <a:lnTo>
                      <a:pt x="20" y="4719"/>
                    </a:lnTo>
                    <a:lnTo>
                      <a:pt x="22" y="4721"/>
                    </a:lnTo>
                    <a:lnTo>
                      <a:pt x="24" y="4724"/>
                    </a:lnTo>
                    <a:lnTo>
                      <a:pt x="24" y="4732"/>
                    </a:lnTo>
                    <a:lnTo>
                      <a:pt x="24" y="4737"/>
                    </a:lnTo>
                    <a:lnTo>
                      <a:pt x="24" y="4745"/>
                    </a:lnTo>
                    <a:lnTo>
                      <a:pt x="26" y="4750"/>
                    </a:lnTo>
                    <a:lnTo>
                      <a:pt x="26" y="4754"/>
                    </a:lnTo>
                    <a:lnTo>
                      <a:pt x="28" y="4758"/>
                    </a:lnTo>
                    <a:lnTo>
                      <a:pt x="30" y="4760"/>
                    </a:lnTo>
                    <a:lnTo>
                      <a:pt x="33" y="4763"/>
                    </a:lnTo>
                    <a:lnTo>
                      <a:pt x="35" y="4763"/>
                    </a:lnTo>
                    <a:lnTo>
                      <a:pt x="37" y="4763"/>
                    </a:lnTo>
                    <a:lnTo>
                      <a:pt x="41" y="4763"/>
                    </a:lnTo>
                    <a:lnTo>
                      <a:pt x="44" y="4763"/>
                    </a:lnTo>
                    <a:lnTo>
                      <a:pt x="50" y="4763"/>
                    </a:lnTo>
                    <a:lnTo>
                      <a:pt x="46" y="4765"/>
                    </a:lnTo>
                    <a:lnTo>
                      <a:pt x="44" y="4767"/>
                    </a:lnTo>
                    <a:lnTo>
                      <a:pt x="41" y="4768"/>
                    </a:lnTo>
                    <a:lnTo>
                      <a:pt x="39" y="4770"/>
                    </a:lnTo>
                    <a:lnTo>
                      <a:pt x="41" y="4770"/>
                    </a:lnTo>
                    <a:lnTo>
                      <a:pt x="43" y="4768"/>
                    </a:lnTo>
                    <a:lnTo>
                      <a:pt x="46" y="4767"/>
                    </a:lnTo>
                    <a:lnTo>
                      <a:pt x="51" y="4763"/>
                    </a:lnTo>
                    <a:lnTo>
                      <a:pt x="59" y="4760"/>
                    </a:lnTo>
                    <a:lnTo>
                      <a:pt x="63" y="4755"/>
                    </a:lnTo>
                    <a:lnTo>
                      <a:pt x="64" y="4752"/>
                    </a:lnTo>
                    <a:lnTo>
                      <a:pt x="66" y="4750"/>
                    </a:lnTo>
                    <a:lnTo>
                      <a:pt x="66" y="4747"/>
                    </a:lnTo>
                    <a:lnTo>
                      <a:pt x="63" y="4745"/>
                    </a:lnTo>
                    <a:lnTo>
                      <a:pt x="61" y="4745"/>
                    </a:lnTo>
                    <a:lnTo>
                      <a:pt x="57" y="4742"/>
                    </a:lnTo>
                    <a:lnTo>
                      <a:pt x="54" y="4737"/>
                    </a:lnTo>
                    <a:lnTo>
                      <a:pt x="51" y="4734"/>
                    </a:lnTo>
                    <a:lnTo>
                      <a:pt x="50" y="4729"/>
                    </a:lnTo>
                    <a:lnTo>
                      <a:pt x="46" y="4719"/>
                    </a:lnTo>
                    <a:lnTo>
                      <a:pt x="44" y="4712"/>
                    </a:lnTo>
                    <a:lnTo>
                      <a:pt x="43" y="4706"/>
                    </a:lnTo>
                    <a:lnTo>
                      <a:pt x="43" y="4701"/>
                    </a:lnTo>
                    <a:lnTo>
                      <a:pt x="43" y="4694"/>
                    </a:lnTo>
                    <a:lnTo>
                      <a:pt x="44" y="4689"/>
                    </a:lnTo>
                    <a:lnTo>
                      <a:pt x="44" y="4686"/>
                    </a:lnTo>
                    <a:lnTo>
                      <a:pt x="46" y="4680"/>
                    </a:lnTo>
                    <a:lnTo>
                      <a:pt x="50" y="4676"/>
                    </a:lnTo>
                    <a:lnTo>
                      <a:pt x="50" y="4675"/>
                    </a:lnTo>
                    <a:lnTo>
                      <a:pt x="51" y="4673"/>
                    </a:lnTo>
                    <a:lnTo>
                      <a:pt x="51" y="4669"/>
                    </a:lnTo>
                    <a:lnTo>
                      <a:pt x="54" y="4665"/>
                    </a:lnTo>
                    <a:lnTo>
                      <a:pt x="54" y="4661"/>
                    </a:lnTo>
                    <a:lnTo>
                      <a:pt x="56" y="4653"/>
                    </a:lnTo>
                    <a:lnTo>
                      <a:pt x="57" y="4648"/>
                    </a:lnTo>
                    <a:lnTo>
                      <a:pt x="57" y="4645"/>
                    </a:lnTo>
                    <a:lnTo>
                      <a:pt x="57" y="4643"/>
                    </a:lnTo>
                    <a:lnTo>
                      <a:pt x="57" y="4640"/>
                    </a:lnTo>
                    <a:lnTo>
                      <a:pt x="59" y="4638"/>
                    </a:lnTo>
                    <a:lnTo>
                      <a:pt x="63" y="4632"/>
                    </a:lnTo>
                    <a:lnTo>
                      <a:pt x="66" y="4625"/>
                    </a:lnTo>
                    <a:lnTo>
                      <a:pt x="71" y="4619"/>
                    </a:lnTo>
                    <a:lnTo>
                      <a:pt x="74" y="4614"/>
                    </a:lnTo>
                    <a:lnTo>
                      <a:pt x="76" y="4612"/>
                    </a:lnTo>
                    <a:lnTo>
                      <a:pt x="77" y="4610"/>
                    </a:lnTo>
                    <a:lnTo>
                      <a:pt x="81" y="4608"/>
                    </a:lnTo>
                    <a:lnTo>
                      <a:pt x="83" y="4608"/>
                    </a:lnTo>
                    <a:lnTo>
                      <a:pt x="91" y="4608"/>
                    </a:lnTo>
                    <a:lnTo>
                      <a:pt x="96" y="4610"/>
                    </a:lnTo>
                    <a:lnTo>
                      <a:pt x="102" y="4612"/>
                    </a:lnTo>
                    <a:lnTo>
                      <a:pt x="107" y="4612"/>
                    </a:lnTo>
                    <a:lnTo>
                      <a:pt x="109" y="4612"/>
                    </a:lnTo>
                    <a:lnTo>
                      <a:pt x="110" y="4612"/>
                    </a:lnTo>
                    <a:lnTo>
                      <a:pt x="112" y="4610"/>
                    </a:lnTo>
                    <a:lnTo>
                      <a:pt x="115" y="4608"/>
                    </a:lnTo>
                    <a:lnTo>
                      <a:pt x="115" y="4604"/>
                    </a:lnTo>
                    <a:lnTo>
                      <a:pt x="117" y="4601"/>
                    </a:lnTo>
                    <a:lnTo>
                      <a:pt x="117" y="4597"/>
                    </a:lnTo>
                    <a:lnTo>
                      <a:pt x="117" y="4589"/>
                    </a:lnTo>
                    <a:lnTo>
                      <a:pt x="118" y="4587"/>
                    </a:lnTo>
                    <a:lnTo>
                      <a:pt x="118" y="4584"/>
                    </a:lnTo>
                    <a:lnTo>
                      <a:pt x="120" y="4582"/>
                    </a:lnTo>
                    <a:lnTo>
                      <a:pt x="118" y="4581"/>
                    </a:lnTo>
                    <a:lnTo>
                      <a:pt x="117" y="4577"/>
                    </a:lnTo>
                    <a:close/>
                    <a:moveTo>
                      <a:pt x="5941" y="5553"/>
                    </a:moveTo>
                    <a:lnTo>
                      <a:pt x="5946" y="5553"/>
                    </a:lnTo>
                    <a:lnTo>
                      <a:pt x="5950" y="5552"/>
                    </a:lnTo>
                    <a:lnTo>
                      <a:pt x="5952" y="5550"/>
                    </a:lnTo>
                    <a:lnTo>
                      <a:pt x="5958" y="5547"/>
                    </a:lnTo>
                    <a:lnTo>
                      <a:pt x="5961" y="5542"/>
                    </a:lnTo>
                    <a:lnTo>
                      <a:pt x="5969" y="5537"/>
                    </a:lnTo>
                    <a:lnTo>
                      <a:pt x="5961" y="5537"/>
                    </a:lnTo>
                    <a:lnTo>
                      <a:pt x="5954" y="5539"/>
                    </a:lnTo>
                    <a:lnTo>
                      <a:pt x="5948" y="5542"/>
                    </a:lnTo>
                    <a:lnTo>
                      <a:pt x="5943" y="5547"/>
                    </a:lnTo>
                    <a:lnTo>
                      <a:pt x="5938" y="5548"/>
                    </a:lnTo>
                    <a:lnTo>
                      <a:pt x="5933" y="5552"/>
                    </a:lnTo>
                    <a:lnTo>
                      <a:pt x="5931" y="5553"/>
                    </a:lnTo>
                    <a:lnTo>
                      <a:pt x="5931" y="5555"/>
                    </a:lnTo>
                    <a:lnTo>
                      <a:pt x="5938" y="5555"/>
                    </a:lnTo>
                    <a:lnTo>
                      <a:pt x="5941" y="5553"/>
                    </a:lnTo>
                    <a:close/>
                    <a:moveTo>
                      <a:pt x="6103" y="5808"/>
                    </a:moveTo>
                    <a:lnTo>
                      <a:pt x="6096" y="5808"/>
                    </a:lnTo>
                    <a:lnTo>
                      <a:pt x="6091" y="5808"/>
                    </a:lnTo>
                    <a:lnTo>
                      <a:pt x="6085" y="5810"/>
                    </a:lnTo>
                    <a:lnTo>
                      <a:pt x="6079" y="5812"/>
                    </a:lnTo>
                    <a:lnTo>
                      <a:pt x="6076" y="5815"/>
                    </a:lnTo>
                    <a:lnTo>
                      <a:pt x="6070" y="5820"/>
                    </a:lnTo>
                    <a:lnTo>
                      <a:pt x="6068" y="5822"/>
                    </a:lnTo>
                    <a:lnTo>
                      <a:pt x="6065" y="5825"/>
                    </a:lnTo>
                    <a:lnTo>
                      <a:pt x="6063" y="5828"/>
                    </a:lnTo>
                    <a:lnTo>
                      <a:pt x="6061" y="5832"/>
                    </a:lnTo>
                    <a:lnTo>
                      <a:pt x="6061" y="5835"/>
                    </a:lnTo>
                    <a:lnTo>
                      <a:pt x="6059" y="5838"/>
                    </a:lnTo>
                    <a:lnTo>
                      <a:pt x="6061" y="5840"/>
                    </a:lnTo>
                    <a:lnTo>
                      <a:pt x="6063" y="5842"/>
                    </a:lnTo>
                    <a:lnTo>
                      <a:pt x="6065" y="5842"/>
                    </a:lnTo>
                    <a:lnTo>
                      <a:pt x="6066" y="5843"/>
                    </a:lnTo>
                    <a:lnTo>
                      <a:pt x="6074" y="5842"/>
                    </a:lnTo>
                    <a:lnTo>
                      <a:pt x="6083" y="5840"/>
                    </a:lnTo>
                    <a:lnTo>
                      <a:pt x="6091" y="5836"/>
                    </a:lnTo>
                    <a:lnTo>
                      <a:pt x="6098" y="5832"/>
                    </a:lnTo>
                    <a:lnTo>
                      <a:pt x="6101" y="5828"/>
                    </a:lnTo>
                    <a:lnTo>
                      <a:pt x="6103" y="5827"/>
                    </a:lnTo>
                    <a:lnTo>
                      <a:pt x="6107" y="5823"/>
                    </a:lnTo>
                    <a:lnTo>
                      <a:pt x="6107" y="5820"/>
                    </a:lnTo>
                    <a:lnTo>
                      <a:pt x="6107" y="5817"/>
                    </a:lnTo>
                    <a:lnTo>
                      <a:pt x="6107" y="5814"/>
                    </a:lnTo>
                    <a:lnTo>
                      <a:pt x="6106" y="5810"/>
                    </a:lnTo>
                    <a:lnTo>
                      <a:pt x="6103" y="5808"/>
                    </a:lnTo>
                    <a:close/>
                    <a:moveTo>
                      <a:pt x="6144" y="5863"/>
                    </a:moveTo>
                    <a:lnTo>
                      <a:pt x="6137" y="5868"/>
                    </a:lnTo>
                    <a:lnTo>
                      <a:pt x="6131" y="5873"/>
                    </a:lnTo>
                    <a:lnTo>
                      <a:pt x="6127" y="5878"/>
                    </a:lnTo>
                    <a:lnTo>
                      <a:pt x="6124" y="5884"/>
                    </a:lnTo>
                    <a:lnTo>
                      <a:pt x="6122" y="5891"/>
                    </a:lnTo>
                    <a:lnTo>
                      <a:pt x="6122" y="5899"/>
                    </a:lnTo>
                    <a:lnTo>
                      <a:pt x="6127" y="5897"/>
                    </a:lnTo>
                    <a:lnTo>
                      <a:pt x="6132" y="5897"/>
                    </a:lnTo>
                    <a:lnTo>
                      <a:pt x="6140" y="5896"/>
                    </a:lnTo>
                    <a:lnTo>
                      <a:pt x="6145" y="5893"/>
                    </a:lnTo>
                    <a:lnTo>
                      <a:pt x="6147" y="5891"/>
                    </a:lnTo>
                    <a:lnTo>
                      <a:pt x="6150" y="5889"/>
                    </a:lnTo>
                    <a:lnTo>
                      <a:pt x="6152" y="5886"/>
                    </a:lnTo>
                    <a:lnTo>
                      <a:pt x="6153" y="5882"/>
                    </a:lnTo>
                    <a:lnTo>
                      <a:pt x="6155" y="5878"/>
                    </a:lnTo>
                    <a:lnTo>
                      <a:pt x="6155" y="5873"/>
                    </a:lnTo>
                    <a:lnTo>
                      <a:pt x="6155" y="5868"/>
                    </a:lnTo>
                    <a:lnTo>
                      <a:pt x="6157" y="5861"/>
                    </a:lnTo>
                    <a:lnTo>
                      <a:pt x="6150" y="5861"/>
                    </a:lnTo>
                    <a:lnTo>
                      <a:pt x="6144" y="5863"/>
                    </a:lnTo>
                    <a:close/>
                    <a:moveTo>
                      <a:pt x="6306" y="5875"/>
                    </a:moveTo>
                    <a:lnTo>
                      <a:pt x="6303" y="5871"/>
                    </a:lnTo>
                    <a:lnTo>
                      <a:pt x="6299" y="5869"/>
                    </a:lnTo>
                    <a:lnTo>
                      <a:pt x="6295" y="5868"/>
                    </a:lnTo>
                    <a:lnTo>
                      <a:pt x="6290" y="5869"/>
                    </a:lnTo>
                    <a:lnTo>
                      <a:pt x="6284" y="5869"/>
                    </a:lnTo>
                    <a:lnTo>
                      <a:pt x="6279" y="5871"/>
                    </a:lnTo>
                    <a:lnTo>
                      <a:pt x="6273" y="5875"/>
                    </a:lnTo>
                    <a:lnTo>
                      <a:pt x="6266" y="5878"/>
                    </a:lnTo>
                    <a:lnTo>
                      <a:pt x="6260" y="5882"/>
                    </a:lnTo>
                    <a:lnTo>
                      <a:pt x="6257" y="5886"/>
                    </a:lnTo>
                    <a:lnTo>
                      <a:pt x="6251" y="5889"/>
                    </a:lnTo>
                    <a:lnTo>
                      <a:pt x="6247" y="5893"/>
                    </a:lnTo>
                    <a:lnTo>
                      <a:pt x="6244" y="5897"/>
                    </a:lnTo>
                    <a:lnTo>
                      <a:pt x="6242" y="5899"/>
                    </a:lnTo>
                    <a:lnTo>
                      <a:pt x="6239" y="5899"/>
                    </a:lnTo>
                    <a:lnTo>
                      <a:pt x="6234" y="5901"/>
                    </a:lnTo>
                    <a:lnTo>
                      <a:pt x="6231" y="5899"/>
                    </a:lnTo>
                    <a:lnTo>
                      <a:pt x="6225" y="5897"/>
                    </a:lnTo>
                    <a:lnTo>
                      <a:pt x="6218" y="5896"/>
                    </a:lnTo>
                    <a:lnTo>
                      <a:pt x="6213" y="5891"/>
                    </a:lnTo>
                    <a:lnTo>
                      <a:pt x="6199" y="5884"/>
                    </a:lnTo>
                    <a:lnTo>
                      <a:pt x="6193" y="5881"/>
                    </a:lnTo>
                    <a:lnTo>
                      <a:pt x="6186" y="5878"/>
                    </a:lnTo>
                    <a:lnTo>
                      <a:pt x="6181" y="5876"/>
                    </a:lnTo>
                    <a:lnTo>
                      <a:pt x="6175" y="5876"/>
                    </a:lnTo>
                    <a:lnTo>
                      <a:pt x="6172" y="5876"/>
                    </a:lnTo>
                    <a:lnTo>
                      <a:pt x="6170" y="5878"/>
                    </a:lnTo>
                    <a:lnTo>
                      <a:pt x="6166" y="5881"/>
                    </a:lnTo>
                    <a:lnTo>
                      <a:pt x="6164" y="5882"/>
                    </a:lnTo>
                    <a:lnTo>
                      <a:pt x="6162" y="5884"/>
                    </a:lnTo>
                    <a:lnTo>
                      <a:pt x="6160" y="5888"/>
                    </a:lnTo>
                    <a:lnTo>
                      <a:pt x="6157" y="5891"/>
                    </a:lnTo>
                    <a:lnTo>
                      <a:pt x="6157" y="5897"/>
                    </a:lnTo>
                    <a:lnTo>
                      <a:pt x="6170" y="5897"/>
                    </a:lnTo>
                    <a:lnTo>
                      <a:pt x="6183" y="5901"/>
                    </a:lnTo>
                    <a:lnTo>
                      <a:pt x="6196" y="5904"/>
                    </a:lnTo>
                    <a:lnTo>
                      <a:pt x="6208" y="5908"/>
                    </a:lnTo>
                    <a:lnTo>
                      <a:pt x="6221" y="5914"/>
                    </a:lnTo>
                    <a:lnTo>
                      <a:pt x="6234" y="5921"/>
                    </a:lnTo>
                    <a:lnTo>
                      <a:pt x="6260" y="5934"/>
                    </a:lnTo>
                    <a:lnTo>
                      <a:pt x="6266" y="5934"/>
                    </a:lnTo>
                    <a:lnTo>
                      <a:pt x="6273" y="5935"/>
                    </a:lnTo>
                    <a:lnTo>
                      <a:pt x="6279" y="5939"/>
                    </a:lnTo>
                    <a:lnTo>
                      <a:pt x="6284" y="5943"/>
                    </a:lnTo>
                    <a:lnTo>
                      <a:pt x="6288" y="5945"/>
                    </a:lnTo>
                    <a:lnTo>
                      <a:pt x="6292" y="5949"/>
                    </a:lnTo>
                    <a:lnTo>
                      <a:pt x="6293" y="5950"/>
                    </a:lnTo>
                    <a:lnTo>
                      <a:pt x="6295" y="5952"/>
                    </a:lnTo>
                    <a:lnTo>
                      <a:pt x="6300" y="5950"/>
                    </a:lnTo>
                    <a:lnTo>
                      <a:pt x="6308" y="5949"/>
                    </a:lnTo>
                    <a:lnTo>
                      <a:pt x="6313" y="5945"/>
                    </a:lnTo>
                    <a:lnTo>
                      <a:pt x="6321" y="5943"/>
                    </a:lnTo>
                    <a:lnTo>
                      <a:pt x="6326" y="5939"/>
                    </a:lnTo>
                    <a:lnTo>
                      <a:pt x="6334" y="5935"/>
                    </a:lnTo>
                    <a:lnTo>
                      <a:pt x="6340" y="5934"/>
                    </a:lnTo>
                    <a:lnTo>
                      <a:pt x="6345" y="5934"/>
                    </a:lnTo>
                    <a:lnTo>
                      <a:pt x="6343" y="5935"/>
                    </a:lnTo>
                    <a:lnTo>
                      <a:pt x="6340" y="5939"/>
                    </a:lnTo>
                    <a:lnTo>
                      <a:pt x="6336" y="5943"/>
                    </a:lnTo>
                    <a:lnTo>
                      <a:pt x="6330" y="5945"/>
                    </a:lnTo>
                    <a:lnTo>
                      <a:pt x="6325" y="5949"/>
                    </a:lnTo>
                    <a:lnTo>
                      <a:pt x="6320" y="5950"/>
                    </a:lnTo>
                    <a:lnTo>
                      <a:pt x="6312" y="5952"/>
                    </a:lnTo>
                    <a:lnTo>
                      <a:pt x="6318" y="5952"/>
                    </a:lnTo>
                    <a:lnTo>
                      <a:pt x="6323" y="5952"/>
                    </a:lnTo>
                    <a:lnTo>
                      <a:pt x="6325" y="5952"/>
                    </a:lnTo>
                    <a:lnTo>
                      <a:pt x="6326" y="5952"/>
                    </a:lnTo>
                    <a:lnTo>
                      <a:pt x="6328" y="5952"/>
                    </a:lnTo>
                    <a:lnTo>
                      <a:pt x="6330" y="5952"/>
                    </a:lnTo>
                    <a:lnTo>
                      <a:pt x="6336" y="5950"/>
                    </a:lnTo>
                    <a:lnTo>
                      <a:pt x="6341" y="5949"/>
                    </a:lnTo>
                    <a:lnTo>
                      <a:pt x="6349" y="5943"/>
                    </a:lnTo>
                    <a:lnTo>
                      <a:pt x="6356" y="5937"/>
                    </a:lnTo>
                    <a:lnTo>
                      <a:pt x="6361" y="5930"/>
                    </a:lnTo>
                    <a:lnTo>
                      <a:pt x="6369" y="5921"/>
                    </a:lnTo>
                    <a:lnTo>
                      <a:pt x="6374" y="5909"/>
                    </a:lnTo>
                    <a:lnTo>
                      <a:pt x="6382" y="5897"/>
                    </a:lnTo>
                    <a:lnTo>
                      <a:pt x="6379" y="5901"/>
                    </a:lnTo>
                    <a:lnTo>
                      <a:pt x="6376" y="5902"/>
                    </a:lnTo>
                    <a:lnTo>
                      <a:pt x="6379" y="5899"/>
                    </a:lnTo>
                    <a:lnTo>
                      <a:pt x="6380" y="5897"/>
                    </a:lnTo>
                    <a:lnTo>
                      <a:pt x="6379" y="5897"/>
                    </a:lnTo>
                    <a:lnTo>
                      <a:pt x="6376" y="5899"/>
                    </a:lnTo>
                    <a:lnTo>
                      <a:pt x="6373" y="5899"/>
                    </a:lnTo>
                    <a:lnTo>
                      <a:pt x="6369" y="5901"/>
                    </a:lnTo>
                    <a:lnTo>
                      <a:pt x="6367" y="5904"/>
                    </a:lnTo>
                    <a:lnTo>
                      <a:pt x="6366" y="5909"/>
                    </a:lnTo>
                    <a:lnTo>
                      <a:pt x="6364" y="5916"/>
                    </a:lnTo>
                    <a:lnTo>
                      <a:pt x="6364" y="5908"/>
                    </a:lnTo>
                    <a:lnTo>
                      <a:pt x="6361" y="5902"/>
                    </a:lnTo>
                    <a:lnTo>
                      <a:pt x="6359" y="5897"/>
                    </a:lnTo>
                    <a:lnTo>
                      <a:pt x="6358" y="5891"/>
                    </a:lnTo>
                    <a:lnTo>
                      <a:pt x="6356" y="5888"/>
                    </a:lnTo>
                    <a:lnTo>
                      <a:pt x="6353" y="5884"/>
                    </a:lnTo>
                    <a:lnTo>
                      <a:pt x="6349" y="5881"/>
                    </a:lnTo>
                    <a:lnTo>
                      <a:pt x="6345" y="5878"/>
                    </a:lnTo>
                    <a:lnTo>
                      <a:pt x="6340" y="5878"/>
                    </a:lnTo>
                    <a:lnTo>
                      <a:pt x="6336" y="5876"/>
                    </a:lnTo>
                    <a:lnTo>
                      <a:pt x="6333" y="5878"/>
                    </a:lnTo>
                    <a:lnTo>
                      <a:pt x="6326" y="5881"/>
                    </a:lnTo>
                    <a:lnTo>
                      <a:pt x="6323" y="5882"/>
                    </a:lnTo>
                    <a:lnTo>
                      <a:pt x="6320" y="5886"/>
                    </a:lnTo>
                    <a:lnTo>
                      <a:pt x="6315" y="5891"/>
                    </a:lnTo>
                    <a:lnTo>
                      <a:pt x="6312" y="5897"/>
                    </a:lnTo>
                    <a:lnTo>
                      <a:pt x="6312" y="5891"/>
                    </a:lnTo>
                    <a:lnTo>
                      <a:pt x="6312" y="5888"/>
                    </a:lnTo>
                    <a:lnTo>
                      <a:pt x="6310" y="5884"/>
                    </a:lnTo>
                    <a:lnTo>
                      <a:pt x="6310" y="5881"/>
                    </a:lnTo>
                    <a:lnTo>
                      <a:pt x="6306" y="5875"/>
                    </a:lnTo>
                    <a:close/>
                    <a:moveTo>
                      <a:pt x="5752" y="5359"/>
                    </a:moveTo>
                    <a:lnTo>
                      <a:pt x="5747" y="5358"/>
                    </a:lnTo>
                    <a:lnTo>
                      <a:pt x="5744" y="5356"/>
                    </a:lnTo>
                    <a:lnTo>
                      <a:pt x="5740" y="5354"/>
                    </a:lnTo>
                    <a:lnTo>
                      <a:pt x="5734" y="5354"/>
                    </a:lnTo>
                    <a:lnTo>
                      <a:pt x="5730" y="5354"/>
                    </a:lnTo>
                    <a:lnTo>
                      <a:pt x="5725" y="5354"/>
                    </a:lnTo>
                    <a:lnTo>
                      <a:pt x="5721" y="5356"/>
                    </a:lnTo>
                    <a:lnTo>
                      <a:pt x="5717" y="5358"/>
                    </a:lnTo>
                    <a:lnTo>
                      <a:pt x="5714" y="5359"/>
                    </a:lnTo>
                    <a:lnTo>
                      <a:pt x="5712" y="5364"/>
                    </a:lnTo>
                    <a:lnTo>
                      <a:pt x="5709" y="5367"/>
                    </a:lnTo>
                    <a:lnTo>
                      <a:pt x="5706" y="5372"/>
                    </a:lnTo>
                    <a:lnTo>
                      <a:pt x="5706" y="5378"/>
                    </a:lnTo>
                    <a:lnTo>
                      <a:pt x="5706" y="5386"/>
                    </a:lnTo>
                    <a:lnTo>
                      <a:pt x="5709" y="5382"/>
                    </a:lnTo>
                    <a:lnTo>
                      <a:pt x="5714" y="5380"/>
                    </a:lnTo>
                    <a:lnTo>
                      <a:pt x="5717" y="5378"/>
                    </a:lnTo>
                    <a:lnTo>
                      <a:pt x="5721" y="5376"/>
                    </a:lnTo>
                    <a:lnTo>
                      <a:pt x="5730" y="5376"/>
                    </a:lnTo>
                    <a:lnTo>
                      <a:pt x="5740" y="5376"/>
                    </a:lnTo>
                    <a:lnTo>
                      <a:pt x="5747" y="5374"/>
                    </a:lnTo>
                    <a:lnTo>
                      <a:pt x="5750" y="5374"/>
                    </a:lnTo>
                    <a:lnTo>
                      <a:pt x="5752" y="5374"/>
                    </a:lnTo>
                    <a:lnTo>
                      <a:pt x="5757" y="5372"/>
                    </a:lnTo>
                    <a:lnTo>
                      <a:pt x="5758" y="5371"/>
                    </a:lnTo>
                    <a:lnTo>
                      <a:pt x="5758" y="5369"/>
                    </a:lnTo>
                    <a:lnTo>
                      <a:pt x="5760" y="5367"/>
                    </a:lnTo>
                    <a:lnTo>
                      <a:pt x="5757" y="5364"/>
                    </a:lnTo>
                    <a:lnTo>
                      <a:pt x="5752" y="5359"/>
                    </a:lnTo>
                    <a:close/>
                    <a:moveTo>
                      <a:pt x="5771" y="5361"/>
                    </a:moveTo>
                    <a:lnTo>
                      <a:pt x="5770" y="5359"/>
                    </a:lnTo>
                    <a:lnTo>
                      <a:pt x="5767" y="5358"/>
                    </a:lnTo>
                    <a:lnTo>
                      <a:pt x="5765" y="5358"/>
                    </a:lnTo>
                    <a:lnTo>
                      <a:pt x="5763" y="5359"/>
                    </a:lnTo>
                    <a:lnTo>
                      <a:pt x="5763" y="5361"/>
                    </a:lnTo>
                    <a:lnTo>
                      <a:pt x="5763" y="5366"/>
                    </a:lnTo>
                    <a:lnTo>
                      <a:pt x="5767" y="5371"/>
                    </a:lnTo>
                    <a:lnTo>
                      <a:pt x="5771" y="5378"/>
                    </a:lnTo>
                    <a:lnTo>
                      <a:pt x="5778" y="5386"/>
                    </a:lnTo>
                    <a:lnTo>
                      <a:pt x="5778" y="5378"/>
                    </a:lnTo>
                    <a:lnTo>
                      <a:pt x="5778" y="5374"/>
                    </a:lnTo>
                    <a:lnTo>
                      <a:pt x="5778" y="5371"/>
                    </a:lnTo>
                    <a:lnTo>
                      <a:pt x="5778" y="5369"/>
                    </a:lnTo>
                    <a:lnTo>
                      <a:pt x="5778" y="5367"/>
                    </a:lnTo>
                    <a:lnTo>
                      <a:pt x="5775" y="5364"/>
                    </a:lnTo>
                    <a:lnTo>
                      <a:pt x="5771" y="5361"/>
                    </a:lnTo>
                    <a:close/>
                    <a:moveTo>
                      <a:pt x="744" y="5461"/>
                    </a:moveTo>
                    <a:lnTo>
                      <a:pt x="738" y="5460"/>
                    </a:lnTo>
                    <a:lnTo>
                      <a:pt x="734" y="5460"/>
                    </a:lnTo>
                    <a:lnTo>
                      <a:pt x="731" y="5461"/>
                    </a:lnTo>
                    <a:lnTo>
                      <a:pt x="729" y="5463"/>
                    </a:lnTo>
                    <a:lnTo>
                      <a:pt x="727" y="5465"/>
                    </a:lnTo>
                    <a:lnTo>
                      <a:pt x="726" y="5466"/>
                    </a:lnTo>
                    <a:lnTo>
                      <a:pt x="726" y="5471"/>
                    </a:lnTo>
                    <a:lnTo>
                      <a:pt x="726" y="5473"/>
                    </a:lnTo>
                    <a:lnTo>
                      <a:pt x="726" y="5474"/>
                    </a:lnTo>
                    <a:lnTo>
                      <a:pt x="727" y="5478"/>
                    </a:lnTo>
                    <a:lnTo>
                      <a:pt x="729" y="5479"/>
                    </a:lnTo>
                    <a:lnTo>
                      <a:pt x="729" y="5478"/>
                    </a:lnTo>
                    <a:lnTo>
                      <a:pt x="731" y="5478"/>
                    </a:lnTo>
                    <a:lnTo>
                      <a:pt x="731" y="5476"/>
                    </a:lnTo>
                    <a:lnTo>
                      <a:pt x="733" y="5474"/>
                    </a:lnTo>
                    <a:lnTo>
                      <a:pt x="736" y="5471"/>
                    </a:lnTo>
                    <a:lnTo>
                      <a:pt x="742" y="5468"/>
                    </a:lnTo>
                    <a:lnTo>
                      <a:pt x="749" y="5465"/>
                    </a:lnTo>
                    <a:lnTo>
                      <a:pt x="757" y="5465"/>
                    </a:lnTo>
                    <a:lnTo>
                      <a:pt x="749" y="5463"/>
                    </a:lnTo>
                    <a:lnTo>
                      <a:pt x="744" y="5461"/>
                    </a:lnTo>
                    <a:close/>
                    <a:moveTo>
                      <a:pt x="721" y="5506"/>
                    </a:moveTo>
                    <a:lnTo>
                      <a:pt x="720" y="5504"/>
                    </a:lnTo>
                    <a:lnTo>
                      <a:pt x="716" y="5504"/>
                    </a:lnTo>
                    <a:lnTo>
                      <a:pt x="713" y="5502"/>
                    </a:lnTo>
                    <a:lnTo>
                      <a:pt x="708" y="5502"/>
                    </a:lnTo>
                    <a:lnTo>
                      <a:pt x="701" y="5502"/>
                    </a:lnTo>
                    <a:lnTo>
                      <a:pt x="705" y="5498"/>
                    </a:lnTo>
                    <a:lnTo>
                      <a:pt x="706" y="5494"/>
                    </a:lnTo>
                    <a:lnTo>
                      <a:pt x="708" y="5491"/>
                    </a:lnTo>
                    <a:lnTo>
                      <a:pt x="711" y="5487"/>
                    </a:lnTo>
                    <a:lnTo>
                      <a:pt x="711" y="5481"/>
                    </a:lnTo>
                    <a:lnTo>
                      <a:pt x="711" y="5474"/>
                    </a:lnTo>
                    <a:lnTo>
                      <a:pt x="711" y="5466"/>
                    </a:lnTo>
                    <a:lnTo>
                      <a:pt x="713" y="5461"/>
                    </a:lnTo>
                    <a:lnTo>
                      <a:pt x="713" y="5458"/>
                    </a:lnTo>
                    <a:lnTo>
                      <a:pt x="714" y="5453"/>
                    </a:lnTo>
                    <a:lnTo>
                      <a:pt x="716" y="5450"/>
                    </a:lnTo>
                    <a:lnTo>
                      <a:pt x="720" y="5446"/>
                    </a:lnTo>
                    <a:lnTo>
                      <a:pt x="727" y="5446"/>
                    </a:lnTo>
                    <a:lnTo>
                      <a:pt x="733" y="5446"/>
                    </a:lnTo>
                    <a:lnTo>
                      <a:pt x="738" y="5446"/>
                    </a:lnTo>
                    <a:lnTo>
                      <a:pt x="742" y="5445"/>
                    </a:lnTo>
                    <a:lnTo>
                      <a:pt x="744" y="5445"/>
                    </a:lnTo>
                    <a:lnTo>
                      <a:pt x="746" y="5443"/>
                    </a:lnTo>
                    <a:lnTo>
                      <a:pt x="746" y="5441"/>
                    </a:lnTo>
                    <a:lnTo>
                      <a:pt x="746" y="5440"/>
                    </a:lnTo>
                    <a:lnTo>
                      <a:pt x="744" y="5437"/>
                    </a:lnTo>
                    <a:lnTo>
                      <a:pt x="744" y="5435"/>
                    </a:lnTo>
                    <a:lnTo>
                      <a:pt x="741" y="5432"/>
                    </a:lnTo>
                    <a:lnTo>
                      <a:pt x="738" y="5430"/>
                    </a:lnTo>
                    <a:lnTo>
                      <a:pt x="731" y="5432"/>
                    </a:lnTo>
                    <a:lnTo>
                      <a:pt x="726" y="5437"/>
                    </a:lnTo>
                    <a:lnTo>
                      <a:pt x="720" y="5441"/>
                    </a:lnTo>
                    <a:lnTo>
                      <a:pt x="714" y="5446"/>
                    </a:lnTo>
                    <a:lnTo>
                      <a:pt x="711" y="5450"/>
                    </a:lnTo>
                    <a:lnTo>
                      <a:pt x="705" y="5456"/>
                    </a:lnTo>
                    <a:lnTo>
                      <a:pt x="703" y="5461"/>
                    </a:lnTo>
                    <a:lnTo>
                      <a:pt x="700" y="5466"/>
                    </a:lnTo>
                    <a:lnTo>
                      <a:pt x="698" y="5474"/>
                    </a:lnTo>
                    <a:lnTo>
                      <a:pt x="696" y="5479"/>
                    </a:lnTo>
                    <a:lnTo>
                      <a:pt x="696" y="5487"/>
                    </a:lnTo>
                    <a:lnTo>
                      <a:pt x="694" y="5493"/>
                    </a:lnTo>
                    <a:lnTo>
                      <a:pt x="696" y="5499"/>
                    </a:lnTo>
                    <a:lnTo>
                      <a:pt x="698" y="5506"/>
                    </a:lnTo>
                    <a:lnTo>
                      <a:pt x="700" y="5513"/>
                    </a:lnTo>
                    <a:lnTo>
                      <a:pt x="701" y="5520"/>
                    </a:lnTo>
                    <a:lnTo>
                      <a:pt x="708" y="5519"/>
                    </a:lnTo>
                    <a:lnTo>
                      <a:pt x="714" y="5517"/>
                    </a:lnTo>
                    <a:lnTo>
                      <a:pt x="718" y="5514"/>
                    </a:lnTo>
                    <a:lnTo>
                      <a:pt x="720" y="5513"/>
                    </a:lnTo>
                    <a:lnTo>
                      <a:pt x="721" y="5513"/>
                    </a:lnTo>
                    <a:lnTo>
                      <a:pt x="721" y="5511"/>
                    </a:lnTo>
                    <a:lnTo>
                      <a:pt x="723" y="5509"/>
                    </a:lnTo>
                    <a:lnTo>
                      <a:pt x="721" y="5507"/>
                    </a:lnTo>
                    <a:lnTo>
                      <a:pt x="721" y="5506"/>
                    </a:lnTo>
                    <a:close/>
                    <a:moveTo>
                      <a:pt x="696" y="5413"/>
                    </a:moveTo>
                    <a:lnTo>
                      <a:pt x="698" y="5412"/>
                    </a:lnTo>
                    <a:lnTo>
                      <a:pt x="696" y="5407"/>
                    </a:lnTo>
                    <a:lnTo>
                      <a:pt x="694" y="5402"/>
                    </a:lnTo>
                    <a:lnTo>
                      <a:pt x="692" y="5399"/>
                    </a:lnTo>
                    <a:lnTo>
                      <a:pt x="688" y="5392"/>
                    </a:lnTo>
                    <a:lnTo>
                      <a:pt x="687" y="5392"/>
                    </a:lnTo>
                    <a:lnTo>
                      <a:pt x="687" y="5395"/>
                    </a:lnTo>
                    <a:lnTo>
                      <a:pt x="685" y="5399"/>
                    </a:lnTo>
                    <a:lnTo>
                      <a:pt x="683" y="5404"/>
                    </a:lnTo>
                    <a:lnTo>
                      <a:pt x="681" y="5410"/>
                    </a:lnTo>
                    <a:lnTo>
                      <a:pt x="683" y="5415"/>
                    </a:lnTo>
                    <a:lnTo>
                      <a:pt x="683" y="5419"/>
                    </a:lnTo>
                    <a:lnTo>
                      <a:pt x="685" y="5422"/>
                    </a:lnTo>
                    <a:lnTo>
                      <a:pt x="685" y="5426"/>
                    </a:lnTo>
                    <a:lnTo>
                      <a:pt x="688" y="5430"/>
                    </a:lnTo>
                    <a:lnTo>
                      <a:pt x="692" y="5422"/>
                    </a:lnTo>
                    <a:lnTo>
                      <a:pt x="694" y="5419"/>
                    </a:lnTo>
                    <a:lnTo>
                      <a:pt x="696" y="5413"/>
                    </a:lnTo>
                    <a:close/>
                    <a:moveTo>
                      <a:pt x="733" y="5391"/>
                    </a:moveTo>
                    <a:lnTo>
                      <a:pt x="736" y="5391"/>
                    </a:lnTo>
                    <a:lnTo>
                      <a:pt x="738" y="5391"/>
                    </a:lnTo>
                    <a:lnTo>
                      <a:pt x="741" y="5389"/>
                    </a:lnTo>
                    <a:lnTo>
                      <a:pt x="742" y="5389"/>
                    </a:lnTo>
                    <a:lnTo>
                      <a:pt x="742" y="5387"/>
                    </a:lnTo>
                    <a:lnTo>
                      <a:pt x="741" y="5386"/>
                    </a:lnTo>
                    <a:lnTo>
                      <a:pt x="738" y="5386"/>
                    </a:lnTo>
                    <a:lnTo>
                      <a:pt x="731" y="5386"/>
                    </a:lnTo>
                    <a:lnTo>
                      <a:pt x="727" y="5386"/>
                    </a:lnTo>
                    <a:lnTo>
                      <a:pt x="721" y="5387"/>
                    </a:lnTo>
                    <a:lnTo>
                      <a:pt x="720" y="5389"/>
                    </a:lnTo>
                    <a:lnTo>
                      <a:pt x="716" y="5389"/>
                    </a:lnTo>
                    <a:lnTo>
                      <a:pt x="711" y="5391"/>
                    </a:lnTo>
                    <a:lnTo>
                      <a:pt x="706" y="5391"/>
                    </a:lnTo>
                    <a:lnTo>
                      <a:pt x="701" y="5392"/>
                    </a:lnTo>
                    <a:lnTo>
                      <a:pt x="708" y="5392"/>
                    </a:lnTo>
                    <a:lnTo>
                      <a:pt x="716" y="5391"/>
                    </a:lnTo>
                    <a:lnTo>
                      <a:pt x="726" y="5391"/>
                    </a:lnTo>
                    <a:lnTo>
                      <a:pt x="733" y="5391"/>
                    </a:lnTo>
                    <a:close/>
                    <a:moveTo>
                      <a:pt x="5603" y="5479"/>
                    </a:moveTo>
                    <a:lnTo>
                      <a:pt x="5599" y="5479"/>
                    </a:lnTo>
                    <a:lnTo>
                      <a:pt x="5596" y="5478"/>
                    </a:lnTo>
                    <a:lnTo>
                      <a:pt x="5589" y="5479"/>
                    </a:lnTo>
                    <a:lnTo>
                      <a:pt x="5577" y="5479"/>
                    </a:lnTo>
                    <a:lnTo>
                      <a:pt x="5566" y="5483"/>
                    </a:lnTo>
                    <a:lnTo>
                      <a:pt x="5556" y="5487"/>
                    </a:lnTo>
                    <a:lnTo>
                      <a:pt x="5543" y="5491"/>
                    </a:lnTo>
                    <a:lnTo>
                      <a:pt x="5529" y="5496"/>
                    </a:lnTo>
                    <a:lnTo>
                      <a:pt x="5516" y="5499"/>
                    </a:lnTo>
                    <a:lnTo>
                      <a:pt x="5505" y="5506"/>
                    </a:lnTo>
                    <a:lnTo>
                      <a:pt x="5495" y="5511"/>
                    </a:lnTo>
                    <a:lnTo>
                      <a:pt x="5483" y="5517"/>
                    </a:lnTo>
                    <a:lnTo>
                      <a:pt x="5480" y="5520"/>
                    </a:lnTo>
                    <a:lnTo>
                      <a:pt x="5475" y="5522"/>
                    </a:lnTo>
                    <a:lnTo>
                      <a:pt x="5472" y="5526"/>
                    </a:lnTo>
                    <a:lnTo>
                      <a:pt x="5469" y="5527"/>
                    </a:lnTo>
                    <a:lnTo>
                      <a:pt x="5467" y="5529"/>
                    </a:lnTo>
                    <a:lnTo>
                      <a:pt x="5465" y="5532"/>
                    </a:lnTo>
                    <a:lnTo>
                      <a:pt x="5465" y="5535"/>
                    </a:lnTo>
                    <a:lnTo>
                      <a:pt x="5465" y="5537"/>
                    </a:lnTo>
                    <a:lnTo>
                      <a:pt x="5483" y="5529"/>
                    </a:lnTo>
                    <a:lnTo>
                      <a:pt x="5502" y="5522"/>
                    </a:lnTo>
                    <a:lnTo>
                      <a:pt x="5518" y="5517"/>
                    </a:lnTo>
                    <a:lnTo>
                      <a:pt x="5536" y="5509"/>
                    </a:lnTo>
                    <a:lnTo>
                      <a:pt x="5553" y="5502"/>
                    </a:lnTo>
                    <a:lnTo>
                      <a:pt x="5569" y="5496"/>
                    </a:lnTo>
                    <a:lnTo>
                      <a:pt x="5589" y="5489"/>
                    </a:lnTo>
                    <a:lnTo>
                      <a:pt x="5609" y="5481"/>
                    </a:lnTo>
                    <a:lnTo>
                      <a:pt x="5605" y="5479"/>
                    </a:lnTo>
                    <a:lnTo>
                      <a:pt x="5603" y="5479"/>
                    </a:lnTo>
                    <a:close/>
                    <a:moveTo>
                      <a:pt x="6122" y="5848"/>
                    </a:moveTo>
                    <a:lnTo>
                      <a:pt x="6120" y="5843"/>
                    </a:lnTo>
                    <a:lnTo>
                      <a:pt x="6112" y="5848"/>
                    </a:lnTo>
                    <a:lnTo>
                      <a:pt x="6107" y="5853"/>
                    </a:lnTo>
                    <a:lnTo>
                      <a:pt x="6101" y="5858"/>
                    </a:lnTo>
                    <a:lnTo>
                      <a:pt x="6096" y="5861"/>
                    </a:lnTo>
                    <a:lnTo>
                      <a:pt x="6091" y="5863"/>
                    </a:lnTo>
                    <a:lnTo>
                      <a:pt x="6086" y="5869"/>
                    </a:lnTo>
                    <a:lnTo>
                      <a:pt x="6085" y="5873"/>
                    </a:lnTo>
                    <a:lnTo>
                      <a:pt x="6085" y="5881"/>
                    </a:lnTo>
                    <a:lnTo>
                      <a:pt x="6092" y="5878"/>
                    </a:lnTo>
                    <a:lnTo>
                      <a:pt x="6099" y="5878"/>
                    </a:lnTo>
                    <a:lnTo>
                      <a:pt x="6107" y="5876"/>
                    </a:lnTo>
                    <a:lnTo>
                      <a:pt x="6114" y="5875"/>
                    </a:lnTo>
                    <a:lnTo>
                      <a:pt x="6118" y="5873"/>
                    </a:lnTo>
                    <a:lnTo>
                      <a:pt x="6122" y="5871"/>
                    </a:lnTo>
                    <a:lnTo>
                      <a:pt x="6124" y="5868"/>
                    </a:lnTo>
                    <a:lnTo>
                      <a:pt x="6124" y="5863"/>
                    </a:lnTo>
                    <a:lnTo>
                      <a:pt x="6125" y="5860"/>
                    </a:lnTo>
                    <a:lnTo>
                      <a:pt x="6124" y="5855"/>
                    </a:lnTo>
                    <a:lnTo>
                      <a:pt x="6122" y="5848"/>
                    </a:lnTo>
                    <a:close/>
                    <a:moveTo>
                      <a:pt x="601" y="4283"/>
                    </a:moveTo>
                    <a:lnTo>
                      <a:pt x="611" y="4278"/>
                    </a:lnTo>
                    <a:lnTo>
                      <a:pt x="622" y="4270"/>
                    </a:lnTo>
                    <a:lnTo>
                      <a:pt x="629" y="4265"/>
                    </a:lnTo>
                    <a:lnTo>
                      <a:pt x="639" y="4259"/>
                    </a:lnTo>
                    <a:lnTo>
                      <a:pt x="626" y="4259"/>
                    </a:lnTo>
                    <a:lnTo>
                      <a:pt x="614" y="4261"/>
                    </a:lnTo>
                    <a:lnTo>
                      <a:pt x="604" y="4265"/>
                    </a:lnTo>
                    <a:lnTo>
                      <a:pt x="594" y="4268"/>
                    </a:lnTo>
                    <a:lnTo>
                      <a:pt x="586" y="4274"/>
                    </a:lnTo>
                    <a:lnTo>
                      <a:pt x="579" y="4281"/>
                    </a:lnTo>
                    <a:lnTo>
                      <a:pt x="566" y="4294"/>
                    </a:lnTo>
                    <a:lnTo>
                      <a:pt x="574" y="4293"/>
                    </a:lnTo>
                    <a:lnTo>
                      <a:pt x="581" y="4291"/>
                    </a:lnTo>
                    <a:lnTo>
                      <a:pt x="593" y="4287"/>
                    </a:lnTo>
                    <a:lnTo>
                      <a:pt x="601" y="4283"/>
                    </a:lnTo>
                    <a:close/>
                    <a:moveTo>
                      <a:pt x="546" y="4296"/>
                    </a:moveTo>
                    <a:lnTo>
                      <a:pt x="543" y="4299"/>
                    </a:lnTo>
                    <a:lnTo>
                      <a:pt x="545" y="4298"/>
                    </a:lnTo>
                    <a:lnTo>
                      <a:pt x="546" y="4296"/>
                    </a:lnTo>
                    <a:close/>
                    <a:moveTo>
                      <a:pt x="537" y="4306"/>
                    </a:moveTo>
                    <a:lnTo>
                      <a:pt x="540" y="4304"/>
                    </a:lnTo>
                    <a:lnTo>
                      <a:pt x="543" y="4299"/>
                    </a:lnTo>
                    <a:lnTo>
                      <a:pt x="540" y="4302"/>
                    </a:lnTo>
                    <a:lnTo>
                      <a:pt x="537" y="4306"/>
                    </a:lnTo>
                    <a:close/>
                    <a:moveTo>
                      <a:pt x="532" y="4311"/>
                    </a:moveTo>
                    <a:lnTo>
                      <a:pt x="532" y="4312"/>
                    </a:lnTo>
                    <a:lnTo>
                      <a:pt x="537" y="4306"/>
                    </a:lnTo>
                    <a:lnTo>
                      <a:pt x="533" y="4309"/>
                    </a:lnTo>
                    <a:lnTo>
                      <a:pt x="532" y="4311"/>
                    </a:lnTo>
                    <a:close/>
                    <a:moveTo>
                      <a:pt x="198" y="4222"/>
                    </a:moveTo>
                    <a:lnTo>
                      <a:pt x="201" y="4220"/>
                    </a:lnTo>
                    <a:lnTo>
                      <a:pt x="209" y="4217"/>
                    </a:lnTo>
                    <a:lnTo>
                      <a:pt x="216" y="4213"/>
                    </a:lnTo>
                    <a:lnTo>
                      <a:pt x="222" y="4209"/>
                    </a:lnTo>
                    <a:lnTo>
                      <a:pt x="229" y="4205"/>
                    </a:lnTo>
                    <a:lnTo>
                      <a:pt x="237" y="4202"/>
                    </a:lnTo>
                    <a:lnTo>
                      <a:pt x="244" y="4197"/>
                    </a:lnTo>
                    <a:lnTo>
                      <a:pt x="237" y="4197"/>
                    </a:lnTo>
                    <a:lnTo>
                      <a:pt x="229" y="4199"/>
                    </a:lnTo>
                    <a:lnTo>
                      <a:pt x="222" y="4202"/>
                    </a:lnTo>
                    <a:lnTo>
                      <a:pt x="216" y="4205"/>
                    </a:lnTo>
                    <a:lnTo>
                      <a:pt x="209" y="4212"/>
                    </a:lnTo>
                    <a:lnTo>
                      <a:pt x="201" y="4219"/>
                    </a:lnTo>
                    <a:lnTo>
                      <a:pt x="198" y="4222"/>
                    </a:lnTo>
                    <a:lnTo>
                      <a:pt x="194" y="4224"/>
                    </a:lnTo>
                    <a:lnTo>
                      <a:pt x="188" y="4232"/>
                    </a:lnTo>
                    <a:lnTo>
                      <a:pt x="198" y="4222"/>
                    </a:lnTo>
                    <a:close/>
                    <a:moveTo>
                      <a:pt x="253" y="4185"/>
                    </a:moveTo>
                    <a:lnTo>
                      <a:pt x="257" y="4182"/>
                    </a:lnTo>
                    <a:lnTo>
                      <a:pt x="258" y="4179"/>
                    </a:lnTo>
                    <a:lnTo>
                      <a:pt x="260" y="4178"/>
                    </a:lnTo>
                    <a:lnTo>
                      <a:pt x="258" y="4178"/>
                    </a:lnTo>
                    <a:lnTo>
                      <a:pt x="255" y="4178"/>
                    </a:lnTo>
                    <a:lnTo>
                      <a:pt x="253" y="4179"/>
                    </a:lnTo>
                    <a:lnTo>
                      <a:pt x="249" y="4182"/>
                    </a:lnTo>
                    <a:lnTo>
                      <a:pt x="245" y="4185"/>
                    </a:lnTo>
                    <a:lnTo>
                      <a:pt x="244" y="4189"/>
                    </a:lnTo>
                    <a:lnTo>
                      <a:pt x="244" y="4197"/>
                    </a:lnTo>
                    <a:lnTo>
                      <a:pt x="249" y="4189"/>
                    </a:lnTo>
                    <a:lnTo>
                      <a:pt x="253" y="4185"/>
                    </a:lnTo>
                    <a:close/>
                    <a:moveTo>
                      <a:pt x="494" y="3749"/>
                    </a:moveTo>
                    <a:lnTo>
                      <a:pt x="484" y="3763"/>
                    </a:lnTo>
                    <a:lnTo>
                      <a:pt x="472" y="3777"/>
                    </a:lnTo>
                    <a:lnTo>
                      <a:pt x="463" y="3794"/>
                    </a:lnTo>
                    <a:lnTo>
                      <a:pt x="454" y="3812"/>
                    </a:lnTo>
                    <a:lnTo>
                      <a:pt x="446" y="3830"/>
                    </a:lnTo>
                    <a:lnTo>
                      <a:pt x="453" y="3830"/>
                    </a:lnTo>
                    <a:lnTo>
                      <a:pt x="458" y="3830"/>
                    </a:lnTo>
                    <a:lnTo>
                      <a:pt x="461" y="3830"/>
                    </a:lnTo>
                    <a:lnTo>
                      <a:pt x="463" y="3830"/>
                    </a:lnTo>
                    <a:lnTo>
                      <a:pt x="467" y="3830"/>
                    </a:lnTo>
                    <a:lnTo>
                      <a:pt x="471" y="3830"/>
                    </a:lnTo>
                    <a:lnTo>
                      <a:pt x="474" y="3830"/>
                    </a:lnTo>
                    <a:lnTo>
                      <a:pt x="463" y="3833"/>
                    </a:lnTo>
                    <a:lnTo>
                      <a:pt x="454" y="3837"/>
                    </a:lnTo>
                    <a:lnTo>
                      <a:pt x="451" y="3837"/>
                    </a:lnTo>
                    <a:lnTo>
                      <a:pt x="446" y="3838"/>
                    </a:lnTo>
                    <a:lnTo>
                      <a:pt x="443" y="3840"/>
                    </a:lnTo>
                    <a:lnTo>
                      <a:pt x="441" y="3842"/>
                    </a:lnTo>
                    <a:lnTo>
                      <a:pt x="441" y="3843"/>
                    </a:lnTo>
                    <a:lnTo>
                      <a:pt x="443" y="3845"/>
                    </a:lnTo>
                    <a:lnTo>
                      <a:pt x="445" y="3845"/>
                    </a:lnTo>
                    <a:lnTo>
                      <a:pt x="446" y="3845"/>
                    </a:lnTo>
                    <a:lnTo>
                      <a:pt x="448" y="3848"/>
                    </a:lnTo>
                    <a:lnTo>
                      <a:pt x="453" y="3848"/>
                    </a:lnTo>
                    <a:lnTo>
                      <a:pt x="456" y="3848"/>
                    </a:lnTo>
                    <a:lnTo>
                      <a:pt x="459" y="3848"/>
                    </a:lnTo>
                    <a:lnTo>
                      <a:pt x="463" y="3848"/>
                    </a:lnTo>
                    <a:lnTo>
                      <a:pt x="454" y="3851"/>
                    </a:lnTo>
                    <a:lnTo>
                      <a:pt x="446" y="3855"/>
                    </a:lnTo>
                    <a:lnTo>
                      <a:pt x="438" y="3856"/>
                    </a:lnTo>
                    <a:lnTo>
                      <a:pt x="430" y="3860"/>
                    </a:lnTo>
                    <a:lnTo>
                      <a:pt x="423" y="3864"/>
                    </a:lnTo>
                    <a:lnTo>
                      <a:pt x="417" y="3868"/>
                    </a:lnTo>
                    <a:lnTo>
                      <a:pt x="405" y="3875"/>
                    </a:lnTo>
                    <a:lnTo>
                      <a:pt x="393" y="3884"/>
                    </a:lnTo>
                    <a:lnTo>
                      <a:pt x="382" y="3894"/>
                    </a:lnTo>
                    <a:lnTo>
                      <a:pt x="371" y="3904"/>
                    </a:lnTo>
                    <a:lnTo>
                      <a:pt x="360" y="3917"/>
                    </a:lnTo>
                    <a:lnTo>
                      <a:pt x="371" y="3916"/>
                    </a:lnTo>
                    <a:lnTo>
                      <a:pt x="382" y="3914"/>
                    </a:lnTo>
                    <a:lnTo>
                      <a:pt x="393" y="3911"/>
                    </a:lnTo>
                    <a:lnTo>
                      <a:pt x="402" y="3906"/>
                    </a:lnTo>
                    <a:lnTo>
                      <a:pt x="413" y="3901"/>
                    </a:lnTo>
                    <a:lnTo>
                      <a:pt x="423" y="3896"/>
                    </a:lnTo>
                    <a:lnTo>
                      <a:pt x="433" y="3888"/>
                    </a:lnTo>
                    <a:lnTo>
                      <a:pt x="446" y="3883"/>
                    </a:lnTo>
                    <a:lnTo>
                      <a:pt x="446" y="3881"/>
                    </a:lnTo>
                    <a:lnTo>
                      <a:pt x="451" y="3879"/>
                    </a:lnTo>
                    <a:lnTo>
                      <a:pt x="453" y="3876"/>
                    </a:lnTo>
                    <a:lnTo>
                      <a:pt x="458" y="3873"/>
                    </a:lnTo>
                    <a:lnTo>
                      <a:pt x="463" y="3870"/>
                    </a:lnTo>
                    <a:lnTo>
                      <a:pt x="469" y="3868"/>
                    </a:lnTo>
                    <a:lnTo>
                      <a:pt x="474" y="3866"/>
                    </a:lnTo>
                    <a:lnTo>
                      <a:pt x="482" y="3864"/>
                    </a:lnTo>
                    <a:lnTo>
                      <a:pt x="486" y="3863"/>
                    </a:lnTo>
                    <a:lnTo>
                      <a:pt x="487" y="3860"/>
                    </a:lnTo>
                    <a:lnTo>
                      <a:pt x="489" y="3858"/>
                    </a:lnTo>
                    <a:lnTo>
                      <a:pt x="491" y="3856"/>
                    </a:lnTo>
                    <a:lnTo>
                      <a:pt x="494" y="3856"/>
                    </a:lnTo>
                    <a:lnTo>
                      <a:pt x="499" y="3856"/>
                    </a:lnTo>
                    <a:lnTo>
                      <a:pt x="502" y="3856"/>
                    </a:lnTo>
                    <a:lnTo>
                      <a:pt x="506" y="3855"/>
                    </a:lnTo>
                    <a:lnTo>
                      <a:pt x="507" y="3855"/>
                    </a:lnTo>
                    <a:lnTo>
                      <a:pt x="512" y="3853"/>
                    </a:lnTo>
                    <a:lnTo>
                      <a:pt x="513" y="3851"/>
                    </a:lnTo>
                    <a:lnTo>
                      <a:pt x="517" y="3848"/>
                    </a:lnTo>
                    <a:lnTo>
                      <a:pt x="512" y="3842"/>
                    </a:lnTo>
                    <a:lnTo>
                      <a:pt x="506" y="3838"/>
                    </a:lnTo>
                    <a:lnTo>
                      <a:pt x="504" y="3835"/>
                    </a:lnTo>
                    <a:lnTo>
                      <a:pt x="500" y="3833"/>
                    </a:lnTo>
                    <a:lnTo>
                      <a:pt x="500" y="3832"/>
                    </a:lnTo>
                    <a:lnTo>
                      <a:pt x="506" y="3833"/>
                    </a:lnTo>
                    <a:lnTo>
                      <a:pt x="512" y="3835"/>
                    </a:lnTo>
                    <a:lnTo>
                      <a:pt x="515" y="3837"/>
                    </a:lnTo>
                    <a:lnTo>
                      <a:pt x="519" y="3837"/>
                    </a:lnTo>
                    <a:lnTo>
                      <a:pt x="522" y="3837"/>
                    </a:lnTo>
                    <a:lnTo>
                      <a:pt x="525" y="3837"/>
                    </a:lnTo>
                    <a:lnTo>
                      <a:pt x="530" y="3835"/>
                    </a:lnTo>
                    <a:lnTo>
                      <a:pt x="532" y="3833"/>
                    </a:lnTo>
                    <a:lnTo>
                      <a:pt x="533" y="3829"/>
                    </a:lnTo>
                    <a:lnTo>
                      <a:pt x="537" y="3827"/>
                    </a:lnTo>
                    <a:lnTo>
                      <a:pt x="539" y="3822"/>
                    </a:lnTo>
                    <a:lnTo>
                      <a:pt x="540" y="3818"/>
                    </a:lnTo>
                    <a:lnTo>
                      <a:pt x="543" y="3812"/>
                    </a:lnTo>
                    <a:lnTo>
                      <a:pt x="546" y="3807"/>
                    </a:lnTo>
                    <a:lnTo>
                      <a:pt x="552" y="3796"/>
                    </a:lnTo>
                    <a:lnTo>
                      <a:pt x="552" y="3794"/>
                    </a:lnTo>
                    <a:lnTo>
                      <a:pt x="552" y="3792"/>
                    </a:lnTo>
                    <a:lnTo>
                      <a:pt x="552" y="3789"/>
                    </a:lnTo>
                    <a:lnTo>
                      <a:pt x="552" y="3784"/>
                    </a:lnTo>
                    <a:lnTo>
                      <a:pt x="552" y="3779"/>
                    </a:lnTo>
                    <a:lnTo>
                      <a:pt x="552" y="3774"/>
                    </a:lnTo>
                    <a:lnTo>
                      <a:pt x="552" y="3761"/>
                    </a:lnTo>
                    <a:lnTo>
                      <a:pt x="558" y="3756"/>
                    </a:lnTo>
                    <a:lnTo>
                      <a:pt x="561" y="3751"/>
                    </a:lnTo>
                    <a:lnTo>
                      <a:pt x="565" y="3748"/>
                    </a:lnTo>
                    <a:lnTo>
                      <a:pt x="568" y="3746"/>
                    </a:lnTo>
                    <a:lnTo>
                      <a:pt x="573" y="3744"/>
                    </a:lnTo>
                    <a:lnTo>
                      <a:pt x="576" y="3744"/>
                    </a:lnTo>
                    <a:lnTo>
                      <a:pt x="579" y="3744"/>
                    </a:lnTo>
                    <a:lnTo>
                      <a:pt x="586" y="3744"/>
                    </a:lnTo>
                    <a:lnTo>
                      <a:pt x="585" y="3748"/>
                    </a:lnTo>
                    <a:lnTo>
                      <a:pt x="585" y="3749"/>
                    </a:lnTo>
                    <a:lnTo>
                      <a:pt x="583" y="3753"/>
                    </a:lnTo>
                    <a:lnTo>
                      <a:pt x="581" y="3757"/>
                    </a:lnTo>
                    <a:lnTo>
                      <a:pt x="576" y="3764"/>
                    </a:lnTo>
                    <a:lnTo>
                      <a:pt x="570" y="3772"/>
                    </a:lnTo>
                    <a:lnTo>
                      <a:pt x="566" y="3781"/>
                    </a:lnTo>
                    <a:lnTo>
                      <a:pt x="565" y="3784"/>
                    </a:lnTo>
                    <a:lnTo>
                      <a:pt x="565" y="3790"/>
                    </a:lnTo>
                    <a:lnTo>
                      <a:pt x="565" y="3796"/>
                    </a:lnTo>
                    <a:lnTo>
                      <a:pt x="565" y="3802"/>
                    </a:lnTo>
                    <a:lnTo>
                      <a:pt x="566" y="3807"/>
                    </a:lnTo>
                    <a:lnTo>
                      <a:pt x="568" y="3812"/>
                    </a:lnTo>
                    <a:lnTo>
                      <a:pt x="568" y="3809"/>
                    </a:lnTo>
                    <a:lnTo>
                      <a:pt x="570" y="3805"/>
                    </a:lnTo>
                    <a:lnTo>
                      <a:pt x="570" y="3799"/>
                    </a:lnTo>
                    <a:lnTo>
                      <a:pt x="573" y="3794"/>
                    </a:lnTo>
                    <a:lnTo>
                      <a:pt x="576" y="3783"/>
                    </a:lnTo>
                    <a:lnTo>
                      <a:pt x="581" y="3769"/>
                    </a:lnTo>
                    <a:lnTo>
                      <a:pt x="589" y="3757"/>
                    </a:lnTo>
                    <a:lnTo>
                      <a:pt x="598" y="3744"/>
                    </a:lnTo>
                    <a:lnTo>
                      <a:pt x="604" y="3738"/>
                    </a:lnTo>
                    <a:lnTo>
                      <a:pt x="609" y="3735"/>
                    </a:lnTo>
                    <a:lnTo>
                      <a:pt x="614" y="3729"/>
                    </a:lnTo>
                    <a:lnTo>
                      <a:pt x="622" y="3726"/>
                    </a:lnTo>
                    <a:lnTo>
                      <a:pt x="609" y="3726"/>
                    </a:lnTo>
                    <a:lnTo>
                      <a:pt x="598" y="3723"/>
                    </a:lnTo>
                    <a:lnTo>
                      <a:pt x="589" y="3720"/>
                    </a:lnTo>
                    <a:lnTo>
                      <a:pt x="579" y="3718"/>
                    </a:lnTo>
                    <a:lnTo>
                      <a:pt x="573" y="3715"/>
                    </a:lnTo>
                    <a:lnTo>
                      <a:pt x="565" y="3711"/>
                    </a:lnTo>
                    <a:lnTo>
                      <a:pt x="558" y="3709"/>
                    </a:lnTo>
                    <a:lnTo>
                      <a:pt x="552" y="3709"/>
                    </a:lnTo>
                    <a:lnTo>
                      <a:pt x="552" y="3707"/>
                    </a:lnTo>
                    <a:lnTo>
                      <a:pt x="552" y="3703"/>
                    </a:lnTo>
                    <a:lnTo>
                      <a:pt x="552" y="3700"/>
                    </a:lnTo>
                    <a:lnTo>
                      <a:pt x="552" y="3698"/>
                    </a:lnTo>
                    <a:lnTo>
                      <a:pt x="552" y="3695"/>
                    </a:lnTo>
                    <a:lnTo>
                      <a:pt x="552" y="3692"/>
                    </a:lnTo>
                    <a:lnTo>
                      <a:pt x="548" y="3692"/>
                    </a:lnTo>
                    <a:lnTo>
                      <a:pt x="545" y="3692"/>
                    </a:lnTo>
                    <a:lnTo>
                      <a:pt x="540" y="3695"/>
                    </a:lnTo>
                    <a:lnTo>
                      <a:pt x="537" y="3696"/>
                    </a:lnTo>
                    <a:lnTo>
                      <a:pt x="530" y="3702"/>
                    </a:lnTo>
                    <a:lnTo>
                      <a:pt x="525" y="3703"/>
                    </a:lnTo>
                    <a:lnTo>
                      <a:pt x="522" y="3707"/>
                    </a:lnTo>
                    <a:lnTo>
                      <a:pt x="520" y="3709"/>
                    </a:lnTo>
                    <a:lnTo>
                      <a:pt x="519" y="3711"/>
                    </a:lnTo>
                    <a:lnTo>
                      <a:pt x="519" y="3713"/>
                    </a:lnTo>
                    <a:lnTo>
                      <a:pt x="520" y="3715"/>
                    </a:lnTo>
                    <a:lnTo>
                      <a:pt x="524" y="3713"/>
                    </a:lnTo>
                    <a:lnTo>
                      <a:pt x="528" y="3711"/>
                    </a:lnTo>
                    <a:lnTo>
                      <a:pt x="533" y="3709"/>
                    </a:lnTo>
                    <a:lnTo>
                      <a:pt x="507" y="3735"/>
                    </a:lnTo>
                    <a:lnTo>
                      <a:pt x="494" y="3749"/>
                    </a:lnTo>
                    <a:close/>
                    <a:moveTo>
                      <a:pt x="631" y="4100"/>
                    </a:moveTo>
                    <a:lnTo>
                      <a:pt x="626" y="4100"/>
                    </a:lnTo>
                    <a:lnTo>
                      <a:pt x="620" y="4098"/>
                    </a:lnTo>
                    <a:lnTo>
                      <a:pt x="614" y="4098"/>
                    </a:lnTo>
                    <a:lnTo>
                      <a:pt x="609" y="4100"/>
                    </a:lnTo>
                    <a:lnTo>
                      <a:pt x="606" y="4102"/>
                    </a:lnTo>
                    <a:lnTo>
                      <a:pt x="596" y="4106"/>
                    </a:lnTo>
                    <a:lnTo>
                      <a:pt x="585" y="4111"/>
                    </a:lnTo>
                    <a:lnTo>
                      <a:pt x="576" y="4115"/>
                    </a:lnTo>
                    <a:lnTo>
                      <a:pt x="570" y="4117"/>
                    </a:lnTo>
                    <a:lnTo>
                      <a:pt x="565" y="4118"/>
                    </a:lnTo>
                    <a:lnTo>
                      <a:pt x="560" y="4121"/>
                    </a:lnTo>
                    <a:lnTo>
                      <a:pt x="561" y="4121"/>
                    </a:lnTo>
                    <a:lnTo>
                      <a:pt x="565" y="4121"/>
                    </a:lnTo>
                    <a:lnTo>
                      <a:pt x="566" y="4121"/>
                    </a:lnTo>
                    <a:lnTo>
                      <a:pt x="570" y="4123"/>
                    </a:lnTo>
                    <a:lnTo>
                      <a:pt x="573" y="4123"/>
                    </a:lnTo>
                    <a:lnTo>
                      <a:pt x="574" y="4123"/>
                    </a:lnTo>
                    <a:lnTo>
                      <a:pt x="574" y="4125"/>
                    </a:lnTo>
                    <a:lnTo>
                      <a:pt x="574" y="4126"/>
                    </a:lnTo>
                    <a:lnTo>
                      <a:pt x="573" y="4128"/>
                    </a:lnTo>
                    <a:lnTo>
                      <a:pt x="570" y="4130"/>
                    </a:lnTo>
                    <a:lnTo>
                      <a:pt x="566" y="4131"/>
                    </a:lnTo>
                    <a:lnTo>
                      <a:pt x="563" y="4131"/>
                    </a:lnTo>
                    <a:lnTo>
                      <a:pt x="553" y="4136"/>
                    </a:lnTo>
                    <a:lnTo>
                      <a:pt x="545" y="4138"/>
                    </a:lnTo>
                    <a:lnTo>
                      <a:pt x="543" y="4138"/>
                    </a:lnTo>
                    <a:lnTo>
                      <a:pt x="540" y="4138"/>
                    </a:lnTo>
                    <a:lnTo>
                      <a:pt x="539" y="4138"/>
                    </a:lnTo>
                    <a:lnTo>
                      <a:pt x="537" y="4138"/>
                    </a:lnTo>
                    <a:lnTo>
                      <a:pt x="535" y="4138"/>
                    </a:lnTo>
                    <a:lnTo>
                      <a:pt x="533" y="4141"/>
                    </a:lnTo>
                    <a:lnTo>
                      <a:pt x="532" y="4143"/>
                    </a:lnTo>
                    <a:lnTo>
                      <a:pt x="530" y="4146"/>
                    </a:lnTo>
                    <a:lnTo>
                      <a:pt x="528" y="4148"/>
                    </a:lnTo>
                    <a:lnTo>
                      <a:pt x="528" y="4152"/>
                    </a:lnTo>
                    <a:lnTo>
                      <a:pt x="528" y="4156"/>
                    </a:lnTo>
                    <a:lnTo>
                      <a:pt x="528" y="4158"/>
                    </a:lnTo>
                    <a:lnTo>
                      <a:pt x="525" y="4161"/>
                    </a:lnTo>
                    <a:lnTo>
                      <a:pt x="525" y="4163"/>
                    </a:lnTo>
                    <a:lnTo>
                      <a:pt x="524" y="4167"/>
                    </a:lnTo>
                    <a:lnTo>
                      <a:pt x="522" y="4169"/>
                    </a:lnTo>
                    <a:lnTo>
                      <a:pt x="519" y="4172"/>
                    </a:lnTo>
                    <a:lnTo>
                      <a:pt x="512" y="4172"/>
                    </a:lnTo>
                    <a:lnTo>
                      <a:pt x="504" y="4174"/>
                    </a:lnTo>
                    <a:lnTo>
                      <a:pt x="497" y="4178"/>
                    </a:lnTo>
                    <a:lnTo>
                      <a:pt x="489" y="4182"/>
                    </a:lnTo>
                    <a:lnTo>
                      <a:pt x="486" y="4185"/>
                    </a:lnTo>
                    <a:lnTo>
                      <a:pt x="484" y="4187"/>
                    </a:lnTo>
                    <a:lnTo>
                      <a:pt x="482" y="4191"/>
                    </a:lnTo>
                    <a:lnTo>
                      <a:pt x="479" y="4192"/>
                    </a:lnTo>
                    <a:lnTo>
                      <a:pt x="479" y="4197"/>
                    </a:lnTo>
                    <a:lnTo>
                      <a:pt x="482" y="4200"/>
                    </a:lnTo>
                    <a:lnTo>
                      <a:pt x="482" y="4202"/>
                    </a:lnTo>
                    <a:lnTo>
                      <a:pt x="486" y="4205"/>
                    </a:lnTo>
                    <a:lnTo>
                      <a:pt x="491" y="4205"/>
                    </a:lnTo>
                    <a:lnTo>
                      <a:pt x="499" y="4204"/>
                    </a:lnTo>
                    <a:lnTo>
                      <a:pt x="504" y="4200"/>
                    </a:lnTo>
                    <a:lnTo>
                      <a:pt x="512" y="4194"/>
                    </a:lnTo>
                    <a:lnTo>
                      <a:pt x="517" y="4191"/>
                    </a:lnTo>
                    <a:lnTo>
                      <a:pt x="522" y="4184"/>
                    </a:lnTo>
                    <a:lnTo>
                      <a:pt x="535" y="4172"/>
                    </a:lnTo>
                    <a:lnTo>
                      <a:pt x="530" y="4178"/>
                    </a:lnTo>
                    <a:lnTo>
                      <a:pt x="525" y="4182"/>
                    </a:lnTo>
                    <a:lnTo>
                      <a:pt x="522" y="4185"/>
                    </a:lnTo>
                    <a:lnTo>
                      <a:pt x="519" y="4189"/>
                    </a:lnTo>
                    <a:lnTo>
                      <a:pt x="517" y="4191"/>
                    </a:lnTo>
                    <a:lnTo>
                      <a:pt x="515" y="4192"/>
                    </a:lnTo>
                    <a:lnTo>
                      <a:pt x="512" y="4197"/>
                    </a:lnTo>
                    <a:lnTo>
                      <a:pt x="507" y="4200"/>
                    </a:lnTo>
                    <a:lnTo>
                      <a:pt x="502" y="4205"/>
                    </a:lnTo>
                    <a:lnTo>
                      <a:pt x="513" y="4200"/>
                    </a:lnTo>
                    <a:lnTo>
                      <a:pt x="524" y="4192"/>
                    </a:lnTo>
                    <a:lnTo>
                      <a:pt x="533" y="4187"/>
                    </a:lnTo>
                    <a:lnTo>
                      <a:pt x="543" y="4179"/>
                    </a:lnTo>
                    <a:lnTo>
                      <a:pt x="550" y="4174"/>
                    </a:lnTo>
                    <a:lnTo>
                      <a:pt x="558" y="4167"/>
                    </a:lnTo>
                    <a:lnTo>
                      <a:pt x="570" y="4156"/>
                    </a:lnTo>
                    <a:lnTo>
                      <a:pt x="563" y="4167"/>
                    </a:lnTo>
                    <a:lnTo>
                      <a:pt x="553" y="4178"/>
                    </a:lnTo>
                    <a:lnTo>
                      <a:pt x="545" y="4185"/>
                    </a:lnTo>
                    <a:lnTo>
                      <a:pt x="535" y="4192"/>
                    </a:lnTo>
                    <a:lnTo>
                      <a:pt x="525" y="4199"/>
                    </a:lnTo>
                    <a:lnTo>
                      <a:pt x="517" y="4202"/>
                    </a:lnTo>
                    <a:lnTo>
                      <a:pt x="509" y="4205"/>
                    </a:lnTo>
                    <a:lnTo>
                      <a:pt x="502" y="4205"/>
                    </a:lnTo>
                    <a:lnTo>
                      <a:pt x="506" y="4209"/>
                    </a:lnTo>
                    <a:lnTo>
                      <a:pt x="507" y="4212"/>
                    </a:lnTo>
                    <a:lnTo>
                      <a:pt x="512" y="4213"/>
                    </a:lnTo>
                    <a:lnTo>
                      <a:pt x="515" y="4213"/>
                    </a:lnTo>
                    <a:lnTo>
                      <a:pt x="519" y="4213"/>
                    </a:lnTo>
                    <a:lnTo>
                      <a:pt x="520" y="4213"/>
                    </a:lnTo>
                    <a:lnTo>
                      <a:pt x="524" y="4212"/>
                    </a:lnTo>
                    <a:lnTo>
                      <a:pt x="528" y="4209"/>
                    </a:lnTo>
                    <a:lnTo>
                      <a:pt x="533" y="4205"/>
                    </a:lnTo>
                    <a:lnTo>
                      <a:pt x="537" y="4204"/>
                    </a:lnTo>
                    <a:lnTo>
                      <a:pt x="535" y="4205"/>
                    </a:lnTo>
                    <a:lnTo>
                      <a:pt x="533" y="4209"/>
                    </a:lnTo>
                    <a:lnTo>
                      <a:pt x="530" y="4213"/>
                    </a:lnTo>
                    <a:lnTo>
                      <a:pt x="524" y="4217"/>
                    </a:lnTo>
                    <a:lnTo>
                      <a:pt x="519" y="4222"/>
                    </a:lnTo>
                    <a:lnTo>
                      <a:pt x="522" y="4224"/>
                    </a:lnTo>
                    <a:lnTo>
                      <a:pt x="525" y="4225"/>
                    </a:lnTo>
                    <a:lnTo>
                      <a:pt x="532" y="4225"/>
                    </a:lnTo>
                    <a:lnTo>
                      <a:pt x="539" y="4224"/>
                    </a:lnTo>
                    <a:lnTo>
                      <a:pt x="546" y="4222"/>
                    </a:lnTo>
                    <a:lnTo>
                      <a:pt x="553" y="4219"/>
                    </a:lnTo>
                    <a:lnTo>
                      <a:pt x="561" y="4213"/>
                    </a:lnTo>
                    <a:lnTo>
                      <a:pt x="568" y="4207"/>
                    </a:lnTo>
                    <a:lnTo>
                      <a:pt x="576" y="4202"/>
                    </a:lnTo>
                    <a:lnTo>
                      <a:pt x="591" y="4189"/>
                    </a:lnTo>
                    <a:lnTo>
                      <a:pt x="596" y="4182"/>
                    </a:lnTo>
                    <a:lnTo>
                      <a:pt x="601" y="4174"/>
                    </a:lnTo>
                    <a:lnTo>
                      <a:pt x="607" y="4169"/>
                    </a:lnTo>
                    <a:lnTo>
                      <a:pt x="613" y="4163"/>
                    </a:lnTo>
                    <a:lnTo>
                      <a:pt x="616" y="4159"/>
                    </a:lnTo>
                    <a:lnTo>
                      <a:pt x="620" y="4156"/>
                    </a:lnTo>
                    <a:lnTo>
                      <a:pt x="626" y="4148"/>
                    </a:lnTo>
                    <a:lnTo>
                      <a:pt x="631" y="4143"/>
                    </a:lnTo>
                    <a:lnTo>
                      <a:pt x="634" y="4136"/>
                    </a:lnTo>
                    <a:lnTo>
                      <a:pt x="635" y="4130"/>
                    </a:lnTo>
                    <a:lnTo>
                      <a:pt x="637" y="4123"/>
                    </a:lnTo>
                    <a:lnTo>
                      <a:pt x="637" y="4117"/>
                    </a:lnTo>
                    <a:lnTo>
                      <a:pt x="639" y="4105"/>
                    </a:lnTo>
                    <a:lnTo>
                      <a:pt x="631" y="4100"/>
                    </a:lnTo>
                    <a:close/>
                    <a:moveTo>
                      <a:pt x="581" y="3703"/>
                    </a:moveTo>
                    <a:lnTo>
                      <a:pt x="585" y="3705"/>
                    </a:lnTo>
                    <a:lnTo>
                      <a:pt x="591" y="3707"/>
                    </a:lnTo>
                    <a:lnTo>
                      <a:pt x="596" y="3707"/>
                    </a:lnTo>
                    <a:lnTo>
                      <a:pt x="604" y="3709"/>
                    </a:lnTo>
                    <a:lnTo>
                      <a:pt x="604" y="3702"/>
                    </a:lnTo>
                    <a:lnTo>
                      <a:pt x="604" y="3698"/>
                    </a:lnTo>
                    <a:lnTo>
                      <a:pt x="604" y="3695"/>
                    </a:lnTo>
                    <a:lnTo>
                      <a:pt x="604" y="3692"/>
                    </a:lnTo>
                    <a:lnTo>
                      <a:pt x="604" y="3690"/>
                    </a:lnTo>
                    <a:lnTo>
                      <a:pt x="596" y="3689"/>
                    </a:lnTo>
                    <a:lnTo>
                      <a:pt x="591" y="3687"/>
                    </a:lnTo>
                    <a:lnTo>
                      <a:pt x="585" y="3685"/>
                    </a:lnTo>
                    <a:lnTo>
                      <a:pt x="581" y="3685"/>
                    </a:lnTo>
                    <a:lnTo>
                      <a:pt x="579" y="3687"/>
                    </a:lnTo>
                    <a:lnTo>
                      <a:pt x="576" y="3689"/>
                    </a:lnTo>
                    <a:lnTo>
                      <a:pt x="576" y="3690"/>
                    </a:lnTo>
                    <a:lnTo>
                      <a:pt x="576" y="3692"/>
                    </a:lnTo>
                    <a:lnTo>
                      <a:pt x="576" y="3696"/>
                    </a:lnTo>
                    <a:lnTo>
                      <a:pt x="576" y="3698"/>
                    </a:lnTo>
                    <a:lnTo>
                      <a:pt x="579" y="3700"/>
                    </a:lnTo>
                    <a:lnTo>
                      <a:pt x="581" y="3703"/>
                    </a:lnTo>
                    <a:close/>
                    <a:moveTo>
                      <a:pt x="280" y="3891"/>
                    </a:moveTo>
                    <a:lnTo>
                      <a:pt x="286" y="3888"/>
                    </a:lnTo>
                    <a:lnTo>
                      <a:pt x="280" y="3890"/>
                    </a:lnTo>
                    <a:lnTo>
                      <a:pt x="277" y="3891"/>
                    </a:lnTo>
                    <a:lnTo>
                      <a:pt x="275" y="3891"/>
                    </a:lnTo>
                    <a:lnTo>
                      <a:pt x="273" y="3894"/>
                    </a:lnTo>
                    <a:lnTo>
                      <a:pt x="272" y="3891"/>
                    </a:lnTo>
                    <a:lnTo>
                      <a:pt x="273" y="3891"/>
                    </a:lnTo>
                    <a:lnTo>
                      <a:pt x="273" y="3890"/>
                    </a:lnTo>
                    <a:lnTo>
                      <a:pt x="275" y="3890"/>
                    </a:lnTo>
                    <a:lnTo>
                      <a:pt x="280" y="3888"/>
                    </a:lnTo>
                    <a:lnTo>
                      <a:pt x="286" y="3886"/>
                    </a:lnTo>
                    <a:lnTo>
                      <a:pt x="291" y="3886"/>
                    </a:lnTo>
                    <a:lnTo>
                      <a:pt x="286" y="3884"/>
                    </a:lnTo>
                    <a:lnTo>
                      <a:pt x="283" y="3884"/>
                    </a:lnTo>
                    <a:lnTo>
                      <a:pt x="278" y="3883"/>
                    </a:lnTo>
                    <a:lnTo>
                      <a:pt x="277" y="3881"/>
                    </a:lnTo>
                    <a:lnTo>
                      <a:pt x="277" y="3876"/>
                    </a:lnTo>
                    <a:lnTo>
                      <a:pt x="277" y="3875"/>
                    </a:lnTo>
                    <a:lnTo>
                      <a:pt x="277" y="3871"/>
                    </a:lnTo>
                    <a:lnTo>
                      <a:pt x="278" y="3870"/>
                    </a:lnTo>
                    <a:lnTo>
                      <a:pt x="283" y="3863"/>
                    </a:lnTo>
                    <a:lnTo>
                      <a:pt x="286" y="3856"/>
                    </a:lnTo>
                    <a:lnTo>
                      <a:pt x="288" y="3855"/>
                    </a:lnTo>
                    <a:lnTo>
                      <a:pt x="290" y="3853"/>
                    </a:lnTo>
                    <a:lnTo>
                      <a:pt x="291" y="3853"/>
                    </a:lnTo>
                    <a:lnTo>
                      <a:pt x="292" y="3852"/>
                    </a:lnTo>
                    <a:lnTo>
                      <a:pt x="288" y="3851"/>
                    </a:lnTo>
                    <a:lnTo>
                      <a:pt x="285" y="3851"/>
                    </a:lnTo>
                    <a:lnTo>
                      <a:pt x="278" y="3850"/>
                    </a:lnTo>
                    <a:lnTo>
                      <a:pt x="277" y="3849"/>
                    </a:lnTo>
                    <a:lnTo>
                      <a:pt x="278" y="3853"/>
                    </a:lnTo>
                    <a:lnTo>
                      <a:pt x="276" y="3848"/>
                    </a:lnTo>
                    <a:lnTo>
                      <a:pt x="275" y="3848"/>
                    </a:lnTo>
                    <a:lnTo>
                      <a:pt x="273" y="3845"/>
                    </a:lnTo>
                    <a:lnTo>
                      <a:pt x="270" y="3842"/>
                    </a:lnTo>
                    <a:lnTo>
                      <a:pt x="268" y="3840"/>
                    </a:lnTo>
                    <a:lnTo>
                      <a:pt x="268" y="3838"/>
                    </a:lnTo>
                    <a:lnTo>
                      <a:pt x="268" y="3837"/>
                    </a:lnTo>
                    <a:lnTo>
                      <a:pt x="270" y="3837"/>
                    </a:lnTo>
                    <a:lnTo>
                      <a:pt x="270" y="3838"/>
                    </a:lnTo>
                    <a:lnTo>
                      <a:pt x="273" y="3842"/>
                    </a:lnTo>
                    <a:lnTo>
                      <a:pt x="275" y="3845"/>
                    </a:lnTo>
                    <a:lnTo>
                      <a:pt x="276" y="3848"/>
                    </a:lnTo>
                    <a:lnTo>
                      <a:pt x="277" y="3849"/>
                    </a:lnTo>
                    <a:lnTo>
                      <a:pt x="277" y="3849"/>
                    </a:lnTo>
                    <a:lnTo>
                      <a:pt x="277" y="3845"/>
                    </a:lnTo>
                    <a:lnTo>
                      <a:pt x="275" y="3838"/>
                    </a:lnTo>
                    <a:lnTo>
                      <a:pt x="273" y="3833"/>
                    </a:lnTo>
                    <a:lnTo>
                      <a:pt x="272" y="3827"/>
                    </a:lnTo>
                    <a:lnTo>
                      <a:pt x="272" y="3823"/>
                    </a:lnTo>
                    <a:lnTo>
                      <a:pt x="272" y="3822"/>
                    </a:lnTo>
                    <a:lnTo>
                      <a:pt x="272" y="3820"/>
                    </a:lnTo>
                    <a:lnTo>
                      <a:pt x="272" y="3818"/>
                    </a:lnTo>
                    <a:lnTo>
                      <a:pt x="273" y="3818"/>
                    </a:lnTo>
                    <a:lnTo>
                      <a:pt x="275" y="3817"/>
                    </a:lnTo>
                    <a:lnTo>
                      <a:pt x="278" y="3817"/>
                    </a:lnTo>
                    <a:lnTo>
                      <a:pt x="277" y="3810"/>
                    </a:lnTo>
                    <a:lnTo>
                      <a:pt x="275" y="3803"/>
                    </a:lnTo>
                    <a:lnTo>
                      <a:pt x="273" y="3796"/>
                    </a:lnTo>
                    <a:lnTo>
                      <a:pt x="272" y="3790"/>
                    </a:lnTo>
                    <a:lnTo>
                      <a:pt x="272" y="3783"/>
                    </a:lnTo>
                    <a:lnTo>
                      <a:pt x="272" y="3779"/>
                    </a:lnTo>
                    <a:lnTo>
                      <a:pt x="272" y="3776"/>
                    </a:lnTo>
                    <a:lnTo>
                      <a:pt x="272" y="3774"/>
                    </a:lnTo>
                    <a:lnTo>
                      <a:pt x="273" y="3769"/>
                    </a:lnTo>
                    <a:lnTo>
                      <a:pt x="275" y="3766"/>
                    </a:lnTo>
                    <a:lnTo>
                      <a:pt x="277" y="3764"/>
                    </a:lnTo>
                    <a:lnTo>
                      <a:pt x="275" y="3764"/>
                    </a:lnTo>
                    <a:lnTo>
                      <a:pt x="273" y="3768"/>
                    </a:lnTo>
                    <a:lnTo>
                      <a:pt x="272" y="3769"/>
                    </a:lnTo>
                    <a:lnTo>
                      <a:pt x="265" y="3776"/>
                    </a:lnTo>
                    <a:lnTo>
                      <a:pt x="262" y="3781"/>
                    </a:lnTo>
                    <a:lnTo>
                      <a:pt x="262" y="3774"/>
                    </a:lnTo>
                    <a:lnTo>
                      <a:pt x="262" y="3768"/>
                    </a:lnTo>
                    <a:lnTo>
                      <a:pt x="262" y="3764"/>
                    </a:lnTo>
                    <a:lnTo>
                      <a:pt x="264" y="3761"/>
                    </a:lnTo>
                    <a:lnTo>
                      <a:pt x="265" y="3757"/>
                    </a:lnTo>
                    <a:lnTo>
                      <a:pt x="268" y="3753"/>
                    </a:lnTo>
                    <a:lnTo>
                      <a:pt x="272" y="3748"/>
                    </a:lnTo>
                    <a:lnTo>
                      <a:pt x="277" y="3743"/>
                    </a:lnTo>
                    <a:lnTo>
                      <a:pt x="283" y="3738"/>
                    </a:lnTo>
                    <a:lnTo>
                      <a:pt x="288" y="3733"/>
                    </a:lnTo>
                    <a:lnTo>
                      <a:pt x="295" y="3728"/>
                    </a:lnTo>
                    <a:lnTo>
                      <a:pt x="295" y="3733"/>
                    </a:lnTo>
                    <a:lnTo>
                      <a:pt x="295" y="3738"/>
                    </a:lnTo>
                    <a:lnTo>
                      <a:pt x="295" y="3743"/>
                    </a:lnTo>
                    <a:lnTo>
                      <a:pt x="295" y="3746"/>
                    </a:lnTo>
                    <a:lnTo>
                      <a:pt x="295" y="3748"/>
                    </a:lnTo>
                    <a:lnTo>
                      <a:pt x="295" y="3751"/>
                    </a:lnTo>
                    <a:lnTo>
                      <a:pt x="295" y="3757"/>
                    </a:lnTo>
                    <a:lnTo>
                      <a:pt x="298" y="3756"/>
                    </a:lnTo>
                    <a:lnTo>
                      <a:pt x="299" y="3756"/>
                    </a:lnTo>
                    <a:lnTo>
                      <a:pt x="303" y="3757"/>
                    </a:lnTo>
                    <a:lnTo>
                      <a:pt x="306" y="3759"/>
                    </a:lnTo>
                    <a:lnTo>
                      <a:pt x="308" y="3761"/>
                    </a:lnTo>
                    <a:lnTo>
                      <a:pt x="306" y="3757"/>
                    </a:lnTo>
                    <a:lnTo>
                      <a:pt x="305" y="3751"/>
                    </a:lnTo>
                    <a:lnTo>
                      <a:pt x="305" y="3746"/>
                    </a:lnTo>
                    <a:lnTo>
                      <a:pt x="305" y="3744"/>
                    </a:lnTo>
                    <a:lnTo>
                      <a:pt x="305" y="3741"/>
                    </a:lnTo>
                    <a:lnTo>
                      <a:pt x="305" y="3736"/>
                    </a:lnTo>
                    <a:lnTo>
                      <a:pt x="306" y="3733"/>
                    </a:lnTo>
                    <a:lnTo>
                      <a:pt x="308" y="3731"/>
                    </a:lnTo>
                    <a:lnTo>
                      <a:pt x="311" y="3728"/>
                    </a:lnTo>
                    <a:lnTo>
                      <a:pt x="314" y="3728"/>
                    </a:lnTo>
                    <a:lnTo>
                      <a:pt x="318" y="3726"/>
                    </a:lnTo>
                    <a:lnTo>
                      <a:pt x="321" y="3723"/>
                    </a:lnTo>
                    <a:lnTo>
                      <a:pt x="323" y="3722"/>
                    </a:lnTo>
                    <a:lnTo>
                      <a:pt x="329" y="3718"/>
                    </a:lnTo>
                    <a:lnTo>
                      <a:pt x="334" y="3715"/>
                    </a:lnTo>
                    <a:lnTo>
                      <a:pt x="336" y="3713"/>
                    </a:lnTo>
                    <a:lnTo>
                      <a:pt x="338" y="3711"/>
                    </a:lnTo>
                    <a:lnTo>
                      <a:pt x="339" y="3711"/>
                    </a:lnTo>
                    <a:lnTo>
                      <a:pt x="341" y="3713"/>
                    </a:lnTo>
                    <a:lnTo>
                      <a:pt x="344" y="3715"/>
                    </a:lnTo>
                    <a:lnTo>
                      <a:pt x="344" y="3716"/>
                    </a:lnTo>
                    <a:lnTo>
                      <a:pt x="344" y="3722"/>
                    </a:lnTo>
                    <a:lnTo>
                      <a:pt x="345" y="3728"/>
                    </a:lnTo>
                    <a:lnTo>
                      <a:pt x="347" y="3723"/>
                    </a:lnTo>
                    <a:lnTo>
                      <a:pt x="352" y="3722"/>
                    </a:lnTo>
                    <a:lnTo>
                      <a:pt x="356" y="3718"/>
                    </a:lnTo>
                    <a:lnTo>
                      <a:pt x="362" y="3716"/>
                    </a:lnTo>
                    <a:lnTo>
                      <a:pt x="372" y="3715"/>
                    </a:lnTo>
                    <a:lnTo>
                      <a:pt x="385" y="3711"/>
                    </a:lnTo>
                    <a:lnTo>
                      <a:pt x="398" y="3711"/>
                    </a:lnTo>
                    <a:lnTo>
                      <a:pt x="410" y="3709"/>
                    </a:lnTo>
                    <a:lnTo>
                      <a:pt x="415" y="3709"/>
                    </a:lnTo>
                    <a:lnTo>
                      <a:pt x="418" y="3709"/>
                    </a:lnTo>
                    <a:lnTo>
                      <a:pt x="425" y="3709"/>
                    </a:lnTo>
                    <a:lnTo>
                      <a:pt x="428" y="3709"/>
                    </a:lnTo>
                    <a:lnTo>
                      <a:pt x="426" y="3716"/>
                    </a:lnTo>
                    <a:lnTo>
                      <a:pt x="426" y="3720"/>
                    </a:lnTo>
                    <a:lnTo>
                      <a:pt x="425" y="3723"/>
                    </a:lnTo>
                    <a:lnTo>
                      <a:pt x="423" y="3728"/>
                    </a:lnTo>
                    <a:lnTo>
                      <a:pt x="418" y="3731"/>
                    </a:lnTo>
                    <a:lnTo>
                      <a:pt x="415" y="3733"/>
                    </a:lnTo>
                    <a:lnTo>
                      <a:pt x="408" y="3736"/>
                    </a:lnTo>
                    <a:lnTo>
                      <a:pt x="400" y="3741"/>
                    </a:lnTo>
                    <a:lnTo>
                      <a:pt x="397" y="3743"/>
                    </a:lnTo>
                    <a:lnTo>
                      <a:pt x="393" y="3744"/>
                    </a:lnTo>
                    <a:lnTo>
                      <a:pt x="387" y="3748"/>
                    </a:lnTo>
                    <a:lnTo>
                      <a:pt x="384" y="3751"/>
                    </a:lnTo>
                    <a:lnTo>
                      <a:pt x="380" y="3757"/>
                    </a:lnTo>
                    <a:lnTo>
                      <a:pt x="379" y="3763"/>
                    </a:lnTo>
                    <a:lnTo>
                      <a:pt x="390" y="3756"/>
                    </a:lnTo>
                    <a:lnTo>
                      <a:pt x="402" y="3748"/>
                    </a:lnTo>
                    <a:lnTo>
                      <a:pt x="415" y="3738"/>
                    </a:lnTo>
                    <a:lnTo>
                      <a:pt x="428" y="3731"/>
                    </a:lnTo>
                    <a:lnTo>
                      <a:pt x="433" y="3729"/>
                    </a:lnTo>
                    <a:lnTo>
                      <a:pt x="439" y="3726"/>
                    </a:lnTo>
                    <a:lnTo>
                      <a:pt x="446" y="3723"/>
                    </a:lnTo>
                    <a:lnTo>
                      <a:pt x="453" y="3722"/>
                    </a:lnTo>
                    <a:lnTo>
                      <a:pt x="458" y="3722"/>
                    </a:lnTo>
                    <a:lnTo>
                      <a:pt x="466" y="3723"/>
                    </a:lnTo>
                    <a:lnTo>
                      <a:pt x="471" y="3723"/>
                    </a:lnTo>
                    <a:lnTo>
                      <a:pt x="478" y="3728"/>
                    </a:lnTo>
                    <a:lnTo>
                      <a:pt x="479" y="3733"/>
                    </a:lnTo>
                    <a:lnTo>
                      <a:pt x="479" y="3738"/>
                    </a:lnTo>
                    <a:lnTo>
                      <a:pt x="479" y="3744"/>
                    </a:lnTo>
                    <a:lnTo>
                      <a:pt x="478" y="3748"/>
                    </a:lnTo>
                    <a:lnTo>
                      <a:pt x="476" y="3751"/>
                    </a:lnTo>
                    <a:lnTo>
                      <a:pt x="472" y="3756"/>
                    </a:lnTo>
                    <a:lnTo>
                      <a:pt x="469" y="3757"/>
                    </a:lnTo>
                    <a:lnTo>
                      <a:pt x="466" y="3759"/>
                    </a:lnTo>
                    <a:lnTo>
                      <a:pt x="454" y="3761"/>
                    </a:lnTo>
                    <a:lnTo>
                      <a:pt x="445" y="3763"/>
                    </a:lnTo>
                    <a:lnTo>
                      <a:pt x="439" y="3763"/>
                    </a:lnTo>
                    <a:lnTo>
                      <a:pt x="436" y="3763"/>
                    </a:lnTo>
                    <a:lnTo>
                      <a:pt x="430" y="3763"/>
                    </a:lnTo>
                    <a:lnTo>
                      <a:pt x="428" y="3763"/>
                    </a:lnTo>
                    <a:lnTo>
                      <a:pt x="428" y="3764"/>
                    </a:lnTo>
                    <a:lnTo>
                      <a:pt x="430" y="3764"/>
                    </a:lnTo>
                    <a:lnTo>
                      <a:pt x="432" y="3768"/>
                    </a:lnTo>
                    <a:lnTo>
                      <a:pt x="433" y="3769"/>
                    </a:lnTo>
                    <a:lnTo>
                      <a:pt x="439" y="3776"/>
                    </a:lnTo>
                    <a:lnTo>
                      <a:pt x="445" y="3781"/>
                    </a:lnTo>
                    <a:lnTo>
                      <a:pt x="438" y="3783"/>
                    </a:lnTo>
                    <a:lnTo>
                      <a:pt x="432" y="3784"/>
                    </a:lnTo>
                    <a:lnTo>
                      <a:pt x="426" y="3787"/>
                    </a:lnTo>
                    <a:lnTo>
                      <a:pt x="421" y="3784"/>
                    </a:lnTo>
                    <a:lnTo>
                      <a:pt x="417" y="3784"/>
                    </a:lnTo>
                    <a:lnTo>
                      <a:pt x="412" y="3783"/>
                    </a:lnTo>
                    <a:lnTo>
                      <a:pt x="408" y="3781"/>
                    </a:lnTo>
                    <a:lnTo>
                      <a:pt x="402" y="3779"/>
                    </a:lnTo>
                    <a:lnTo>
                      <a:pt x="393" y="3774"/>
                    </a:lnTo>
                    <a:lnTo>
                      <a:pt x="384" y="3768"/>
                    </a:lnTo>
                    <a:lnTo>
                      <a:pt x="379" y="3766"/>
                    </a:lnTo>
                    <a:lnTo>
                      <a:pt x="372" y="3764"/>
                    </a:lnTo>
                    <a:lnTo>
                      <a:pt x="367" y="3763"/>
                    </a:lnTo>
                    <a:lnTo>
                      <a:pt x="364" y="3763"/>
                    </a:lnTo>
                    <a:lnTo>
                      <a:pt x="367" y="3764"/>
                    </a:lnTo>
                    <a:lnTo>
                      <a:pt x="369" y="3766"/>
                    </a:lnTo>
                    <a:lnTo>
                      <a:pt x="371" y="3768"/>
                    </a:lnTo>
                    <a:lnTo>
                      <a:pt x="375" y="3774"/>
                    </a:lnTo>
                    <a:lnTo>
                      <a:pt x="379" y="3781"/>
                    </a:lnTo>
                    <a:lnTo>
                      <a:pt x="380" y="3787"/>
                    </a:lnTo>
                    <a:lnTo>
                      <a:pt x="384" y="3794"/>
                    </a:lnTo>
                    <a:lnTo>
                      <a:pt x="385" y="3796"/>
                    </a:lnTo>
                    <a:lnTo>
                      <a:pt x="390" y="3797"/>
                    </a:lnTo>
                    <a:lnTo>
                      <a:pt x="392" y="3797"/>
                    </a:lnTo>
                    <a:lnTo>
                      <a:pt x="395" y="3799"/>
                    </a:lnTo>
                    <a:lnTo>
                      <a:pt x="400" y="3797"/>
                    </a:lnTo>
                    <a:lnTo>
                      <a:pt x="406" y="3796"/>
                    </a:lnTo>
                    <a:lnTo>
                      <a:pt x="412" y="3794"/>
                    </a:lnTo>
                    <a:lnTo>
                      <a:pt x="417" y="3792"/>
                    </a:lnTo>
                    <a:lnTo>
                      <a:pt x="421" y="3790"/>
                    </a:lnTo>
                    <a:lnTo>
                      <a:pt x="423" y="3790"/>
                    </a:lnTo>
                    <a:lnTo>
                      <a:pt x="425" y="3790"/>
                    </a:lnTo>
                    <a:lnTo>
                      <a:pt x="426" y="3792"/>
                    </a:lnTo>
                    <a:lnTo>
                      <a:pt x="426" y="3794"/>
                    </a:lnTo>
                    <a:lnTo>
                      <a:pt x="426" y="3796"/>
                    </a:lnTo>
                    <a:lnTo>
                      <a:pt x="428" y="3799"/>
                    </a:lnTo>
                    <a:lnTo>
                      <a:pt x="426" y="3807"/>
                    </a:lnTo>
                    <a:lnTo>
                      <a:pt x="425" y="3814"/>
                    </a:lnTo>
                    <a:lnTo>
                      <a:pt x="421" y="3823"/>
                    </a:lnTo>
                    <a:lnTo>
                      <a:pt x="417" y="3833"/>
                    </a:lnTo>
                    <a:lnTo>
                      <a:pt x="412" y="3840"/>
                    </a:lnTo>
                    <a:lnTo>
                      <a:pt x="410" y="3843"/>
                    </a:lnTo>
                    <a:lnTo>
                      <a:pt x="406" y="3845"/>
                    </a:lnTo>
                    <a:lnTo>
                      <a:pt x="405" y="3850"/>
                    </a:lnTo>
                    <a:lnTo>
                      <a:pt x="400" y="3851"/>
                    </a:lnTo>
                    <a:lnTo>
                      <a:pt x="397" y="3851"/>
                    </a:lnTo>
                    <a:lnTo>
                      <a:pt x="395" y="3853"/>
                    </a:lnTo>
                    <a:lnTo>
                      <a:pt x="382" y="3843"/>
                    </a:lnTo>
                    <a:lnTo>
                      <a:pt x="372" y="3837"/>
                    </a:lnTo>
                    <a:lnTo>
                      <a:pt x="364" y="3827"/>
                    </a:lnTo>
                    <a:lnTo>
                      <a:pt x="354" y="3817"/>
                    </a:lnTo>
                    <a:lnTo>
                      <a:pt x="347" y="3807"/>
                    </a:lnTo>
                    <a:lnTo>
                      <a:pt x="339" y="3797"/>
                    </a:lnTo>
                    <a:lnTo>
                      <a:pt x="334" y="3789"/>
                    </a:lnTo>
                    <a:lnTo>
                      <a:pt x="329" y="3781"/>
                    </a:lnTo>
                    <a:lnTo>
                      <a:pt x="326" y="3787"/>
                    </a:lnTo>
                    <a:lnTo>
                      <a:pt x="325" y="3794"/>
                    </a:lnTo>
                    <a:lnTo>
                      <a:pt x="323" y="3799"/>
                    </a:lnTo>
                    <a:lnTo>
                      <a:pt x="319" y="3805"/>
                    </a:lnTo>
                    <a:lnTo>
                      <a:pt x="316" y="3810"/>
                    </a:lnTo>
                    <a:lnTo>
                      <a:pt x="314" y="3814"/>
                    </a:lnTo>
                    <a:lnTo>
                      <a:pt x="311" y="3817"/>
                    </a:lnTo>
                    <a:lnTo>
                      <a:pt x="316" y="3814"/>
                    </a:lnTo>
                    <a:lnTo>
                      <a:pt x="321" y="3812"/>
                    </a:lnTo>
                    <a:lnTo>
                      <a:pt x="323" y="3812"/>
                    </a:lnTo>
                    <a:lnTo>
                      <a:pt x="325" y="3814"/>
                    </a:lnTo>
                    <a:lnTo>
                      <a:pt x="325" y="3817"/>
                    </a:lnTo>
                    <a:lnTo>
                      <a:pt x="325" y="3820"/>
                    </a:lnTo>
                    <a:lnTo>
                      <a:pt x="323" y="3823"/>
                    </a:lnTo>
                    <a:lnTo>
                      <a:pt x="321" y="3827"/>
                    </a:lnTo>
                    <a:lnTo>
                      <a:pt x="319" y="3833"/>
                    </a:lnTo>
                    <a:lnTo>
                      <a:pt x="316" y="3837"/>
                    </a:lnTo>
                    <a:lnTo>
                      <a:pt x="311" y="3840"/>
                    </a:lnTo>
                    <a:lnTo>
                      <a:pt x="310" y="3842"/>
                    </a:lnTo>
                    <a:lnTo>
                      <a:pt x="310" y="3842"/>
                    </a:lnTo>
                    <a:lnTo>
                      <a:pt x="319" y="3840"/>
                    </a:lnTo>
                    <a:lnTo>
                      <a:pt x="325" y="3840"/>
                    </a:lnTo>
                    <a:lnTo>
                      <a:pt x="329" y="3840"/>
                    </a:lnTo>
                    <a:lnTo>
                      <a:pt x="332" y="3840"/>
                    </a:lnTo>
                    <a:lnTo>
                      <a:pt x="334" y="3840"/>
                    </a:lnTo>
                    <a:lnTo>
                      <a:pt x="336" y="3842"/>
                    </a:lnTo>
                    <a:lnTo>
                      <a:pt x="338" y="3842"/>
                    </a:lnTo>
                    <a:lnTo>
                      <a:pt x="338" y="3843"/>
                    </a:lnTo>
                    <a:lnTo>
                      <a:pt x="337" y="3845"/>
                    </a:lnTo>
                    <a:lnTo>
                      <a:pt x="339" y="3845"/>
                    </a:lnTo>
                    <a:lnTo>
                      <a:pt x="341" y="3845"/>
                    </a:lnTo>
                    <a:lnTo>
                      <a:pt x="345" y="3845"/>
                    </a:lnTo>
                    <a:lnTo>
                      <a:pt x="352" y="3845"/>
                    </a:lnTo>
                    <a:lnTo>
                      <a:pt x="359" y="3848"/>
                    </a:lnTo>
                    <a:lnTo>
                      <a:pt x="365" y="3850"/>
                    </a:lnTo>
                    <a:lnTo>
                      <a:pt x="371" y="3851"/>
                    </a:lnTo>
                    <a:lnTo>
                      <a:pt x="379" y="3853"/>
                    </a:lnTo>
                    <a:lnTo>
                      <a:pt x="371" y="3858"/>
                    </a:lnTo>
                    <a:lnTo>
                      <a:pt x="365" y="3868"/>
                    </a:lnTo>
                    <a:lnTo>
                      <a:pt x="359" y="3876"/>
                    </a:lnTo>
                    <a:lnTo>
                      <a:pt x="352" y="3888"/>
                    </a:lnTo>
                    <a:lnTo>
                      <a:pt x="345" y="3899"/>
                    </a:lnTo>
                    <a:lnTo>
                      <a:pt x="339" y="3911"/>
                    </a:lnTo>
                    <a:lnTo>
                      <a:pt x="326" y="3936"/>
                    </a:lnTo>
                    <a:lnTo>
                      <a:pt x="325" y="3942"/>
                    </a:lnTo>
                    <a:lnTo>
                      <a:pt x="323" y="3947"/>
                    </a:lnTo>
                    <a:lnTo>
                      <a:pt x="319" y="3953"/>
                    </a:lnTo>
                    <a:lnTo>
                      <a:pt x="316" y="3958"/>
                    </a:lnTo>
                    <a:lnTo>
                      <a:pt x="310" y="3962"/>
                    </a:lnTo>
                    <a:lnTo>
                      <a:pt x="305" y="3965"/>
                    </a:lnTo>
                    <a:lnTo>
                      <a:pt x="299" y="3967"/>
                    </a:lnTo>
                    <a:lnTo>
                      <a:pt x="291" y="3970"/>
                    </a:lnTo>
                    <a:lnTo>
                      <a:pt x="285" y="3980"/>
                    </a:lnTo>
                    <a:lnTo>
                      <a:pt x="275" y="3993"/>
                    </a:lnTo>
                    <a:lnTo>
                      <a:pt x="265" y="4004"/>
                    </a:lnTo>
                    <a:lnTo>
                      <a:pt x="255" y="4016"/>
                    </a:lnTo>
                    <a:lnTo>
                      <a:pt x="244" y="4026"/>
                    </a:lnTo>
                    <a:lnTo>
                      <a:pt x="231" y="4036"/>
                    </a:lnTo>
                    <a:lnTo>
                      <a:pt x="218" y="4045"/>
                    </a:lnTo>
                    <a:lnTo>
                      <a:pt x="207" y="4052"/>
                    </a:lnTo>
                    <a:lnTo>
                      <a:pt x="207" y="4039"/>
                    </a:lnTo>
                    <a:lnTo>
                      <a:pt x="209" y="4032"/>
                    </a:lnTo>
                    <a:lnTo>
                      <a:pt x="209" y="4026"/>
                    </a:lnTo>
                    <a:lnTo>
                      <a:pt x="212" y="4021"/>
                    </a:lnTo>
                    <a:lnTo>
                      <a:pt x="214" y="4016"/>
                    </a:lnTo>
                    <a:lnTo>
                      <a:pt x="218" y="4010"/>
                    </a:lnTo>
                    <a:lnTo>
                      <a:pt x="222" y="4004"/>
                    </a:lnTo>
                    <a:lnTo>
                      <a:pt x="225" y="3999"/>
                    </a:lnTo>
                    <a:lnTo>
                      <a:pt x="231" y="3993"/>
                    </a:lnTo>
                    <a:lnTo>
                      <a:pt x="237" y="3988"/>
                    </a:lnTo>
                    <a:lnTo>
                      <a:pt x="242" y="3984"/>
                    </a:lnTo>
                    <a:lnTo>
                      <a:pt x="249" y="3978"/>
                    </a:lnTo>
                    <a:lnTo>
                      <a:pt x="257" y="3975"/>
                    </a:lnTo>
                    <a:lnTo>
                      <a:pt x="265" y="3971"/>
                    </a:lnTo>
                    <a:lnTo>
                      <a:pt x="275" y="3970"/>
                    </a:lnTo>
                    <a:lnTo>
                      <a:pt x="268" y="3970"/>
                    </a:lnTo>
                    <a:lnTo>
                      <a:pt x="262" y="3971"/>
                    </a:lnTo>
                    <a:lnTo>
                      <a:pt x="255" y="3973"/>
                    </a:lnTo>
                    <a:lnTo>
                      <a:pt x="249" y="3977"/>
                    </a:lnTo>
                    <a:lnTo>
                      <a:pt x="242" y="3980"/>
                    </a:lnTo>
                    <a:lnTo>
                      <a:pt x="237" y="3982"/>
                    </a:lnTo>
                    <a:lnTo>
                      <a:pt x="229" y="3984"/>
                    </a:lnTo>
                    <a:lnTo>
                      <a:pt x="224" y="3986"/>
                    </a:lnTo>
                    <a:lnTo>
                      <a:pt x="224" y="3984"/>
                    </a:lnTo>
                    <a:lnTo>
                      <a:pt x="225" y="3982"/>
                    </a:lnTo>
                    <a:lnTo>
                      <a:pt x="229" y="3980"/>
                    </a:lnTo>
                    <a:lnTo>
                      <a:pt x="232" y="3977"/>
                    </a:lnTo>
                    <a:lnTo>
                      <a:pt x="234" y="3973"/>
                    </a:lnTo>
                    <a:lnTo>
                      <a:pt x="238" y="3971"/>
                    </a:lnTo>
                    <a:lnTo>
                      <a:pt x="240" y="3970"/>
                    </a:lnTo>
                    <a:lnTo>
                      <a:pt x="238" y="3970"/>
                    </a:lnTo>
                    <a:lnTo>
                      <a:pt x="234" y="3971"/>
                    </a:lnTo>
                    <a:lnTo>
                      <a:pt x="232" y="3971"/>
                    </a:lnTo>
                    <a:lnTo>
                      <a:pt x="238" y="3965"/>
                    </a:lnTo>
                    <a:lnTo>
                      <a:pt x="240" y="3964"/>
                    </a:lnTo>
                    <a:lnTo>
                      <a:pt x="242" y="3962"/>
                    </a:lnTo>
                    <a:lnTo>
                      <a:pt x="244" y="3958"/>
                    </a:lnTo>
                    <a:lnTo>
                      <a:pt x="242" y="3957"/>
                    </a:lnTo>
                    <a:lnTo>
                      <a:pt x="242" y="3955"/>
                    </a:lnTo>
                    <a:lnTo>
                      <a:pt x="240" y="3955"/>
                    </a:lnTo>
                    <a:lnTo>
                      <a:pt x="238" y="3953"/>
                    </a:lnTo>
                    <a:lnTo>
                      <a:pt x="234" y="3953"/>
                    </a:lnTo>
                    <a:lnTo>
                      <a:pt x="231" y="3953"/>
                    </a:lnTo>
                    <a:lnTo>
                      <a:pt x="227" y="3953"/>
                    </a:lnTo>
                    <a:lnTo>
                      <a:pt x="224" y="3953"/>
                    </a:lnTo>
                    <a:lnTo>
                      <a:pt x="229" y="3949"/>
                    </a:lnTo>
                    <a:lnTo>
                      <a:pt x="234" y="3945"/>
                    </a:lnTo>
                    <a:lnTo>
                      <a:pt x="240" y="3942"/>
                    </a:lnTo>
                    <a:lnTo>
                      <a:pt x="244" y="3936"/>
                    </a:lnTo>
                    <a:lnTo>
                      <a:pt x="252" y="3929"/>
                    </a:lnTo>
                    <a:lnTo>
                      <a:pt x="258" y="3919"/>
                    </a:lnTo>
                    <a:lnTo>
                      <a:pt x="264" y="3909"/>
                    </a:lnTo>
                    <a:lnTo>
                      <a:pt x="272" y="3901"/>
                    </a:lnTo>
                    <a:lnTo>
                      <a:pt x="275" y="3896"/>
                    </a:lnTo>
                    <a:lnTo>
                      <a:pt x="280" y="3891"/>
                    </a:lnTo>
                    <a:close/>
                    <a:moveTo>
                      <a:pt x="278" y="3763"/>
                    </a:moveTo>
                    <a:lnTo>
                      <a:pt x="277" y="3763"/>
                    </a:lnTo>
                    <a:lnTo>
                      <a:pt x="277" y="3764"/>
                    </a:lnTo>
                    <a:lnTo>
                      <a:pt x="278" y="3763"/>
                    </a:lnTo>
                    <a:close/>
                    <a:moveTo>
                      <a:pt x="231" y="3973"/>
                    </a:moveTo>
                    <a:lnTo>
                      <a:pt x="232" y="3973"/>
                    </a:lnTo>
                    <a:lnTo>
                      <a:pt x="232" y="3971"/>
                    </a:lnTo>
                    <a:lnTo>
                      <a:pt x="231" y="3971"/>
                    </a:lnTo>
                    <a:lnTo>
                      <a:pt x="231" y="3973"/>
                    </a:lnTo>
                    <a:close/>
                    <a:moveTo>
                      <a:pt x="286" y="4039"/>
                    </a:moveTo>
                    <a:lnTo>
                      <a:pt x="283" y="4041"/>
                    </a:lnTo>
                    <a:lnTo>
                      <a:pt x="280" y="4045"/>
                    </a:lnTo>
                    <a:lnTo>
                      <a:pt x="277" y="4047"/>
                    </a:lnTo>
                    <a:lnTo>
                      <a:pt x="272" y="4054"/>
                    </a:lnTo>
                    <a:lnTo>
                      <a:pt x="268" y="4064"/>
                    </a:lnTo>
                    <a:lnTo>
                      <a:pt x="264" y="4071"/>
                    </a:lnTo>
                    <a:lnTo>
                      <a:pt x="262" y="4080"/>
                    </a:lnTo>
                    <a:lnTo>
                      <a:pt x="262" y="4085"/>
                    </a:lnTo>
                    <a:lnTo>
                      <a:pt x="264" y="4084"/>
                    </a:lnTo>
                    <a:lnTo>
                      <a:pt x="265" y="4082"/>
                    </a:lnTo>
                    <a:lnTo>
                      <a:pt x="270" y="4078"/>
                    </a:lnTo>
                    <a:lnTo>
                      <a:pt x="273" y="4075"/>
                    </a:lnTo>
                    <a:lnTo>
                      <a:pt x="275" y="4072"/>
                    </a:lnTo>
                    <a:lnTo>
                      <a:pt x="277" y="4071"/>
                    </a:lnTo>
                    <a:lnTo>
                      <a:pt x="278" y="4069"/>
                    </a:lnTo>
                    <a:lnTo>
                      <a:pt x="278" y="4064"/>
                    </a:lnTo>
                    <a:lnTo>
                      <a:pt x="280" y="4060"/>
                    </a:lnTo>
                    <a:lnTo>
                      <a:pt x="285" y="4056"/>
                    </a:lnTo>
                    <a:lnTo>
                      <a:pt x="290" y="4052"/>
                    </a:lnTo>
                    <a:lnTo>
                      <a:pt x="293" y="4049"/>
                    </a:lnTo>
                    <a:lnTo>
                      <a:pt x="299" y="4045"/>
                    </a:lnTo>
                    <a:lnTo>
                      <a:pt x="306" y="4041"/>
                    </a:lnTo>
                    <a:lnTo>
                      <a:pt x="303" y="4047"/>
                    </a:lnTo>
                    <a:lnTo>
                      <a:pt x="299" y="4051"/>
                    </a:lnTo>
                    <a:lnTo>
                      <a:pt x="299" y="4052"/>
                    </a:lnTo>
                    <a:lnTo>
                      <a:pt x="298" y="4054"/>
                    </a:lnTo>
                    <a:lnTo>
                      <a:pt x="299" y="4056"/>
                    </a:lnTo>
                    <a:lnTo>
                      <a:pt x="301" y="4054"/>
                    </a:lnTo>
                    <a:lnTo>
                      <a:pt x="305" y="4054"/>
                    </a:lnTo>
                    <a:lnTo>
                      <a:pt x="308" y="4052"/>
                    </a:lnTo>
                    <a:lnTo>
                      <a:pt x="314" y="4047"/>
                    </a:lnTo>
                    <a:lnTo>
                      <a:pt x="323" y="4041"/>
                    </a:lnTo>
                    <a:lnTo>
                      <a:pt x="329" y="4036"/>
                    </a:lnTo>
                    <a:lnTo>
                      <a:pt x="331" y="4036"/>
                    </a:lnTo>
                    <a:lnTo>
                      <a:pt x="332" y="4036"/>
                    </a:lnTo>
                    <a:lnTo>
                      <a:pt x="336" y="4036"/>
                    </a:lnTo>
                    <a:lnTo>
                      <a:pt x="339" y="4034"/>
                    </a:lnTo>
                    <a:lnTo>
                      <a:pt x="345" y="4032"/>
                    </a:lnTo>
                    <a:lnTo>
                      <a:pt x="351" y="4029"/>
                    </a:lnTo>
                    <a:lnTo>
                      <a:pt x="356" y="4024"/>
                    </a:lnTo>
                    <a:lnTo>
                      <a:pt x="364" y="4019"/>
                    </a:lnTo>
                    <a:lnTo>
                      <a:pt x="364" y="4018"/>
                    </a:lnTo>
                    <a:lnTo>
                      <a:pt x="364" y="4016"/>
                    </a:lnTo>
                    <a:lnTo>
                      <a:pt x="364" y="4011"/>
                    </a:lnTo>
                    <a:lnTo>
                      <a:pt x="365" y="4008"/>
                    </a:lnTo>
                    <a:lnTo>
                      <a:pt x="367" y="4003"/>
                    </a:lnTo>
                    <a:lnTo>
                      <a:pt x="371" y="3997"/>
                    </a:lnTo>
                    <a:lnTo>
                      <a:pt x="375" y="3991"/>
                    </a:lnTo>
                    <a:lnTo>
                      <a:pt x="380" y="3984"/>
                    </a:lnTo>
                    <a:lnTo>
                      <a:pt x="382" y="3984"/>
                    </a:lnTo>
                    <a:lnTo>
                      <a:pt x="385" y="3984"/>
                    </a:lnTo>
                    <a:lnTo>
                      <a:pt x="390" y="3984"/>
                    </a:lnTo>
                    <a:lnTo>
                      <a:pt x="392" y="3984"/>
                    </a:lnTo>
                    <a:lnTo>
                      <a:pt x="395" y="3984"/>
                    </a:lnTo>
                    <a:lnTo>
                      <a:pt x="397" y="3984"/>
                    </a:lnTo>
                    <a:lnTo>
                      <a:pt x="402" y="3984"/>
                    </a:lnTo>
                    <a:lnTo>
                      <a:pt x="408" y="3982"/>
                    </a:lnTo>
                    <a:lnTo>
                      <a:pt x="412" y="3978"/>
                    </a:lnTo>
                    <a:lnTo>
                      <a:pt x="413" y="3977"/>
                    </a:lnTo>
                    <a:lnTo>
                      <a:pt x="417" y="3973"/>
                    </a:lnTo>
                    <a:lnTo>
                      <a:pt x="421" y="3971"/>
                    </a:lnTo>
                    <a:lnTo>
                      <a:pt x="425" y="3970"/>
                    </a:lnTo>
                    <a:lnTo>
                      <a:pt x="428" y="3969"/>
                    </a:lnTo>
                    <a:lnTo>
                      <a:pt x="423" y="3973"/>
                    </a:lnTo>
                    <a:lnTo>
                      <a:pt x="415" y="3980"/>
                    </a:lnTo>
                    <a:lnTo>
                      <a:pt x="408" y="3990"/>
                    </a:lnTo>
                    <a:lnTo>
                      <a:pt x="405" y="3995"/>
                    </a:lnTo>
                    <a:lnTo>
                      <a:pt x="402" y="4001"/>
                    </a:lnTo>
                    <a:lnTo>
                      <a:pt x="398" y="4006"/>
                    </a:lnTo>
                    <a:lnTo>
                      <a:pt x="397" y="4011"/>
                    </a:lnTo>
                    <a:lnTo>
                      <a:pt x="397" y="4018"/>
                    </a:lnTo>
                    <a:lnTo>
                      <a:pt x="397" y="4024"/>
                    </a:lnTo>
                    <a:lnTo>
                      <a:pt x="402" y="4023"/>
                    </a:lnTo>
                    <a:lnTo>
                      <a:pt x="408" y="4021"/>
                    </a:lnTo>
                    <a:lnTo>
                      <a:pt x="415" y="4018"/>
                    </a:lnTo>
                    <a:lnTo>
                      <a:pt x="421" y="4016"/>
                    </a:lnTo>
                    <a:lnTo>
                      <a:pt x="428" y="4011"/>
                    </a:lnTo>
                    <a:lnTo>
                      <a:pt x="433" y="4008"/>
                    </a:lnTo>
                    <a:lnTo>
                      <a:pt x="441" y="4006"/>
                    </a:lnTo>
                    <a:lnTo>
                      <a:pt x="446" y="4006"/>
                    </a:lnTo>
                    <a:lnTo>
                      <a:pt x="451" y="4006"/>
                    </a:lnTo>
                    <a:lnTo>
                      <a:pt x="454" y="4004"/>
                    </a:lnTo>
                    <a:lnTo>
                      <a:pt x="466" y="4003"/>
                    </a:lnTo>
                    <a:lnTo>
                      <a:pt x="474" y="4001"/>
                    </a:lnTo>
                    <a:lnTo>
                      <a:pt x="478" y="3999"/>
                    </a:lnTo>
                    <a:lnTo>
                      <a:pt x="484" y="3997"/>
                    </a:lnTo>
                    <a:lnTo>
                      <a:pt x="487" y="3995"/>
                    </a:lnTo>
                    <a:lnTo>
                      <a:pt x="489" y="3993"/>
                    </a:lnTo>
                    <a:lnTo>
                      <a:pt x="491" y="3991"/>
                    </a:lnTo>
                    <a:lnTo>
                      <a:pt x="492" y="3991"/>
                    </a:lnTo>
                    <a:lnTo>
                      <a:pt x="491" y="3990"/>
                    </a:lnTo>
                    <a:lnTo>
                      <a:pt x="489" y="3990"/>
                    </a:lnTo>
                    <a:lnTo>
                      <a:pt x="486" y="3988"/>
                    </a:lnTo>
                    <a:lnTo>
                      <a:pt x="484" y="3988"/>
                    </a:lnTo>
                    <a:lnTo>
                      <a:pt x="482" y="3988"/>
                    </a:lnTo>
                    <a:lnTo>
                      <a:pt x="484" y="3984"/>
                    </a:lnTo>
                    <a:lnTo>
                      <a:pt x="486" y="3982"/>
                    </a:lnTo>
                    <a:lnTo>
                      <a:pt x="489" y="3977"/>
                    </a:lnTo>
                    <a:lnTo>
                      <a:pt x="492" y="3971"/>
                    </a:lnTo>
                    <a:lnTo>
                      <a:pt x="494" y="3965"/>
                    </a:lnTo>
                    <a:lnTo>
                      <a:pt x="497" y="3958"/>
                    </a:lnTo>
                    <a:lnTo>
                      <a:pt x="499" y="3953"/>
                    </a:lnTo>
                    <a:lnTo>
                      <a:pt x="500" y="3958"/>
                    </a:lnTo>
                    <a:lnTo>
                      <a:pt x="502" y="3964"/>
                    </a:lnTo>
                    <a:lnTo>
                      <a:pt x="504" y="3967"/>
                    </a:lnTo>
                    <a:lnTo>
                      <a:pt x="506" y="3971"/>
                    </a:lnTo>
                    <a:lnTo>
                      <a:pt x="507" y="3975"/>
                    </a:lnTo>
                    <a:lnTo>
                      <a:pt x="512" y="3977"/>
                    </a:lnTo>
                    <a:lnTo>
                      <a:pt x="513" y="3978"/>
                    </a:lnTo>
                    <a:lnTo>
                      <a:pt x="515" y="3978"/>
                    </a:lnTo>
                    <a:lnTo>
                      <a:pt x="517" y="3979"/>
                    </a:lnTo>
                    <a:lnTo>
                      <a:pt x="517" y="3980"/>
                    </a:lnTo>
                    <a:lnTo>
                      <a:pt x="513" y="3986"/>
                    </a:lnTo>
                    <a:lnTo>
                      <a:pt x="509" y="3990"/>
                    </a:lnTo>
                    <a:lnTo>
                      <a:pt x="509" y="3993"/>
                    </a:lnTo>
                    <a:lnTo>
                      <a:pt x="507" y="3999"/>
                    </a:lnTo>
                    <a:lnTo>
                      <a:pt x="509" y="4003"/>
                    </a:lnTo>
                    <a:lnTo>
                      <a:pt x="512" y="4006"/>
                    </a:lnTo>
                    <a:lnTo>
                      <a:pt x="513" y="4006"/>
                    </a:lnTo>
                    <a:lnTo>
                      <a:pt x="515" y="4006"/>
                    </a:lnTo>
                    <a:lnTo>
                      <a:pt x="519" y="4006"/>
                    </a:lnTo>
                    <a:lnTo>
                      <a:pt x="522" y="4006"/>
                    </a:lnTo>
                    <a:lnTo>
                      <a:pt x="528" y="4006"/>
                    </a:lnTo>
                    <a:lnTo>
                      <a:pt x="535" y="4006"/>
                    </a:lnTo>
                    <a:lnTo>
                      <a:pt x="548" y="4006"/>
                    </a:lnTo>
                    <a:lnTo>
                      <a:pt x="550" y="4003"/>
                    </a:lnTo>
                    <a:lnTo>
                      <a:pt x="553" y="3999"/>
                    </a:lnTo>
                    <a:lnTo>
                      <a:pt x="553" y="3995"/>
                    </a:lnTo>
                    <a:lnTo>
                      <a:pt x="555" y="3991"/>
                    </a:lnTo>
                    <a:lnTo>
                      <a:pt x="558" y="3986"/>
                    </a:lnTo>
                    <a:lnTo>
                      <a:pt x="558" y="3978"/>
                    </a:lnTo>
                    <a:lnTo>
                      <a:pt x="558" y="3971"/>
                    </a:lnTo>
                    <a:lnTo>
                      <a:pt x="558" y="3965"/>
                    </a:lnTo>
                    <a:lnTo>
                      <a:pt x="560" y="3962"/>
                    </a:lnTo>
                    <a:lnTo>
                      <a:pt x="561" y="3958"/>
                    </a:lnTo>
                    <a:lnTo>
                      <a:pt x="563" y="3955"/>
                    </a:lnTo>
                    <a:lnTo>
                      <a:pt x="566" y="3953"/>
                    </a:lnTo>
                    <a:lnTo>
                      <a:pt x="561" y="3953"/>
                    </a:lnTo>
                    <a:lnTo>
                      <a:pt x="558" y="3953"/>
                    </a:lnTo>
                    <a:lnTo>
                      <a:pt x="552" y="3955"/>
                    </a:lnTo>
                    <a:lnTo>
                      <a:pt x="546" y="3958"/>
                    </a:lnTo>
                    <a:lnTo>
                      <a:pt x="542" y="3960"/>
                    </a:lnTo>
                    <a:lnTo>
                      <a:pt x="545" y="3955"/>
                    </a:lnTo>
                    <a:lnTo>
                      <a:pt x="548" y="3947"/>
                    </a:lnTo>
                    <a:lnTo>
                      <a:pt x="550" y="3940"/>
                    </a:lnTo>
                    <a:lnTo>
                      <a:pt x="552" y="3932"/>
                    </a:lnTo>
                    <a:lnTo>
                      <a:pt x="552" y="3925"/>
                    </a:lnTo>
                    <a:lnTo>
                      <a:pt x="552" y="3921"/>
                    </a:lnTo>
                    <a:lnTo>
                      <a:pt x="548" y="3916"/>
                    </a:lnTo>
                    <a:lnTo>
                      <a:pt x="546" y="3916"/>
                    </a:lnTo>
                    <a:lnTo>
                      <a:pt x="545" y="3916"/>
                    </a:lnTo>
                    <a:lnTo>
                      <a:pt x="540" y="3916"/>
                    </a:lnTo>
                    <a:lnTo>
                      <a:pt x="539" y="3916"/>
                    </a:lnTo>
                    <a:lnTo>
                      <a:pt x="530" y="3914"/>
                    </a:lnTo>
                    <a:lnTo>
                      <a:pt x="520" y="3914"/>
                    </a:lnTo>
                    <a:lnTo>
                      <a:pt x="512" y="3914"/>
                    </a:lnTo>
                    <a:lnTo>
                      <a:pt x="500" y="3912"/>
                    </a:lnTo>
                    <a:lnTo>
                      <a:pt x="489" y="3912"/>
                    </a:lnTo>
                    <a:lnTo>
                      <a:pt x="478" y="3912"/>
                    </a:lnTo>
                    <a:lnTo>
                      <a:pt x="469" y="3912"/>
                    </a:lnTo>
                    <a:lnTo>
                      <a:pt x="459" y="3912"/>
                    </a:lnTo>
                    <a:lnTo>
                      <a:pt x="453" y="3914"/>
                    </a:lnTo>
                    <a:lnTo>
                      <a:pt x="448" y="3916"/>
                    </a:lnTo>
                    <a:lnTo>
                      <a:pt x="446" y="3916"/>
                    </a:lnTo>
                    <a:lnTo>
                      <a:pt x="445" y="3917"/>
                    </a:lnTo>
                    <a:lnTo>
                      <a:pt x="443" y="3919"/>
                    </a:lnTo>
                    <a:lnTo>
                      <a:pt x="441" y="3921"/>
                    </a:lnTo>
                    <a:lnTo>
                      <a:pt x="441" y="3924"/>
                    </a:lnTo>
                    <a:lnTo>
                      <a:pt x="441" y="3925"/>
                    </a:lnTo>
                    <a:lnTo>
                      <a:pt x="443" y="3929"/>
                    </a:lnTo>
                    <a:lnTo>
                      <a:pt x="445" y="3930"/>
                    </a:lnTo>
                    <a:lnTo>
                      <a:pt x="446" y="3934"/>
                    </a:lnTo>
                    <a:lnTo>
                      <a:pt x="445" y="3934"/>
                    </a:lnTo>
                    <a:lnTo>
                      <a:pt x="441" y="3936"/>
                    </a:lnTo>
                    <a:lnTo>
                      <a:pt x="439" y="3938"/>
                    </a:lnTo>
                    <a:lnTo>
                      <a:pt x="438" y="3940"/>
                    </a:lnTo>
                    <a:lnTo>
                      <a:pt x="436" y="3945"/>
                    </a:lnTo>
                    <a:lnTo>
                      <a:pt x="433" y="3950"/>
                    </a:lnTo>
                    <a:lnTo>
                      <a:pt x="433" y="3953"/>
                    </a:lnTo>
                    <a:lnTo>
                      <a:pt x="436" y="3955"/>
                    </a:lnTo>
                    <a:lnTo>
                      <a:pt x="436" y="3957"/>
                    </a:lnTo>
                    <a:lnTo>
                      <a:pt x="438" y="3957"/>
                    </a:lnTo>
                    <a:lnTo>
                      <a:pt x="439" y="3957"/>
                    </a:lnTo>
                    <a:lnTo>
                      <a:pt x="441" y="3957"/>
                    </a:lnTo>
                    <a:lnTo>
                      <a:pt x="443" y="3956"/>
                    </a:lnTo>
                    <a:lnTo>
                      <a:pt x="439" y="3958"/>
                    </a:lnTo>
                    <a:lnTo>
                      <a:pt x="432" y="3965"/>
                    </a:lnTo>
                    <a:lnTo>
                      <a:pt x="429" y="3967"/>
                    </a:lnTo>
                    <a:lnTo>
                      <a:pt x="418" y="3967"/>
                    </a:lnTo>
                    <a:lnTo>
                      <a:pt x="412" y="3970"/>
                    </a:lnTo>
                    <a:lnTo>
                      <a:pt x="406" y="3970"/>
                    </a:lnTo>
                    <a:lnTo>
                      <a:pt x="398" y="3971"/>
                    </a:lnTo>
                    <a:lnTo>
                      <a:pt x="393" y="3975"/>
                    </a:lnTo>
                    <a:lnTo>
                      <a:pt x="390" y="3977"/>
                    </a:lnTo>
                    <a:lnTo>
                      <a:pt x="395" y="3971"/>
                    </a:lnTo>
                    <a:lnTo>
                      <a:pt x="402" y="3965"/>
                    </a:lnTo>
                    <a:lnTo>
                      <a:pt x="405" y="3962"/>
                    </a:lnTo>
                    <a:lnTo>
                      <a:pt x="408" y="3960"/>
                    </a:lnTo>
                    <a:lnTo>
                      <a:pt x="410" y="3957"/>
                    </a:lnTo>
                    <a:lnTo>
                      <a:pt x="412" y="3953"/>
                    </a:lnTo>
                    <a:lnTo>
                      <a:pt x="412" y="3949"/>
                    </a:lnTo>
                    <a:lnTo>
                      <a:pt x="412" y="3947"/>
                    </a:lnTo>
                    <a:lnTo>
                      <a:pt x="410" y="3944"/>
                    </a:lnTo>
                    <a:lnTo>
                      <a:pt x="406" y="3940"/>
                    </a:lnTo>
                    <a:lnTo>
                      <a:pt x="402" y="3938"/>
                    </a:lnTo>
                    <a:lnTo>
                      <a:pt x="397" y="3934"/>
                    </a:lnTo>
                    <a:lnTo>
                      <a:pt x="397" y="3936"/>
                    </a:lnTo>
                    <a:lnTo>
                      <a:pt x="397" y="3940"/>
                    </a:lnTo>
                    <a:lnTo>
                      <a:pt x="397" y="3944"/>
                    </a:lnTo>
                    <a:lnTo>
                      <a:pt x="395" y="3945"/>
                    </a:lnTo>
                    <a:lnTo>
                      <a:pt x="393" y="3945"/>
                    </a:lnTo>
                    <a:lnTo>
                      <a:pt x="392" y="3945"/>
                    </a:lnTo>
                    <a:lnTo>
                      <a:pt x="390" y="3944"/>
                    </a:lnTo>
                    <a:lnTo>
                      <a:pt x="385" y="3942"/>
                    </a:lnTo>
                    <a:lnTo>
                      <a:pt x="384" y="3942"/>
                    </a:lnTo>
                    <a:lnTo>
                      <a:pt x="382" y="3940"/>
                    </a:lnTo>
                    <a:lnTo>
                      <a:pt x="379" y="3938"/>
                    </a:lnTo>
                    <a:lnTo>
                      <a:pt x="377" y="3938"/>
                    </a:lnTo>
                    <a:lnTo>
                      <a:pt x="372" y="3940"/>
                    </a:lnTo>
                    <a:lnTo>
                      <a:pt x="369" y="3942"/>
                    </a:lnTo>
                    <a:lnTo>
                      <a:pt x="367" y="3945"/>
                    </a:lnTo>
                    <a:lnTo>
                      <a:pt x="365" y="3947"/>
                    </a:lnTo>
                    <a:lnTo>
                      <a:pt x="364" y="3950"/>
                    </a:lnTo>
                    <a:lnTo>
                      <a:pt x="364" y="3949"/>
                    </a:lnTo>
                    <a:lnTo>
                      <a:pt x="362" y="3947"/>
                    </a:lnTo>
                    <a:lnTo>
                      <a:pt x="362" y="3945"/>
                    </a:lnTo>
                    <a:lnTo>
                      <a:pt x="360" y="3947"/>
                    </a:lnTo>
                    <a:lnTo>
                      <a:pt x="359" y="3947"/>
                    </a:lnTo>
                    <a:lnTo>
                      <a:pt x="356" y="3949"/>
                    </a:lnTo>
                    <a:lnTo>
                      <a:pt x="352" y="3953"/>
                    </a:lnTo>
                    <a:lnTo>
                      <a:pt x="347" y="3958"/>
                    </a:lnTo>
                    <a:lnTo>
                      <a:pt x="341" y="3962"/>
                    </a:lnTo>
                    <a:lnTo>
                      <a:pt x="338" y="3965"/>
                    </a:lnTo>
                    <a:lnTo>
                      <a:pt x="336" y="3965"/>
                    </a:lnTo>
                    <a:lnTo>
                      <a:pt x="332" y="3967"/>
                    </a:lnTo>
                    <a:lnTo>
                      <a:pt x="334" y="3967"/>
                    </a:lnTo>
                    <a:lnTo>
                      <a:pt x="338" y="3967"/>
                    </a:lnTo>
                    <a:lnTo>
                      <a:pt x="341" y="3967"/>
                    </a:lnTo>
                    <a:lnTo>
                      <a:pt x="344" y="3970"/>
                    </a:lnTo>
                    <a:lnTo>
                      <a:pt x="347" y="3970"/>
                    </a:lnTo>
                    <a:lnTo>
                      <a:pt x="349" y="3970"/>
                    </a:lnTo>
                    <a:lnTo>
                      <a:pt x="351" y="3971"/>
                    </a:lnTo>
                    <a:lnTo>
                      <a:pt x="352" y="3971"/>
                    </a:lnTo>
                    <a:lnTo>
                      <a:pt x="352" y="3973"/>
                    </a:lnTo>
                    <a:lnTo>
                      <a:pt x="351" y="3975"/>
                    </a:lnTo>
                    <a:lnTo>
                      <a:pt x="349" y="3977"/>
                    </a:lnTo>
                    <a:lnTo>
                      <a:pt x="345" y="3978"/>
                    </a:lnTo>
                    <a:lnTo>
                      <a:pt x="344" y="3978"/>
                    </a:lnTo>
                    <a:lnTo>
                      <a:pt x="336" y="3982"/>
                    </a:lnTo>
                    <a:lnTo>
                      <a:pt x="334" y="3984"/>
                    </a:lnTo>
                    <a:lnTo>
                      <a:pt x="332" y="3984"/>
                    </a:lnTo>
                    <a:lnTo>
                      <a:pt x="331" y="3984"/>
                    </a:lnTo>
                    <a:lnTo>
                      <a:pt x="329" y="3984"/>
                    </a:lnTo>
                    <a:lnTo>
                      <a:pt x="334" y="3988"/>
                    </a:lnTo>
                    <a:lnTo>
                      <a:pt x="338" y="3991"/>
                    </a:lnTo>
                    <a:lnTo>
                      <a:pt x="339" y="3993"/>
                    </a:lnTo>
                    <a:lnTo>
                      <a:pt x="341" y="3997"/>
                    </a:lnTo>
                    <a:lnTo>
                      <a:pt x="341" y="3999"/>
                    </a:lnTo>
                    <a:lnTo>
                      <a:pt x="341" y="4003"/>
                    </a:lnTo>
                    <a:lnTo>
                      <a:pt x="341" y="4004"/>
                    </a:lnTo>
                    <a:lnTo>
                      <a:pt x="341" y="4006"/>
                    </a:lnTo>
                    <a:lnTo>
                      <a:pt x="339" y="4010"/>
                    </a:lnTo>
                    <a:lnTo>
                      <a:pt x="338" y="4011"/>
                    </a:lnTo>
                    <a:lnTo>
                      <a:pt x="332" y="4016"/>
                    </a:lnTo>
                    <a:lnTo>
                      <a:pt x="325" y="4019"/>
                    </a:lnTo>
                    <a:lnTo>
                      <a:pt x="319" y="4023"/>
                    </a:lnTo>
                    <a:lnTo>
                      <a:pt x="311" y="4026"/>
                    </a:lnTo>
                    <a:lnTo>
                      <a:pt x="305" y="4029"/>
                    </a:lnTo>
                    <a:lnTo>
                      <a:pt x="299" y="4031"/>
                    </a:lnTo>
                    <a:lnTo>
                      <a:pt x="293" y="4032"/>
                    </a:lnTo>
                    <a:lnTo>
                      <a:pt x="291" y="4034"/>
                    </a:lnTo>
                    <a:lnTo>
                      <a:pt x="290" y="4034"/>
                    </a:lnTo>
                    <a:lnTo>
                      <a:pt x="290" y="4036"/>
                    </a:lnTo>
                    <a:lnTo>
                      <a:pt x="291" y="4036"/>
                    </a:lnTo>
                    <a:lnTo>
                      <a:pt x="290" y="4038"/>
                    </a:lnTo>
                    <a:lnTo>
                      <a:pt x="286" y="4039"/>
                    </a:lnTo>
                    <a:close/>
                    <a:moveTo>
                      <a:pt x="379" y="3856"/>
                    </a:moveTo>
                    <a:lnTo>
                      <a:pt x="379" y="3858"/>
                    </a:lnTo>
                    <a:lnTo>
                      <a:pt x="379" y="3860"/>
                    </a:lnTo>
                    <a:lnTo>
                      <a:pt x="379" y="3863"/>
                    </a:lnTo>
                    <a:lnTo>
                      <a:pt x="384" y="3858"/>
                    </a:lnTo>
                    <a:lnTo>
                      <a:pt x="387" y="3856"/>
                    </a:lnTo>
                    <a:lnTo>
                      <a:pt x="392" y="3855"/>
                    </a:lnTo>
                    <a:lnTo>
                      <a:pt x="393" y="3853"/>
                    </a:lnTo>
                    <a:lnTo>
                      <a:pt x="390" y="3853"/>
                    </a:lnTo>
                    <a:lnTo>
                      <a:pt x="387" y="3853"/>
                    </a:lnTo>
                    <a:lnTo>
                      <a:pt x="384" y="3853"/>
                    </a:lnTo>
                    <a:lnTo>
                      <a:pt x="380" y="3853"/>
                    </a:lnTo>
                    <a:lnTo>
                      <a:pt x="379" y="3853"/>
                    </a:lnTo>
                    <a:lnTo>
                      <a:pt x="379" y="3855"/>
                    </a:lnTo>
                    <a:lnTo>
                      <a:pt x="379" y="3856"/>
                    </a:lnTo>
                    <a:close/>
                    <a:moveTo>
                      <a:pt x="476" y="4045"/>
                    </a:moveTo>
                    <a:lnTo>
                      <a:pt x="482" y="4044"/>
                    </a:lnTo>
                    <a:lnTo>
                      <a:pt x="487" y="4041"/>
                    </a:lnTo>
                    <a:lnTo>
                      <a:pt x="497" y="4034"/>
                    </a:lnTo>
                    <a:lnTo>
                      <a:pt x="500" y="4031"/>
                    </a:lnTo>
                    <a:lnTo>
                      <a:pt x="504" y="4029"/>
                    </a:lnTo>
                    <a:lnTo>
                      <a:pt x="507" y="4024"/>
                    </a:lnTo>
                    <a:lnTo>
                      <a:pt x="509" y="4023"/>
                    </a:lnTo>
                    <a:lnTo>
                      <a:pt x="512" y="4021"/>
                    </a:lnTo>
                    <a:lnTo>
                      <a:pt x="509" y="4021"/>
                    </a:lnTo>
                    <a:lnTo>
                      <a:pt x="506" y="4021"/>
                    </a:lnTo>
                    <a:lnTo>
                      <a:pt x="500" y="4019"/>
                    </a:lnTo>
                    <a:lnTo>
                      <a:pt x="497" y="4019"/>
                    </a:lnTo>
                    <a:lnTo>
                      <a:pt x="486" y="4018"/>
                    </a:lnTo>
                    <a:lnTo>
                      <a:pt x="474" y="4018"/>
                    </a:lnTo>
                    <a:lnTo>
                      <a:pt x="471" y="4018"/>
                    </a:lnTo>
                    <a:lnTo>
                      <a:pt x="466" y="4018"/>
                    </a:lnTo>
                    <a:lnTo>
                      <a:pt x="461" y="4019"/>
                    </a:lnTo>
                    <a:lnTo>
                      <a:pt x="458" y="4021"/>
                    </a:lnTo>
                    <a:lnTo>
                      <a:pt x="454" y="4023"/>
                    </a:lnTo>
                    <a:lnTo>
                      <a:pt x="453" y="4026"/>
                    </a:lnTo>
                    <a:lnTo>
                      <a:pt x="451" y="4032"/>
                    </a:lnTo>
                    <a:lnTo>
                      <a:pt x="451" y="4038"/>
                    </a:lnTo>
                    <a:lnTo>
                      <a:pt x="453" y="4041"/>
                    </a:lnTo>
                    <a:lnTo>
                      <a:pt x="456" y="4045"/>
                    </a:lnTo>
                    <a:lnTo>
                      <a:pt x="461" y="4047"/>
                    </a:lnTo>
                    <a:lnTo>
                      <a:pt x="466" y="4047"/>
                    </a:lnTo>
                    <a:lnTo>
                      <a:pt x="471" y="4047"/>
                    </a:lnTo>
                    <a:lnTo>
                      <a:pt x="476" y="4045"/>
                    </a:lnTo>
                    <a:close/>
                    <a:moveTo>
                      <a:pt x="489" y="4098"/>
                    </a:moveTo>
                    <a:lnTo>
                      <a:pt x="487" y="4102"/>
                    </a:lnTo>
                    <a:lnTo>
                      <a:pt x="484" y="4106"/>
                    </a:lnTo>
                    <a:lnTo>
                      <a:pt x="491" y="4105"/>
                    </a:lnTo>
                    <a:lnTo>
                      <a:pt x="494" y="4105"/>
                    </a:lnTo>
                    <a:lnTo>
                      <a:pt x="500" y="4102"/>
                    </a:lnTo>
                    <a:lnTo>
                      <a:pt x="504" y="4100"/>
                    </a:lnTo>
                    <a:lnTo>
                      <a:pt x="512" y="4095"/>
                    </a:lnTo>
                    <a:lnTo>
                      <a:pt x="517" y="4090"/>
                    </a:lnTo>
                    <a:lnTo>
                      <a:pt x="522" y="4084"/>
                    </a:lnTo>
                    <a:lnTo>
                      <a:pt x="530" y="4078"/>
                    </a:lnTo>
                    <a:lnTo>
                      <a:pt x="533" y="4077"/>
                    </a:lnTo>
                    <a:lnTo>
                      <a:pt x="539" y="4075"/>
                    </a:lnTo>
                    <a:lnTo>
                      <a:pt x="543" y="4072"/>
                    </a:lnTo>
                    <a:lnTo>
                      <a:pt x="550" y="4072"/>
                    </a:lnTo>
                    <a:lnTo>
                      <a:pt x="543" y="4067"/>
                    </a:lnTo>
                    <a:lnTo>
                      <a:pt x="537" y="4064"/>
                    </a:lnTo>
                    <a:lnTo>
                      <a:pt x="532" y="4060"/>
                    </a:lnTo>
                    <a:lnTo>
                      <a:pt x="525" y="4057"/>
                    </a:lnTo>
                    <a:lnTo>
                      <a:pt x="522" y="4057"/>
                    </a:lnTo>
                    <a:lnTo>
                      <a:pt x="520" y="4056"/>
                    </a:lnTo>
                    <a:lnTo>
                      <a:pt x="517" y="4056"/>
                    </a:lnTo>
                    <a:lnTo>
                      <a:pt x="519" y="4054"/>
                    </a:lnTo>
                    <a:lnTo>
                      <a:pt x="522" y="4051"/>
                    </a:lnTo>
                    <a:lnTo>
                      <a:pt x="524" y="4049"/>
                    </a:lnTo>
                    <a:lnTo>
                      <a:pt x="528" y="4045"/>
                    </a:lnTo>
                    <a:lnTo>
                      <a:pt x="530" y="4044"/>
                    </a:lnTo>
                    <a:lnTo>
                      <a:pt x="532" y="4041"/>
                    </a:lnTo>
                    <a:lnTo>
                      <a:pt x="533" y="4039"/>
                    </a:lnTo>
                    <a:lnTo>
                      <a:pt x="532" y="4038"/>
                    </a:lnTo>
                    <a:lnTo>
                      <a:pt x="532" y="4036"/>
                    </a:lnTo>
                    <a:lnTo>
                      <a:pt x="528" y="4036"/>
                    </a:lnTo>
                    <a:lnTo>
                      <a:pt x="525" y="4036"/>
                    </a:lnTo>
                    <a:lnTo>
                      <a:pt x="522" y="4038"/>
                    </a:lnTo>
                    <a:lnTo>
                      <a:pt x="517" y="4039"/>
                    </a:lnTo>
                    <a:lnTo>
                      <a:pt x="513" y="4041"/>
                    </a:lnTo>
                    <a:lnTo>
                      <a:pt x="509" y="4045"/>
                    </a:lnTo>
                    <a:lnTo>
                      <a:pt x="500" y="4051"/>
                    </a:lnTo>
                    <a:lnTo>
                      <a:pt x="497" y="4054"/>
                    </a:lnTo>
                    <a:lnTo>
                      <a:pt x="492" y="4057"/>
                    </a:lnTo>
                    <a:lnTo>
                      <a:pt x="489" y="4062"/>
                    </a:lnTo>
                    <a:lnTo>
                      <a:pt x="487" y="4065"/>
                    </a:lnTo>
                    <a:lnTo>
                      <a:pt x="486" y="4069"/>
                    </a:lnTo>
                    <a:lnTo>
                      <a:pt x="484" y="4072"/>
                    </a:lnTo>
                    <a:lnTo>
                      <a:pt x="482" y="4072"/>
                    </a:lnTo>
                    <a:lnTo>
                      <a:pt x="479" y="4072"/>
                    </a:lnTo>
                    <a:lnTo>
                      <a:pt x="479" y="4075"/>
                    </a:lnTo>
                    <a:lnTo>
                      <a:pt x="479" y="4077"/>
                    </a:lnTo>
                    <a:lnTo>
                      <a:pt x="482" y="4078"/>
                    </a:lnTo>
                    <a:lnTo>
                      <a:pt x="484" y="4082"/>
                    </a:lnTo>
                    <a:lnTo>
                      <a:pt x="487" y="4087"/>
                    </a:lnTo>
                    <a:lnTo>
                      <a:pt x="487" y="4092"/>
                    </a:lnTo>
                    <a:lnTo>
                      <a:pt x="489" y="4093"/>
                    </a:lnTo>
                    <a:lnTo>
                      <a:pt x="489" y="4097"/>
                    </a:lnTo>
                    <a:lnTo>
                      <a:pt x="489" y="4098"/>
                    </a:lnTo>
                    <a:close/>
                    <a:moveTo>
                      <a:pt x="257" y="3863"/>
                    </a:moveTo>
                    <a:lnTo>
                      <a:pt x="253" y="3863"/>
                    </a:lnTo>
                    <a:lnTo>
                      <a:pt x="247" y="3864"/>
                    </a:lnTo>
                    <a:lnTo>
                      <a:pt x="244" y="3868"/>
                    </a:lnTo>
                    <a:lnTo>
                      <a:pt x="238" y="3870"/>
                    </a:lnTo>
                    <a:lnTo>
                      <a:pt x="234" y="3873"/>
                    </a:lnTo>
                    <a:lnTo>
                      <a:pt x="224" y="3883"/>
                    </a:lnTo>
                    <a:lnTo>
                      <a:pt x="214" y="3891"/>
                    </a:lnTo>
                    <a:lnTo>
                      <a:pt x="203" y="3901"/>
                    </a:lnTo>
                    <a:lnTo>
                      <a:pt x="196" y="3909"/>
                    </a:lnTo>
                    <a:lnTo>
                      <a:pt x="188" y="3917"/>
                    </a:lnTo>
                    <a:lnTo>
                      <a:pt x="192" y="3916"/>
                    </a:lnTo>
                    <a:lnTo>
                      <a:pt x="196" y="3916"/>
                    </a:lnTo>
                    <a:lnTo>
                      <a:pt x="203" y="3914"/>
                    </a:lnTo>
                    <a:lnTo>
                      <a:pt x="209" y="3914"/>
                    </a:lnTo>
                    <a:lnTo>
                      <a:pt x="224" y="3909"/>
                    </a:lnTo>
                    <a:lnTo>
                      <a:pt x="238" y="3903"/>
                    </a:lnTo>
                    <a:lnTo>
                      <a:pt x="244" y="3899"/>
                    </a:lnTo>
                    <a:lnTo>
                      <a:pt x="249" y="3896"/>
                    </a:lnTo>
                    <a:lnTo>
                      <a:pt x="255" y="3890"/>
                    </a:lnTo>
                    <a:lnTo>
                      <a:pt x="258" y="3886"/>
                    </a:lnTo>
                    <a:lnTo>
                      <a:pt x="262" y="3881"/>
                    </a:lnTo>
                    <a:lnTo>
                      <a:pt x="262" y="3875"/>
                    </a:lnTo>
                    <a:lnTo>
                      <a:pt x="262" y="3871"/>
                    </a:lnTo>
                    <a:lnTo>
                      <a:pt x="262" y="3868"/>
                    </a:lnTo>
                    <a:lnTo>
                      <a:pt x="262" y="3864"/>
                    </a:lnTo>
                    <a:lnTo>
                      <a:pt x="260" y="3863"/>
                    </a:lnTo>
                    <a:lnTo>
                      <a:pt x="257" y="3863"/>
                    </a:lnTo>
                    <a:close/>
                    <a:moveTo>
                      <a:pt x="240" y="4102"/>
                    </a:moveTo>
                    <a:lnTo>
                      <a:pt x="237" y="4100"/>
                    </a:lnTo>
                    <a:lnTo>
                      <a:pt x="232" y="4098"/>
                    </a:lnTo>
                    <a:lnTo>
                      <a:pt x="229" y="4097"/>
                    </a:lnTo>
                    <a:lnTo>
                      <a:pt x="225" y="4097"/>
                    </a:lnTo>
                    <a:lnTo>
                      <a:pt x="224" y="4098"/>
                    </a:lnTo>
                    <a:lnTo>
                      <a:pt x="219" y="4098"/>
                    </a:lnTo>
                    <a:lnTo>
                      <a:pt x="218" y="4100"/>
                    </a:lnTo>
                    <a:lnTo>
                      <a:pt x="212" y="4105"/>
                    </a:lnTo>
                    <a:lnTo>
                      <a:pt x="209" y="4110"/>
                    </a:lnTo>
                    <a:lnTo>
                      <a:pt x="207" y="4117"/>
                    </a:lnTo>
                    <a:lnTo>
                      <a:pt x="207" y="4123"/>
                    </a:lnTo>
                    <a:lnTo>
                      <a:pt x="209" y="4121"/>
                    </a:lnTo>
                    <a:lnTo>
                      <a:pt x="212" y="4117"/>
                    </a:lnTo>
                    <a:lnTo>
                      <a:pt x="218" y="4115"/>
                    </a:lnTo>
                    <a:lnTo>
                      <a:pt x="224" y="4111"/>
                    </a:lnTo>
                    <a:lnTo>
                      <a:pt x="229" y="4108"/>
                    </a:lnTo>
                    <a:lnTo>
                      <a:pt x="237" y="4106"/>
                    </a:lnTo>
                    <a:lnTo>
                      <a:pt x="244" y="4106"/>
                    </a:lnTo>
                    <a:lnTo>
                      <a:pt x="240" y="4102"/>
                    </a:lnTo>
                    <a:close/>
                    <a:moveTo>
                      <a:pt x="225" y="4179"/>
                    </a:moveTo>
                    <a:lnTo>
                      <a:pt x="222" y="4182"/>
                    </a:lnTo>
                    <a:lnTo>
                      <a:pt x="216" y="4185"/>
                    </a:lnTo>
                    <a:lnTo>
                      <a:pt x="212" y="4189"/>
                    </a:lnTo>
                    <a:lnTo>
                      <a:pt x="207" y="4197"/>
                    </a:lnTo>
                    <a:lnTo>
                      <a:pt x="212" y="4197"/>
                    </a:lnTo>
                    <a:lnTo>
                      <a:pt x="216" y="4197"/>
                    </a:lnTo>
                    <a:lnTo>
                      <a:pt x="219" y="4197"/>
                    </a:lnTo>
                    <a:lnTo>
                      <a:pt x="222" y="4197"/>
                    </a:lnTo>
                    <a:lnTo>
                      <a:pt x="224" y="4197"/>
                    </a:lnTo>
                    <a:lnTo>
                      <a:pt x="225" y="4197"/>
                    </a:lnTo>
                    <a:lnTo>
                      <a:pt x="225" y="4189"/>
                    </a:lnTo>
                    <a:lnTo>
                      <a:pt x="227" y="4185"/>
                    </a:lnTo>
                    <a:lnTo>
                      <a:pt x="231" y="4182"/>
                    </a:lnTo>
                    <a:lnTo>
                      <a:pt x="234" y="4179"/>
                    </a:lnTo>
                    <a:lnTo>
                      <a:pt x="237" y="4178"/>
                    </a:lnTo>
                    <a:lnTo>
                      <a:pt x="232" y="4178"/>
                    </a:lnTo>
                    <a:lnTo>
                      <a:pt x="227" y="4178"/>
                    </a:lnTo>
                    <a:lnTo>
                      <a:pt x="225" y="4179"/>
                    </a:lnTo>
                    <a:close/>
                    <a:moveTo>
                      <a:pt x="209" y="4319"/>
                    </a:moveTo>
                    <a:lnTo>
                      <a:pt x="211" y="4322"/>
                    </a:lnTo>
                    <a:lnTo>
                      <a:pt x="212" y="4324"/>
                    </a:lnTo>
                    <a:lnTo>
                      <a:pt x="216" y="4326"/>
                    </a:lnTo>
                    <a:lnTo>
                      <a:pt x="219" y="4329"/>
                    </a:lnTo>
                    <a:lnTo>
                      <a:pt x="225" y="4331"/>
                    </a:lnTo>
                    <a:lnTo>
                      <a:pt x="229" y="4329"/>
                    </a:lnTo>
                    <a:lnTo>
                      <a:pt x="231" y="4329"/>
                    </a:lnTo>
                    <a:lnTo>
                      <a:pt x="234" y="4327"/>
                    </a:lnTo>
                    <a:lnTo>
                      <a:pt x="237" y="4326"/>
                    </a:lnTo>
                    <a:lnTo>
                      <a:pt x="238" y="4322"/>
                    </a:lnTo>
                    <a:lnTo>
                      <a:pt x="238" y="4319"/>
                    </a:lnTo>
                    <a:lnTo>
                      <a:pt x="242" y="4311"/>
                    </a:lnTo>
                    <a:lnTo>
                      <a:pt x="242" y="4304"/>
                    </a:lnTo>
                    <a:lnTo>
                      <a:pt x="244" y="4296"/>
                    </a:lnTo>
                    <a:lnTo>
                      <a:pt x="244" y="4287"/>
                    </a:lnTo>
                    <a:lnTo>
                      <a:pt x="244" y="4281"/>
                    </a:lnTo>
                    <a:lnTo>
                      <a:pt x="244" y="4274"/>
                    </a:lnTo>
                    <a:lnTo>
                      <a:pt x="245" y="4266"/>
                    </a:lnTo>
                    <a:lnTo>
                      <a:pt x="249" y="4258"/>
                    </a:lnTo>
                    <a:lnTo>
                      <a:pt x="253" y="4250"/>
                    </a:lnTo>
                    <a:lnTo>
                      <a:pt x="255" y="4243"/>
                    </a:lnTo>
                    <a:lnTo>
                      <a:pt x="257" y="4238"/>
                    </a:lnTo>
                    <a:lnTo>
                      <a:pt x="258" y="4235"/>
                    </a:lnTo>
                    <a:lnTo>
                      <a:pt x="260" y="4233"/>
                    </a:lnTo>
                    <a:lnTo>
                      <a:pt x="260" y="4232"/>
                    </a:lnTo>
                    <a:lnTo>
                      <a:pt x="257" y="4232"/>
                    </a:lnTo>
                    <a:lnTo>
                      <a:pt x="253" y="4233"/>
                    </a:lnTo>
                    <a:lnTo>
                      <a:pt x="247" y="4238"/>
                    </a:lnTo>
                    <a:lnTo>
                      <a:pt x="240" y="4245"/>
                    </a:lnTo>
                    <a:lnTo>
                      <a:pt x="234" y="4250"/>
                    </a:lnTo>
                    <a:lnTo>
                      <a:pt x="227" y="4258"/>
                    </a:lnTo>
                    <a:lnTo>
                      <a:pt x="222" y="4266"/>
                    </a:lnTo>
                    <a:lnTo>
                      <a:pt x="216" y="4274"/>
                    </a:lnTo>
                    <a:lnTo>
                      <a:pt x="212" y="4283"/>
                    </a:lnTo>
                    <a:lnTo>
                      <a:pt x="209" y="4291"/>
                    </a:lnTo>
                    <a:lnTo>
                      <a:pt x="207" y="4299"/>
                    </a:lnTo>
                    <a:lnTo>
                      <a:pt x="204" y="4304"/>
                    </a:lnTo>
                    <a:lnTo>
                      <a:pt x="204" y="4307"/>
                    </a:lnTo>
                    <a:lnTo>
                      <a:pt x="207" y="4311"/>
                    </a:lnTo>
                    <a:lnTo>
                      <a:pt x="207" y="4314"/>
                    </a:lnTo>
                    <a:lnTo>
                      <a:pt x="209" y="4319"/>
                    </a:lnTo>
                    <a:close/>
                    <a:moveTo>
                      <a:pt x="257" y="4309"/>
                    </a:moveTo>
                    <a:lnTo>
                      <a:pt x="260" y="4312"/>
                    </a:lnTo>
                    <a:lnTo>
                      <a:pt x="260" y="4298"/>
                    </a:lnTo>
                    <a:lnTo>
                      <a:pt x="262" y="4293"/>
                    </a:lnTo>
                    <a:lnTo>
                      <a:pt x="262" y="4287"/>
                    </a:lnTo>
                    <a:lnTo>
                      <a:pt x="264" y="4283"/>
                    </a:lnTo>
                    <a:lnTo>
                      <a:pt x="268" y="4279"/>
                    </a:lnTo>
                    <a:lnTo>
                      <a:pt x="272" y="4278"/>
                    </a:lnTo>
                    <a:lnTo>
                      <a:pt x="278" y="4276"/>
                    </a:lnTo>
                    <a:lnTo>
                      <a:pt x="275" y="4274"/>
                    </a:lnTo>
                    <a:lnTo>
                      <a:pt x="272" y="4273"/>
                    </a:lnTo>
                    <a:lnTo>
                      <a:pt x="268" y="4273"/>
                    </a:lnTo>
                    <a:lnTo>
                      <a:pt x="265" y="4273"/>
                    </a:lnTo>
                    <a:lnTo>
                      <a:pt x="262" y="4273"/>
                    </a:lnTo>
                    <a:lnTo>
                      <a:pt x="260" y="4276"/>
                    </a:lnTo>
                    <a:lnTo>
                      <a:pt x="258" y="4278"/>
                    </a:lnTo>
                    <a:lnTo>
                      <a:pt x="257" y="4281"/>
                    </a:lnTo>
                    <a:lnTo>
                      <a:pt x="255" y="4285"/>
                    </a:lnTo>
                    <a:lnTo>
                      <a:pt x="253" y="4289"/>
                    </a:lnTo>
                    <a:lnTo>
                      <a:pt x="253" y="4293"/>
                    </a:lnTo>
                    <a:lnTo>
                      <a:pt x="253" y="4296"/>
                    </a:lnTo>
                    <a:lnTo>
                      <a:pt x="255" y="4299"/>
                    </a:lnTo>
                    <a:lnTo>
                      <a:pt x="255" y="4306"/>
                    </a:lnTo>
                    <a:lnTo>
                      <a:pt x="257" y="4309"/>
                    </a:lnTo>
                    <a:close/>
                    <a:moveTo>
                      <a:pt x="299" y="4209"/>
                    </a:moveTo>
                    <a:lnTo>
                      <a:pt x="291" y="4207"/>
                    </a:lnTo>
                    <a:lnTo>
                      <a:pt x="286" y="4205"/>
                    </a:lnTo>
                    <a:lnTo>
                      <a:pt x="278" y="4205"/>
                    </a:lnTo>
                    <a:lnTo>
                      <a:pt x="277" y="4205"/>
                    </a:lnTo>
                    <a:lnTo>
                      <a:pt x="273" y="4205"/>
                    </a:lnTo>
                    <a:lnTo>
                      <a:pt x="270" y="4205"/>
                    </a:lnTo>
                    <a:lnTo>
                      <a:pt x="265" y="4207"/>
                    </a:lnTo>
                    <a:lnTo>
                      <a:pt x="264" y="4209"/>
                    </a:lnTo>
                    <a:lnTo>
                      <a:pt x="260" y="4213"/>
                    </a:lnTo>
                    <a:lnTo>
                      <a:pt x="260" y="4215"/>
                    </a:lnTo>
                    <a:lnTo>
                      <a:pt x="247" y="4215"/>
                    </a:lnTo>
                    <a:lnTo>
                      <a:pt x="242" y="4215"/>
                    </a:lnTo>
                    <a:lnTo>
                      <a:pt x="237" y="4217"/>
                    </a:lnTo>
                    <a:lnTo>
                      <a:pt x="231" y="4219"/>
                    </a:lnTo>
                    <a:lnTo>
                      <a:pt x="227" y="4220"/>
                    </a:lnTo>
                    <a:lnTo>
                      <a:pt x="225" y="4225"/>
                    </a:lnTo>
                    <a:lnTo>
                      <a:pt x="225" y="4232"/>
                    </a:lnTo>
                    <a:lnTo>
                      <a:pt x="227" y="4230"/>
                    </a:lnTo>
                    <a:lnTo>
                      <a:pt x="231" y="4230"/>
                    </a:lnTo>
                    <a:lnTo>
                      <a:pt x="237" y="4230"/>
                    </a:lnTo>
                    <a:lnTo>
                      <a:pt x="244" y="4228"/>
                    </a:lnTo>
                    <a:lnTo>
                      <a:pt x="249" y="4225"/>
                    </a:lnTo>
                    <a:lnTo>
                      <a:pt x="255" y="4224"/>
                    </a:lnTo>
                    <a:lnTo>
                      <a:pt x="258" y="4222"/>
                    </a:lnTo>
                    <a:lnTo>
                      <a:pt x="260" y="4219"/>
                    </a:lnTo>
                    <a:lnTo>
                      <a:pt x="264" y="4222"/>
                    </a:lnTo>
                    <a:lnTo>
                      <a:pt x="265" y="4224"/>
                    </a:lnTo>
                    <a:lnTo>
                      <a:pt x="272" y="4225"/>
                    </a:lnTo>
                    <a:lnTo>
                      <a:pt x="274" y="4225"/>
                    </a:lnTo>
                    <a:lnTo>
                      <a:pt x="275" y="4225"/>
                    </a:lnTo>
                    <a:lnTo>
                      <a:pt x="277" y="4225"/>
                    </a:lnTo>
                    <a:lnTo>
                      <a:pt x="280" y="4225"/>
                    </a:lnTo>
                    <a:lnTo>
                      <a:pt x="285" y="4224"/>
                    </a:lnTo>
                    <a:lnTo>
                      <a:pt x="295" y="4222"/>
                    </a:lnTo>
                    <a:lnTo>
                      <a:pt x="305" y="4219"/>
                    </a:lnTo>
                    <a:lnTo>
                      <a:pt x="308" y="4215"/>
                    </a:lnTo>
                    <a:lnTo>
                      <a:pt x="311" y="4213"/>
                    </a:lnTo>
                    <a:lnTo>
                      <a:pt x="305" y="4212"/>
                    </a:lnTo>
                    <a:lnTo>
                      <a:pt x="299" y="4209"/>
                    </a:lnTo>
                    <a:close/>
                    <a:moveTo>
                      <a:pt x="379" y="4184"/>
                    </a:moveTo>
                    <a:lnTo>
                      <a:pt x="387" y="4179"/>
                    </a:lnTo>
                    <a:lnTo>
                      <a:pt x="393" y="4178"/>
                    </a:lnTo>
                    <a:lnTo>
                      <a:pt x="398" y="4176"/>
                    </a:lnTo>
                    <a:lnTo>
                      <a:pt x="402" y="4176"/>
                    </a:lnTo>
                    <a:lnTo>
                      <a:pt x="408" y="4176"/>
                    </a:lnTo>
                    <a:lnTo>
                      <a:pt x="412" y="4178"/>
                    </a:lnTo>
                    <a:lnTo>
                      <a:pt x="417" y="4178"/>
                    </a:lnTo>
                    <a:lnTo>
                      <a:pt x="421" y="4182"/>
                    </a:lnTo>
                    <a:lnTo>
                      <a:pt x="425" y="4185"/>
                    </a:lnTo>
                    <a:lnTo>
                      <a:pt x="428" y="4189"/>
                    </a:lnTo>
                    <a:lnTo>
                      <a:pt x="432" y="4197"/>
                    </a:lnTo>
                    <a:lnTo>
                      <a:pt x="432" y="4192"/>
                    </a:lnTo>
                    <a:lnTo>
                      <a:pt x="433" y="4187"/>
                    </a:lnTo>
                    <a:lnTo>
                      <a:pt x="433" y="4184"/>
                    </a:lnTo>
                    <a:lnTo>
                      <a:pt x="436" y="4178"/>
                    </a:lnTo>
                    <a:lnTo>
                      <a:pt x="438" y="4166"/>
                    </a:lnTo>
                    <a:lnTo>
                      <a:pt x="441" y="4154"/>
                    </a:lnTo>
                    <a:lnTo>
                      <a:pt x="445" y="4141"/>
                    </a:lnTo>
                    <a:lnTo>
                      <a:pt x="446" y="4128"/>
                    </a:lnTo>
                    <a:lnTo>
                      <a:pt x="448" y="4123"/>
                    </a:lnTo>
                    <a:lnTo>
                      <a:pt x="448" y="4118"/>
                    </a:lnTo>
                    <a:lnTo>
                      <a:pt x="448" y="4113"/>
                    </a:lnTo>
                    <a:lnTo>
                      <a:pt x="451" y="4111"/>
                    </a:lnTo>
                    <a:lnTo>
                      <a:pt x="448" y="4108"/>
                    </a:lnTo>
                    <a:lnTo>
                      <a:pt x="448" y="4105"/>
                    </a:lnTo>
                    <a:lnTo>
                      <a:pt x="446" y="4102"/>
                    </a:lnTo>
                    <a:lnTo>
                      <a:pt x="445" y="4100"/>
                    </a:lnTo>
                    <a:lnTo>
                      <a:pt x="439" y="4098"/>
                    </a:lnTo>
                    <a:lnTo>
                      <a:pt x="432" y="4095"/>
                    </a:lnTo>
                    <a:lnTo>
                      <a:pt x="426" y="4095"/>
                    </a:lnTo>
                    <a:lnTo>
                      <a:pt x="421" y="4093"/>
                    </a:lnTo>
                    <a:lnTo>
                      <a:pt x="418" y="4093"/>
                    </a:lnTo>
                    <a:lnTo>
                      <a:pt x="417" y="4093"/>
                    </a:lnTo>
                    <a:lnTo>
                      <a:pt x="415" y="4093"/>
                    </a:lnTo>
                    <a:lnTo>
                      <a:pt x="415" y="4092"/>
                    </a:lnTo>
                    <a:lnTo>
                      <a:pt x="417" y="4087"/>
                    </a:lnTo>
                    <a:lnTo>
                      <a:pt x="418" y="4084"/>
                    </a:lnTo>
                    <a:lnTo>
                      <a:pt x="421" y="4080"/>
                    </a:lnTo>
                    <a:lnTo>
                      <a:pt x="425" y="4075"/>
                    </a:lnTo>
                    <a:lnTo>
                      <a:pt x="430" y="4067"/>
                    </a:lnTo>
                    <a:lnTo>
                      <a:pt x="433" y="4062"/>
                    </a:lnTo>
                    <a:lnTo>
                      <a:pt x="436" y="4057"/>
                    </a:lnTo>
                    <a:lnTo>
                      <a:pt x="438" y="4054"/>
                    </a:lnTo>
                    <a:lnTo>
                      <a:pt x="438" y="4052"/>
                    </a:lnTo>
                    <a:lnTo>
                      <a:pt x="438" y="4049"/>
                    </a:lnTo>
                    <a:lnTo>
                      <a:pt x="436" y="4045"/>
                    </a:lnTo>
                    <a:lnTo>
                      <a:pt x="432" y="4044"/>
                    </a:lnTo>
                    <a:lnTo>
                      <a:pt x="421" y="4044"/>
                    </a:lnTo>
                    <a:lnTo>
                      <a:pt x="410" y="4044"/>
                    </a:lnTo>
                    <a:lnTo>
                      <a:pt x="400" y="4044"/>
                    </a:lnTo>
                    <a:lnTo>
                      <a:pt x="392" y="4045"/>
                    </a:lnTo>
                    <a:lnTo>
                      <a:pt x="384" y="4047"/>
                    </a:lnTo>
                    <a:lnTo>
                      <a:pt x="377" y="4049"/>
                    </a:lnTo>
                    <a:lnTo>
                      <a:pt x="369" y="4054"/>
                    </a:lnTo>
                    <a:lnTo>
                      <a:pt x="364" y="4060"/>
                    </a:lnTo>
                    <a:lnTo>
                      <a:pt x="367" y="4062"/>
                    </a:lnTo>
                    <a:lnTo>
                      <a:pt x="369" y="4064"/>
                    </a:lnTo>
                    <a:lnTo>
                      <a:pt x="375" y="4065"/>
                    </a:lnTo>
                    <a:lnTo>
                      <a:pt x="380" y="4067"/>
                    </a:lnTo>
                    <a:lnTo>
                      <a:pt x="382" y="4067"/>
                    </a:lnTo>
                    <a:lnTo>
                      <a:pt x="385" y="4067"/>
                    </a:lnTo>
                    <a:lnTo>
                      <a:pt x="387" y="4065"/>
                    </a:lnTo>
                    <a:lnTo>
                      <a:pt x="392" y="4064"/>
                    </a:lnTo>
                    <a:lnTo>
                      <a:pt x="395" y="4062"/>
                    </a:lnTo>
                    <a:lnTo>
                      <a:pt x="398" y="4060"/>
                    </a:lnTo>
                    <a:lnTo>
                      <a:pt x="393" y="4065"/>
                    </a:lnTo>
                    <a:lnTo>
                      <a:pt x="387" y="4071"/>
                    </a:lnTo>
                    <a:lnTo>
                      <a:pt x="382" y="4075"/>
                    </a:lnTo>
                    <a:lnTo>
                      <a:pt x="375" y="4077"/>
                    </a:lnTo>
                    <a:lnTo>
                      <a:pt x="365" y="4080"/>
                    </a:lnTo>
                    <a:lnTo>
                      <a:pt x="359" y="4082"/>
                    </a:lnTo>
                    <a:lnTo>
                      <a:pt x="339" y="4085"/>
                    </a:lnTo>
                    <a:lnTo>
                      <a:pt x="331" y="4087"/>
                    </a:lnTo>
                    <a:lnTo>
                      <a:pt x="323" y="4087"/>
                    </a:lnTo>
                    <a:lnTo>
                      <a:pt x="316" y="4092"/>
                    </a:lnTo>
                    <a:lnTo>
                      <a:pt x="308" y="4093"/>
                    </a:lnTo>
                    <a:lnTo>
                      <a:pt x="303" y="4097"/>
                    </a:lnTo>
                    <a:lnTo>
                      <a:pt x="299" y="4100"/>
                    </a:lnTo>
                    <a:lnTo>
                      <a:pt x="295" y="4105"/>
                    </a:lnTo>
                    <a:lnTo>
                      <a:pt x="295" y="4108"/>
                    </a:lnTo>
                    <a:lnTo>
                      <a:pt x="295" y="4111"/>
                    </a:lnTo>
                    <a:lnTo>
                      <a:pt x="298" y="4108"/>
                    </a:lnTo>
                    <a:lnTo>
                      <a:pt x="303" y="4106"/>
                    </a:lnTo>
                    <a:lnTo>
                      <a:pt x="308" y="4105"/>
                    </a:lnTo>
                    <a:lnTo>
                      <a:pt x="311" y="4102"/>
                    </a:lnTo>
                    <a:lnTo>
                      <a:pt x="325" y="4100"/>
                    </a:lnTo>
                    <a:lnTo>
                      <a:pt x="338" y="4100"/>
                    </a:lnTo>
                    <a:lnTo>
                      <a:pt x="351" y="4098"/>
                    </a:lnTo>
                    <a:lnTo>
                      <a:pt x="356" y="4097"/>
                    </a:lnTo>
                    <a:lnTo>
                      <a:pt x="362" y="4093"/>
                    </a:lnTo>
                    <a:lnTo>
                      <a:pt x="367" y="4092"/>
                    </a:lnTo>
                    <a:lnTo>
                      <a:pt x="372" y="4087"/>
                    </a:lnTo>
                    <a:lnTo>
                      <a:pt x="377" y="4082"/>
                    </a:lnTo>
                    <a:lnTo>
                      <a:pt x="380" y="4077"/>
                    </a:lnTo>
                    <a:lnTo>
                      <a:pt x="379" y="4082"/>
                    </a:lnTo>
                    <a:lnTo>
                      <a:pt x="375" y="4087"/>
                    </a:lnTo>
                    <a:lnTo>
                      <a:pt x="371" y="4093"/>
                    </a:lnTo>
                    <a:lnTo>
                      <a:pt x="367" y="4097"/>
                    </a:lnTo>
                    <a:lnTo>
                      <a:pt x="364" y="4100"/>
                    </a:lnTo>
                    <a:lnTo>
                      <a:pt x="362" y="4102"/>
                    </a:lnTo>
                    <a:lnTo>
                      <a:pt x="354" y="4108"/>
                    </a:lnTo>
                    <a:lnTo>
                      <a:pt x="349" y="4113"/>
                    </a:lnTo>
                    <a:lnTo>
                      <a:pt x="341" y="4117"/>
                    </a:lnTo>
                    <a:lnTo>
                      <a:pt x="340" y="4118"/>
                    </a:lnTo>
                    <a:lnTo>
                      <a:pt x="339" y="4117"/>
                    </a:lnTo>
                    <a:lnTo>
                      <a:pt x="338" y="4113"/>
                    </a:lnTo>
                    <a:lnTo>
                      <a:pt x="336" y="4110"/>
                    </a:lnTo>
                    <a:lnTo>
                      <a:pt x="332" y="4110"/>
                    </a:lnTo>
                    <a:lnTo>
                      <a:pt x="329" y="4110"/>
                    </a:lnTo>
                    <a:lnTo>
                      <a:pt x="326" y="4113"/>
                    </a:lnTo>
                    <a:lnTo>
                      <a:pt x="325" y="4117"/>
                    </a:lnTo>
                    <a:lnTo>
                      <a:pt x="325" y="4125"/>
                    </a:lnTo>
                    <a:lnTo>
                      <a:pt x="326" y="4125"/>
                    </a:lnTo>
                    <a:lnTo>
                      <a:pt x="329" y="4125"/>
                    </a:lnTo>
                    <a:lnTo>
                      <a:pt x="331" y="4125"/>
                    </a:lnTo>
                    <a:lnTo>
                      <a:pt x="334" y="4125"/>
                    </a:lnTo>
                    <a:lnTo>
                      <a:pt x="329" y="4128"/>
                    </a:lnTo>
                    <a:lnTo>
                      <a:pt x="334" y="4128"/>
                    </a:lnTo>
                    <a:lnTo>
                      <a:pt x="339" y="4128"/>
                    </a:lnTo>
                    <a:lnTo>
                      <a:pt x="341" y="4128"/>
                    </a:lnTo>
                    <a:lnTo>
                      <a:pt x="344" y="4128"/>
                    </a:lnTo>
                    <a:lnTo>
                      <a:pt x="345" y="4128"/>
                    </a:lnTo>
                    <a:lnTo>
                      <a:pt x="347" y="4128"/>
                    </a:lnTo>
                    <a:lnTo>
                      <a:pt x="345" y="4130"/>
                    </a:lnTo>
                    <a:lnTo>
                      <a:pt x="344" y="4133"/>
                    </a:lnTo>
                    <a:lnTo>
                      <a:pt x="341" y="4136"/>
                    </a:lnTo>
                    <a:lnTo>
                      <a:pt x="338" y="4138"/>
                    </a:lnTo>
                    <a:lnTo>
                      <a:pt x="334" y="4139"/>
                    </a:lnTo>
                    <a:lnTo>
                      <a:pt x="331" y="4141"/>
                    </a:lnTo>
                    <a:lnTo>
                      <a:pt x="321" y="4145"/>
                    </a:lnTo>
                    <a:lnTo>
                      <a:pt x="310" y="4148"/>
                    </a:lnTo>
                    <a:lnTo>
                      <a:pt x="306" y="4151"/>
                    </a:lnTo>
                    <a:lnTo>
                      <a:pt x="303" y="4152"/>
                    </a:lnTo>
                    <a:lnTo>
                      <a:pt x="299" y="4154"/>
                    </a:lnTo>
                    <a:lnTo>
                      <a:pt x="298" y="4156"/>
                    </a:lnTo>
                    <a:lnTo>
                      <a:pt x="295" y="4159"/>
                    </a:lnTo>
                    <a:lnTo>
                      <a:pt x="295" y="4161"/>
                    </a:lnTo>
                    <a:lnTo>
                      <a:pt x="347" y="4161"/>
                    </a:lnTo>
                    <a:lnTo>
                      <a:pt x="339" y="4163"/>
                    </a:lnTo>
                    <a:lnTo>
                      <a:pt x="334" y="4166"/>
                    </a:lnTo>
                    <a:lnTo>
                      <a:pt x="329" y="4169"/>
                    </a:lnTo>
                    <a:lnTo>
                      <a:pt x="323" y="4174"/>
                    </a:lnTo>
                    <a:lnTo>
                      <a:pt x="318" y="4182"/>
                    </a:lnTo>
                    <a:lnTo>
                      <a:pt x="316" y="4191"/>
                    </a:lnTo>
                    <a:lnTo>
                      <a:pt x="311" y="4200"/>
                    </a:lnTo>
                    <a:lnTo>
                      <a:pt x="311" y="4213"/>
                    </a:lnTo>
                    <a:lnTo>
                      <a:pt x="308" y="4219"/>
                    </a:lnTo>
                    <a:lnTo>
                      <a:pt x="308" y="4224"/>
                    </a:lnTo>
                    <a:lnTo>
                      <a:pt x="306" y="4228"/>
                    </a:lnTo>
                    <a:lnTo>
                      <a:pt x="306" y="4232"/>
                    </a:lnTo>
                    <a:lnTo>
                      <a:pt x="308" y="4235"/>
                    </a:lnTo>
                    <a:lnTo>
                      <a:pt x="310" y="4237"/>
                    </a:lnTo>
                    <a:lnTo>
                      <a:pt x="311" y="4238"/>
                    </a:lnTo>
                    <a:lnTo>
                      <a:pt x="314" y="4240"/>
                    </a:lnTo>
                    <a:lnTo>
                      <a:pt x="316" y="4240"/>
                    </a:lnTo>
                    <a:lnTo>
                      <a:pt x="318" y="4240"/>
                    </a:lnTo>
                    <a:lnTo>
                      <a:pt x="314" y="4245"/>
                    </a:lnTo>
                    <a:lnTo>
                      <a:pt x="311" y="4246"/>
                    </a:lnTo>
                    <a:lnTo>
                      <a:pt x="318" y="4246"/>
                    </a:lnTo>
                    <a:lnTo>
                      <a:pt x="321" y="4246"/>
                    </a:lnTo>
                    <a:lnTo>
                      <a:pt x="323" y="4248"/>
                    </a:lnTo>
                    <a:lnTo>
                      <a:pt x="325" y="4248"/>
                    </a:lnTo>
                    <a:lnTo>
                      <a:pt x="323" y="4252"/>
                    </a:lnTo>
                    <a:lnTo>
                      <a:pt x="321" y="4253"/>
                    </a:lnTo>
                    <a:lnTo>
                      <a:pt x="318" y="4258"/>
                    </a:lnTo>
                    <a:lnTo>
                      <a:pt x="311" y="4265"/>
                    </a:lnTo>
                    <a:lnTo>
                      <a:pt x="306" y="4265"/>
                    </a:lnTo>
                    <a:lnTo>
                      <a:pt x="308" y="4266"/>
                    </a:lnTo>
                    <a:lnTo>
                      <a:pt x="310" y="4266"/>
                    </a:lnTo>
                    <a:lnTo>
                      <a:pt x="311" y="4268"/>
                    </a:lnTo>
                    <a:lnTo>
                      <a:pt x="314" y="4273"/>
                    </a:lnTo>
                    <a:lnTo>
                      <a:pt x="314" y="4276"/>
                    </a:lnTo>
                    <a:lnTo>
                      <a:pt x="314" y="4279"/>
                    </a:lnTo>
                    <a:lnTo>
                      <a:pt x="311" y="4283"/>
                    </a:lnTo>
                    <a:lnTo>
                      <a:pt x="310" y="4287"/>
                    </a:lnTo>
                    <a:lnTo>
                      <a:pt x="306" y="4291"/>
                    </a:lnTo>
                    <a:lnTo>
                      <a:pt x="305" y="4294"/>
                    </a:lnTo>
                    <a:lnTo>
                      <a:pt x="303" y="4298"/>
                    </a:lnTo>
                    <a:lnTo>
                      <a:pt x="303" y="4299"/>
                    </a:lnTo>
                    <a:lnTo>
                      <a:pt x="303" y="4302"/>
                    </a:lnTo>
                    <a:lnTo>
                      <a:pt x="305" y="4302"/>
                    </a:lnTo>
                    <a:lnTo>
                      <a:pt x="306" y="4299"/>
                    </a:lnTo>
                    <a:lnTo>
                      <a:pt x="308" y="4299"/>
                    </a:lnTo>
                    <a:lnTo>
                      <a:pt x="311" y="4298"/>
                    </a:lnTo>
                    <a:lnTo>
                      <a:pt x="306" y="4304"/>
                    </a:lnTo>
                    <a:lnTo>
                      <a:pt x="301" y="4307"/>
                    </a:lnTo>
                    <a:lnTo>
                      <a:pt x="299" y="4311"/>
                    </a:lnTo>
                    <a:lnTo>
                      <a:pt x="298" y="4312"/>
                    </a:lnTo>
                    <a:lnTo>
                      <a:pt x="295" y="4314"/>
                    </a:lnTo>
                    <a:lnTo>
                      <a:pt x="298" y="4319"/>
                    </a:lnTo>
                    <a:lnTo>
                      <a:pt x="301" y="4320"/>
                    </a:lnTo>
                    <a:lnTo>
                      <a:pt x="305" y="4322"/>
                    </a:lnTo>
                    <a:lnTo>
                      <a:pt x="308" y="4324"/>
                    </a:lnTo>
                    <a:lnTo>
                      <a:pt x="310" y="4324"/>
                    </a:lnTo>
                    <a:lnTo>
                      <a:pt x="314" y="4324"/>
                    </a:lnTo>
                    <a:lnTo>
                      <a:pt x="319" y="4324"/>
                    </a:lnTo>
                    <a:lnTo>
                      <a:pt x="326" y="4322"/>
                    </a:lnTo>
                    <a:lnTo>
                      <a:pt x="332" y="4319"/>
                    </a:lnTo>
                    <a:lnTo>
                      <a:pt x="338" y="4312"/>
                    </a:lnTo>
                    <a:lnTo>
                      <a:pt x="344" y="4309"/>
                    </a:lnTo>
                    <a:lnTo>
                      <a:pt x="349" y="4302"/>
                    </a:lnTo>
                    <a:lnTo>
                      <a:pt x="354" y="4296"/>
                    </a:lnTo>
                    <a:lnTo>
                      <a:pt x="365" y="4283"/>
                    </a:lnTo>
                    <a:lnTo>
                      <a:pt x="369" y="4278"/>
                    </a:lnTo>
                    <a:lnTo>
                      <a:pt x="372" y="4273"/>
                    </a:lnTo>
                    <a:lnTo>
                      <a:pt x="377" y="4268"/>
                    </a:lnTo>
                    <a:lnTo>
                      <a:pt x="380" y="4265"/>
                    </a:lnTo>
                    <a:lnTo>
                      <a:pt x="379" y="4265"/>
                    </a:lnTo>
                    <a:lnTo>
                      <a:pt x="375" y="4265"/>
                    </a:lnTo>
                    <a:lnTo>
                      <a:pt x="369" y="4265"/>
                    </a:lnTo>
                    <a:lnTo>
                      <a:pt x="365" y="4265"/>
                    </a:lnTo>
                    <a:lnTo>
                      <a:pt x="359" y="4265"/>
                    </a:lnTo>
                    <a:lnTo>
                      <a:pt x="347" y="4265"/>
                    </a:lnTo>
                    <a:lnTo>
                      <a:pt x="359" y="4263"/>
                    </a:lnTo>
                    <a:lnTo>
                      <a:pt x="369" y="4261"/>
                    </a:lnTo>
                    <a:lnTo>
                      <a:pt x="379" y="4258"/>
                    </a:lnTo>
                    <a:lnTo>
                      <a:pt x="387" y="4253"/>
                    </a:lnTo>
                    <a:lnTo>
                      <a:pt x="395" y="4248"/>
                    </a:lnTo>
                    <a:lnTo>
                      <a:pt x="402" y="4243"/>
                    </a:lnTo>
                    <a:lnTo>
                      <a:pt x="415" y="4230"/>
                    </a:lnTo>
                    <a:lnTo>
                      <a:pt x="410" y="4230"/>
                    </a:lnTo>
                    <a:lnTo>
                      <a:pt x="405" y="4230"/>
                    </a:lnTo>
                    <a:lnTo>
                      <a:pt x="400" y="4230"/>
                    </a:lnTo>
                    <a:lnTo>
                      <a:pt x="398" y="4230"/>
                    </a:lnTo>
                    <a:lnTo>
                      <a:pt x="395" y="4230"/>
                    </a:lnTo>
                    <a:lnTo>
                      <a:pt x="392" y="4230"/>
                    </a:lnTo>
                    <a:lnTo>
                      <a:pt x="385" y="4230"/>
                    </a:lnTo>
                    <a:lnTo>
                      <a:pt x="392" y="4228"/>
                    </a:lnTo>
                    <a:lnTo>
                      <a:pt x="395" y="4224"/>
                    </a:lnTo>
                    <a:lnTo>
                      <a:pt x="398" y="4220"/>
                    </a:lnTo>
                    <a:lnTo>
                      <a:pt x="400" y="4219"/>
                    </a:lnTo>
                    <a:lnTo>
                      <a:pt x="405" y="4215"/>
                    </a:lnTo>
                    <a:lnTo>
                      <a:pt x="410" y="4213"/>
                    </a:lnTo>
                    <a:lnTo>
                      <a:pt x="415" y="4213"/>
                    </a:lnTo>
                    <a:lnTo>
                      <a:pt x="410" y="4207"/>
                    </a:lnTo>
                    <a:lnTo>
                      <a:pt x="405" y="4202"/>
                    </a:lnTo>
                    <a:lnTo>
                      <a:pt x="400" y="4200"/>
                    </a:lnTo>
                    <a:lnTo>
                      <a:pt x="398" y="4199"/>
                    </a:lnTo>
                    <a:lnTo>
                      <a:pt x="395" y="4197"/>
                    </a:lnTo>
                    <a:lnTo>
                      <a:pt x="398" y="4197"/>
                    </a:lnTo>
                    <a:lnTo>
                      <a:pt x="400" y="4197"/>
                    </a:lnTo>
                    <a:lnTo>
                      <a:pt x="405" y="4197"/>
                    </a:lnTo>
                    <a:lnTo>
                      <a:pt x="410" y="4197"/>
                    </a:lnTo>
                    <a:lnTo>
                      <a:pt x="415" y="4197"/>
                    </a:lnTo>
                    <a:lnTo>
                      <a:pt x="408" y="4191"/>
                    </a:lnTo>
                    <a:lnTo>
                      <a:pt x="402" y="4185"/>
                    </a:lnTo>
                    <a:lnTo>
                      <a:pt x="395" y="4184"/>
                    </a:lnTo>
                    <a:lnTo>
                      <a:pt x="390" y="4184"/>
                    </a:lnTo>
                    <a:lnTo>
                      <a:pt x="382" y="4184"/>
                    </a:lnTo>
                    <a:lnTo>
                      <a:pt x="377" y="4185"/>
                    </a:lnTo>
                    <a:lnTo>
                      <a:pt x="369" y="4191"/>
                    </a:lnTo>
                    <a:lnTo>
                      <a:pt x="371" y="4189"/>
                    </a:lnTo>
                    <a:lnTo>
                      <a:pt x="379" y="4184"/>
                    </a:lnTo>
                    <a:close/>
                    <a:moveTo>
                      <a:pt x="262" y="4108"/>
                    </a:moveTo>
                    <a:lnTo>
                      <a:pt x="262" y="4110"/>
                    </a:lnTo>
                    <a:lnTo>
                      <a:pt x="262" y="4111"/>
                    </a:lnTo>
                    <a:lnTo>
                      <a:pt x="264" y="4113"/>
                    </a:lnTo>
                    <a:lnTo>
                      <a:pt x="265" y="4113"/>
                    </a:lnTo>
                    <a:lnTo>
                      <a:pt x="270" y="4111"/>
                    </a:lnTo>
                    <a:lnTo>
                      <a:pt x="273" y="4110"/>
                    </a:lnTo>
                    <a:lnTo>
                      <a:pt x="275" y="4108"/>
                    </a:lnTo>
                    <a:lnTo>
                      <a:pt x="277" y="4106"/>
                    </a:lnTo>
                    <a:lnTo>
                      <a:pt x="275" y="4106"/>
                    </a:lnTo>
                    <a:lnTo>
                      <a:pt x="273" y="4106"/>
                    </a:lnTo>
                    <a:lnTo>
                      <a:pt x="270" y="4106"/>
                    </a:lnTo>
                    <a:lnTo>
                      <a:pt x="265" y="4106"/>
                    </a:lnTo>
                    <a:lnTo>
                      <a:pt x="264" y="4106"/>
                    </a:lnTo>
                    <a:lnTo>
                      <a:pt x="262" y="4106"/>
                    </a:lnTo>
                    <a:lnTo>
                      <a:pt x="262" y="4108"/>
                    </a:lnTo>
                    <a:close/>
                    <a:moveTo>
                      <a:pt x="285" y="4255"/>
                    </a:moveTo>
                    <a:lnTo>
                      <a:pt x="288" y="4253"/>
                    </a:lnTo>
                    <a:lnTo>
                      <a:pt x="290" y="4252"/>
                    </a:lnTo>
                    <a:lnTo>
                      <a:pt x="293" y="4250"/>
                    </a:lnTo>
                    <a:lnTo>
                      <a:pt x="295" y="4248"/>
                    </a:lnTo>
                    <a:lnTo>
                      <a:pt x="295" y="4246"/>
                    </a:lnTo>
                    <a:lnTo>
                      <a:pt x="298" y="4243"/>
                    </a:lnTo>
                    <a:lnTo>
                      <a:pt x="298" y="4240"/>
                    </a:lnTo>
                    <a:lnTo>
                      <a:pt x="295" y="4238"/>
                    </a:lnTo>
                    <a:lnTo>
                      <a:pt x="295" y="4235"/>
                    </a:lnTo>
                    <a:lnTo>
                      <a:pt x="293" y="4233"/>
                    </a:lnTo>
                    <a:lnTo>
                      <a:pt x="291" y="4232"/>
                    </a:lnTo>
                    <a:lnTo>
                      <a:pt x="290" y="4235"/>
                    </a:lnTo>
                    <a:lnTo>
                      <a:pt x="288" y="4240"/>
                    </a:lnTo>
                    <a:lnTo>
                      <a:pt x="286" y="4246"/>
                    </a:lnTo>
                    <a:lnTo>
                      <a:pt x="283" y="4250"/>
                    </a:lnTo>
                    <a:lnTo>
                      <a:pt x="277" y="4253"/>
                    </a:lnTo>
                    <a:lnTo>
                      <a:pt x="272" y="4255"/>
                    </a:lnTo>
                    <a:lnTo>
                      <a:pt x="268" y="4258"/>
                    </a:lnTo>
                    <a:lnTo>
                      <a:pt x="262" y="4259"/>
                    </a:lnTo>
                    <a:lnTo>
                      <a:pt x="272" y="4258"/>
                    </a:lnTo>
                    <a:lnTo>
                      <a:pt x="280" y="4255"/>
                    </a:lnTo>
                    <a:lnTo>
                      <a:pt x="285" y="4255"/>
                    </a:lnTo>
                    <a:close/>
                    <a:moveTo>
                      <a:pt x="318" y="4123"/>
                    </a:moveTo>
                    <a:lnTo>
                      <a:pt x="308" y="4121"/>
                    </a:lnTo>
                    <a:lnTo>
                      <a:pt x="298" y="4118"/>
                    </a:lnTo>
                    <a:lnTo>
                      <a:pt x="288" y="4118"/>
                    </a:lnTo>
                    <a:lnTo>
                      <a:pt x="285" y="4118"/>
                    </a:lnTo>
                    <a:lnTo>
                      <a:pt x="280" y="4121"/>
                    </a:lnTo>
                    <a:lnTo>
                      <a:pt x="277" y="4121"/>
                    </a:lnTo>
                    <a:lnTo>
                      <a:pt x="275" y="4125"/>
                    </a:lnTo>
                    <a:lnTo>
                      <a:pt x="273" y="4126"/>
                    </a:lnTo>
                    <a:lnTo>
                      <a:pt x="273" y="4130"/>
                    </a:lnTo>
                    <a:lnTo>
                      <a:pt x="275" y="4136"/>
                    </a:lnTo>
                    <a:lnTo>
                      <a:pt x="277" y="4143"/>
                    </a:lnTo>
                    <a:lnTo>
                      <a:pt x="280" y="4139"/>
                    </a:lnTo>
                    <a:lnTo>
                      <a:pt x="283" y="4138"/>
                    </a:lnTo>
                    <a:lnTo>
                      <a:pt x="286" y="4136"/>
                    </a:lnTo>
                    <a:lnTo>
                      <a:pt x="288" y="4133"/>
                    </a:lnTo>
                    <a:lnTo>
                      <a:pt x="295" y="4133"/>
                    </a:lnTo>
                    <a:lnTo>
                      <a:pt x="301" y="4133"/>
                    </a:lnTo>
                    <a:lnTo>
                      <a:pt x="306" y="4131"/>
                    </a:lnTo>
                    <a:lnTo>
                      <a:pt x="311" y="4131"/>
                    </a:lnTo>
                    <a:lnTo>
                      <a:pt x="316" y="4130"/>
                    </a:lnTo>
                    <a:lnTo>
                      <a:pt x="318" y="4128"/>
                    </a:lnTo>
                    <a:lnTo>
                      <a:pt x="321" y="4126"/>
                    </a:lnTo>
                    <a:lnTo>
                      <a:pt x="325" y="4125"/>
                    </a:lnTo>
                    <a:lnTo>
                      <a:pt x="321" y="4123"/>
                    </a:lnTo>
                    <a:lnTo>
                      <a:pt x="318" y="4123"/>
                    </a:lnTo>
                    <a:close/>
                    <a:moveTo>
                      <a:pt x="459" y="4273"/>
                    </a:moveTo>
                    <a:lnTo>
                      <a:pt x="454" y="4274"/>
                    </a:lnTo>
                    <a:lnTo>
                      <a:pt x="448" y="4276"/>
                    </a:lnTo>
                    <a:lnTo>
                      <a:pt x="443" y="4276"/>
                    </a:lnTo>
                    <a:lnTo>
                      <a:pt x="432" y="4276"/>
                    </a:lnTo>
                    <a:lnTo>
                      <a:pt x="433" y="4279"/>
                    </a:lnTo>
                    <a:lnTo>
                      <a:pt x="438" y="4281"/>
                    </a:lnTo>
                    <a:lnTo>
                      <a:pt x="439" y="4281"/>
                    </a:lnTo>
                    <a:lnTo>
                      <a:pt x="443" y="4283"/>
                    </a:lnTo>
                    <a:lnTo>
                      <a:pt x="445" y="4283"/>
                    </a:lnTo>
                    <a:lnTo>
                      <a:pt x="448" y="4283"/>
                    </a:lnTo>
                    <a:lnTo>
                      <a:pt x="453" y="4281"/>
                    </a:lnTo>
                    <a:lnTo>
                      <a:pt x="454" y="4279"/>
                    </a:lnTo>
                    <a:lnTo>
                      <a:pt x="459" y="4276"/>
                    </a:lnTo>
                    <a:lnTo>
                      <a:pt x="466" y="4270"/>
                    </a:lnTo>
                    <a:lnTo>
                      <a:pt x="471" y="4265"/>
                    </a:lnTo>
                    <a:lnTo>
                      <a:pt x="466" y="4268"/>
                    </a:lnTo>
                    <a:lnTo>
                      <a:pt x="459" y="4273"/>
                    </a:lnTo>
                    <a:close/>
                    <a:moveTo>
                      <a:pt x="461" y="4197"/>
                    </a:moveTo>
                    <a:lnTo>
                      <a:pt x="456" y="4202"/>
                    </a:lnTo>
                    <a:lnTo>
                      <a:pt x="451" y="4205"/>
                    </a:lnTo>
                    <a:lnTo>
                      <a:pt x="446" y="4209"/>
                    </a:lnTo>
                    <a:lnTo>
                      <a:pt x="443" y="4213"/>
                    </a:lnTo>
                    <a:lnTo>
                      <a:pt x="441" y="4217"/>
                    </a:lnTo>
                    <a:lnTo>
                      <a:pt x="439" y="4219"/>
                    </a:lnTo>
                    <a:lnTo>
                      <a:pt x="439" y="4220"/>
                    </a:lnTo>
                    <a:lnTo>
                      <a:pt x="441" y="4222"/>
                    </a:lnTo>
                    <a:lnTo>
                      <a:pt x="443" y="4224"/>
                    </a:lnTo>
                    <a:lnTo>
                      <a:pt x="445" y="4228"/>
                    </a:lnTo>
                    <a:lnTo>
                      <a:pt x="446" y="4232"/>
                    </a:lnTo>
                    <a:lnTo>
                      <a:pt x="446" y="4230"/>
                    </a:lnTo>
                    <a:lnTo>
                      <a:pt x="448" y="4230"/>
                    </a:lnTo>
                    <a:lnTo>
                      <a:pt x="451" y="4228"/>
                    </a:lnTo>
                    <a:lnTo>
                      <a:pt x="456" y="4224"/>
                    </a:lnTo>
                    <a:lnTo>
                      <a:pt x="459" y="4220"/>
                    </a:lnTo>
                    <a:lnTo>
                      <a:pt x="463" y="4215"/>
                    </a:lnTo>
                    <a:lnTo>
                      <a:pt x="466" y="4212"/>
                    </a:lnTo>
                    <a:lnTo>
                      <a:pt x="466" y="4207"/>
                    </a:lnTo>
                    <a:lnTo>
                      <a:pt x="467" y="4205"/>
                    </a:lnTo>
                    <a:lnTo>
                      <a:pt x="466" y="4202"/>
                    </a:lnTo>
                    <a:lnTo>
                      <a:pt x="466" y="4199"/>
                    </a:lnTo>
                    <a:lnTo>
                      <a:pt x="461" y="4197"/>
                    </a:lnTo>
                    <a:close/>
                    <a:moveTo>
                      <a:pt x="479" y="4250"/>
                    </a:moveTo>
                    <a:lnTo>
                      <a:pt x="482" y="4246"/>
                    </a:lnTo>
                    <a:lnTo>
                      <a:pt x="484" y="4243"/>
                    </a:lnTo>
                    <a:lnTo>
                      <a:pt x="484" y="4238"/>
                    </a:lnTo>
                    <a:lnTo>
                      <a:pt x="482" y="4237"/>
                    </a:lnTo>
                    <a:lnTo>
                      <a:pt x="482" y="4233"/>
                    </a:lnTo>
                    <a:lnTo>
                      <a:pt x="479" y="4230"/>
                    </a:lnTo>
                    <a:lnTo>
                      <a:pt x="476" y="4228"/>
                    </a:lnTo>
                    <a:lnTo>
                      <a:pt x="474" y="4225"/>
                    </a:lnTo>
                    <a:lnTo>
                      <a:pt x="471" y="4225"/>
                    </a:lnTo>
                    <a:lnTo>
                      <a:pt x="469" y="4225"/>
                    </a:lnTo>
                    <a:lnTo>
                      <a:pt x="466" y="4225"/>
                    </a:lnTo>
                    <a:lnTo>
                      <a:pt x="463" y="4228"/>
                    </a:lnTo>
                    <a:lnTo>
                      <a:pt x="461" y="4232"/>
                    </a:lnTo>
                    <a:lnTo>
                      <a:pt x="459" y="4233"/>
                    </a:lnTo>
                    <a:lnTo>
                      <a:pt x="454" y="4240"/>
                    </a:lnTo>
                    <a:lnTo>
                      <a:pt x="453" y="4248"/>
                    </a:lnTo>
                    <a:lnTo>
                      <a:pt x="451" y="4255"/>
                    </a:lnTo>
                    <a:lnTo>
                      <a:pt x="451" y="4261"/>
                    </a:lnTo>
                    <a:lnTo>
                      <a:pt x="453" y="4263"/>
                    </a:lnTo>
                    <a:lnTo>
                      <a:pt x="456" y="4265"/>
                    </a:lnTo>
                    <a:lnTo>
                      <a:pt x="459" y="4265"/>
                    </a:lnTo>
                    <a:lnTo>
                      <a:pt x="463" y="4265"/>
                    </a:lnTo>
                    <a:lnTo>
                      <a:pt x="466" y="4265"/>
                    </a:lnTo>
                    <a:lnTo>
                      <a:pt x="469" y="4263"/>
                    </a:lnTo>
                    <a:lnTo>
                      <a:pt x="472" y="4259"/>
                    </a:lnTo>
                    <a:lnTo>
                      <a:pt x="476" y="4258"/>
                    </a:lnTo>
                    <a:lnTo>
                      <a:pt x="478" y="4253"/>
                    </a:lnTo>
                    <a:lnTo>
                      <a:pt x="479" y="4250"/>
                    </a:lnTo>
                    <a:close/>
                    <a:moveTo>
                      <a:pt x="10141" y="5674"/>
                    </a:moveTo>
                    <a:lnTo>
                      <a:pt x="10139" y="5674"/>
                    </a:lnTo>
                    <a:lnTo>
                      <a:pt x="10136" y="5674"/>
                    </a:lnTo>
                    <a:lnTo>
                      <a:pt x="10132" y="5674"/>
                    </a:lnTo>
                    <a:lnTo>
                      <a:pt x="10129" y="5674"/>
                    </a:lnTo>
                    <a:lnTo>
                      <a:pt x="10126" y="5674"/>
                    </a:lnTo>
                    <a:lnTo>
                      <a:pt x="10124" y="5674"/>
                    </a:lnTo>
                    <a:lnTo>
                      <a:pt x="10124" y="5700"/>
                    </a:lnTo>
                    <a:lnTo>
                      <a:pt x="10124" y="5720"/>
                    </a:lnTo>
                    <a:lnTo>
                      <a:pt x="10126" y="5713"/>
                    </a:lnTo>
                    <a:lnTo>
                      <a:pt x="10126" y="5720"/>
                    </a:lnTo>
                    <a:lnTo>
                      <a:pt x="10129" y="5713"/>
                    </a:lnTo>
                    <a:lnTo>
                      <a:pt x="10132" y="5707"/>
                    </a:lnTo>
                    <a:lnTo>
                      <a:pt x="10136" y="5700"/>
                    </a:lnTo>
                    <a:lnTo>
                      <a:pt x="10137" y="5692"/>
                    </a:lnTo>
                    <a:lnTo>
                      <a:pt x="10141" y="5687"/>
                    </a:lnTo>
                    <a:lnTo>
                      <a:pt x="10144" y="5679"/>
                    </a:lnTo>
                    <a:lnTo>
                      <a:pt x="10145" y="5674"/>
                    </a:lnTo>
                    <a:lnTo>
                      <a:pt x="10144" y="5674"/>
                    </a:lnTo>
                    <a:lnTo>
                      <a:pt x="10141" y="5674"/>
                    </a:lnTo>
                    <a:close/>
                  </a:path>
                </a:pathLst>
              </a:custGeom>
              <a:grpFill/>
              <a:ln w="3175">
                <a:solidFill>
                  <a:schemeClr val="accent2">
                    <a:lumMod val="75000"/>
                  </a:schemeClr>
                </a:solidFill>
              </a:ln>
            </p:spPr>
            <p:txBody>
              <a:bodyPr vert="horz" wrap="square" lIns="91273" tIns="45637" rIns="91273" bIns="4563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97" b="0" i="0" u="none" strike="noStrike" kern="1200" cap="none" spc="0" normalizeH="0" baseline="0" noProof="0" dirty="0">
                  <a:ln>
                    <a:noFill/>
                  </a:ln>
                  <a:solidFill>
                    <a:srgbClr val="000000"/>
                  </a:solidFill>
                  <a:effectLst/>
                  <a:uLnTx/>
                  <a:uFillTx/>
                  <a:latin typeface="Calibri"/>
                  <a:ea typeface="+mn-ea"/>
                  <a:cs typeface="+mn-cs"/>
                </a:endParaRPr>
              </a:p>
            </p:txBody>
          </p:sp>
          <p:sp>
            <p:nvSpPr>
              <p:cNvPr id="194" name="Belize">
                <a:extLst>
                  <a:ext uri="{FF2B5EF4-FFF2-40B4-BE49-F238E27FC236}">
                    <a16:creationId xmlns:a16="http://schemas.microsoft.com/office/drawing/2014/main" id="{BD324738-326F-3101-3449-DA79E3FCFEFA}"/>
                  </a:ext>
                </a:extLst>
              </p:cNvPr>
              <p:cNvSpPr>
                <a:spLocks/>
              </p:cNvSpPr>
              <p:nvPr/>
            </p:nvSpPr>
            <p:spPr bwMode="auto">
              <a:xfrm>
                <a:off x="1859062" y="2886981"/>
                <a:ext cx="29492" cy="62311"/>
              </a:xfrm>
              <a:custGeom>
                <a:avLst/>
                <a:gdLst>
                  <a:gd name="connsiteX0" fmla="*/ 26670 w 28940"/>
                  <a:gd name="connsiteY0" fmla="*/ 295 h 61145"/>
                  <a:gd name="connsiteX1" fmla="*/ 24448 w 28940"/>
                  <a:gd name="connsiteY1" fmla="*/ 2549 h 61145"/>
                  <a:gd name="connsiteX2" fmla="*/ 24448 w 28940"/>
                  <a:gd name="connsiteY2" fmla="*/ 18325 h 61145"/>
                  <a:gd name="connsiteX3" fmla="*/ 22225 w 28940"/>
                  <a:gd name="connsiteY3" fmla="*/ 31847 h 61145"/>
                  <a:gd name="connsiteX4" fmla="*/ 22225 w 28940"/>
                  <a:gd name="connsiteY4" fmla="*/ 38608 h 61145"/>
                  <a:gd name="connsiteX5" fmla="*/ 20003 w 28940"/>
                  <a:gd name="connsiteY5" fmla="*/ 47623 h 61145"/>
                  <a:gd name="connsiteX6" fmla="*/ 17780 w 28940"/>
                  <a:gd name="connsiteY6" fmla="*/ 49877 h 61145"/>
                  <a:gd name="connsiteX7" fmla="*/ 11113 w 28940"/>
                  <a:gd name="connsiteY7" fmla="*/ 54384 h 61145"/>
                  <a:gd name="connsiteX8" fmla="*/ 6668 w 28940"/>
                  <a:gd name="connsiteY8" fmla="*/ 58891 h 61145"/>
                  <a:gd name="connsiteX9" fmla="*/ 6668 w 28940"/>
                  <a:gd name="connsiteY9" fmla="*/ 61145 h 61145"/>
                  <a:gd name="connsiteX10" fmla="*/ 0 w 28940"/>
                  <a:gd name="connsiteY10" fmla="*/ 61145 h 61145"/>
                  <a:gd name="connsiteX11" fmla="*/ 4445 w 28940"/>
                  <a:gd name="connsiteY11" fmla="*/ 31847 h 61145"/>
                  <a:gd name="connsiteX12" fmla="*/ 13335 w 28940"/>
                  <a:gd name="connsiteY12" fmla="*/ 13817 h 61145"/>
                  <a:gd name="connsiteX13" fmla="*/ 26670 w 28940"/>
                  <a:gd name="connsiteY13" fmla="*/ 295 h 6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940" h="61145">
                    <a:moveTo>
                      <a:pt x="26670" y="295"/>
                    </a:moveTo>
                    <a:cubicBezTo>
                      <a:pt x="26670" y="295"/>
                      <a:pt x="24448" y="2549"/>
                      <a:pt x="24448" y="2549"/>
                    </a:cubicBezTo>
                    <a:cubicBezTo>
                      <a:pt x="33338" y="-1959"/>
                      <a:pt x="26670" y="16071"/>
                      <a:pt x="24448" y="18325"/>
                    </a:cubicBezTo>
                    <a:cubicBezTo>
                      <a:pt x="24448" y="22832"/>
                      <a:pt x="24448" y="27339"/>
                      <a:pt x="22225" y="31847"/>
                    </a:cubicBezTo>
                    <a:cubicBezTo>
                      <a:pt x="22225" y="34101"/>
                      <a:pt x="24448" y="36354"/>
                      <a:pt x="22225" y="38608"/>
                    </a:cubicBezTo>
                    <a:cubicBezTo>
                      <a:pt x="22225" y="40862"/>
                      <a:pt x="20003" y="43115"/>
                      <a:pt x="20003" y="47623"/>
                    </a:cubicBezTo>
                    <a:cubicBezTo>
                      <a:pt x="22225" y="40862"/>
                      <a:pt x="17780" y="47623"/>
                      <a:pt x="17780" y="49877"/>
                    </a:cubicBezTo>
                    <a:cubicBezTo>
                      <a:pt x="15558" y="52130"/>
                      <a:pt x="13335" y="52130"/>
                      <a:pt x="11113" y="54384"/>
                    </a:cubicBezTo>
                    <a:cubicBezTo>
                      <a:pt x="8890" y="54384"/>
                      <a:pt x="8890" y="56638"/>
                      <a:pt x="6668" y="58891"/>
                    </a:cubicBezTo>
                    <a:cubicBezTo>
                      <a:pt x="6668" y="61145"/>
                      <a:pt x="6668" y="61145"/>
                      <a:pt x="6668" y="61145"/>
                    </a:cubicBezTo>
                    <a:cubicBezTo>
                      <a:pt x="4445" y="61145"/>
                      <a:pt x="2223" y="61145"/>
                      <a:pt x="0" y="61145"/>
                    </a:cubicBezTo>
                    <a:cubicBezTo>
                      <a:pt x="2223" y="52130"/>
                      <a:pt x="4445" y="40862"/>
                      <a:pt x="4445" y="31847"/>
                    </a:cubicBezTo>
                    <a:cubicBezTo>
                      <a:pt x="4445" y="27339"/>
                      <a:pt x="6668" y="4802"/>
                      <a:pt x="13335" y="13817"/>
                    </a:cubicBezTo>
                    <a:cubicBezTo>
                      <a:pt x="15558" y="9310"/>
                      <a:pt x="22225" y="-1959"/>
                      <a:pt x="26670" y="295"/>
                    </a:cubicBezTo>
                    <a:close/>
                  </a:path>
                </a:pathLst>
              </a:custGeom>
              <a:grpFill/>
              <a:ln w="3175">
                <a:solidFill>
                  <a:schemeClr val="accent2">
                    <a:lumMod val="75000"/>
                  </a:schemeClr>
                </a:solidFill>
              </a:ln>
            </p:spPr>
            <p:txBody>
              <a:bodyPr vert="horz" wrap="square" lIns="91273" tIns="45637" rIns="91273" bIns="4563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97" b="0" i="0" u="none" strike="noStrike" kern="1200" cap="none" spc="0" normalizeH="0" baseline="0" noProof="0" dirty="0">
                  <a:ln>
                    <a:noFill/>
                  </a:ln>
                  <a:solidFill>
                    <a:srgbClr val="000000"/>
                  </a:solidFill>
                  <a:effectLst/>
                  <a:uLnTx/>
                  <a:uFillTx/>
                  <a:latin typeface="Calibri"/>
                  <a:ea typeface="+mn-ea"/>
                  <a:cs typeface="+mn-cs"/>
                </a:endParaRPr>
              </a:p>
            </p:txBody>
          </p:sp>
          <p:sp>
            <p:nvSpPr>
              <p:cNvPr id="195" name="Bahamas">
                <a:extLst>
                  <a:ext uri="{FF2B5EF4-FFF2-40B4-BE49-F238E27FC236}">
                    <a16:creationId xmlns:a16="http://schemas.microsoft.com/office/drawing/2014/main" id="{C7D70B7E-AA0F-8FE0-65DA-0D539182BE7B}"/>
                  </a:ext>
                </a:extLst>
              </p:cNvPr>
              <p:cNvSpPr>
                <a:spLocks/>
              </p:cNvSpPr>
              <p:nvPr/>
            </p:nvSpPr>
            <p:spPr bwMode="auto">
              <a:xfrm>
                <a:off x="2119927" y="2675720"/>
                <a:ext cx="114542" cy="118262"/>
              </a:xfrm>
              <a:custGeom>
                <a:avLst/>
                <a:gdLst>
                  <a:gd name="connsiteX0" fmla="*/ 89847 w 112398"/>
                  <a:gd name="connsiteY0" fmla="*/ 108997 h 116049"/>
                  <a:gd name="connsiteX1" fmla="*/ 88702 w 112398"/>
                  <a:gd name="connsiteY1" fmla="*/ 111411 h 116049"/>
                  <a:gd name="connsiteX2" fmla="*/ 82154 w 112398"/>
                  <a:gd name="connsiteY2" fmla="*/ 116049 h 116049"/>
                  <a:gd name="connsiteX3" fmla="*/ 104775 w 112398"/>
                  <a:gd name="connsiteY3" fmla="*/ 108905 h 116049"/>
                  <a:gd name="connsiteX4" fmla="*/ 111919 w 112398"/>
                  <a:gd name="connsiteY4" fmla="*/ 113667 h 116049"/>
                  <a:gd name="connsiteX5" fmla="*/ 104775 w 112398"/>
                  <a:gd name="connsiteY5" fmla="*/ 108905 h 116049"/>
                  <a:gd name="connsiteX6" fmla="*/ 90981 w 112398"/>
                  <a:gd name="connsiteY6" fmla="*/ 106607 h 116049"/>
                  <a:gd name="connsiteX7" fmla="*/ 91679 w 112398"/>
                  <a:gd name="connsiteY7" fmla="*/ 107318 h 116049"/>
                  <a:gd name="connsiteX8" fmla="*/ 89847 w 112398"/>
                  <a:gd name="connsiteY8" fmla="*/ 108997 h 116049"/>
                  <a:gd name="connsiteX9" fmla="*/ 89000 w 112398"/>
                  <a:gd name="connsiteY9" fmla="*/ 104589 h 116049"/>
                  <a:gd name="connsiteX10" fmla="*/ 91679 w 112398"/>
                  <a:gd name="connsiteY10" fmla="*/ 105135 h 116049"/>
                  <a:gd name="connsiteX11" fmla="*/ 90981 w 112398"/>
                  <a:gd name="connsiteY11" fmla="*/ 106607 h 116049"/>
                  <a:gd name="connsiteX12" fmla="*/ 66036 w 112398"/>
                  <a:gd name="connsiteY12" fmla="*/ 88498 h 116049"/>
                  <a:gd name="connsiteX13" fmla="*/ 66675 w 112398"/>
                  <a:gd name="connsiteY13" fmla="*/ 91492 h 116049"/>
                  <a:gd name="connsiteX14" fmla="*/ 71438 w 112398"/>
                  <a:gd name="connsiteY14" fmla="*/ 98190 h 116049"/>
                  <a:gd name="connsiteX15" fmla="*/ 64294 w 112398"/>
                  <a:gd name="connsiteY15" fmla="*/ 91492 h 116049"/>
                  <a:gd name="connsiteX16" fmla="*/ 64294 w 112398"/>
                  <a:gd name="connsiteY16" fmla="*/ 80330 h 116049"/>
                  <a:gd name="connsiteX17" fmla="*/ 66080 w 112398"/>
                  <a:gd name="connsiteY17" fmla="*/ 88423 h 116049"/>
                  <a:gd name="connsiteX18" fmla="*/ 66036 w 112398"/>
                  <a:gd name="connsiteY18" fmla="*/ 88498 h 116049"/>
                  <a:gd name="connsiteX19" fmla="*/ 84535 w 112398"/>
                  <a:gd name="connsiteY19" fmla="*/ 68424 h 116049"/>
                  <a:gd name="connsiteX20" fmla="*/ 79772 w 112398"/>
                  <a:gd name="connsiteY20" fmla="*/ 73186 h 116049"/>
                  <a:gd name="connsiteX21" fmla="*/ 82153 w 112398"/>
                  <a:gd name="connsiteY21" fmla="*/ 70805 h 116049"/>
                  <a:gd name="connsiteX22" fmla="*/ 84535 w 112398"/>
                  <a:gd name="connsiteY22" fmla="*/ 68424 h 116049"/>
                  <a:gd name="connsiteX23" fmla="*/ 16669 w 112398"/>
                  <a:gd name="connsiteY23" fmla="*/ 63662 h 116049"/>
                  <a:gd name="connsiteX24" fmla="*/ 14287 w 112398"/>
                  <a:gd name="connsiteY24" fmla="*/ 70805 h 116049"/>
                  <a:gd name="connsiteX25" fmla="*/ 16669 w 112398"/>
                  <a:gd name="connsiteY25" fmla="*/ 66043 h 116049"/>
                  <a:gd name="connsiteX26" fmla="*/ 14287 w 112398"/>
                  <a:gd name="connsiteY26" fmla="*/ 77949 h 116049"/>
                  <a:gd name="connsiteX27" fmla="*/ 11906 w 112398"/>
                  <a:gd name="connsiteY27" fmla="*/ 77949 h 116049"/>
                  <a:gd name="connsiteX28" fmla="*/ 16669 w 112398"/>
                  <a:gd name="connsiteY28" fmla="*/ 75568 h 116049"/>
                  <a:gd name="connsiteX29" fmla="*/ 11906 w 112398"/>
                  <a:gd name="connsiteY29" fmla="*/ 73187 h 116049"/>
                  <a:gd name="connsiteX30" fmla="*/ 9525 w 112398"/>
                  <a:gd name="connsiteY30" fmla="*/ 68424 h 116049"/>
                  <a:gd name="connsiteX31" fmla="*/ 16669 w 112398"/>
                  <a:gd name="connsiteY31" fmla="*/ 63662 h 116049"/>
                  <a:gd name="connsiteX32" fmla="*/ 59531 w 112398"/>
                  <a:gd name="connsiteY32" fmla="*/ 54137 h 116049"/>
                  <a:gd name="connsiteX33" fmla="*/ 61912 w 112398"/>
                  <a:gd name="connsiteY33" fmla="*/ 68424 h 116049"/>
                  <a:gd name="connsiteX34" fmla="*/ 61912 w 112398"/>
                  <a:gd name="connsiteY34" fmla="*/ 63662 h 116049"/>
                  <a:gd name="connsiteX35" fmla="*/ 59531 w 112398"/>
                  <a:gd name="connsiteY35" fmla="*/ 54137 h 116049"/>
                  <a:gd name="connsiteX36" fmla="*/ 9525 w 112398"/>
                  <a:gd name="connsiteY36" fmla="*/ 43321 h 116049"/>
                  <a:gd name="connsiteX37" fmla="*/ 14288 w 112398"/>
                  <a:gd name="connsiteY37" fmla="*/ 45603 h 116049"/>
                  <a:gd name="connsiteX38" fmla="*/ 16669 w 112398"/>
                  <a:gd name="connsiteY38" fmla="*/ 57013 h 116049"/>
                  <a:gd name="connsiteX39" fmla="*/ 7144 w 112398"/>
                  <a:gd name="connsiteY39" fmla="*/ 59296 h 116049"/>
                  <a:gd name="connsiteX40" fmla="*/ 0 w 112398"/>
                  <a:gd name="connsiteY40" fmla="*/ 57013 h 116049"/>
                  <a:gd name="connsiteX41" fmla="*/ 4763 w 112398"/>
                  <a:gd name="connsiteY41" fmla="*/ 57013 h 116049"/>
                  <a:gd name="connsiteX42" fmla="*/ 7144 w 112398"/>
                  <a:gd name="connsiteY42" fmla="*/ 52449 h 116049"/>
                  <a:gd name="connsiteX43" fmla="*/ 9525 w 112398"/>
                  <a:gd name="connsiteY43" fmla="*/ 43321 h 116049"/>
                  <a:gd name="connsiteX44" fmla="*/ 43815 w 112398"/>
                  <a:gd name="connsiteY44" fmla="*/ 36145 h 116049"/>
                  <a:gd name="connsiteX45" fmla="*/ 50245 w 112398"/>
                  <a:gd name="connsiteY45" fmla="*/ 42892 h 116049"/>
                  <a:gd name="connsiteX46" fmla="*/ 50245 w 112398"/>
                  <a:gd name="connsiteY46" fmla="*/ 54137 h 116049"/>
                  <a:gd name="connsiteX47" fmla="*/ 50245 w 112398"/>
                  <a:gd name="connsiteY47" fmla="*/ 45141 h 116049"/>
                  <a:gd name="connsiteX48" fmla="*/ 41672 w 112398"/>
                  <a:gd name="connsiteY48" fmla="*/ 33896 h 116049"/>
                  <a:gd name="connsiteX49" fmla="*/ 43815 w 112398"/>
                  <a:gd name="connsiteY49" fmla="*/ 36145 h 116049"/>
                  <a:gd name="connsiteX50" fmla="*/ 43815 w 112398"/>
                  <a:gd name="connsiteY50" fmla="*/ 36145 h 116049"/>
                  <a:gd name="connsiteX51" fmla="*/ 37081 w 112398"/>
                  <a:gd name="connsiteY51" fmla="*/ 11869 h 116049"/>
                  <a:gd name="connsiteX52" fmla="*/ 37081 w 112398"/>
                  <a:gd name="connsiteY52" fmla="*/ 16434 h 116049"/>
                  <a:gd name="connsiteX53" fmla="*/ 32658 w 112398"/>
                  <a:gd name="connsiteY53" fmla="*/ 25562 h 116049"/>
                  <a:gd name="connsiteX54" fmla="*/ 30447 w 112398"/>
                  <a:gd name="connsiteY54" fmla="*/ 23280 h 116049"/>
                  <a:gd name="connsiteX55" fmla="*/ 34869 w 112398"/>
                  <a:gd name="connsiteY55" fmla="*/ 16434 h 116049"/>
                  <a:gd name="connsiteX56" fmla="*/ 37081 w 112398"/>
                  <a:gd name="connsiteY56" fmla="*/ 11869 h 116049"/>
                  <a:gd name="connsiteX57" fmla="*/ 7144 w 112398"/>
                  <a:gd name="connsiteY57" fmla="*/ 5023 h 116049"/>
                  <a:gd name="connsiteX58" fmla="*/ 21432 w 112398"/>
                  <a:gd name="connsiteY58" fmla="*/ 5023 h 116049"/>
                  <a:gd name="connsiteX59" fmla="*/ 4763 w 112398"/>
                  <a:gd name="connsiteY59" fmla="*/ 11274 h 116049"/>
                  <a:gd name="connsiteX60" fmla="*/ 0 w 112398"/>
                  <a:gd name="connsiteY60" fmla="*/ 7106 h 116049"/>
                  <a:gd name="connsiteX61" fmla="*/ 7144 w 112398"/>
                  <a:gd name="connsiteY61" fmla="*/ 5023 h 116049"/>
                  <a:gd name="connsiteX62" fmla="*/ 23813 w 112398"/>
                  <a:gd name="connsiteY62" fmla="*/ 459 h 116049"/>
                  <a:gd name="connsiteX63" fmla="*/ 37081 w 112398"/>
                  <a:gd name="connsiteY63" fmla="*/ 9587 h 116049"/>
                  <a:gd name="connsiteX64" fmla="*/ 37081 w 112398"/>
                  <a:gd name="connsiteY64" fmla="*/ 11869 h 116049"/>
                  <a:gd name="connsiteX65" fmla="*/ 34869 w 112398"/>
                  <a:gd name="connsiteY65" fmla="*/ 7305 h 116049"/>
                  <a:gd name="connsiteX66" fmla="*/ 23813 w 112398"/>
                  <a:gd name="connsiteY66" fmla="*/ 459 h 116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112398" h="116049">
                    <a:moveTo>
                      <a:pt x="89847" y="108997"/>
                    </a:moveTo>
                    <a:lnTo>
                      <a:pt x="88702" y="111411"/>
                    </a:lnTo>
                    <a:cubicBezTo>
                      <a:pt x="86321" y="113321"/>
                      <a:pt x="83345" y="114958"/>
                      <a:pt x="82154" y="116049"/>
                    </a:cubicBezTo>
                    <a:close/>
                    <a:moveTo>
                      <a:pt x="104775" y="108905"/>
                    </a:moveTo>
                    <a:cubicBezTo>
                      <a:pt x="107156" y="108905"/>
                      <a:pt x="114300" y="111286"/>
                      <a:pt x="111919" y="113667"/>
                    </a:cubicBezTo>
                    <a:cubicBezTo>
                      <a:pt x="111919" y="111286"/>
                      <a:pt x="104775" y="113667"/>
                      <a:pt x="104775" y="108905"/>
                    </a:cubicBezTo>
                    <a:close/>
                    <a:moveTo>
                      <a:pt x="90981" y="106607"/>
                    </a:moveTo>
                    <a:lnTo>
                      <a:pt x="91679" y="107318"/>
                    </a:lnTo>
                    <a:lnTo>
                      <a:pt x="89847" y="108997"/>
                    </a:lnTo>
                    <a:close/>
                    <a:moveTo>
                      <a:pt x="89000" y="104589"/>
                    </a:moveTo>
                    <a:cubicBezTo>
                      <a:pt x="89298" y="104043"/>
                      <a:pt x="90488" y="104043"/>
                      <a:pt x="91679" y="105135"/>
                    </a:cubicBezTo>
                    <a:lnTo>
                      <a:pt x="90981" y="106607"/>
                    </a:lnTo>
                    <a:close/>
                    <a:moveTo>
                      <a:pt x="66036" y="88498"/>
                    </a:moveTo>
                    <a:lnTo>
                      <a:pt x="66675" y="91492"/>
                    </a:lnTo>
                    <a:cubicBezTo>
                      <a:pt x="69056" y="93725"/>
                      <a:pt x="73819" y="95957"/>
                      <a:pt x="71438" y="98190"/>
                    </a:cubicBezTo>
                    <a:cubicBezTo>
                      <a:pt x="69056" y="95957"/>
                      <a:pt x="66675" y="93725"/>
                      <a:pt x="64294" y="91492"/>
                    </a:cubicBezTo>
                    <a:close/>
                    <a:moveTo>
                      <a:pt x="64294" y="80330"/>
                    </a:moveTo>
                    <a:cubicBezTo>
                      <a:pt x="64294" y="81446"/>
                      <a:pt x="65485" y="85353"/>
                      <a:pt x="66080" y="88423"/>
                    </a:cubicBezTo>
                    <a:lnTo>
                      <a:pt x="66036" y="88498"/>
                    </a:lnTo>
                    <a:close/>
                    <a:moveTo>
                      <a:pt x="84535" y="68424"/>
                    </a:moveTo>
                    <a:cubicBezTo>
                      <a:pt x="84535" y="70805"/>
                      <a:pt x="82153" y="73186"/>
                      <a:pt x="79772" y="73186"/>
                    </a:cubicBezTo>
                    <a:cubicBezTo>
                      <a:pt x="82153" y="73186"/>
                      <a:pt x="82153" y="70805"/>
                      <a:pt x="82153" y="70805"/>
                    </a:cubicBezTo>
                    <a:cubicBezTo>
                      <a:pt x="84535" y="68424"/>
                      <a:pt x="84535" y="68424"/>
                      <a:pt x="84535" y="68424"/>
                    </a:cubicBezTo>
                    <a:close/>
                    <a:moveTo>
                      <a:pt x="16669" y="63662"/>
                    </a:moveTo>
                    <a:cubicBezTo>
                      <a:pt x="16669" y="66043"/>
                      <a:pt x="14287" y="68424"/>
                      <a:pt x="14287" y="70805"/>
                    </a:cubicBezTo>
                    <a:cubicBezTo>
                      <a:pt x="16669" y="68424"/>
                      <a:pt x="16669" y="68424"/>
                      <a:pt x="16669" y="66043"/>
                    </a:cubicBezTo>
                    <a:cubicBezTo>
                      <a:pt x="21431" y="70805"/>
                      <a:pt x="19050" y="77949"/>
                      <a:pt x="14287" y="77949"/>
                    </a:cubicBezTo>
                    <a:cubicBezTo>
                      <a:pt x="11906" y="77949"/>
                      <a:pt x="11906" y="77949"/>
                      <a:pt x="11906" y="77949"/>
                    </a:cubicBezTo>
                    <a:cubicBezTo>
                      <a:pt x="14287" y="77949"/>
                      <a:pt x="16669" y="77949"/>
                      <a:pt x="16669" y="75568"/>
                    </a:cubicBezTo>
                    <a:cubicBezTo>
                      <a:pt x="14287" y="77949"/>
                      <a:pt x="11906" y="75568"/>
                      <a:pt x="11906" y="73187"/>
                    </a:cubicBezTo>
                    <a:cubicBezTo>
                      <a:pt x="11906" y="70805"/>
                      <a:pt x="11906" y="70805"/>
                      <a:pt x="9525" y="68424"/>
                    </a:cubicBezTo>
                    <a:cubicBezTo>
                      <a:pt x="11906" y="68424"/>
                      <a:pt x="14287" y="66043"/>
                      <a:pt x="16669" y="63662"/>
                    </a:cubicBezTo>
                    <a:close/>
                    <a:moveTo>
                      <a:pt x="59531" y="54137"/>
                    </a:moveTo>
                    <a:cubicBezTo>
                      <a:pt x="61912" y="56518"/>
                      <a:pt x="69056" y="68424"/>
                      <a:pt x="61912" y="68424"/>
                    </a:cubicBezTo>
                    <a:cubicBezTo>
                      <a:pt x="61912" y="66043"/>
                      <a:pt x="64293" y="66043"/>
                      <a:pt x="61912" y="63662"/>
                    </a:cubicBezTo>
                    <a:cubicBezTo>
                      <a:pt x="61912" y="61280"/>
                      <a:pt x="59531" y="56518"/>
                      <a:pt x="59531" y="54137"/>
                    </a:cubicBezTo>
                    <a:close/>
                    <a:moveTo>
                      <a:pt x="9525" y="43321"/>
                    </a:moveTo>
                    <a:cubicBezTo>
                      <a:pt x="11906" y="45603"/>
                      <a:pt x="14288" y="41039"/>
                      <a:pt x="14288" y="45603"/>
                    </a:cubicBezTo>
                    <a:cubicBezTo>
                      <a:pt x="14288" y="50167"/>
                      <a:pt x="16669" y="52449"/>
                      <a:pt x="16669" y="57013"/>
                    </a:cubicBezTo>
                    <a:cubicBezTo>
                      <a:pt x="16669" y="61578"/>
                      <a:pt x="7144" y="68424"/>
                      <a:pt x="7144" y="59296"/>
                    </a:cubicBezTo>
                    <a:cubicBezTo>
                      <a:pt x="4763" y="61578"/>
                      <a:pt x="2381" y="59296"/>
                      <a:pt x="0" y="57013"/>
                    </a:cubicBezTo>
                    <a:cubicBezTo>
                      <a:pt x="2381" y="54731"/>
                      <a:pt x="4763" y="54731"/>
                      <a:pt x="4763" y="57013"/>
                    </a:cubicBezTo>
                    <a:cubicBezTo>
                      <a:pt x="7144" y="54731"/>
                      <a:pt x="4763" y="54731"/>
                      <a:pt x="7144" y="52449"/>
                    </a:cubicBezTo>
                    <a:cubicBezTo>
                      <a:pt x="9525" y="47885"/>
                      <a:pt x="7144" y="45603"/>
                      <a:pt x="9525" y="43321"/>
                    </a:cubicBezTo>
                    <a:close/>
                    <a:moveTo>
                      <a:pt x="43815" y="36145"/>
                    </a:moveTo>
                    <a:lnTo>
                      <a:pt x="50245" y="42892"/>
                    </a:lnTo>
                    <a:cubicBezTo>
                      <a:pt x="52388" y="47390"/>
                      <a:pt x="48102" y="49639"/>
                      <a:pt x="50245" y="54137"/>
                    </a:cubicBezTo>
                    <a:cubicBezTo>
                      <a:pt x="45958" y="51888"/>
                      <a:pt x="50245" y="47390"/>
                      <a:pt x="50245" y="45141"/>
                    </a:cubicBezTo>
                    <a:close/>
                    <a:moveTo>
                      <a:pt x="41672" y="33896"/>
                    </a:moveTo>
                    <a:cubicBezTo>
                      <a:pt x="41672" y="36145"/>
                      <a:pt x="41672" y="36145"/>
                      <a:pt x="43815" y="36145"/>
                    </a:cubicBezTo>
                    <a:lnTo>
                      <a:pt x="43815" y="36145"/>
                    </a:lnTo>
                    <a:close/>
                    <a:moveTo>
                      <a:pt x="37081" y="11869"/>
                    </a:moveTo>
                    <a:lnTo>
                      <a:pt x="37081" y="16434"/>
                    </a:lnTo>
                    <a:cubicBezTo>
                      <a:pt x="34869" y="18716"/>
                      <a:pt x="34869" y="23280"/>
                      <a:pt x="32658" y="25562"/>
                    </a:cubicBezTo>
                    <a:cubicBezTo>
                      <a:pt x="32658" y="25562"/>
                      <a:pt x="30447" y="23280"/>
                      <a:pt x="30447" y="23280"/>
                    </a:cubicBezTo>
                    <a:cubicBezTo>
                      <a:pt x="32658" y="20998"/>
                      <a:pt x="32658" y="18716"/>
                      <a:pt x="34869" y="16434"/>
                    </a:cubicBezTo>
                    <a:cubicBezTo>
                      <a:pt x="34869" y="14151"/>
                      <a:pt x="34869" y="14151"/>
                      <a:pt x="37081" y="11869"/>
                    </a:cubicBezTo>
                    <a:close/>
                    <a:moveTo>
                      <a:pt x="7144" y="5023"/>
                    </a:moveTo>
                    <a:cubicBezTo>
                      <a:pt x="11906" y="2939"/>
                      <a:pt x="16669" y="7106"/>
                      <a:pt x="21432" y="5023"/>
                    </a:cubicBezTo>
                    <a:cubicBezTo>
                      <a:pt x="23813" y="7106"/>
                      <a:pt x="7144" y="9190"/>
                      <a:pt x="4763" y="11274"/>
                    </a:cubicBezTo>
                    <a:cubicBezTo>
                      <a:pt x="2381" y="9190"/>
                      <a:pt x="0" y="9190"/>
                      <a:pt x="0" y="7106"/>
                    </a:cubicBezTo>
                    <a:cubicBezTo>
                      <a:pt x="2381" y="11274"/>
                      <a:pt x="4763" y="7106"/>
                      <a:pt x="7144" y="5023"/>
                    </a:cubicBezTo>
                    <a:close/>
                    <a:moveTo>
                      <a:pt x="23813" y="459"/>
                    </a:moveTo>
                    <a:cubicBezTo>
                      <a:pt x="28236" y="-1823"/>
                      <a:pt x="32658" y="5023"/>
                      <a:pt x="37081" y="9587"/>
                    </a:cubicBezTo>
                    <a:lnTo>
                      <a:pt x="37081" y="11869"/>
                    </a:lnTo>
                    <a:cubicBezTo>
                      <a:pt x="37081" y="7305"/>
                      <a:pt x="34869" y="9587"/>
                      <a:pt x="34869" y="7305"/>
                    </a:cubicBezTo>
                    <a:cubicBezTo>
                      <a:pt x="30447" y="5023"/>
                      <a:pt x="28236" y="-1823"/>
                      <a:pt x="23813" y="459"/>
                    </a:cubicBezTo>
                    <a:close/>
                  </a:path>
                </a:pathLst>
              </a:custGeom>
              <a:grpFill/>
              <a:ln w="3175">
                <a:solidFill>
                  <a:schemeClr val="accent2">
                    <a:lumMod val="75000"/>
                  </a:schemeClr>
                </a:solidFill>
              </a:ln>
            </p:spPr>
            <p:txBody>
              <a:bodyPr vert="horz" wrap="square" lIns="91273" tIns="45637" rIns="91273" bIns="4563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97" b="0" i="0" u="none" strike="noStrike" kern="1200" cap="none" spc="0" normalizeH="0" baseline="0" noProof="0" dirty="0">
                  <a:ln>
                    <a:noFill/>
                  </a:ln>
                  <a:solidFill>
                    <a:srgbClr val="000000"/>
                  </a:solidFill>
                  <a:effectLst/>
                  <a:uLnTx/>
                  <a:uFillTx/>
                  <a:latin typeface="Calibri"/>
                  <a:ea typeface="+mn-ea"/>
                  <a:cs typeface="+mn-cs"/>
                </a:endParaRPr>
              </a:p>
            </p:txBody>
          </p:sp>
          <p:sp>
            <p:nvSpPr>
              <p:cNvPr id="196" name="Brazil">
                <a:extLst>
                  <a:ext uri="{FF2B5EF4-FFF2-40B4-BE49-F238E27FC236}">
                    <a16:creationId xmlns:a16="http://schemas.microsoft.com/office/drawing/2014/main" id="{5552F034-41A6-3726-30FE-0CE745DEFD20}"/>
                  </a:ext>
                </a:extLst>
              </p:cNvPr>
              <p:cNvSpPr>
                <a:spLocks/>
              </p:cNvSpPr>
              <p:nvPr/>
            </p:nvSpPr>
            <p:spPr bwMode="auto">
              <a:xfrm>
                <a:off x="2173315" y="3215154"/>
                <a:ext cx="858606" cy="969311"/>
              </a:xfrm>
              <a:custGeom>
                <a:avLst/>
                <a:gdLst>
                  <a:gd name="connsiteX0" fmla="*/ 580430 w 842535"/>
                  <a:gd name="connsiteY0" fmla="*/ 766621 h 951168"/>
                  <a:gd name="connsiteX1" fmla="*/ 580430 w 842535"/>
                  <a:gd name="connsiteY1" fmla="*/ 773765 h 951168"/>
                  <a:gd name="connsiteX2" fmla="*/ 578644 w 842535"/>
                  <a:gd name="connsiteY2" fmla="*/ 771384 h 951168"/>
                  <a:gd name="connsiteX3" fmla="*/ 580430 w 842535"/>
                  <a:gd name="connsiteY3" fmla="*/ 766621 h 951168"/>
                  <a:gd name="connsiteX4" fmla="*/ 644129 w 842535"/>
                  <a:gd name="connsiteY4" fmla="*/ 708281 h 951168"/>
                  <a:gd name="connsiteX5" fmla="*/ 644129 w 842535"/>
                  <a:gd name="connsiteY5" fmla="*/ 713044 h 951168"/>
                  <a:gd name="connsiteX6" fmla="*/ 639366 w 842535"/>
                  <a:gd name="connsiteY6" fmla="*/ 713044 h 951168"/>
                  <a:gd name="connsiteX7" fmla="*/ 644129 w 842535"/>
                  <a:gd name="connsiteY7" fmla="*/ 708281 h 951168"/>
                  <a:gd name="connsiteX8" fmla="*/ 561975 w 842535"/>
                  <a:gd name="connsiteY8" fmla="*/ 141543 h 951168"/>
                  <a:gd name="connsiteX9" fmla="*/ 561975 w 842535"/>
                  <a:gd name="connsiteY9" fmla="*/ 143924 h 951168"/>
                  <a:gd name="connsiteX10" fmla="*/ 561975 w 842535"/>
                  <a:gd name="connsiteY10" fmla="*/ 141543 h 951168"/>
                  <a:gd name="connsiteX11" fmla="*/ 491729 w 842535"/>
                  <a:gd name="connsiteY11" fmla="*/ 141543 h 951168"/>
                  <a:gd name="connsiteX12" fmla="*/ 491729 w 842535"/>
                  <a:gd name="connsiteY12" fmla="*/ 141543 h 951168"/>
                  <a:gd name="connsiteX13" fmla="*/ 494110 w 842535"/>
                  <a:gd name="connsiteY13" fmla="*/ 143924 h 951168"/>
                  <a:gd name="connsiteX14" fmla="*/ 486966 w 842535"/>
                  <a:gd name="connsiteY14" fmla="*/ 151068 h 951168"/>
                  <a:gd name="connsiteX15" fmla="*/ 491728 w 842535"/>
                  <a:gd name="connsiteY15" fmla="*/ 141544 h 951168"/>
                  <a:gd name="connsiteX16" fmla="*/ 505804 w 842535"/>
                  <a:gd name="connsiteY16" fmla="*/ 130708 h 951168"/>
                  <a:gd name="connsiteX17" fmla="*/ 514647 w 842535"/>
                  <a:gd name="connsiteY17" fmla="*/ 132970 h 951168"/>
                  <a:gd name="connsiteX18" fmla="*/ 523775 w 842535"/>
                  <a:gd name="connsiteY18" fmla="*/ 135232 h 951168"/>
                  <a:gd name="connsiteX19" fmla="*/ 526058 w 842535"/>
                  <a:gd name="connsiteY19" fmla="*/ 132970 h 951168"/>
                  <a:gd name="connsiteX20" fmla="*/ 544314 w 842535"/>
                  <a:gd name="connsiteY20" fmla="*/ 132970 h 951168"/>
                  <a:gd name="connsiteX21" fmla="*/ 544314 w 842535"/>
                  <a:gd name="connsiteY21" fmla="*/ 144281 h 951168"/>
                  <a:gd name="connsiteX22" fmla="*/ 539750 w 842535"/>
                  <a:gd name="connsiteY22" fmla="*/ 155592 h 951168"/>
                  <a:gd name="connsiteX23" fmla="*/ 535186 w 842535"/>
                  <a:gd name="connsiteY23" fmla="*/ 166903 h 951168"/>
                  <a:gd name="connsiteX24" fmla="*/ 534590 w 842535"/>
                  <a:gd name="connsiteY24" fmla="*/ 166980 h 951168"/>
                  <a:gd name="connsiteX25" fmla="*/ 528625 w 842535"/>
                  <a:gd name="connsiteY25" fmla="*/ 167752 h 951168"/>
                  <a:gd name="connsiteX26" fmla="*/ 523775 w 842535"/>
                  <a:gd name="connsiteY26" fmla="*/ 166903 h 951168"/>
                  <a:gd name="connsiteX27" fmla="*/ 519211 w 842535"/>
                  <a:gd name="connsiteY27" fmla="*/ 171428 h 951168"/>
                  <a:gd name="connsiteX28" fmla="*/ 519211 w 842535"/>
                  <a:gd name="connsiteY28" fmla="*/ 169165 h 951168"/>
                  <a:gd name="connsiteX29" fmla="*/ 514647 w 842535"/>
                  <a:gd name="connsiteY29" fmla="*/ 171428 h 951168"/>
                  <a:gd name="connsiteX30" fmla="*/ 505519 w 842535"/>
                  <a:gd name="connsiteY30" fmla="*/ 171428 h 951168"/>
                  <a:gd name="connsiteX31" fmla="*/ 500955 w 842535"/>
                  <a:gd name="connsiteY31" fmla="*/ 171428 h 951168"/>
                  <a:gd name="connsiteX32" fmla="*/ 496391 w 842535"/>
                  <a:gd name="connsiteY32" fmla="*/ 164641 h 951168"/>
                  <a:gd name="connsiteX33" fmla="*/ 494109 w 842535"/>
                  <a:gd name="connsiteY33" fmla="*/ 155592 h 951168"/>
                  <a:gd name="connsiteX34" fmla="*/ 503237 w 842535"/>
                  <a:gd name="connsiteY34" fmla="*/ 153330 h 951168"/>
                  <a:gd name="connsiteX35" fmla="*/ 496391 w 842535"/>
                  <a:gd name="connsiteY35" fmla="*/ 153330 h 951168"/>
                  <a:gd name="connsiteX36" fmla="*/ 496391 w 842535"/>
                  <a:gd name="connsiteY36" fmla="*/ 148806 h 951168"/>
                  <a:gd name="connsiteX37" fmla="*/ 496391 w 842535"/>
                  <a:gd name="connsiteY37" fmla="*/ 144281 h 951168"/>
                  <a:gd name="connsiteX38" fmla="*/ 500955 w 842535"/>
                  <a:gd name="connsiteY38" fmla="*/ 144281 h 951168"/>
                  <a:gd name="connsiteX39" fmla="*/ 498673 w 842535"/>
                  <a:gd name="connsiteY39" fmla="*/ 135232 h 951168"/>
                  <a:gd name="connsiteX40" fmla="*/ 505804 w 842535"/>
                  <a:gd name="connsiteY40" fmla="*/ 130708 h 951168"/>
                  <a:gd name="connsiteX41" fmla="*/ 496491 w 842535"/>
                  <a:gd name="connsiteY41" fmla="*/ 128446 h 951168"/>
                  <a:gd name="connsiteX42" fmla="*/ 498873 w 842535"/>
                  <a:gd name="connsiteY42" fmla="*/ 130431 h 951168"/>
                  <a:gd name="connsiteX43" fmla="*/ 494110 w 842535"/>
                  <a:gd name="connsiteY43" fmla="*/ 134400 h 951168"/>
                  <a:gd name="connsiteX44" fmla="*/ 496491 w 842535"/>
                  <a:gd name="connsiteY44" fmla="*/ 128446 h 951168"/>
                  <a:gd name="connsiteX45" fmla="*/ 523875 w 842535"/>
                  <a:gd name="connsiteY45" fmla="*/ 127329 h 951168"/>
                  <a:gd name="connsiteX46" fmla="*/ 523875 w 842535"/>
                  <a:gd name="connsiteY46" fmla="*/ 129934 h 951168"/>
                  <a:gd name="connsiteX47" fmla="*/ 516731 w 842535"/>
                  <a:gd name="connsiteY47" fmla="*/ 127850 h 951168"/>
                  <a:gd name="connsiteX48" fmla="*/ 523875 w 842535"/>
                  <a:gd name="connsiteY48" fmla="*/ 127329 h 951168"/>
                  <a:gd name="connsiteX49" fmla="*/ 500360 w 842535"/>
                  <a:gd name="connsiteY49" fmla="*/ 124576 h 951168"/>
                  <a:gd name="connsiteX50" fmla="*/ 501253 w 842535"/>
                  <a:gd name="connsiteY50" fmla="*/ 126064 h 951168"/>
                  <a:gd name="connsiteX51" fmla="*/ 501253 w 842535"/>
                  <a:gd name="connsiteY51" fmla="*/ 128446 h 951168"/>
                  <a:gd name="connsiteX52" fmla="*/ 500360 w 842535"/>
                  <a:gd name="connsiteY52" fmla="*/ 124576 h 951168"/>
                  <a:gd name="connsiteX53" fmla="*/ 517587 w 842535"/>
                  <a:gd name="connsiteY53" fmla="*/ 120558 h 951168"/>
                  <a:gd name="connsiteX54" fmla="*/ 519261 w 842535"/>
                  <a:gd name="connsiteY54" fmla="*/ 123287 h 951168"/>
                  <a:gd name="connsiteX55" fmla="*/ 510331 w 842535"/>
                  <a:gd name="connsiteY55" fmla="*/ 127652 h 951168"/>
                  <a:gd name="connsiteX56" fmla="*/ 503634 w 842535"/>
                  <a:gd name="connsiteY56" fmla="*/ 125469 h 951168"/>
                  <a:gd name="connsiteX57" fmla="*/ 512564 w 842535"/>
                  <a:gd name="connsiteY57" fmla="*/ 121104 h 951168"/>
                  <a:gd name="connsiteX58" fmla="*/ 517587 w 842535"/>
                  <a:gd name="connsiteY58" fmla="*/ 120558 h 951168"/>
                  <a:gd name="connsiteX59" fmla="*/ 503039 w 842535"/>
                  <a:gd name="connsiteY59" fmla="*/ 114158 h 951168"/>
                  <a:gd name="connsiteX60" fmla="*/ 503039 w 842535"/>
                  <a:gd name="connsiteY60" fmla="*/ 123683 h 951168"/>
                  <a:gd name="connsiteX61" fmla="*/ 503039 w 842535"/>
                  <a:gd name="connsiteY61" fmla="*/ 114158 h 951168"/>
                  <a:gd name="connsiteX62" fmla="*/ 512207 w 842535"/>
                  <a:gd name="connsiteY62" fmla="*/ 111777 h 951168"/>
                  <a:gd name="connsiteX63" fmla="*/ 507920 w 842535"/>
                  <a:gd name="connsiteY63" fmla="*/ 118921 h 951168"/>
                  <a:gd name="connsiteX64" fmla="*/ 512207 w 842535"/>
                  <a:gd name="connsiteY64" fmla="*/ 111777 h 951168"/>
                  <a:gd name="connsiteX65" fmla="*/ 507802 w 842535"/>
                  <a:gd name="connsiteY65" fmla="*/ 107163 h 951168"/>
                  <a:gd name="connsiteX66" fmla="*/ 511969 w 842535"/>
                  <a:gd name="connsiteY66" fmla="*/ 107610 h 951168"/>
                  <a:gd name="connsiteX67" fmla="*/ 507206 w 842535"/>
                  <a:gd name="connsiteY67" fmla="*/ 109396 h 951168"/>
                  <a:gd name="connsiteX68" fmla="*/ 507802 w 842535"/>
                  <a:gd name="connsiteY68" fmla="*/ 107163 h 951168"/>
                  <a:gd name="connsiteX69" fmla="*/ 282143 w 842535"/>
                  <a:gd name="connsiteY69" fmla="*/ 941 h 951168"/>
                  <a:gd name="connsiteX70" fmla="*/ 291244 w 842535"/>
                  <a:gd name="connsiteY70" fmla="*/ 941 h 951168"/>
                  <a:gd name="connsiteX71" fmla="*/ 298070 w 842535"/>
                  <a:gd name="connsiteY71" fmla="*/ 3214 h 951168"/>
                  <a:gd name="connsiteX72" fmla="*/ 295795 w 842535"/>
                  <a:gd name="connsiteY72" fmla="*/ 16854 h 951168"/>
                  <a:gd name="connsiteX73" fmla="*/ 304897 w 842535"/>
                  <a:gd name="connsiteY73" fmla="*/ 21401 h 951168"/>
                  <a:gd name="connsiteX74" fmla="*/ 304897 w 842535"/>
                  <a:gd name="connsiteY74" fmla="*/ 25947 h 951168"/>
                  <a:gd name="connsiteX75" fmla="*/ 307172 w 842535"/>
                  <a:gd name="connsiteY75" fmla="*/ 30494 h 951168"/>
                  <a:gd name="connsiteX76" fmla="*/ 302621 w 842535"/>
                  <a:gd name="connsiteY76" fmla="*/ 41860 h 951168"/>
                  <a:gd name="connsiteX77" fmla="*/ 300346 w 842535"/>
                  <a:gd name="connsiteY77" fmla="*/ 48680 h 951168"/>
                  <a:gd name="connsiteX78" fmla="*/ 298070 w 842535"/>
                  <a:gd name="connsiteY78" fmla="*/ 57773 h 951168"/>
                  <a:gd name="connsiteX79" fmla="*/ 300346 w 842535"/>
                  <a:gd name="connsiteY79" fmla="*/ 73686 h 951168"/>
                  <a:gd name="connsiteX80" fmla="*/ 304897 w 842535"/>
                  <a:gd name="connsiteY80" fmla="*/ 82779 h 951168"/>
                  <a:gd name="connsiteX81" fmla="*/ 302621 w 842535"/>
                  <a:gd name="connsiteY81" fmla="*/ 85052 h 951168"/>
                  <a:gd name="connsiteX82" fmla="*/ 311723 w 842535"/>
                  <a:gd name="connsiteY82" fmla="*/ 94145 h 951168"/>
                  <a:gd name="connsiteX83" fmla="*/ 318549 w 842535"/>
                  <a:gd name="connsiteY83" fmla="*/ 96418 h 951168"/>
                  <a:gd name="connsiteX84" fmla="*/ 323099 w 842535"/>
                  <a:gd name="connsiteY84" fmla="*/ 98692 h 951168"/>
                  <a:gd name="connsiteX85" fmla="*/ 327650 w 842535"/>
                  <a:gd name="connsiteY85" fmla="*/ 94145 h 951168"/>
                  <a:gd name="connsiteX86" fmla="*/ 343577 w 842535"/>
                  <a:gd name="connsiteY86" fmla="*/ 87325 h 951168"/>
                  <a:gd name="connsiteX87" fmla="*/ 350403 w 842535"/>
                  <a:gd name="connsiteY87" fmla="*/ 85052 h 951168"/>
                  <a:gd name="connsiteX88" fmla="*/ 361780 w 842535"/>
                  <a:gd name="connsiteY88" fmla="*/ 80506 h 951168"/>
                  <a:gd name="connsiteX89" fmla="*/ 373157 w 842535"/>
                  <a:gd name="connsiteY89" fmla="*/ 80506 h 951168"/>
                  <a:gd name="connsiteX90" fmla="*/ 384534 w 842535"/>
                  <a:gd name="connsiteY90" fmla="*/ 80506 h 951168"/>
                  <a:gd name="connsiteX91" fmla="*/ 382258 w 842535"/>
                  <a:gd name="connsiteY91" fmla="*/ 71413 h 951168"/>
                  <a:gd name="connsiteX92" fmla="*/ 391360 w 842535"/>
                  <a:gd name="connsiteY92" fmla="*/ 69139 h 951168"/>
                  <a:gd name="connsiteX93" fmla="*/ 398186 w 842535"/>
                  <a:gd name="connsiteY93" fmla="*/ 66866 h 951168"/>
                  <a:gd name="connsiteX94" fmla="*/ 409563 w 842535"/>
                  <a:gd name="connsiteY94" fmla="*/ 69139 h 951168"/>
                  <a:gd name="connsiteX95" fmla="*/ 414113 w 842535"/>
                  <a:gd name="connsiteY95" fmla="*/ 73686 h 951168"/>
                  <a:gd name="connsiteX96" fmla="*/ 420939 w 842535"/>
                  <a:gd name="connsiteY96" fmla="*/ 75959 h 951168"/>
                  <a:gd name="connsiteX97" fmla="*/ 430041 w 842535"/>
                  <a:gd name="connsiteY97" fmla="*/ 71413 h 951168"/>
                  <a:gd name="connsiteX98" fmla="*/ 434591 w 842535"/>
                  <a:gd name="connsiteY98" fmla="*/ 71413 h 951168"/>
                  <a:gd name="connsiteX99" fmla="*/ 441417 w 842535"/>
                  <a:gd name="connsiteY99" fmla="*/ 73686 h 951168"/>
                  <a:gd name="connsiteX100" fmla="*/ 448243 w 842535"/>
                  <a:gd name="connsiteY100" fmla="*/ 73686 h 951168"/>
                  <a:gd name="connsiteX101" fmla="*/ 455069 w 842535"/>
                  <a:gd name="connsiteY101" fmla="*/ 69139 h 951168"/>
                  <a:gd name="connsiteX102" fmla="*/ 464171 w 842535"/>
                  <a:gd name="connsiteY102" fmla="*/ 48680 h 951168"/>
                  <a:gd name="connsiteX103" fmla="*/ 475548 w 842535"/>
                  <a:gd name="connsiteY103" fmla="*/ 19127 h 951168"/>
                  <a:gd name="connsiteX104" fmla="*/ 482374 w 842535"/>
                  <a:gd name="connsiteY104" fmla="*/ 30494 h 951168"/>
                  <a:gd name="connsiteX105" fmla="*/ 482374 w 842535"/>
                  <a:gd name="connsiteY105" fmla="*/ 21401 h 951168"/>
                  <a:gd name="connsiteX106" fmla="*/ 486924 w 842535"/>
                  <a:gd name="connsiteY106" fmla="*/ 39587 h 951168"/>
                  <a:gd name="connsiteX107" fmla="*/ 489200 w 842535"/>
                  <a:gd name="connsiteY107" fmla="*/ 32767 h 951168"/>
                  <a:gd name="connsiteX108" fmla="*/ 493750 w 842535"/>
                  <a:gd name="connsiteY108" fmla="*/ 60046 h 951168"/>
                  <a:gd name="connsiteX109" fmla="*/ 496026 w 842535"/>
                  <a:gd name="connsiteY109" fmla="*/ 75959 h 951168"/>
                  <a:gd name="connsiteX110" fmla="*/ 500576 w 842535"/>
                  <a:gd name="connsiteY110" fmla="*/ 80506 h 951168"/>
                  <a:gd name="connsiteX111" fmla="*/ 509678 w 842535"/>
                  <a:gd name="connsiteY111" fmla="*/ 85052 h 951168"/>
                  <a:gd name="connsiteX112" fmla="*/ 509678 w 842535"/>
                  <a:gd name="connsiteY112" fmla="*/ 98692 h 951168"/>
                  <a:gd name="connsiteX113" fmla="*/ 514229 w 842535"/>
                  <a:gd name="connsiteY113" fmla="*/ 98692 h 951168"/>
                  <a:gd name="connsiteX114" fmla="*/ 505127 w 842535"/>
                  <a:gd name="connsiteY114" fmla="*/ 107785 h 951168"/>
                  <a:gd name="connsiteX115" fmla="*/ 500576 w 842535"/>
                  <a:gd name="connsiteY115" fmla="*/ 112331 h 951168"/>
                  <a:gd name="connsiteX116" fmla="*/ 498301 w 842535"/>
                  <a:gd name="connsiteY116" fmla="*/ 121424 h 951168"/>
                  <a:gd name="connsiteX117" fmla="*/ 486924 w 842535"/>
                  <a:gd name="connsiteY117" fmla="*/ 130518 h 951168"/>
                  <a:gd name="connsiteX118" fmla="*/ 477823 w 842535"/>
                  <a:gd name="connsiteY118" fmla="*/ 141884 h 951168"/>
                  <a:gd name="connsiteX119" fmla="*/ 476740 w 842535"/>
                  <a:gd name="connsiteY119" fmla="*/ 147292 h 951168"/>
                  <a:gd name="connsiteX120" fmla="*/ 481476 w 842535"/>
                  <a:gd name="connsiteY120" fmla="*/ 142486 h 951168"/>
                  <a:gd name="connsiteX121" fmla="*/ 487099 w 842535"/>
                  <a:gd name="connsiteY121" fmla="*/ 143627 h 951168"/>
                  <a:gd name="connsiteX122" fmla="*/ 483825 w 842535"/>
                  <a:gd name="connsiteY122" fmla="*/ 151726 h 951168"/>
                  <a:gd name="connsiteX123" fmla="*/ 482601 w 842535"/>
                  <a:gd name="connsiteY123" fmla="*/ 154752 h 951168"/>
                  <a:gd name="connsiteX124" fmla="*/ 471356 w 842535"/>
                  <a:gd name="connsiteY124" fmla="*/ 164166 h 951168"/>
                  <a:gd name="connsiteX125" fmla="*/ 475854 w 842535"/>
                  <a:gd name="connsiteY125" fmla="*/ 155038 h 951168"/>
                  <a:gd name="connsiteX126" fmla="*/ 475854 w 842535"/>
                  <a:gd name="connsiteY126" fmla="*/ 151720 h 951168"/>
                  <a:gd name="connsiteX127" fmla="*/ 475548 w 842535"/>
                  <a:gd name="connsiteY127" fmla="*/ 153250 h 951168"/>
                  <a:gd name="connsiteX128" fmla="*/ 470997 w 842535"/>
                  <a:gd name="connsiteY128" fmla="*/ 160070 h 951168"/>
                  <a:gd name="connsiteX129" fmla="*/ 464171 w 842535"/>
                  <a:gd name="connsiteY129" fmla="*/ 162343 h 951168"/>
                  <a:gd name="connsiteX130" fmla="*/ 452794 w 842535"/>
                  <a:gd name="connsiteY130" fmla="*/ 166890 h 951168"/>
                  <a:gd name="connsiteX131" fmla="*/ 464171 w 842535"/>
                  <a:gd name="connsiteY131" fmla="*/ 169163 h 951168"/>
                  <a:gd name="connsiteX132" fmla="*/ 470997 w 842535"/>
                  <a:gd name="connsiteY132" fmla="*/ 166890 h 951168"/>
                  <a:gd name="connsiteX133" fmla="*/ 480098 w 842535"/>
                  <a:gd name="connsiteY133" fmla="*/ 160070 h 951168"/>
                  <a:gd name="connsiteX134" fmla="*/ 491475 w 842535"/>
                  <a:gd name="connsiteY134" fmla="*/ 150977 h 951168"/>
                  <a:gd name="connsiteX135" fmla="*/ 496026 w 842535"/>
                  <a:gd name="connsiteY135" fmla="*/ 166890 h 951168"/>
                  <a:gd name="connsiteX136" fmla="*/ 498301 w 842535"/>
                  <a:gd name="connsiteY136" fmla="*/ 173710 h 951168"/>
                  <a:gd name="connsiteX137" fmla="*/ 502852 w 842535"/>
                  <a:gd name="connsiteY137" fmla="*/ 175983 h 951168"/>
                  <a:gd name="connsiteX138" fmla="*/ 516504 w 842535"/>
                  <a:gd name="connsiteY138" fmla="*/ 178256 h 951168"/>
                  <a:gd name="connsiteX139" fmla="*/ 521055 w 842535"/>
                  <a:gd name="connsiteY139" fmla="*/ 173710 h 951168"/>
                  <a:gd name="connsiteX140" fmla="*/ 523330 w 842535"/>
                  <a:gd name="connsiteY140" fmla="*/ 171436 h 951168"/>
                  <a:gd name="connsiteX141" fmla="*/ 527881 w 842535"/>
                  <a:gd name="connsiteY141" fmla="*/ 171436 h 951168"/>
                  <a:gd name="connsiteX142" fmla="*/ 523330 w 842535"/>
                  <a:gd name="connsiteY142" fmla="*/ 191896 h 951168"/>
                  <a:gd name="connsiteX143" fmla="*/ 530156 w 842535"/>
                  <a:gd name="connsiteY143" fmla="*/ 173710 h 951168"/>
                  <a:gd name="connsiteX144" fmla="*/ 536982 w 842535"/>
                  <a:gd name="connsiteY144" fmla="*/ 166890 h 951168"/>
                  <a:gd name="connsiteX145" fmla="*/ 546083 w 842535"/>
                  <a:gd name="connsiteY145" fmla="*/ 169163 h 951168"/>
                  <a:gd name="connsiteX146" fmla="*/ 546083 w 842535"/>
                  <a:gd name="connsiteY146" fmla="*/ 164617 h 951168"/>
                  <a:gd name="connsiteX147" fmla="*/ 543808 w 842535"/>
                  <a:gd name="connsiteY147" fmla="*/ 164617 h 951168"/>
                  <a:gd name="connsiteX148" fmla="*/ 548359 w 842535"/>
                  <a:gd name="connsiteY148" fmla="*/ 160070 h 951168"/>
                  <a:gd name="connsiteX149" fmla="*/ 550634 w 842535"/>
                  <a:gd name="connsiteY149" fmla="*/ 148704 h 951168"/>
                  <a:gd name="connsiteX150" fmla="*/ 555185 w 842535"/>
                  <a:gd name="connsiteY150" fmla="*/ 146430 h 951168"/>
                  <a:gd name="connsiteX151" fmla="*/ 562011 w 842535"/>
                  <a:gd name="connsiteY151" fmla="*/ 146430 h 951168"/>
                  <a:gd name="connsiteX152" fmla="*/ 568837 w 842535"/>
                  <a:gd name="connsiteY152" fmla="*/ 146430 h 951168"/>
                  <a:gd name="connsiteX153" fmla="*/ 566561 w 842535"/>
                  <a:gd name="connsiteY153" fmla="*/ 141884 h 951168"/>
                  <a:gd name="connsiteX154" fmla="*/ 573388 w 842535"/>
                  <a:gd name="connsiteY154" fmla="*/ 146430 h 951168"/>
                  <a:gd name="connsiteX155" fmla="*/ 575663 w 842535"/>
                  <a:gd name="connsiteY155" fmla="*/ 146430 h 951168"/>
                  <a:gd name="connsiteX156" fmla="*/ 575663 w 842535"/>
                  <a:gd name="connsiteY156" fmla="*/ 148704 h 951168"/>
                  <a:gd name="connsiteX157" fmla="*/ 577938 w 842535"/>
                  <a:gd name="connsiteY157" fmla="*/ 148704 h 951168"/>
                  <a:gd name="connsiteX158" fmla="*/ 580214 w 842535"/>
                  <a:gd name="connsiteY158" fmla="*/ 146430 h 951168"/>
                  <a:gd name="connsiteX159" fmla="*/ 582489 w 842535"/>
                  <a:gd name="connsiteY159" fmla="*/ 150977 h 951168"/>
                  <a:gd name="connsiteX160" fmla="*/ 584764 w 842535"/>
                  <a:gd name="connsiteY160" fmla="*/ 148704 h 951168"/>
                  <a:gd name="connsiteX161" fmla="*/ 582489 w 842535"/>
                  <a:gd name="connsiteY161" fmla="*/ 153250 h 951168"/>
                  <a:gd name="connsiteX162" fmla="*/ 591590 w 842535"/>
                  <a:gd name="connsiteY162" fmla="*/ 153250 h 951168"/>
                  <a:gd name="connsiteX163" fmla="*/ 593866 w 842535"/>
                  <a:gd name="connsiteY163" fmla="*/ 150977 h 951168"/>
                  <a:gd name="connsiteX164" fmla="*/ 596141 w 842535"/>
                  <a:gd name="connsiteY164" fmla="*/ 157797 h 951168"/>
                  <a:gd name="connsiteX165" fmla="*/ 598416 w 842535"/>
                  <a:gd name="connsiteY165" fmla="*/ 155523 h 951168"/>
                  <a:gd name="connsiteX166" fmla="*/ 602967 w 842535"/>
                  <a:gd name="connsiteY166" fmla="*/ 160070 h 951168"/>
                  <a:gd name="connsiteX167" fmla="*/ 605242 w 842535"/>
                  <a:gd name="connsiteY167" fmla="*/ 157797 h 951168"/>
                  <a:gd name="connsiteX168" fmla="*/ 605242 w 842535"/>
                  <a:gd name="connsiteY168" fmla="*/ 162343 h 951168"/>
                  <a:gd name="connsiteX169" fmla="*/ 607518 w 842535"/>
                  <a:gd name="connsiteY169" fmla="*/ 160070 h 951168"/>
                  <a:gd name="connsiteX170" fmla="*/ 612068 w 842535"/>
                  <a:gd name="connsiteY170" fmla="*/ 160070 h 951168"/>
                  <a:gd name="connsiteX171" fmla="*/ 609793 w 842535"/>
                  <a:gd name="connsiteY171" fmla="*/ 164617 h 951168"/>
                  <a:gd name="connsiteX172" fmla="*/ 614344 w 842535"/>
                  <a:gd name="connsiteY172" fmla="*/ 162343 h 951168"/>
                  <a:gd name="connsiteX173" fmla="*/ 614344 w 842535"/>
                  <a:gd name="connsiteY173" fmla="*/ 171436 h 951168"/>
                  <a:gd name="connsiteX174" fmla="*/ 616619 w 842535"/>
                  <a:gd name="connsiteY174" fmla="*/ 164617 h 951168"/>
                  <a:gd name="connsiteX175" fmla="*/ 621170 w 842535"/>
                  <a:gd name="connsiteY175" fmla="*/ 166890 h 951168"/>
                  <a:gd name="connsiteX176" fmla="*/ 625721 w 842535"/>
                  <a:gd name="connsiteY176" fmla="*/ 169163 h 951168"/>
                  <a:gd name="connsiteX177" fmla="*/ 623445 w 842535"/>
                  <a:gd name="connsiteY177" fmla="*/ 171436 h 951168"/>
                  <a:gd name="connsiteX178" fmla="*/ 627996 w 842535"/>
                  <a:gd name="connsiteY178" fmla="*/ 171436 h 951168"/>
                  <a:gd name="connsiteX179" fmla="*/ 630271 w 842535"/>
                  <a:gd name="connsiteY179" fmla="*/ 175983 h 951168"/>
                  <a:gd name="connsiteX180" fmla="*/ 623445 w 842535"/>
                  <a:gd name="connsiteY180" fmla="*/ 185076 h 951168"/>
                  <a:gd name="connsiteX181" fmla="*/ 627996 w 842535"/>
                  <a:gd name="connsiteY181" fmla="*/ 185076 h 951168"/>
                  <a:gd name="connsiteX182" fmla="*/ 632547 w 842535"/>
                  <a:gd name="connsiteY182" fmla="*/ 182803 h 951168"/>
                  <a:gd name="connsiteX183" fmla="*/ 630271 w 842535"/>
                  <a:gd name="connsiteY183" fmla="*/ 189623 h 951168"/>
                  <a:gd name="connsiteX184" fmla="*/ 627996 w 842535"/>
                  <a:gd name="connsiteY184" fmla="*/ 200989 h 951168"/>
                  <a:gd name="connsiteX185" fmla="*/ 625721 w 842535"/>
                  <a:gd name="connsiteY185" fmla="*/ 207809 h 951168"/>
                  <a:gd name="connsiteX186" fmla="*/ 632547 w 842535"/>
                  <a:gd name="connsiteY186" fmla="*/ 200989 h 951168"/>
                  <a:gd name="connsiteX187" fmla="*/ 634822 w 842535"/>
                  <a:gd name="connsiteY187" fmla="*/ 189623 h 951168"/>
                  <a:gd name="connsiteX188" fmla="*/ 641648 w 842535"/>
                  <a:gd name="connsiteY188" fmla="*/ 187349 h 951168"/>
                  <a:gd name="connsiteX189" fmla="*/ 634822 w 842535"/>
                  <a:gd name="connsiteY189" fmla="*/ 196442 h 951168"/>
                  <a:gd name="connsiteX190" fmla="*/ 637097 w 842535"/>
                  <a:gd name="connsiteY190" fmla="*/ 198716 h 951168"/>
                  <a:gd name="connsiteX191" fmla="*/ 643923 w 842535"/>
                  <a:gd name="connsiteY191" fmla="*/ 191896 h 951168"/>
                  <a:gd name="connsiteX192" fmla="*/ 653025 w 842535"/>
                  <a:gd name="connsiteY192" fmla="*/ 189623 h 951168"/>
                  <a:gd name="connsiteX193" fmla="*/ 668952 w 842535"/>
                  <a:gd name="connsiteY193" fmla="*/ 191896 h 951168"/>
                  <a:gd name="connsiteX194" fmla="*/ 680329 w 842535"/>
                  <a:gd name="connsiteY194" fmla="*/ 196442 h 951168"/>
                  <a:gd name="connsiteX195" fmla="*/ 687155 w 842535"/>
                  <a:gd name="connsiteY195" fmla="*/ 194169 h 951168"/>
                  <a:gd name="connsiteX196" fmla="*/ 693981 w 842535"/>
                  <a:gd name="connsiteY196" fmla="*/ 198716 h 951168"/>
                  <a:gd name="connsiteX197" fmla="*/ 700807 w 842535"/>
                  <a:gd name="connsiteY197" fmla="*/ 200989 h 951168"/>
                  <a:gd name="connsiteX198" fmla="*/ 707633 w 842535"/>
                  <a:gd name="connsiteY198" fmla="*/ 198716 h 951168"/>
                  <a:gd name="connsiteX199" fmla="*/ 723560 w 842535"/>
                  <a:gd name="connsiteY199" fmla="*/ 196442 h 951168"/>
                  <a:gd name="connsiteX200" fmla="*/ 755415 w 842535"/>
                  <a:gd name="connsiteY200" fmla="*/ 216902 h 951168"/>
                  <a:gd name="connsiteX201" fmla="*/ 764517 w 842535"/>
                  <a:gd name="connsiteY201" fmla="*/ 221448 h 951168"/>
                  <a:gd name="connsiteX202" fmla="*/ 771343 w 842535"/>
                  <a:gd name="connsiteY202" fmla="*/ 230541 h 951168"/>
                  <a:gd name="connsiteX203" fmla="*/ 778169 w 842535"/>
                  <a:gd name="connsiteY203" fmla="*/ 237361 h 951168"/>
                  <a:gd name="connsiteX204" fmla="*/ 787270 w 842535"/>
                  <a:gd name="connsiteY204" fmla="*/ 246454 h 951168"/>
                  <a:gd name="connsiteX205" fmla="*/ 798647 w 842535"/>
                  <a:gd name="connsiteY205" fmla="*/ 251001 h 951168"/>
                  <a:gd name="connsiteX206" fmla="*/ 812299 w 842535"/>
                  <a:gd name="connsiteY206" fmla="*/ 253274 h 951168"/>
                  <a:gd name="connsiteX207" fmla="*/ 832777 w 842535"/>
                  <a:gd name="connsiteY207" fmla="*/ 264640 h 951168"/>
                  <a:gd name="connsiteX208" fmla="*/ 835053 w 842535"/>
                  <a:gd name="connsiteY208" fmla="*/ 276007 h 951168"/>
                  <a:gd name="connsiteX209" fmla="*/ 835053 w 842535"/>
                  <a:gd name="connsiteY209" fmla="*/ 280553 h 951168"/>
                  <a:gd name="connsiteX210" fmla="*/ 837328 w 842535"/>
                  <a:gd name="connsiteY210" fmla="*/ 282827 h 951168"/>
                  <a:gd name="connsiteX211" fmla="*/ 839603 w 842535"/>
                  <a:gd name="connsiteY211" fmla="*/ 301013 h 951168"/>
                  <a:gd name="connsiteX212" fmla="*/ 841879 w 842535"/>
                  <a:gd name="connsiteY212" fmla="*/ 298739 h 951168"/>
                  <a:gd name="connsiteX213" fmla="*/ 839603 w 842535"/>
                  <a:gd name="connsiteY213" fmla="*/ 312379 h 951168"/>
                  <a:gd name="connsiteX214" fmla="*/ 841879 w 842535"/>
                  <a:gd name="connsiteY214" fmla="*/ 312379 h 951168"/>
                  <a:gd name="connsiteX215" fmla="*/ 841879 w 842535"/>
                  <a:gd name="connsiteY215" fmla="*/ 326019 h 951168"/>
                  <a:gd name="connsiteX216" fmla="*/ 837328 w 842535"/>
                  <a:gd name="connsiteY216" fmla="*/ 337385 h 951168"/>
                  <a:gd name="connsiteX217" fmla="*/ 832777 w 842535"/>
                  <a:gd name="connsiteY217" fmla="*/ 351025 h 951168"/>
                  <a:gd name="connsiteX218" fmla="*/ 823676 w 842535"/>
                  <a:gd name="connsiteY218" fmla="*/ 364664 h 951168"/>
                  <a:gd name="connsiteX219" fmla="*/ 821401 w 842535"/>
                  <a:gd name="connsiteY219" fmla="*/ 362391 h 951168"/>
                  <a:gd name="connsiteX220" fmla="*/ 819125 w 842535"/>
                  <a:gd name="connsiteY220" fmla="*/ 364664 h 951168"/>
                  <a:gd name="connsiteX221" fmla="*/ 821401 w 842535"/>
                  <a:gd name="connsiteY221" fmla="*/ 364664 h 951168"/>
                  <a:gd name="connsiteX222" fmla="*/ 810024 w 842535"/>
                  <a:gd name="connsiteY222" fmla="*/ 382850 h 951168"/>
                  <a:gd name="connsiteX223" fmla="*/ 803198 w 842535"/>
                  <a:gd name="connsiteY223" fmla="*/ 387397 h 951168"/>
                  <a:gd name="connsiteX224" fmla="*/ 796372 w 842535"/>
                  <a:gd name="connsiteY224" fmla="*/ 394217 h 951168"/>
                  <a:gd name="connsiteX225" fmla="*/ 791821 w 842535"/>
                  <a:gd name="connsiteY225" fmla="*/ 396490 h 951168"/>
                  <a:gd name="connsiteX226" fmla="*/ 794097 w 842535"/>
                  <a:gd name="connsiteY226" fmla="*/ 401037 h 951168"/>
                  <a:gd name="connsiteX227" fmla="*/ 791821 w 842535"/>
                  <a:gd name="connsiteY227" fmla="*/ 403310 h 951168"/>
                  <a:gd name="connsiteX228" fmla="*/ 787270 w 842535"/>
                  <a:gd name="connsiteY228" fmla="*/ 410130 h 951168"/>
                  <a:gd name="connsiteX229" fmla="*/ 789546 w 842535"/>
                  <a:gd name="connsiteY229" fmla="*/ 407856 h 951168"/>
                  <a:gd name="connsiteX230" fmla="*/ 766792 w 842535"/>
                  <a:gd name="connsiteY230" fmla="*/ 444229 h 951168"/>
                  <a:gd name="connsiteX231" fmla="*/ 762242 w 842535"/>
                  <a:gd name="connsiteY231" fmla="*/ 435136 h 951168"/>
                  <a:gd name="connsiteX232" fmla="*/ 757691 w 842535"/>
                  <a:gd name="connsiteY232" fmla="*/ 439682 h 951168"/>
                  <a:gd name="connsiteX233" fmla="*/ 762242 w 842535"/>
                  <a:gd name="connsiteY233" fmla="*/ 444229 h 951168"/>
                  <a:gd name="connsiteX234" fmla="*/ 757691 w 842535"/>
                  <a:gd name="connsiteY234" fmla="*/ 455595 h 951168"/>
                  <a:gd name="connsiteX235" fmla="*/ 755415 w 842535"/>
                  <a:gd name="connsiteY235" fmla="*/ 460142 h 951168"/>
                  <a:gd name="connsiteX236" fmla="*/ 757691 w 842535"/>
                  <a:gd name="connsiteY236" fmla="*/ 457869 h 951168"/>
                  <a:gd name="connsiteX237" fmla="*/ 757691 w 842535"/>
                  <a:gd name="connsiteY237" fmla="*/ 464688 h 951168"/>
                  <a:gd name="connsiteX238" fmla="*/ 755415 w 842535"/>
                  <a:gd name="connsiteY238" fmla="*/ 462415 h 951168"/>
                  <a:gd name="connsiteX239" fmla="*/ 757691 w 842535"/>
                  <a:gd name="connsiteY239" fmla="*/ 471508 h 951168"/>
                  <a:gd name="connsiteX240" fmla="*/ 759966 w 842535"/>
                  <a:gd name="connsiteY240" fmla="*/ 466962 h 951168"/>
                  <a:gd name="connsiteX241" fmla="*/ 759966 w 842535"/>
                  <a:gd name="connsiteY241" fmla="*/ 491968 h 951168"/>
                  <a:gd name="connsiteX242" fmla="*/ 764517 w 842535"/>
                  <a:gd name="connsiteY242" fmla="*/ 514700 h 951168"/>
                  <a:gd name="connsiteX243" fmla="*/ 759966 w 842535"/>
                  <a:gd name="connsiteY243" fmla="*/ 553346 h 951168"/>
                  <a:gd name="connsiteX244" fmla="*/ 753140 w 842535"/>
                  <a:gd name="connsiteY244" fmla="*/ 569259 h 951168"/>
                  <a:gd name="connsiteX245" fmla="*/ 750865 w 842535"/>
                  <a:gd name="connsiteY245" fmla="*/ 589718 h 951168"/>
                  <a:gd name="connsiteX246" fmla="*/ 748589 w 842535"/>
                  <a:gd name="connsiteY246" fmla="*/ 607904 h 951168"/>
                  <a:gd name="connsiteX247" fmla="*/ 739488 w 842535"/>
                  <a:gd name="connsiteY247" fmla="*/ 623817 h 951168"/>
                  <a:gd name="connsiteX248" fmla="*/ 732662 w 842535"/>
                  <a:gd name="connsiteY248" fmla="*/ 635184 h 951168"/>
                  <a:gd name="connsiteX249" fmla="*/ 730386 w 842535"/>
                  <a:gd name="connsiteY249" fmla="*/ 642003 h 951168"/>
                  <a:gd name="connsiteX250" fmla="*/ 728111 w 842535"/>
                  <a:gd name="connsiteY250" fmla="*/ 655643 h 951168"/>
                  <a:gd name="connsiteX251" fmla="*/ 728111 w 842535"/>
                  <a:gd name="connsiteY251" fmla="*/ 664736 h 951168"/>
                  <a:gd name="connsiteX252" fmla="*/ 716734 w 842535"/>
                  <a:gd name="connsiteY252" fmla="*/ 671556 h 951168"/>
                  <a:gd name="connsiteX253" fmla="*/ 709908 w 842535"/>
                  <a:gd name="connsiteY253" fmla="*/ 678376 h 951168"/>
                  <a:gd name="connsiteX254" fmla="*/ 709908 w 842535"/>
                  <a:gd name="connsiteY254" fmla="*/ 685196 h 951168"/>
                  <a:gd name="connsiteX255" fmla="*/ 709908 w 842535"/>
                  <a:gd name="connsiteY255" fmla="*/ 689742 h 951168"/>
                  <a:gd name="connsiteX256" fmla="*/ 696256 w 842535"/>
                  <a:gd name="connsiteY256" fmla="*/ 687469 h 951168"/>
                  <a:gd name="connsiteX257" fmla="*/ 689430 w 842535"/>
                  <a:gd name="connsiteY257" fmla="*/ 687469 h 951168"/>
                  <a:gd name="connsiteX258" fmla="*/ 687155 w 842535"/>
                  <a:gd name="connsiteY258" fmla="*/ 680649 h 951168"/>
                  <a:gd name="connsiteX259" fmla="*/ 684880 w 842535"/>
                  <a:gd name="connsiteY259" fmla="*/ 687469 h 951168"/>
                  <a:gd name="connsiteX260" fmla="*/ 668952 w 842535"/>
                  <a:gd name="connsiteY260" fmla="*/ 692015 h 951168"/>
                  <a:gd name="connsiteX261" fmla="*/ 675778 w 842535"/>
                  <a:gd name="connsiteY261" fmla="*/ 689742 h 951168"/>
                  <a:gd name="connsiteX262" fmla="*/ 666677 w 842535"/>
                  <a:gd name="connsiteY262" fmla="*/ 687469 h 951168"/>
                  <a:gd name="connsiteX263" fmla="*/ 659851 w 842535"/>
                  <a:gd name="connsiteY263" fmla="*/ 689742 h 951168"/>
                  <a:gd name="connsiteX264" fmla="*/ 653025 w 842535"/>
                  <a:gd name="connsiteY264" fmla="*/ 692015 h 951168"/>
                  <a:gd name="connsiteX265" fmla="*/ 657575 w 842535"/>
                  <a:gd name="connsiteY265" fmla="*/ 696562 h 951168"/>
                  <a:gd name="connsiteX266" fmla="*/ 648474 w 842535"/>
                  <a:gd name="connsiteY266" fmla="*/ 698835 h 951168"/>
                  <a:gd name="connsiteX267" fmla="*/ 641648 w 842535"/>
                  <a:gd name="connsiteY267" fmla="*/ 703382 h 951168"/>
                  <a:gd name="connsiteX268" fmla="*/ 639373 w 842535"/>
                  <a:gd name="connsiteY268" fmla="*/ 710202 h 951168"/>
                  <a:gd name="connsiteX269" fmla="*/ 627996 w 842535"/>
                  <a:gd name="connsiteY269" fmla="*/ 710202 h 951168"/>
                  <a:gd name="connsiteX270" fmla="*/ 623445 w 842535"/>
                  <a:gd name="connsiteY270" fmla="*/ 714748 h 951168"/>
                  <a:gd name="connsiteX271" fmla="*/ 618894 w 842535"/>
                  <a:gd name="connsiteY271" fmla="*/ 712475 h 951168"/>
                  <a:gd name="connsiteX272" fmla="*/ 614344 w 842535"/>
                  <a:gd name="connsiteY272" fmla="*/ 717021 h 951168"/>
                  <a:gd name="connsiteX273" fmla="*/ 605242 w 842535"/>
                  <a:gd name="connsiteY273" fmla="*/ 726114 h 951168"/>
                  <a:gd name="connsiteX274" fmla="*/ 596141 w 842535"/>
                  <a:gd name="connsiteY274" fmla="*/ 732934 h 951168"/>
                  <a:gd name="connsiteX275" fmla="*/ 589315 w 842535"/>
                  <a:gd name="connsiteY275" fmla="*/ 739754 h 951168"/>
                  <a:gd name="connsiteX276" fmla="*/ 591590 w 842535"/>
                  <a:gd name="connsiteY276" fmla="*/ 742027 h 951168"/>
                  <a:gd name="connsiteX277" fmla="*/ 584764 w 842535"/>
                  <a:gd name="connsiteY277" fmla="*/ 748847 h 951168"/>
                  <a:gd name="connsiteX278" fmla="*/ 587040 w 842535"/>
                  <a:gd name="connsiteY278" fmla="*/ 744301 h 951168"/>
                  <a:gd name="connsiteX279" fmla="*/ 580214 w 842535"/>
                  <a:gd name="connsiteY279" fmla="*/ 744301 h 951168"/>
                  <a:gd name="connsiteX280" fmla="*/ 575663 w 842535"/>
                  <a:gd name="connsiteY280" fmla="*/ 748847 h 951168"/>
                  <a:gd name="connsiteX281" fmla="*/ 582489 w 842535"/>
                  <a:gd name="connsiteY281" fmla="*/ 753394 h 951168"/>
                  <a:gd name="connsiteX282" fmla="*/ 580214 w 842535"/>
                  <a:gd name="connsiteY282" fmla="*/ 757940 h 951168"/>
                  <a:gd name="connsiteX283" fmla="*/ 575663 w 842535"/>
                  <a:gd name="connsiteY283" fmla="*/ 760214 h 951168"/>
                  <a:gd name="connsiteX284" fmla="*/ 580214 w 842535"/>
                  <a:gd name="connsiteY284" fmla="*/ 760214 h 951168"/>
                  <a:gd name="connsiteX285" fmla="*/ 580214 w 842535"/>
                  <a:gd name="connsiteY285" fmla="*/ 764760 h 951168"/>
                  <a:gd name="connsiteX286" fmla="*/ 575663 w 842535"/>
                  <a:gd name="connsiteY286" fmla="*/ 764760 h 951168"/>
                  <a:gd name="connsiteX287" fmla="*/ 577938 w 842535"/>
                  <a:gd name="connsiteY287" fmla="*/ 769307 h 951168"/>
                  <a:gd name="connsiteX288" fmla="*/ 580214 w 842535"/>
                  <a:gd name="connsiteY288" fmla="*/ 778400 h 951168"/>
                  <a:gd name="connsiteX289" fmla="*/ 582489 w 842535"/>
                  <a:gd name="connsiteY289" fmla="*/ 789766 h 951168"/>
                  <a:gd name="connsiteX290" fmla="*/ 582489 w 842535"/>
                  <a:gd name="connsiteY290" fmla="*/ 794313 h 951168"/>
                  <a:gd name="connsiteX291" fmla="*/ 584764 w 842535"/>
                  <a:gd name="connsiteY291" fmla="*/ 807952 h 951168"/>
                  <a:gd name="connsiteX292" fmla="*/ 584764 w 842535"/>
                  <a:gd name="connsiteY292" fmla="*/ 821592 h 951168"/>
                  <a:gd name="connsiteX293" fmla="*/ 580214 w 842535"/>
                  <a:gd name="connsiteY293" fmla="*/ 819319 h 951168"/>
                  <a:gd name="connsiteX294" fmla="*/ 584764 w 842535"/>
                  <a:gd name="connsiteY294" fmla="*/ 823865 h 951168"/>
                  <a:gd name="connsiteX295" fmla="*/ 575663 w 842535"/>
                  <a:gd name="connsiteY295" fmla="*/ 832958 h 951168"/>
                  <a:gd name="connsiteX296" fmla="*/ 568837 w 842535"/>
                  <a:gd name="connsiteY296" fmla="*/ 842051 h 951168"/>
                  <a:gd name="connsiteX297" fmla="*/ 559735 w 842535"/>
                  <a:gd name="connsiteY297" fmla="*/ 869330 h 951168"/>
                  <a:gd name="connsiteX298" fmla="*/ 548359 w 842535"/>
                  <a:gd name="connsiteY298" fmla="*/ 894336 h 951168"/>
                  <a:gd name="connsiteX299" fmla="*/ 530156 w 842535"/>
                  <a:gd name="connsiteY299" fmla="*/ 912523 h 951168"/>
                  <a:gd name="connsiteX300" fmla="*/ 529831 w 842535"/>
                  <a:gd name="connsiteY300" fmla="*/ 911223 h 951168"/>
                  <a:gd name="connsiteX301" fmla="*/ 530156 w 842535"/>
                  <a:gd name="connsiteY301" fmla="*/ 910249 h 951168"/>
                  <a:gd name="connsiteX302" fmla="*/ 529557 w 842535"/>
                  <a:gd name="connsiteY302" fmla="*/ 910130 h 951168"/>
                  <a:gd name="connsiteX303" fmla="*/ 527881 w 842535"/>
                  <a:gd name="connsiteY303" fmla="*/ 903429 h 951168"/>
                  <a:gd name="connsiteX304" fmla="*/ 534707 w 842535"/>
                  <a:gd name="connsiteY304" fmla="*/ 903429 h 951168"/>
                  <a:gd name="connsiteX305" fmla="*/ 541533 w 842535"/>
                  <a:gd name="connsiteY305" fmla="*/ 896610 h 951168"/>
                  <a:gd name="connsiteX306" fmla="*/ 546083 w 842535"/>
                  <a:gd name="connsiteY306" fmla="*/ 889790 h 951168"/>
                  <a:gd name="connsiteX307" fmla="*/ 548359 w 842535"/>
                  <a:gd name="connsiteY307" fmla="*/ 887517 h 951168"/>
                  <a:gd name="connsiteX308" fmla="*/ 550634 w 842535"/>
                  <a:gd name="connsiteY308" fmla="*/ 880697 h 951168"/>
                  <a:gd name="connsiteX309" fmla="*/ 552909 w 842535"/>
                  <a:gd name="connsiteY309" fmla="*/ 873877 h 951168"/>
                  <a:gd name="connsiteX310" fmla="*/ 552909 w 842535"/>
                  <a:gd name="connsiteY310" fmla="*/ 871604 h 951168"/>
                  <a:gd name="connsiteX311" fmla="*/ 550634 w 842535"/>
                  <a:gd name="connsiteY311" fmla="*/ 864784 h 951168"/>
                  <a:gd name="connsiteX312" fmla="*/ 546083 w 842535"/>
                  <a:gd name="connsiteY312" fmla="*/ 869330 h 951168"/>
                  <a:gd name="connsiteX313" fmla="*/ 541533 w 842535"/>
                  <a:gd name="connsiteY313" fmla="*/ 867057 h 951168"/>
                  <a:gd name="connsiteX314" fmla="*/ 536982 w 842535"/>
                  <a:gd name="connsiteY314" fmla="*/ 860237 h 951168"/>
                  <a:gd name="connsiteX315" fmla="*/ 541533 w 842535"/>
                  <a:gd name="connsiteY315" fmla="*/ 869330 h 951168"/>
                  <a:gd name="connsiteX316" fmla="*/ 539257 w 842535"/>
                  <a:gd name="connsiteY316" fmla="*/ 878424 h 951168"/>
                  <a:gd name="connsiteX317" fmla="*/ 539257 w 842535"/>
                  <a:gd name="connsiteY317" fmla="*/ 880697 h 951168"/>
                  <a:gd name="connsiteX318" fmla="*/ 536982 w 842535"/>
                  <a:gd name="connsiteY318" fmla="*/ 882970 h 951168"/>
                  <a:gd name="connsiteX319" fmla="*/ 530156 w 842535"/>
                  <a:gd name="connsiteY319" fmla="*/ 892063 h 951168"/>
                  <a:gd name="connsiteX320" fmla="*/ 527881 w 842535"/>
                  <a:gd name="connsiteY320" fmla="*/ 898883 h 951168"/>
                  <a:gd name="connsiteX321" fmla="*/ 527881 w 842535"/>
                  <a:gd name="connsiteY321" fmla="*/ 905703 h 951168"/>
                  <a:gd name="connsiteX322" fmla="*/ 527312 w 842535"/>
                  <a:gd name="connsiteY322" fmla="*/ 909681 h 951168"/>
                  <a:gd name="connsiteX323" fmla="*/ 529557 w 842535"/>
                  <a:gd name="connsiteY323" fmla="*/ 910130 h 951168"/>
                  <a:gd name="connsiteX324" fmla="*/ 529831 w 842535"/>
                  <a:gd name="connsiteY324" fmla="*/ 911223 h 951168"/>
                  <a:gd name="connsiteX325" fmla="*/ 527881 w 842535"/>
                  <a:gd name="connsiteY325" fmla="*/ 917069 h 951168"/>
                  <a:gd name="connsiteX326" fmla="*/ 525605 w 842535"/>
                  <a:gd name="connsiteY326" fmla="*/ 928435 h 951168"/>
                  <a:gd name="connsiteX327" fmla="*/ 514229 w 842535"/>
                  <a:gd name="connsiteY327" fmla="*/ 946622 h 951168"/>
                  <a:gd name="connsiteX328" fmla="*/ 509678 w 842535"/>
                  <a:gd name="connsiteY328" fmla="*/ 951168 h 951168"/>
                  <a:gd name="connsiteX329" fmla="*/ 507402 w 842535"/>
                  <a:gd name="connsiteY329" fmla="*/ 944348 h 951168"/>
                  <a:gd name="connsiteX330" fmla="*/ 505127 w 842535"/>
                  <a:gd name="connsiteY330" fmla="*/ 937529 h 951168"/>
                  <a:gd name="connsiteX331" fmla="*/ 509678 w 842535"/>
                  <a:gd name="connsiteY331" fmla="*/ 928435 h 951168"/>
                  <a:gd name="connsiteX332" fmla="*/ 505127 w 842535"/>
                  <a:gd name="connsiteY332" fmla="*/ 921616 h 951168"/>
                  <a:gd name="connsiteX333" fmla="*/ 498301 w 842535"/>
                  <a:gd name="connsiteY333" fmla="*/ 914796 h 951168"/>
                  <a:gd name="connsiteX334" fmla="*/ 482374 w 842535"/>
                  <a:gd name="connsiteY334" fmla="*/ 903429 h 951168"/>
                  <a:gd name="connsiteX335" fmla="*/ 468722 w 842535"/>
                  <a:gd name="connsiteY335" fmla="*/ 894336 h 951168"/>
                  <a:gd name="connsiteX336" fmla="*/ 466446 w 842535"/>
                  <a:gd name="connsiteY336" fmla="*/ 892063 h 951168"/>
                  <a:gd name="connsiteX337" fmla="*/ 450519 w 842535"/>
                  <a:gd name="connsiteY337" fmla="*/ 880697 h 951168"/>
                  <a:gd name="connsiteX338" fmla="*/ 443693 w 842535"/>
                  <a:gd name="connsiteY338" fmla="*/ 882970 h 951168"/>
                  <a:gd name="connsiteX339" fmla="*/ 432316 w 842535"/>
                  <a:gd name="connsiteY339" fmla="*/ 869330 h 951168"/>
                  <a:gd name="connsiteX340" fmla="*/ 418664 w 842535"/>
                  <a:gd name="connsiteY340" fmla="*/ 862511 h 951168"/>
                  <a:gd name="connsiteX341" fmla="*/ 414113 w 842535"/>
                  <a:gd name="connsiteY341" fmla="*/ 867057 h 951168"/>
                  <a:gd name="connsiteX342" fmla="*/ 407287 w 842535"/>
                  <a:gd name="connsiteY342" fmla="*/ 864784 h 951168"/>
                  <a:gd name="connsiteX343" fmla="*/ 414113 w 842535"/>
                  <a:gd name="connsiteY343" fmla="*/ 853418 h 951168"/>
                  <a:gd name="connsiteX344" fmla="*/ 423215 w 842535"/>
                  <a:gd name="connsiteY344" fmla="*/ 842051 h 951168"/>
                  <a:gd name="connsiteX345" fmla="*/ 432316 w 842535"/>
                  <a:gd name="connsiteY345" fmla="*/ 826138 h 951168"/>
                  <a:gd name="connsiteX346" fmla="*/ 439142 w 842535"/>
                  <a:gd name="connsiteY346" fmla="*/ 821592 h 951168"/>
                  <a:gd name="connsiteX347" fmla="*/ 436867 w 842535"/>
                  <a:gd name="connsiteY347" fmla="*/ 817045 h 951168"/>
                  <a:gd name="connsiteX348" fmla="*/ 445968 w 842535"/>
                  <a:gd name="connsiteY348" fmla="*/ 807952 h 951168"/>
                  <a:gd name="connsiteX349" fmla="*/ 455069 w 842535"/>
                  <a:gd name="connsiteY349" fmla="*/ 801132 h 951168"/>
                  <a:gd name="connsiteX350" fmla="*/ 464171 w 842535"/>
                  <a:gd name="connsiteY350" fmla="*/ 796586 h 951168"/>
                  <a:gd name="connsiteX351" fmla="*/ 473272 w 842535"/>
                  <a:gd name="connsiteY351" fmla="*/ 792039 h 951168"/>
                  <a:gd name="connsiteX352" fmla="*/ 473272 w 842535"/>
                  <a:gd name="connsiteY352" fmla="*/ 776126 h 951168"/>
                  <a:gd name="connsiteX353" fmla="*/ 470997 w 842535"/>
                  <a:gd name="connsiteY353" fmla="*/ 762487 h 951168"/>
                  <a:gd name="connsiteX354" fmla="*/ 464171 w 842535"/>
                  <a:gd name="connsiteY354" fmla="*/ 751120 h 951168"/>
                  <a:gd name="connsiteX355" fmla="*/ 457345 w 842535"/>
                  <a:gd name="connsiteY355" fmla="*/ 753394 h 951168"/>
                  <a:gd name="connsiteX356" fmla="*/ 452794 w 842535"/>
                  <a:gd name="connsiteY356" fmla="*/ 753394 h 951168"/>
                  <a:gd name="connsiteX357" fmla="*/ 450519 w 842535"/>
                  <a:gd name="connsiteY357" fmla="*/ 748847 h 951168"/>
                  <a:gd name="connsiteX358" fmla="*/ 452794 w 842535"/>
                  <a:gd name="connsiteY358" fmla="*/ 735208 h 951168"/>
                  <a:gd name="connsiteX359" fmla="*/ 455069 w 842535"/>
                  <a:gd name="connsiteY359" fmla="*/ 723841 h 951168"/>
                  <a:gd name="connsiteX360" fmla="*/ 455069 w 842535"/>
                  <a:gd name="connsiteY360" fmla="*/ 714748 h 951168"/>
                  <a:gd name="connsiteX361" fmla="*/ 448243 w 842535"/>
                  <a:gd name="connsiteY361" fmla="*/ 710202 h 951168"/>
                  <a:gd name="connsiteX362" fmla="*/ 439142 w 842535"/>
                  <a:gd name="connsiteY362" fmla="*/ 712475 h 951168"/>
                  <a:gd name="connsiteX363" fmla="*/ 427765 w 842535"/>
                  <a:gd name="connsiteY363" fmla="*/ 701108 h 951168"/>
                  <a:gd name="connsiteX364" fmla="*/ 423215 w 842535"/>
                  <a:gd name="connsiteY364" fmla="*/ 689742 h 951168"/>
                  <a:gd name="connsiteX365" fmla="*/ 414113 w 842535"/>
                  <a:gd name="connsiteY365" fmla="*/ 673829 h 951168"/>
                  <a:gd name="connsiteX366" fmla="*/ 405012 w 842535"/>
                  <a:gd name="connsiteY366" fmla="*/ 669283 h 951168"/>
                  <a:gd name="connsiteX367" fmla="*/ 398186 w 842535"/>
                  <a:gd name="connsiteY367" fmla="*/ 673829 h 951168"/>
                  <a:gd name="connsiteX368" fmla="*/ 391360 w 842535"/>
                  <a:gd name="connsiteY368" fmla="*/ 671556 h 951168"/>
                  <a:gd name="connsiteX369" fmla="*/ 379983 w 842535"/>
                  <a:gd name="connsiteY369" fmla="*/ 669283 h 951168"/>
                  <a:gd name="connsiteX370" fmla="*/ 370882 w 842535"/>
                  <a:gd name="connsiteY370" fmla="*/ 667009 h 951168"/>
                  <a:gd name="connsiteX371" fmla="*/ 370882 w 842535"/>
                  <a:gd name="connsiteY371" fmla="*/ 660190 h 951168"/>
                  <a:gd name="connsiteX372" fmla="*/ 370882 w 842535"/>
                  <a:gd name="connsiteY372" fmla="*/ 651097 h 951168"/>
                  <a:gd name="connsiteX373" fmla="*/ 370882 w 842535"/>
                  <a:gd name="connsiteY373" fmla="*/ 639730 h 951168"/>
                  <a:gd name="connsiteX374" fmla="*/ 368606 w 842535"/>
                  <a:gd name="connsiteY374" fmla="*/ 632910 h 951168"/>
                  <a:gd name="connsiteX375" fmla="*/ 364056 w 842535"/>
                  <a:gd name="connsiteY375" fmla="*/ 623817 h 951168"/>
                  <a:gd name="connsiteX376" fmla="*/ 366331 w 842535"/>
                  <a:gd name="connsiteY376" fmla="*/ 612451 h 951168"/>
                  <a:gd name="connsiteX377" fmla="*/ 366331 w 842535"/>
                  <a:gd name="connsiteY377" fmla="*/ 598811 h 951168"/>
                  <a:gd name="connsiteX378" fmla="*/ 368606 w 842535"/>
                  <a:gd name="connsiteY378" fmla="*/ 589718 h 951168"/>
                  <a:gd name="connsiteX379" fmla="*/ 368606 w 842535"/>
                  <a:gd name="connsiteY379" fmla="*/ 580625 h 951168"/>
                  <a:gd name="connsiteX380" fmla="*/ 366331 w 842535"/>
                  <a:gd name="connsiteY380" fmla="*/ 564712 h 951168"/>
                  <a:gd name="connsiteX381" fmla="*/ 361780 w 842535"/>
                  <a:gd name="connsiteY381" fmla="*/ 555619 h 951168"/>
                  <a:gd name="connsiteX382" fmla="*/ 350403 w 842535"/>
                  <a:gd name="connsiteY382" fmla="*/ 546526 h 951168"/>
                  <a:gd name="connsiteX383" fmla="*/ 348128 w 842535"/>
                  <a:gd name="connsiteY383" fmla="*/ 535160 h 951168"/>
                  <a:gd name="connsiteX384" fmla="*/ 350403 w 842535"/>
                  <a:gd name="connsiteY384" fmla="*/ 526067 h 951168"/>
                  <a:gd name="connsiteX385" fmla="*/ 329925 w 842535"/>
                  <a:gd name="connsiteY385" fmla="*/ 526067 h 951168"/>
                  <a:gd name="connsiteX386" fmla="*/ 311723 w 842535"/>
                  <a:gd name="connsiteY386" fmla="*/ 523793 h 951168"/>
                  <a:gd name="connsiteX387" fmla="*/ 307172 w 842535"/>
                  <a:gd name="connsiteY387" fmla="*/ 510154 h 951168"/>
                  <a:gd name="connsiteX388" fmla="*/ 300346 w 842535"/>
                  <a:gd name="connsiteY388" fmla="*/ 496514 h 951168"/>
                  <a:gd name="connsiteX389" fmla="*/ 307172 w 842535"/>
                  <a:gd name="connsiteY389" fmla="*/ 496514 h 951168"/>
                  <a:gd name="connsiteX390" fmla="*/ 300346 w 842535"/>
                  <a:gd name="connsiteY390" fmla="*/ 478328 h 951168"/>
                  <a:gd name="connsiteX391" fmla="*/ 300346 w 842535"/>
                  <a:gd name="connsiteY391" fmla="*/ 473782 h 951168"/>
                  <a:gd name="connsiteX392" fmla="*/ 298070 w 842535"/>
                  <a:gd name="connsiteY392" fmla="*/ 464688 h 951168"/>
                  <a:gd name="connsiteX393" fmla="*/ 282143 w 842535"/>
                  <a:gd name="connsiteY393" fmla="*/ 457869 h 951168"/>
                  <a:gd name="connsiteX394" fmla="*/ 270766 w 842535"/>
                  <a:gd name="connsiteY394" fmla="*/ 457869 h 951168"/>
                  <a:gd name="connsiteX395" fmla="*/ 261665 w 842535"/>
                  <a:gd name="connsiteY395" fmla="*/ 451049 h 951168"/>
                  <a:gd name="connsiteX396" fmla="*/ 257114 w 842535"/>
                  <a:gd name="connsiteY396" fmla="*/ 448776 h 951168"/>
                  <a:gd name="connsiteX397" fmla="*/ 250288 w 842535"/>
                  <a:gd name="connsiteY397" fmla="*/ 444229 h 951168"/>
                  <a:gd name="connsiteX398" fmla="*/ 248013 w 842535"/>
                  <a:gd name="connsiteY398" fmla="*/ 444229 h 951168"/>
                  <a:gd name="connsiteX399" fmla="*/ 241187 w 842535"/>
                  <a:gd name="connsiteY399" fmla="*/ 437409 h 951168"/>
                  <a:gd name="connsiteX400" fmla="*/ 236636 w 842535"/>
                  <a:gd name="connsiteY400" fmla="*/ 437409 h 951168"/>
                  <a:gd name="connsiteX401" fmla="*/ 232085 w 842535"/>
                  <a:gd name="connsiteY401" fmla="*/ 435136 h 951168"/>
                  <a:gd name="connsiteX402" fmla="*/ 218433 w 842535"/>
                  <a:gd name="connsiteY402" fmla="*/ 432862 h 951168"/>
                  <a:gd name="connsiteX403" fmla="*/ 209332 w 842535"/>
                  <a:gd name="connsiteY403" fmla="*/ 428316 h 951168"/>
                  <a:gd name="connsiteX404" fmla="*/ 200231 w 842535"/>
                  <a:gd name="connsiteY404" fmla="*/ 421496 h 951168"/>
                  <a:gd name="connsiteX405" fmla="*/ 197955 w 842535"/>
                  <a:gd name="connsiteY405" fmla="*/ 416949 h 951168"/>
                  <a:gd name="connsiteX406" fmla="*/ 193404 w 842535"/>
                  <a:gd name="connsiteY406" fmla="*/ 412403 h 951168"/>
                  <a:gd name="connsiteX407" fmla="*/ 188854 w 842535"/>
                  <a:gd name="connsiteY407" fmla="*/ 401037 h 951168"/>
                  <a:gd name="connsiteX408" fmla="*/ 191129 w 842535"/>
                  <a:gd name="connsiteY408" fmla="*/ 394217 h 951168"/>
                  <a:gd name="connsiteX409" fmla="*/ 188854 w 842535"/>
                  <a:gd name="connsiteY409" fmla="*/ 389670 h 951168"/>
                  <a:gd name="connsiteX410" fmla="*/ 186578 w 842535"/>
                  <a:gd name="connsiteY410" fmla="*/ 385124 h 951168"/>
                  <a:gd name="connsiteX411" fmla="*/ 188854 w 842535"/>
                  <a:gd name="connsiteY411" fmla="*/ 378304 h 951168"/>
                  <a:gd name="connsiteX412" fmla="*/ 186578 w 842535"/>
                  <a:gd name="connsiteY412" fmla="*/ 364664 h 951168"/>
                  <a:gd name="connsiteX413" fmla="*/ 182028 w 842535"/>
                  <a:gd name="connsiteY413" fmla="*/ 366938 h 951168"/>
                  <a:gd name="connsiteX414" fmla="*/ 172926 w 842535"/>
                  <a:gd name="connsiteY414" fmla="*/ 366938 h 951168"/>
                  <a:gd name="connsiteX415" fmla="*/ 156999 w 842535"/>
                  <a:gd name="connsiteY415" fmla="*/ 371484 h 951168"/>
                  <a:gd name="connsiteX416" fmla="*/ 145622 w 842535"/>
                  <a:gd name="connsiteY416" fmla="*/ 380577 h 951168"/>
                  <a:gd name="connsiteX417" fmla="*/ 141071 w 842535"/>
                  <a:gd name="connsiteY417" fmla="*/ 387397 h 951168"/>
                  <a:gd name="connsiteX418" fmla="*/ 134245 w 842535"/>
                  <a:gd name="connsiteY418" fmla="*/ 387397 h 951168"/>
                  <a:gd name="connsiteX419" fmla="*/ 129695 w 842535"/>
                  <a:gd name="connsiteY419" fmla="*/ 391944 h 951168"/>
                  <a:gd name="connsiteX420" fmla="*/ 122869 w 842535"/>
                  <a:gd name="connsiteY420" fmla="*/ 398763 h 951168"/>
                  <a:gd name="connsiteX421" fmla="*/ 116043 w 842535"/>
                  <a:gd name="connsiteY421" fmla="*/ 396490 h 951168"/>
                  <a:gd name="connsiteX422" fmla="*/ 111492 w 842535"/>
                  <a:gd name="connsiteY422" fmla="*/ 396490 h 951168"/>
                  <a:gd name="connsiteX423" fmla="*/ 91014 w 842535"/>
                  <a:gd name="connsiteY423" fmla="*/ 394217 h 951168"/>
                  <a:gd name="connsiteX424" fmla="*/ 81912 w 842535"/>
                  <a:gd name="connsiteY424" fmla="*/ 398763 h 951168"/>
                  <a:gd name="connsiteX425" fmla="*/ 77362 w 842535"/>
                  <a:gd name="connsiteY425" fmla="*/ 396490 h 951168"/>
                  <a:gd name="connsiteX426" fmla="*/ 75086 w 842535"/>
                  <a:gd name="connsiteY426" fmla="*/ 373757 h 951168"/>
                  <a:gd name="connsiteX427" fmla="*/ 77362 w 842535"/>
                  <a:gd name="connsiteY427" fmla="*/ 364664 h 951168"/>
                  <a:gd name="connsiteX428" fmla="*/ 75086 w 842535"/>
                  <a:gd name="connsiteY428" fmla="*/ 362391 h 951168"/>
                  <a:gd name="connsiteX429" fmla="*/ 77362 w 842535"/>
                  <a:gd name="connsiteY429" fmla="*/ 357844 h 951168"/>
                  <a:gd name="connsiteX430" fmla="*/ 63710 w 842535"/>
                  <a:gd name="connsiteY430" fmla="*/ 369211 h 951168"/>
                  <a:gd name="connsiteX431" fmla="*/ 40956 w 842535"/>
                  <a:gd name="connsiteY431" fmla="*/ 371484 h 951168"/>
                  <a:gd name="connsiteX432" fmla="*/ 36405 w 842535"/>
                  <a:gd name="connsiteY432" fmla="*/ 360118 h 951168"/>
                  <a:gd name="connsiteX433" fmla="*/ 18203 w 842535"/>
                  <a:gd name="connsiteY433" fmla="*/ 357844 h 951168"/>
                  <a:gd name="connsiteX434" fmla="*/ 15927 w 842535"/>
                  <a:gd name="connsiteY434" fmla="*/ 339658 h 951168"/>
                  <a:gd name="connsiteX435" fmla="*/ 13652 w 842535"/>
                  <a:gd name="connsiteY435" fmla="*/ 335112 h 951168"/>
                  <a:gd name="connsiteX436" fmla="*/ 11377 w 842535"/>
                  <a:gd name="connsiteY436" fmla="*/ 332839 h 951168"/>
                  <a:gd name="connsiteX437" fmla="*/ 4551 w 842535"/>
                  <a:gd name="connsiteY437" fmla="*/ 321472 h 951168"/>
                  <a:gd name="connsiteX438" fmla="*/ 0 w 842535"/>
                  <a:gd name="connsiteY438" fmla="*/ 312379 h 951168"/>
                  <a:gd name="connsiteX439" fmla="*/ 4551 w 842535"/>
                  <a:gd name="connsiteY439" fmla="*/ 307833 h 951168"/>
                  <a:gd name="connsiteX440" fmla="*/ 4551 w 842535"/>
                  <a:gd name="connsiteY440" fmla="*/ 298739 h 951168"/>
                  <a:gd name="connsiteX441" fmla="*/ 15927 w 842535"/>
                  <a:gd name="connsiteY441" fmla="*/ 287373 h 951168"/>
                  <a:gd name="connsiteX442" fmla="*/ 15927 w 842535"/>
                  <a:gd name="connsiteY442" fmla="*/ 278280 h 951168"/>
                  <a:gd name="connsiteX443" fmla="*/ 18203 w 842535"/>
                  <a:gd name="connsiteY443" fmla="*/ 269187 h 951168"/>
                  <a:gd name="connsiteX444" fmla="*/ 20478 w 842535"/>
                  <a:gd name="connsiteY444" fmla="*/ 253274 h 951168"/>
                  <a:gd name="connsiteX445" fmla="*/ 29579 w 842535"/>
                  <a:gd name="connsiteY445" fmla="*/ 248728 h 951168"/>
                  <a:gd name="connsiteX446" fmla="*/ 34130 w 842535"/>
                  <a:gd name="connsiteY446" fmla="*/ 244181 h 951168"/>
                  <a:gd name="connsiteX447" fmla="*/ 43232 w 842535"/>
                  <a:gd name="connsiteY447" fmla="*/ 237361 h 951168"/>
                  <a:gd name="connsiteX448" fmla="*/ 52333 w 842535"/>
                  <a:gd name="connsiteY448" fmla="*/ 237361 h 951168"/>
                  <a:gd name="connsiteX449" fmla="*/ 63710 w 842535"/>
                  <a:gd name="connsiteY449" fmla="*/ 232815 h 951168"/>
                  <a:gd name="connsiteX450" fmla="*/ 68260 w 842535"/>
                  <a:gd name="connsiteY450" fmla="*/ 228268 h 951168"/>
                  <a:gd name="connsiteX451" fmla="*/ 72811 w 842535"/>
                  <a:gd name="connsiteY451" fmla="*/ 230541 h 951168"/>
                  <a:gd name="connsiteX452" fmla="*/ 77362 w 842535"/>
                  <a:gd name="connsiteY452" fmla="*/ 235088 h 951168"/>
                  <a:gd name="connsiteX453" fmla="*/ 79637 w 842535"/>
                  <a:gd name="connsiteY453" fmla="*/ 232815 h 951168"/>
                  <a:gd name="connsiteX454" fmla="*/ 84188 w 842535"/>
                  <a:gd name="connsiteY454" fmla="*/ 225995 h 951168"/>
                  <a:gd name="connsiteX455" fmla="*/ 88738 w 842535"/>
                  <a:gd name="connsiteY455" fmla="*/ 200989 h 951168"/>
                  <a:gd name="connsiteX456" fmla="*/ 91014 w 842535"/>
                  <a:gd name="connsiteY456" fmla="*/ 169163 h 951168"/>
                  <a:gd name="connsiteX457" fmla="*/ 93289 w 842535"/>
                  <a:gd name="connsiteY457" fmla="*/ 157797 h 951168"/>
                  <a:gd name="connsiteX458" fmla="*/ 88738 w 842535"/>
                  <a:gd name="connsiteY458" fmla="*/ 146430 h 951168"/>
                  <a:gd name="connsiteX459" fmla="*/ 84188 w 842535"/>
                  <a:gd name="connsiteY459" fmla="*/ 137337 h 951168"/>
                  <a:gd name="connsiteX460" fmla="*/ 79637 w 842535"/>
                  <a:gd name="connsiteY460" fmla="*/ 123698 h 951168"/>
                  <a:gd name="connsiteX461" fmla="*/ 79637 w 842535"/>
                  <a:gd name="connsiteY461" fmla="*/ 114605 h 951168"/>
                  <a:gd name="connsiteX462" fmla="*/ 95565 w 842535"/>
                  <a:gd name="connsiteY462" fmla="*/ 112331 h 951168"/>
                  <a:gd name="connsiteX463" fmla="*/ 97840 w 842535"/>
                  <a:gd name="connsiteY463" fmla="*/ 107785 h 951168"/>
                  <a:gd name="connsiteX464" fmla="*/ 84188 w 842535"/>
                  <a:gd name="connsiteY464" fmla="*/ 103238 h 951168"/>
                  <a:gd name="connsiteX465" fmla="*/ 84188 w 842535"/>
                  <a:gd name="connsiteY465" fmla="*/ 87325 h 951168"/>
                  <a:gd name="connsiteX466" fmla="*/ 95565 w 842535"/>
                  <a:gd name="connsiteY466" fmla="*/ 85052 h 951168"/>
                  <a:gd name="connsiteX467" fmla="*/ 113767 w 842535"/>
                  <a:gd name="connsiteY467" fmla="*/ 87325 h 951168"/>
                  <a:gd name="connsiteX468" fmla="*/ 118318 w 842535"/>
                  <a:gd name="connsiteY468" fmla="*/ 85052 h 951168"/>
                  <a:gd name="connsiteX469" fmla="*/ 118318 w 842535"/>
                  <a:gd name="connsiteY469" fmla="*/ 80506 h 951168"/>
                  <a:gd name="connsiteX470" fmla="*/ 125144 w 842535"/>
                  <a:gd name="connsiteY470" fmla="*/ 85052 h 951168"/>
                  <a:gd name="connsiteX471" fmla="*/ 134245 w 842535"/>
                  <a:gd name="connsiteY471" fmla="*/ 78232 h 951168"/>
                  <a:gd name="connsiteX472" fmla="*/ 141071 w 842535"/>
                  <a:gd name="connsiteY472" fmla="*/ 82779 h 951168"/>
                  <a:gd name="connsiteX473" fmla="*/ 143347 w 842535"/>
                  <a:gd name="connsiteY473" fmla="*/ 96418 h 951168"/>
                  <a:gd name="connsiteX474" fmla="*/ 145622 w 842535"/>
                  <a:gd name="connsiteY474" fmla="*/ 98692 h 951168"/>
                  <a:gd name="connsiteX475" fmla="*/ 150173 w 842535"/>
                  <a:gd name="connsiteY475" fmla="*/ 98692 h 951168"/>
                  <a:gd name="connsiteX476" fmla="*/ 159274 w 842535"/>
                  <a:gd name="connsiteY476" fmla="*/ 107785 h 951168"/>
                  <a:gd name="connsiteX477" fmla="*/ 172926 w 842535"/>
                  <a:gd name="connsiteY477" fmla="*/ 105512 h 951168"/>
                  <a:gd name="connsiteX478" fmla="*/ 177477 w 842535"/>
                  <a:gd name="connsiteY478" fmla="*/ 112331 h 951168"/>
                  <a:gd name="connsiteX479" fmla="*/ 184303 w 842535"/>
                  <a:gd name="connsiteY479" fmla="*/ 105512 h 951168"/>
                  <a:gd name="connsiteX480" fmla="*/ 191129 w 842535"/>
                  <a:gd name="connsiteY480" fmla="*/ 98692 h 951168"/>
                  <a:gd name="connsiteX481" fmla="*/ 197955 w 842535"/>
                  <a:gd name="connsiteY481" fmla="*/ 94145 h 951168"/>
                  <a:gd name="connsiteX482" fmla="*/ 202506 w 842535"/>
                  <a:gd name="connsiteY482" fmla="*/ 94145 h 951168"/>
                  <a:gd name="connsiteX483" fmla="*/ 209332 w 842535"/>
                  <a:gd name="connsiteY483" fmla="*/ 85052 h 951168"/>
                  <a:gd name="connsiteX484" fmla="*/ 213883 w 842535"/>
                  <a:gd name="connsiteY484" fmla="*/ 80506 h 951168"/>
                  <a:gd name="connsiteX485" fmla="*/ 222984 w 842535"/>
                  <a:gd name="connsiteY485" fmla="*/ 75959 h 951168"/>
                  <a:gd name="connsiteX486" fmla="*/ 218433 w 842535"/>
                  <a:gd name="connsiteY486" fmla="*/ 69139 h 951168"/>
                  <a:gd name="connsiteX487" fmla="*/ 211607 w 842535"/>
                  <a:gd name="connsiteY487" fmla="*/ 66866 h 951168"/>
                  <a:gd name="connsiteX488" fmla="*/ 211607 w 842535"/>
                  <a:gd name="connsiteY488" fmla="*/ 62319 h 951168"/>
                  <a:gd name="connsiteX489" fmla="*/ 207057 w 842535"/>
                  <a:gd name="connsiteY489" fmla="*/ 44133 h 951168"/>
                  <a:gd name="connsiteX490" fmla="*/ 200231 w 842535"/>
                  <a:gd name="connsiteY490" fmla="*/ 35040 h 951168"/>
                  <a:gd name="connsiteX491" fmla="*/ 195680 w 842535"/>
                  <a:gd name="connsiteY491" fmla="*/ 23674 h 951168"/>
                  <a:gd name="connsiteX492" fmla="*/ 200231 w 842535"/>
                  <a:gd name="connsiteY492" fmla="*/ 28220 h 951168"/>
                  <a:gd name="connsiteX493" fmla="*/ 209332 w 842535"/>
                  <a:gd name="connsiteY493" fmla="*/ 30494 h 951168"/>
                  <a:gd name="connsiteX494" fmla="*/ 213883 w 842535"/>
                  <a:gd name="connsiteY494" fmla="*/ 32767 h 951168"/>
                  <a:gd name="connsiteX495" fmla="*/ 222984 w 842535"/>
                  <a:gd name="connsiteY495" fmla="*/ 32767 h 951168"/>
                  <a:gd name="connsiteX496" fmla="*/ 236636 w 842535"/>
                  <a:gd name="connsiteY496" fmla="*/ 41860 h 951168"/>
                  <a:gd name="connsiteX497" fmla="*/ 238911 w 842535"/>
                  <a:gd name="connsiteY497" fmla="*/ 30494 h 951168"/>
                  <a:gd name="connsiteX498" fmla="*/ 243462 w 842535"/>
                  <a:gd name="connsiteY498" fmla="*/ 28220 h 951168"/>
                  <a:gd name="connsiteX499" fmla="*/ 252564 w 842535"/>
                  <a:gd name="connsiteY499" fmla="*/ 28220 h 951168"/>
                  <a:gd name="connsiteX500" fmla="*/ 266216 w 842535"/>
                  <a:gd name="connsiteY500" fmla="*/ 21401 h 951168"/>
                  <a:gd name="connsiteX501" fmla="*/ 270766 w 842535"/>
                  <a:gd name="connsiteY501" fmla="*/ 16854 h 951168"/>
                  <a:gd name="connsiteX502" fmla="*/ 277592 w 842535"/>
                  <a:gd name="connsiteY502" fmla="*/ 16854 h 951168"/>
                  <a:gd name="connsiteX503" fmla="*/ 282143 w 842535"/>
                  <a:gd name="connsiteY503" fmla="*/ 941 h 9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Lst>
                <a:rect l="l" t="t" r="r" b="b"/>
                <a:pathLst>
                  <a:path w="842535" h="951168">
                    <a:moveTo>
                      <a:pt x="580430" y="766621"/>
                    </a:moveTo>
                    <a:cubicBezTo>
                      <a:pt x="582216" y="769002"/>
                      <a:pt x="582216" y="771384"/>
                      <a:pt x="580430" y="773765"/>
                    </a:cubicBezTo>
                    <a:cubicBezTo>
                      <a:pt x="580430" y="773765"/>
                      <a:pt x="580430" y="773765"/>
                      <a:pt x="578644" y="771384"/>
                    </a:cubicBezTo>
                    <a:cubicBezTo>
                      <a:pt x="578644" y="769002"/>
                      <a:pt x="580430" y="766621"/>
                      <a:pt x="580430" y="766621"/>
                    </a:cubicBezTo>
                    <a:close/>
                    <a:moveTo>
                      <a:pt x="644129" y="708281"/>
                    </a:moveTo>
                    <a:cubicBezTo>
                      <a:pt x="644129" y="710663"/>
                      <a:pt x="644129" y="710663"/>
                      <a:pt x="644129" y="713044"/>
                    </a:cubicBezTo>
                    <a:cubicBezTo>
                      <a:pt x="644129" y="713044"/>
                      <a:pt x="641747" y="713044"/>
                      <a:pt x="639366" y="713044"/>
                    </a:cubicBezTo>
                    <a:cubicBezTo>
                      <a:pt x="641747" y="710663"/>
                      <a:pt x="641747" y="708281"/>
                      <a:pt x="644129" y="708281"/>
                    </a:cubicBezTo>
                    <a:close/>
                    <a:moveTo>
                      <a:pt x="561975" y="141543"/>
                    </a:moveTo>
                    <a:cubicBezTo>
                      <a:pt x="561975" y="141543"/>
                      <a:pt x="564356" y="146306"/>
                      <a:pt x="561975" y="143924"/>
                    </a:cubicBezTo>
                    <a:cubicBezTo>
                      <a:pt x="561975" y="143924"/>
                      <a:pt x="561975" y="143924"/>
                      <a:pt x="561975" y="141543"/>
                    </a:cubicBezTo>
                    <a:close/>
                    <a:moveTo>
                      <a:pt x="491729" y="141543"/>
                    </a:moveTo>
                    <a:lnTo>
                      <a:pt x="491729" y="141543"/>
                    </a:lnTo>
                    <a:lnTo>
                      <a:pt x="494110" y="143924"/>
                    </a:lnTo>
                    <a:cubicBezTo>
                      <a:pt x="491729" y="146305"/>
                      <a:pt x="489347" y="148687"/>
                      <a:pt x="486966" y="151068"/>
                    </a:cubicBezTo>
                    <a:lnTo>
                      <a:pt x="491728" y="141544"/>
                    </a:lnTo>
                    <a:close/>
                    <a:moveTo>
                      <a:pt x="505804" y="130708"/>
                    </a:moveTo>
                    <a:cubicBezTo>
                      <a:pt x="508942" y="130708"/>
                      <a:pt x="512365" y="131839"/>
                      <a:pt x="514647" y="132970"/>
                    </a:cubicBezTo>
                    <a:cubicBezTo>
                      <a:pt x="516929" y="132970"/>
                      <a:pt x="519211" y="135232"/>
                      <a:pt x="523775" y="135232"/>
                    </a:cubicBezTo>
                    <a:cubicBezTo>
                      <a:pt x="526058" y="135232"/>
                      <a:pt x="523775" y="132970"/>
                      <a:pt x="526058" y="132970"/>
                    </a:cubicBezTo>
                    <a:cubicBezTo>
                      <a:pt x="530622" y="130708"/>
                      <a:pt x="537468" y="132970"/>
                      <a:pt x="544314" y="132970"/>
                    </a:cubicBezTo>
                    <a:cubicBezTo>
                      <a:pt x="548878" y="135232"/>
                      <a:pt x="546596" y="139757"/>
                      <a:pt x="544314" y="144281"/>
                    </a:cubicBezTo>
                    <a:cubicBezTo>
                      <a:pt x="544314" y="148806"/>
                      <a:pt x="544314" y="151068"/>
                      <a:pt x="539750" y="155592"/>
                    </a:cubicBezTo>
                    <a:cubicBezTo>
                      <a:pt x="537468" y="160117"/>
                      <a:pt x="537468" y="164641"/>
                      <a:pt x="535186" y="166903"/>
                    </a:cubicBezTo>
                    <a:lnTo>
                      <a:pt x="534590" y="166980"/>
                    </a:lnTo>
                    <a:lnTo>
                      <a:pt x="528625" y="167752"/>
                    </a:lnTo>
                    <a:cubicBezTo>
                      <a:pt x="526058" y="168034"/>
                      <a:pt x="523775" y="168034"/>
                      <a:pt x="523775" y="166903"/>
                    </a:cubicBezTo>
                    <a:cubicBezTo>
                      <a:pt x="523775" y="169165"/>
                      <a:pt x="521493" y="171428"/>
                      <a:pt x="519211" y="171428"/>
                    </a:cubicBezTo>
                    <a:cubicBezTo>
                      <a:pt x="519211" y="171428"/>
                      <a:pt x="519211" y="171428"/>
                      <a:pt x="519211" y="169165"/>
                    </a:cubicBezTo>
                    <a:cubicBezTo>
                      <a:pt x="519211" y="173690"/>
                      <a:pt x="516929" y="171428"/>
                      <a:pt x="514647" y="171428"/>
                    </a:cubicBezTo>
                    <a:cubicBezTo>
                      <a:pt x="512365" y="169165"/>
                      <a:pt x="507801" y="171428"/>
                      <a:pt x="505519" y="171428"/>
                    </a:cubicBezTo>
                    <a:cubicBezTo>
                      <a:pt x="507801" y="173690"/>
                      <a:pt x="500955" y="173690"/>
                      <a:pt x="500955" y="171428"/>
                    </a:cubicBezTo>
                    <a:cubicBezTo>
                      <a:pt x="498673" y="169165"/>
                      <a:pt x="496391" y="166903"/>
                      <a:pt x="496391" y="164641"/>
                    </a:cubicBezTo>
                    <a:cubicBezTo>
                      <a:pt x="496391" y="162379"/>
                      <a:pt x="496391" y="157854"/>
                      <a:pt x="494109" y="155592"/>
                    </a:cubicBezTo>
                    <a:cubicBezTo>
                      <a:pt x="500955" y="155592"/>
                      <a:pt x="498673" y="157854"/>
                      <a:pt x="503237" y="153330"/>
                    </a:cubicBezTo>
                    <a:cubicBezTo>
                      <a:pt x="500955" y="153330"/>
                      <a:pt x="496391" y="155592"/>
                      <a:pt x="496391" y="153330"/>
                    </a:cubicBezTo>
                    <a:cubicBezTo>
                      <a:pt x="494109" y="151068"/>
                      <a:pt x="496391" y="151068"/>
                      <a:pt x="496391" y="148806"/>
                    </a:cubicBezTo>
                    <a:cubicBezTo>
                      <a:pt x="496391" y="146543"/>
                      <a:pt x="494109" y="146543"/>
                      <a:pt x="496391" y="144281"/>
                    </a:cubicBezTo>
                    <a:cubicBezTo>
                      <a:pt x="496391" y="144281"/>
                      <a:pt x="498673" y="144281"/>
                      <a:pt x="500955" y="144281"/>
                    </a:cubicBezTo>
                    <a:cubicBezTo>
                      <a:pt x="496391" y="144281"/>
                      <a:pt x="496391" y="137495"/>
                      <a:pt x="498673" y="135232"/>
                    </a:cubicBezTo>
                    <a:cubicBezTo>
                      <a:pt x="499814" y="131839"/>
                      <a:pt x="502667" y="130708"/>
                      <a:pt x="505804" y="130708"/>
                    </a:cubicBezTo>
                    <a:close/>
                    <a:moveTo>
                      <a:pt x="496491" y="128446"/>
                    </a:moveTo>
                    <a:cubicBezTo>
                      <a:pt x="496491" y="128446"/>
                      <a:pt x="501254" y="128446"/>
                      <a:pt x="498873" y="130431"/>
                    </a:cubicBezTo>
                    <a:cubicBezTo>
                      <a:pt x="496491" y="132415"/>
                      <a:pt x="496491" y="132415"/>
                      <a:pt x="494110" y="134400"/>
                    </a:cubicBezTo>
                    <a:cubicBezTo>
                      <a:pt x="486966" y="134400"/>
                      <a:pt x="494110" y="130431"/>
                      <a:pt x="496491" y="128446"/>
                    </a:cubicBezTo>
                    <a:close/>
                    <a:moveTo>
                      <a:pt x="523875" y="127329"/>
                    </a:moveTo>
                    <a:cubicBezTo>
                      <a:pt x="525661" y="128371"/>
                      <a:pt x="526257" y="129934"/>
                      <a:pt x="523875" y="129934"/>
                    </a:cubicBezTo>
                    <a:cubicBezTo>
                      <a:pt x="521494" y="132018"/>
                      <a:pt x="514350" y="132018"/>
                      <a:pt x="516731" y="127850"/>
                    </a:cubicBezTo>
                    <a:cubicBezTo>
                      <a:pt x="519113" y="125767"/>
                      <a:pt x="522089" y="126288"/>
                      <a:pt x="523875" y="127329"/>
                    </a:cubicBezTo>
                    <a:close/>
                    <a:moveTo>
                      <a:pt x="500360" y="124576"/>
                    </a:moveTo>
                    <a:cubicBezTo>
                      <a:pt x="500658" y="123683"/>
                      <a:pt x="501253" y="123683"/>
                      <a:pt x="501253" y="126064"/>
                    </a:cubicBezTo>
                    <a:cubicBezTo>
                      <a:pt x="503635" y="128446"/>
                      <a:pt x="503635" y="130827"/>
                      <a:pt x="501253" y="128446"/>
                    </a:cubicBezTo>
                    <a:cubicBezTo>
                      <a:pt x="500063" y="127255"/>
                      <a:pt x="500063" y="125469"/>
                      <a:pt x="500360" y="124576"/>
                    </a:cubicBezTo>
                    <a:close/>
                    <a:moveTo>
                      <a:pt x="517587" y="120558"/>
                    </a:moveTo>
                    <a:cubicBezTo>
                      <a:pt x="519261" y="120558"/>
                      <a:pt x="520378" y="121104"/>
                      <a:pt x="519261" y="123287"/>
                    </a:cubicBezTo>
                    <a:cubicBezTo>
                      <a:pt x="517029" y="125469"/>
                      <a:pt x="512564" y="132018"/>
                      <a:pt x="510331" y="127652"/>
                    </a:cubicBezTo>
                    <a:cubicBezTo>
                      <a:pt x="510331" y="127652"/>
                      <a:pt x="503634" y="127652"/>
                      <a:pt x="503634" y="125469"/>
                    </a:cubicBezTo>
                    <a:cubicBezTo>
                      <a:pt x="505866" y="121104"/>
                      <a:pt x="510331" y="121104"/>
                      <a:pt x="512564" y="121104"/>
                    </a:cubicBezTo>
                    <a:cubicBezTo>
                      <a:pt x="513680" y="121104"/>
                      <a:pt x="515913" y="120558"/>
                      <a:pt x="517587" y="120558"/>
                    </a:cubicBezTo>
                    <a:close/>
                    <a:moveTo>
                      <a:pt x="503039" y="114158"/>
                    </a:moveTo>
                    <a:cubicBezTo>
                      <a:pt x="504825" y="116539"/>
                      <a:pt x="504825" y="121302"/>
                      <a:pt x="503039" y="123683"/>
                    </a:cubicBezTo>
                    <a:cubicBezTo>
                      <a:pt x="501253" y="123683"/>
                      <a:pt x="503039" y="116539"/>
                      <a:pt x="503039" y="114158"/>
                    </a:cubicBezTo>
                    <a:close/>
                    <a:moveTo>
                      <a:pt x="512207" y="111777"/>
                    </a:moveTo>
                    <a:cubicBezTo>
                      <a:pt x="514350" y="114158"/>
                      <a:pt x="507920" y="118921"/>
                      <a:pt x="507920" y="118921"/>
                    </a:cubicBezTo>
                    <a:cubicBezTo>
                      <a:pt x="503634" y="116540"/>
                      <a:pt x="507920" y="109396"/>
                      <a:pt x="512207" y="111777"/>
                    </a:cubicBezTo>
                    <a:close/>
                    <a:moveTo>
                      <a:pt x="507802" y="107163"/>
                    </a:moveTo>
                    <a:cubicBezTo>
                      <a:pt x="508992" y="106717"/>
                      <a:pt x="510778" y="106717"/>
                      <a:pt x="511969" y="107610"/>
                    </a:cubicBezTo>
                    <a:cubicBezTo>
                      <a:pt x="511969" y="109396"/>
                      <a:pt x="509588" y="109396"/>
                      <a:pt x="507206" y="109396"/>
                    </a:cubicBezTo>
                    <a:cubicBezTo>
                      <a:pt x="506016" y="108503"/>
                      <a:pt x="506611" y="107610"/>
                      <a:pt x="507802" y="107163"/>
                    </a:cubicBezTo>
                    <a:close/>
                    <a:moveTo>
                      <a:pt x="282143" y="941"/>
                    </a:moveTo>
                    <a:cubicBezTo>
                      <a:pt x="286694" y="941"/>
                      <a:pt x="288969" y="941"/>
                      <a:pt x="291244" y="941"/>
                    </a:cubicBezTo>
                    <a:cubicBezTo>
                      <a:pt x="293520" y="-1332"/>
                      <a:pt x="295795" y="941"/>
                      <a:pt x="298070" y="3214"/>
                    </a:cubicBezTo>
                    <a:cubicBezTo>
                      <a:pt x="300346" y="7761"/>
                      <a:pt x="295795" y="12307"/>
                      <a:pt x="295795" y="16854"/>
                    </a:cubicBezTo>
                    <a:cubicBezTo>
                      <a:pt x="295795" y="19127"/>
                      <a:pt x="300346" y="16854"/>
                      <a:pt x="304897" y="21401"/>
                    </a:cubicBezTo>
                    <a:cubicBezTo>
                      <a:pt x="304897" y="21401"/>
                      <a:pt x="302621" y="23674"/>
                      <a:pt x="304897" y="25947"/>
                    </a:cubicBezTo>
                    <a:cubicBezTo>
                      <a:pt x="304897" y="28220"/>
                      <a:pt x="307172" y="28220"/>
                      <a:pt x="307172" y="30494"/>
                    </a:cubicBezTo>
                    <a:cubicBezTo>
                      <a:pt x="309447" y="32767"/>
                      <a:pt x="302621" y="39587"/>
                      <a:pt x="302621" y="41860"/>
                    </a:cubicBezTo>
                    <a:cubicBezTo>
                      <a:pt x="300346" y="44133"/>
                      <a:pt x="300346" y="46407"/>
                      <a:pt x="300346" y="48680"/>
                    </a:cubicBezTo>
                    <a:cubicBezTo>
                      <a:pt x="300346" y="50953"/>
                      <a:pt x="298070" y="53226"/>
                      <a:pt x="298070" y="57773"/>
                    </a:cubicBezTo>
                    <a:cubicBezTo>
                      <a:pt x="295795" y="64593"/>
                      <a:pt x="298070" y="69139"/>
                      <a:pt x="300346" y="73686"/>
                    </a:cubicBezTo>
                    <a:cubicBezTo>
                      <a:pt x="304897" y="75959"/>
                      <a:pt x="300346" y="82779"/>
                      <a:pt x="304897" y="82779"/>
                    </a:cubicBezTo>
                    <a:cubicBezTo>
                      <a:pt x="302621" y="85052"/>
                      <a:pt x="302621" y="85052"/>
                      <a:pt x="302621" y="85052"/>
                    </a:cubicBezTo>
                    <a:cubicBezTo>
                      <a:pt x="307172" y="85052"/>
                      <a:pt x="311723" y="89599"/>
                      <a:pt x="311723" y="94145"/>
                    </a:cubicBezTo>
                    <a:cubicBezTo>
                      <a:pt x="313998" y="96418"/>
                      <a:pt x="316273" y="94145"/>
                      <a:pt x="318549" y="96418"/>
                    </a:cubicBezTo>
                    <a:cubicBezTo>
                      <a:pt x="320824" y="98692"/>
                      <a:pt x="323099" y="98692"/>
                      <a:pt x="323099" y="98692"/>
                    </a:cubicBezTo>
                    <a:cubicBezTo>
                      <a:pt x="325375" y="98692"/>
                      <a:pt x="327650" y="94145"/>
                      <a:pt x="327650" y="94145"/>
                    </a:cubicBezTo>
                    <a:cubicBezTo>
                      <a:pt x="334476" y="87325"/>
                      <a:pt x="339027" y="89599"/>
                      <a:pt x="343577" y="87325"/>
                    </a:cubicBezTo>
                    <a:cubicBezTo>
                      <a:pt x="345853" y="85052"/>
                      <a:pt x="348128" y="87325"/>
                      <a:pt x="350403" y="85052"/>
                    </a:cubicBezTo>
                    <a:cubicBezTo>
                      <a:pt x="352679" y="80506"/>
                      <a:pt x="354954" y="78232"/>
                      <a:pt x="361780" y="80506"/>
                    </a:cubicBezTo>
                    <a:cubicBezTo>
                      <a:pt x="366331" y="82779"/>
                      <a:pt x="368606" y="78232"/>
                      <a:pt x="373157" y="80506"/>
                    </a:cubicBezTo>
                    <a:cubicBezTo>
                      <a:pt x="375432" y="80506"/>
                      <a:pt x="384534" y="85052"/>
                      <a:pt x="384534" y="80506"/>
                    </a:cubicBezTo>
                    <a:cubicBezTo>
                      <a:pt x="384534" y="75959"/>
                      <a:pt x="379983" y="75959"/>
                      <a:pt x="382258" y="71413"/>
                    </a:cubicBezTo>
                    <a:cubicBezTo>
                      <a:pt x="386809" y="62319"/>
                      <a:pt x="386809" y="69139"/>
                      <a:pt x="391360" y="69139"/>
                    </a:cubicBezTo>
                    <a:cubicBezTo>
                      <a:pt x="393635" y="69139"/>
                      <a:pt x="395910" y="66866"/>
                      <a:pt x="398186" y="66866"/>
                    </a:cubicBezTo>
                    <a:cubicBezTo>
                      <a:pt x="405012" y="64593"/>
                      <a:pt x="405012" y="64593"/>
                      <a:pt x="409563" y="69139"/>
                    </a:cubicBezTo>
                    <a:cubicBezTo>
                      <a:pt x="411838" y="71413"/>
                      <a:pt x="414113" y="71413"/>
                      <a:pt x="414113" y="73686"/>
                    </a:cubicBezTo>
                    <a:cubicBezTo>
                      <a:pt x="416389" y="73686"/>
                      <a:pt x="418664" y="75959"/>
                      <a:pt x="420939" y="75959"/>
                    </a:cubicBezTo>
                    <a:cubicBezTo>
                      <a:pt x="423215" y="78232"/>
                      <a:pt x="425490" y="73686"/>
                      <a:pt x="430041" y="71413"/>
                    </a:cubicBezTo>
                    <a:cubicBezTo>
                      <a:pt x="432316" y="71413"/>
                      <a:pt x="432316" y="71413"/>
                      <a:pt x="434591" y="71413"/>
                    </a:cubicBezTo>
                    <a:cubicBezTo>
                      <a:pt x="436867" y="71413"/>
                      <a:pt x="443693" y="71413"/>
                      <a:pt x="441417" y="73686"/>
                    </a:cubicBezTo>
                    <a:cubicBezTo>
                      <a:pt x="443693" y="73686"/>
                      <a:pt x="448243" y="75959"/>
                      <a:pt x="448243" y="73686"/>
                    </a:cubicBezTo>
                    <a:cubicBezTo>
                      <a:pt x="450519" y="71413"/>
                      <a:pt x="452794" y="71413"/>
                      <a:pt x="455069" y="69139"/>
                    </a:cubicBezTo>
                    <a:cubicBezTo>
                      <a:pt x="457345" y="64593"/>
                      <a:pt x="461896" y="53226"/>
                      <a:pt x="464171" y="48680"/>
                    </a:cubicBezTo>
                    <a:cubicBezTo>
                      <a:pt x="473272" y="37313"/>
                      <a:pt x="480098" y="28220"/>
                      <a:pt x="475548" y="19127"/>
                    </a:cubicBezTo>
                    <a:cubicBezTo>
                      <a:pt x="477823" y="21401"/>
                      <a:pt x="480098" y="30494"/>
                      <a:pt x="482374" y="30494"/>
                    </a:cubicBezTo>
                    <a:cubicBezTo>
                      <a:pt x="480098" y="28220"/>
                      <a:pt x="477823" y="25947"/>
                      <a:pt x="482374" y="21401"/>
                    </a:cubicBezTo>
                    <a:cubicBezTo>
                      <a:pt x="486924" y="25947"/>
                      <a:pt x="489200" y="32767"/>
                      <a:pt x="486924" y="39587"/>
                    </a:cubicBezTo>
                    <a:cubicBezTo>
                      <a:pt x="486924" y="37313"/>
                      <a:pt x="489200" y="35040"/>
                      <a:pt x="489200" y="32767"/>
                    </a:cubicBezTo>
                    <a:cubicBezTo>
                      <a:pt x="489200" y="41860"/>
                      <a:pt x="491475" y="50953"/>
                      <a:pt x="493750" y="60046"/>
                    </a:cubicBezTo>
                    <a:cubicBezTo>
                      <a:pt x="493750" y="62319"/>
                      <a:pt x="500576" y="73686"/>
                      <a:pt x="496026" y="75959"/>
                    </a:cubicBezTo>
                    <a:cubicBezTo>
                      <a:pt x="498301" y="75959"/>
                      <a:pt x="500576" y="78232"/>
                      <a:pt x="500576" y="80506"/>
                    </a:cubicBezTo>
                    <a:cubicBezTo>
                      <a:pt x="502852" y="85052"/>
                      <a:pt x="507402" y="82779"/>
                      <a:pt x="509678" y="85052"/>
                    </a:cubicBezTo>
                    <a:cubicBezTo>
                      <a:pt x="516504" y="87325"/>
                      <a:pt x="516504" y="96418"/>
                      <a:pt x="509678" y="98692"/>
                    </a:cubicBezTo>
                    <a:cubicBezTo>
                      <a:pt x="511953" y="98692"/>
                      <a:pt x="511953" y="98692"/>
                      <a:pt x="514229" y="98692"/>
                    </a:cubicBezTo>
                    <a:cubicBezTo>
                      <a:pt x="511953" y="103238"/>
                      <a:pt x="507402" y="105512"/>
                      <a:pt x="505127" y="107785"/>
                    </a:cubicBezTo>
                    <a:cubicBezTo>
                      <a:pt x="505127" y="110058"/>
                      <a:pt x="502852" y="112331"/>
                      <a:pt x="500576" y="112331"/>
                    </a:cubicBezTo>
                    <a:cubicBezTo>
                      <a:pt x="500576" y="116878"/>
                      <a:pt x="498301" y="119151"/>
                      <a:pt x="498301" y="121424"/>
                    </a:cubicBezTo>
                    <a:cubicBezTo>
                      <a:pt x="493750" y="123698"/>
                      <a:pt x="491475" y="125971"/>
                      <a:pt x="486924" y="130518"/>
                    </a:cubicBezTo>
                    <a:cubicBezTo>
                      <a:pt x="484649" y="132791"/>
                      <a:pt x="482374" y="137337"/>
                      <a:pt x="477823" y="141884"/>
                    </a:cubicBezTo>
                    <a:lnTo>
                      <a:pt x="476740" y="147292"/>
                    </a:lnTo>
                    <a:lnTo>
                      <a:pt x="481476" y="142486"/>
                    </a:lnTo>
                    <a:cubicBezTo>
                      <a:pt x="483725" y="140774"/>
                      <a:pt x="485974" y="140204"/>
                      <a:pt x="487099" y="143627"/>
                    </a:cubicBezTo>
                    <a:lnTo>
                      <a:pt x="483825" y="151726"/>
                    </a:lnTo>
                    <a:lnTo>
                      <a:pt x="482601" y="154752"/>
                    </a:lnTo>
                    <a:cubicBezTo>
                      <a:pt x="479227" y="159031"/>
                      <a:pt x="474729" y="163025"/>
                      <a:pt x="471356" y="164166"/>
                    </a:cubicBezTo>
                    <a:cubicBezTo>
                      <a:pt x="469107" y="159602"/>
                      <a:pt x="471356" y="157320"/>
                      <a:pt x="475854" y="155038"/>
                    </a:cubicBezTo>
                    <a:lnTo>
                      <a:pt x="475854" y="151720"/>
                    </a:lnTo>
                    <a:lnTo>
                      <a:pt x="475548" y="153250"/>
                    </a:lnTo>
                    <a:cubicBezTo>
                      <a:pt x="475548" y="155523"/>
                      <a:pt x="470997" y="155523"/>
                      <a:pt x="470997" y="160070"/>
                    </a:cubicBezTo>
                    <a:cubicBezTo>
                      <a:pt x="470997" y="164617"/>
                      <a:pt x="466446" y="162343"/>
                      <a:pt x="464171" y="162343"/>
                    </a:cubicBezTo>
                    <a:cubicBezTo>
                      <a:pt x="461896" y="162343"/>
                      <a:pt x="455069" y="164617"/>
                      <a:pt x="452794" y="166890"/>
                    </a:cubicBezTo>
                    <a:cubicBezTo>
                      <a:pt x="455069" y="166890"/>
                      <a:pt x="466446" y="164617"/>
                      <a:pt x="464171" y="169163"/>
                    </a:cubicBezTo>
                    <a:cubicBezTo>
                      <a:pt x="466446" y="166890"/>
                      <a:pt x="468722" y="166890"/>
                      <a:pt x="470997" y="166890"/>
                    </a:cubicBezTo>
                    <a:cubicBezTo>
                      <a:pt x="473272" y="164617"/>
                      <a:pt x="475548" y="162343"/>
                      <a:pt x="480098" y="160070"/>
                    </a:cubicBezTo>
                    <a:cubicBezTo>
                      <a:pt x="484649" y="160070"/>
                      <a:pt x="489200" y="153250"/>
                      <a:pt x="491475" y="150977"/>
                    </a:cubicBezTo>
                    <a:cubicBezTo>
                      <a:pt x="498301" y="153250"/>
                      <a:pt x="491475" y="162343"/>
                      <a:pt x="496026" y="166890"/>
                    </a:cubicBezTo>
                    <a:cubicBezTo>
                      <a:pt x="498301" y="166890"/>
                      <a:pt x="496026" y="171436"/>
                      <a:pt x="498301" y="173710"/>
                    </a:cubicBezTo>
                    <a:cubicBezTo>
                      <a:pt x="500576" y="173710"/>
                      <a:pt x="502852" y="171436"/>
                      <a:pt x="502852" y="175983"/>
                    </a:cubicBezTo>
                    <a:cubicBezTo>
                      <a:pt x="507402" y="175983"/>
                      <a:pt x="514229" y="169163"/>
                      <a:pt x="516504" y="178256"/>
                    </a:cubicBezTo>
                    <a:cubicBezTo>
                      <a:pt x="516504" y="173710"/>
                      <a:pt x="518779" y="173710"/>
                      <a:pt x="521055" y="173710"/>
                    </a:cubicBezTo>
                    <a:cubicBezTo>
                      <a:pt x="521055" y="173710"/>
                      <a:pt x="523330" y="173710"/>
                      <a:pt x="523330" y="171436"/>
                    </a:cubicBezTo>
                    <a:cubicBezTo>
                      <a:pt x="523330" y="169163"/>
                      <a:pt x="525605" y="171436"/>
                      <a:pt x="527881" y="171436"/>
                    </a:cubicBezTo>
                    <a:cubicBezTo>
                      <a:pt x="525605" y="178256"/>
                      <a:pt x="523330" y="182803"/>
                      <a:pt x="523330" y="191896"/>
                    </a:cubicBezTo>
                    <a:cubicBezTo>
                      <a:pt x="527881" y="187349"/>
                      <a:pt x="525605" y="175983"/>
                      <a:pt x="530156" y="173710"/>
                    </a:cubicBezTo>
                    <a:cubicBezTo>
                      <a:pt x="534707" y="171436"/>
                      <a:pt x="534707" y="171436"/>
                      <a:pt x="536982" y="166890"/>
                    </a:cubicBezTo>
                    <a:cubicBezTo>
                      <a:pt x="541533" y="162343"/>
                      <a:pt x="541533" y="166890"/>
                      <a:pt x="546083" y="169163"/>
                    </a:cubicBezTo>
                    <a:cubicBezTo>
                      <a:pt x="546083" y="166890"/>
                      <a:pt x="546083" y="166890"/>
                      <a:pt x="546083" y="164617"/>
                    </a:cubicBezTo>
                    <a:lnTo>
                      <a:pt x="543808" y="164617"/>
                    </a:lnTo>
                    <a:cubicBezTo>
                      <a:pt x="543808" y="162343"/>
                      <a:pt x="546083" y="160070"/>
                      <a:pt x="548359" y="160070"/>
                    </a:cubicBezTo>
                    <a:cubicBezTo>
                      <a:pt x="550634" y="157797"/>
                      <a:pt x="548359" y="150977"/>
                      <a:pt x="550634" y="148704"/>
                    </a:cubicBezTo>
                    <a:cubicBezTo>
                      <a:pt x="555185" y="144157"/>
                      <a:pt x="552909" y="148704"/>
                      <a:pt x="555185" y="146430"/>
                    </a:cubicBezTo>
                    <a:cubicBezTo>
                      <a:pt x="557460" y="146430"/>
                      <a:pt x="562011" y="141884"/>
                      <a:pt x="562011" y="146430"/>
                    </a:cubicBezTo>
                    <a:cubicBezTo>
                      <a:pt x="564286" y="144157"/>
                      <a:pt x="564286" y="148704"/>
                      <a:pt x="568837" y="146430"/>
                    </a:cubicBezTo>
                    <a:cubicBezTo>
                      <a:pt x="566561" y="146430"/>
                      <a:pt x="566561" y="144157"/>
                      <a:pt x="566561" y="141884"/>
                    </a:cubicBezTo>
                    <a:cubicBezTo>
                      <a:pt x="568837" y="141884"/>
                      <a:pt x="573388" y="144157"/>
                      <a:pt x="573388" y="146430"/>
                    </a:cubicBezTo>
                    <a:cubicBezTo>
                      <a:pt x="575663" y="146430"/>
                      <a:pt x="575663" y="146430"/>
                      <a:pt x="575663" y="146430"/>
                    </a:cubicBezTo>
                    <a:cubicBezTo>
                      <a:pt x="575663" y="148704"/>
                      <a:pt x="575663" y="148704"/>
                      <a:pt x="575663" y="148704"/>
                    </a:cubicBezTo>
                    <a:cubicBezTo>
                      <a:pt x="577938" y="146430"/>
                      <a:pt x="577938" y="146430"/>
                      <a:pt x="577938" y="148704"/>
                    </a:cubicBezTo>
                    <a:cubicBezTo>
                      <a:pt x="580214" y="148704"/>
                      <a:pt x="580214" y="146430"/>
                      <a:pt x="580214" y="146430"/>
                    </a:cubicBezTo>
                    <a:cubicBezTo>
                      <a:pt x="580214" y="148704"/>
                      <a:pt x="582489" y="148704"/>
                      <a:pt x="582489" y="150977"/>
                    </a:cubicBezTo>
                    <a:cubicBezTo>
                      <a:pt x="582489" y="148704"/>
                      <a:pt x="582489" y="148704"/>
                      <a:pt x="584764" y="148704"/>
                    </a:cubicBezTo>
                    <a:cubicBezTo>
                      <a:pt x="584764" y="150977"/>
                      <a:pt x="584764" y="153250"/>
                      <a:pt x="582489" y="153250"/>
                    </a:cubicBezTo>
                    <a:cubicBezTo>
                      <a:pt x="584764" y="150977"/>
                      <a:pt x="587040" y="155523"/>
                      <a:pt x="591590" y="153250"/>
                    </a:cubicBezTo>
                    <a:cubicBezTo>
                      <a:pt x="589315" y="155523"/>
                      <a:pt x="593866" y="153250"/>
                      <a:pt x="593866" y="150977"/>
                    </a:cubicBezTo>
                    <a:cubicBezTo>
                      <a:pt x="593866" y="155523"/>
                      <a:pt x="596141" y="155523"/>
                      <a:pt x="596141" y="157797"/>
                    </a:cubicBezTo>
                    <a:cubicBezTo>
                      <a:pt x="598416" y="157797"/>
                      <a:pt x="598416" y="155523"/>
                      <a:pt x="598416" y="155523"/>
                    </a:cubicBezTo>
                    <a:cubicBezTo>
                      <a:pt x="598416" y="157797"/>
                      <a:pt x="602967" y="157797"/>
                      <a:pt x="602967" y="160070"/>
                    </a:cubicBezTo>
                    <a:cubicBezTo>
                      <a:pt x="605242" y="157797"/>
                      <a:pt x="605242" y="157797"/>
                      <a:pt x="605242" y="157797"/>
                    </a:cubicBezTo>
                    <a:cubicBezTo>
                      <a:pt x="605242" y="160070"/>
                      <a:pt x="605242" y="160070"/>
                      <a:pt x="605242" y="162343"/>
                    </a:cubicBezTo>
                    <a:cubicBezTo>
                      <a:pt x="607518" y="160070"/>
                      <a:pt x="607518" y="160070"/>
                      <a:pt x="607518" y="160070"/>
                    </a:cubicBezTo>
                    <a:cubicBezTo>
                      <a:pt x="607518" y="162343"/>
                      <a:pt x="609793" y="162343"/>
                      <a:pt x="612068" y="160070"/>
                    </a:cubicBezTo>
                    <a:cubicBezTo>
                      <a:pt x="609793" y="162343"/>
                      <a:pt x="609793" y="164617"/>
                      <a:pt x="609793" y="164617"/>
                    </a:cubicBezTo>
                    <a:cubicBezTo>
                      <a:pt x="609793" y="164617"/>
                      <a:pt x="612068" y="162343"/>
                      <a:pt x="614344" y="162343"/>
                    </a:cubicBezTo>
                    <a:cubicBezTo>
                      <a:pt x="612068" y="164617"/>
                      <a:pt x="612068" y="169163"/>
                      <a:pt x="614344" y="171436"/>
                    </a:cubicBezTo>
                    <a:cubicBezTo>
                      <a:pt x="614344" y="169163"/>
                      <a:pt x="614344" y="166890"/>
                      <a:pt x="616619" y="164617"/>
                    </a:cubicBezTo>
                    <a:cubicBezTo>
                      <a:pt x="621170" y="162343"/>
                      <a:pt x="618894" y="166890"/>
                      <a:pt x="621170" y="166890"/>
                    </a:cubicBezTo>
                    <a:cubicBezTo>
                      <a:pt x="627996" y="164617"/>
                      <a:pt x="621170" y="173710"/>
                      <a:pt x="625721" y="169163"/>
                    </a:cubicBezTo>
                    <a:cubicBezTo>
                      <a:pt x="623445" y="171436"/>
                      <a:pt x="623445" y="171436"/>
                      <a:pt x="623445" y="171436"/>
                    </a:cubicBezTo>
                    <a:cubicBezTo>
                      <a:pt x="625721" y="173710"/>
                      <a:pt x="627996" y="171436"/>
                      <a:pt x="627996" y="171436"/>
                    </a:cubicBezTo>
                    <a:cubicBezTo>
                      <a:pt x="627996" y="173710"/>
                      <a:pt x="632547" y="171436"/>
                      <a:pt x="630271" y="175983"/>
                    </a:cubicBezTo>
                    <a:cubicBezTo>
                      <a:pt x="627996" y="180529"/>
                      <a:pt x="627996" y="182803"/>
                      <a:pt x="623445" y="185076"/>
                    </a:cubicBezTo>
                    <a:cubicBezTo>
                      <a:pt x="625721" y="182803"/>
                      <a:pt x="627996" y="185076"/>
                      <a:pt x="627996" y="185076"/>
                    </a:cubicBezTo>
                    <a:cubicBezTo>
                      <a:pt x="627996" y="182803"/>
                      <a:pt x="630271" y="178256"/>
                      <a:pt x="632547" y="182803"/>
                    </a:cubicBezTo>
                    <a:cubicBezTo>
                      <a:pt x="634822" y="185076"/>
                      <a:pt x="630271" y="187349"/>
                      <a:pt x="630271" y="189623"/>
                    </a:cubicBezTo>
                    <a:cubicBezTo>
                      <a:pt x="627996" y="191896"/>
                      <a:pt x="625721" y="198716"/>
                      <a:pt x="627996" y="200989"/>
                    </a:cubicBezTo>
                    <a:cubicBezTo>
                      <a:pt x="627996" y="205535"/>
                      <a:pt x="623445" y="207809"/>
                      <a:pt x="625721" y="207809"/>
                    </a:cubicBezTo>
                    <a:cubicBezTo>
                      <a:pt x="625721" y="205535"/>
                      <a:pt x="630271" y="203262"/>
                      <a:pt x="632547" y="200989"/>
                    </a:cubicBezTo>
                    <a:cubicBezTo>
                      <a:pt x="634822" y="198716"/>
                      <a:pt x="632547" y="191896"/>
                      <a:pt x="634822" y="189623"/>
                    </a:cubicBezTo>
                    <a:cubicBezTo>
                      <a:pt x="634822" y="189623"/>
                      <a:pt x="639373" y="185076"/>
                      <a:pt x="641648" y="187349"/>
                    </a:cubicBezTo>
                    <a:cubicBezTo>
                      <a:pt x="643923" y="191896"/>
                      <a:pt x="637097" y="194169"/>
                      <a:pt x="634822" y="196442"/>
                    </a:cubicBezTo>
                    <a:cubicBezTo>
                      <a:pt x="637097" y="196442"/>
                      <a:pt x="639373" y="196442"/>
                      <a:pt x="637097" y="198716"/>
                    </a:cubicBezTo>
                    <a:cubicBezTo>
                      <a:pt x="639373" y="196442"/>
                      <a:pt x="643923" y="187349"/>
                      <a:pt x="643923" y="191896"/>
                    </a:cubicBezTo>
                    <a:cubicBezTo>
                      <a:pt x="643923" y="189623"/>
                      <a:pt x="650749" y="187349"/>
                      <a:pt x="653025" y="189623"/>
                    </a:cubicBezTo>
                    <a:cubicBezTo>
                      <a:pt x="653025" y="182803"/>
                      <a:pt x="666677" y="189623"/>
                      <a:pt x="668952" y="191896"/>
                    </a:cubicBezTo>
                    <a:cubicBezTo>
                      <a:pt x="671227" y="191896"/>
                      <a:pt x="680329" y="196442"/>
                      <a:pt x="680329" y="196442"/>
                    </a:cubicBezTo>
                    <a:cubicBezTo>
                      <a:pt x="682604" y="196442"/>
                      <a:pt x="687155" y="198716"/>
                      <a:pt x="687155" y="194169"/>
                    </a:cubicBezTo>
                    <a:cubicBezTo>
                      <a:pt x="689430" y="196442"/>
                      <a:pt x="691706" y="198716"/>
                      <a:pt x="693981" y="198716"/>
                    </a:cubicBezTo>
                    <a:cubicBezTo>
                      <a:pt x="696256" y="200989"/>
                      <a:pt x="698532" y="198716"/>
                      <a:pt x="700807" y="200989"/>
                    </a:cubicBezTo>
                    <a:cubicBezTo>
                      <a:pt x="700807" y="198716"/>
                      <a:pt x="703082" y="198716"/>
                      <a:pt x="707633" y="198716"/>
                    </a:cubicBezTo>
                    <a:cubicBezTo>
                      <a:pt x="712184" y="198716"/>
                      <a:pt x="719010" y="196442"/>
                      <a:pt x="723560" y="196442"/>
                    </a:cubicBezTo>
                    <a:cubicBezTo>
                      <a:pt x="734937" y="198716"/>
                      <a:pt x="746314" y="210082"/>
                      <a:pt x="755415" y="216902"/>
                    </a:cubicBezTo>
                    <a:cubicBezTo>
                      <a:pt x="757691" y="219175"/>
                      <a:pt x="762242" y="219175"/>
                      <a:pt x="764517" y="221448"/>
                    </a:cubicBezTo>
                    <a:cubicBezTo>
                      <a:pt x="766792" y="223722"/>
                      <a:pt x="769068" y="228268"/>
                      <a:pt x="771343" y="230541"/>
                    </a:cubicBezTo>
                    <a:cubicBezTo>
                      <a:pt x="773618" y="232815"/>
                      <a:pt x="775894" y="235088"/>
                      <a:pt x="778169" y="237361"/>
                    </a:cubicBezTo>
                    <a:cubicBezTo>
                      <a:pt x="780444" y="241908"/>
                      <a:pt x="784995" y="241908"/>
                      <a:pt x="787270" y="246454"/>
                    </a:cubicBezTo>
                    <a:cubicBezTo>
                      <a:pt x="791821" y="248728"/>
                      <a:pt x="794097" y="248728"/>
                      <a:pt x="798647" y="251001"/>
                    </a:cubicBezTo>
                    <a:cubicBezTo>
                      <a:pt x="800923" y="253274"/>
                      <a:pt x="807749" y="253274"/>
                      <a:pt x="812299" y="253274"/>
                    </a:cubicBezTo>
                    <a:cubicBezTo>
                      <a:pt x="821401" y="251001"/>
                      <a:pt x="830502" y="255547"/>
                      <a:pt x="832777" y="264640"/>
                    </a:cubicBezTo>
                    <a:cubicBezTo>
                      <a:pt x="832777" y="269187"/>
                      <a:pt x="835053" y="271460"/>
                      <a:pt x="835053" y="276007"/>
                    </a:cubicBezTo>
                    <a:cubicBezTo>
                      <a:pt x="835053" y="278280"/>
                      <a:pt x="835053" y="280553"/>
                      <a:pt x="835053" y="280553"/>
                    </a:cubicBezTo>
                    <a:cubicBezTo>
                      <a:pt x="837328" y="280553"/>
                      <a:pt x="837328" y="282827"/>
                      <a:pt x="837328" y="282827"/>
                    </a:cubicBezTo>
                    <a:cubicBezTo>
                      <a:pt x="839603" y="287373"/>
                      <a:pt x="841879" y="296466"/>
                      <a:pt x="839603" y="301013"/>
                    </a:cubicBezTo>
                    <a:cubicBezTo>
                      <a:pt x="839603" y="301013"/>
                      <a:pt x="841879" y="301013"/>
                      <a:pt x="841879" y="298739"/>
                    </a:cubicBezTo>
                    <a:cubicBezTo>
                      <a:pt x="841879" y="303286"/>
                      <a:pt x="844154" y="310106"/>
                      <a:pt x="839603" y="312379"/>
                    </a:cubicBezTo>
                    <a:cubicBezTo>
                      <a:pt x="841879" y="312379"/>
                      <a:pt x="841879" y="312379"/>
                      <a:pt x="841879" y="312379"/>
                    </a:cubicBezTo>
                    <a:cubicBezTo>
                      <a:pt x="839603" y="316926"/>
                      <a:pt x="844154" y="321472"/>
                      <a:pt x="841879" y="326019"/>
                    </a:cubicBezTo>
                    <a:cubicBezTo>
                      <a:pt x="839603" y="328292"/>
                      <a:pt x="839603" y="332839"/>
                      <a:pt x="837328" y="337385"/>
                    </a:cubicBezTo>
                    <a:cubicBezTo>
                      <a:pt x="837328" y="341932"/>
                      <a:pt x="835053" y="346478"/>
                      <a:pt x="832777" y="351025"/>
                    </a:cubicBezTo>
                    <a:cubicBezTo>
                      <a:pt x="830502" y="355571"/>
                      <a:pt x="825951" y="360118"/>
                      <a:pt x="823676" y="364664"/>
                    </a:cubicBezTo>
                    <a:cubicBezTo>
                      <a:pt x="821401" y="362391"/>
                      <a:pt x="821401" y="362391"/>
                      <a:pt x="821401" y="362391"/>
                    </a:cubicBezTo>
                    <a:cubicBezTo>
                      <a:pt x="823676" y="364664"/>
                      <a:pt x="821401" y="366938"/>
                      <a:pt x="819125" y="364664"/>
                    </a:cubicBezTo>
                    <a:cubicBezTo>
                      <a:pt x="821401" y="364664"/>
                      <a:pt x="821401" y="364664"/>
                      <a:pt x="821401" y="364664"/>
                    </a:cubicBezTo>
                    <a:cubicBezTo>
                      <a:pt x="819125" y="371484"/>
                      <a:pt x="814575" y="378304"/>
                      <a:pt x="810024" y="382850"/>
                    </a:cubicBezTo>
                    <a:cubicBezTo>
                      <a:pt x="807749" y="385124"/>
                      <a:pt x="805473" y="385124"/>
                      <a:pt x="803198" y="387397"/>
                    </a:cubicBezTo>
                    <a:cubicBezTo>
                      <a:pt x="800923" y="389670"/>
                      <a:pt x="798647" y="391944"/>
                      <a:pt x="796372" y="394217"/>
                    </a:cubicBezTo>
                    <a:cubicBezTo>
                      <a:pt x="796372" y="396490"/>
                      <a:pt x="794097" y="398763"/>
                      <a:pt x="791821" y="396490"/>
                    </a:cubicBezTo>
                    <a:cubicBezTo>
                      <a:pt x="794097" y="398763"/>
                      <a:pt x="796372" y="398763"/>
                      <a:pt x="794097" y="401037"/>
                    </a:cubicBezTo>
                    <a:cubicBezTo>
                      <a:pt x="794097" y="403310"/>
                      <a:pt x="789546" y="407856"/>
                      <a:pt x="791821" y="403310"/>
                    </a:cubicBezTo>
                    <a:cubicBezTo>
                      <a:pt x="789546" y="405583"/>
                      <a:pt x="789546" y="407856"/>
                      <a:pt x="787270" y="410130"/>
                    </a:cubicBezTo>
                    <a:cubicBezTo>
                      <a:pt x="789546" y="407856"/>
                      <a:pt x="789546" y="407856"/>
                      <a:pt x="789546" y="407856"/>
                    </a:cubicBezTo>
                    <a:cubicBezTo>
                      <a:pt x="784995" y="414676"/>
                      <a:pt x="778169" y="446502"/>
                      <a:pt x="766792" y="444229"/>
                    </a:cubicBezTo>
                    <a:cubicBezTo>
                      <a:pt x="769068" y="439682"/>
                      <a:pt x="764517" y="439682"/>
                      <a:pt x="762242" y="435136"/>
                    </a:cubicBezTo>
                    <a:cubicBezTo>
                      <a:pt x="762242" y="437409"/>
                      <a:pt x="759966" y="444229"/>
                      <a:pt x="757691" y="439682"/>
                    </a:cubicBezTo>
                    <a:cubicBezTo>
                      <a:pt x="759966" y="441956"/>
                      <a:pt x="762242" y="441956"/>
                      <a:pt x="762242" y="444229"/>
                    </a:cubicBezTo>
                    <a:cubicBezTo>
                      <a:pt x="762242" y="448776"/>
                      <a:pt x="757691" y="451049"/>
                      <a:pt x="757691" y="455595"/>
                    </a:cubicBezTo>
                    <a:cubicBezTo>
                      <a:pt x="755415" y="453322"/>
                      <a:pt x="755415" y="457869"/>
                      <a:pt x="755415" y="460142"/>
                    </a:cubicBezTo>
                    <a:cubicBezTo>
                      <a:pt x="755415" y="460142"/>
                      <a:pt x="755415" y="457869"/>
                      <a:pt x="757691" y="457869"/>
                    </a:cubicBezTo>
                    <a:cubicBezTo>
                      <a:pt x="757691" y="460142"/>
                      <a:pt x="757691" y="462415"/>
                      <a:pt x="757691" y="464688"/>
                    </a:cubicBezTo>
                    <a:cubicBezTo>
                      <a:pt x="755415" y="462415"/>
                      <a:pt x="755415" y="462415"/>
                      <a:pt x="755415" y="462415"/>
                    </a:cubicBezTo>
                    <a:cubicBezTo>
                      <a:pt x="757691" y="464688"/>
                      <a:pt x="759966" y="469235"/>
                      <a:pt x="757691" y="471508"/>
                    </a:cubicBezTo>
                    <a:cubicBezTo>
                      <a:pt x="759966" y="471508"/>
                      <a:pt x="759966" y="469235"/>
                      <a:pt x="759966" y="466962"/>
                    </a:cubicBezTo>
                    <a:cubicBezTo>
                      <a:pt x="759966" y="476055"/>
                      <a:pt x="757691" y="482875"/>
                      <a:pt x="759966" y="491968"/>
                    </a:cubicBezTo>
                    <a:cubicBezTo>
                      <a:pt x="759966" y="501061"/>
                      <a:pt x="762242" y="507881"/>
                      <a:pt x="764517" y="514700"/>
                    </a:cubicBezTo>
                    <a:cubicBezTo>
                      <a:pt x="764517" y="528340"/>
                      <a:pt x="755415" y="539706"/>
                      <a:pt x="759966" y="553346"/>
                    </a:cubicBezTo>
                    <a:cubicBezTo>
                      <a:pt x="762242" y="562439"/>
                      <a:pt x="757691" y="562439"/>
                      <a:pt x="753140" y="569259"/>
                    </a:cubicBezTo>
                    <a:cubicBezTo>
                      <a:pt x="750865" y="573805"/>
                      <a:pt x="748589" y="582898"/>
                      <a:pt x="750865" y="589718"/>
                    </a:cubicBezTo>
                    <a:cubicBezTo>
                      <a:pt x="750865" y="596538"/>
                      <a:pt x="753140" y="605631"/>
                      <a:pt x="748589" y="607904"/>
                    </a:cubicBezTo>
                    <a:cubicBezTo>
                      <a:pt x="741763" y="610178"/>
                      <a:pt x="746314" y="621544"/>
                      <a:pt x="739488" y="623817"/>
                    </a:cubicBezTo>
                    <a:cubicBezTo>
                      <a:pt x="744039" y="628364"/>
                      <a:pt x="737213" y="632910"/>
                      <a:pt x="732662" y="635184"/>
                    </a:cubicBezTo>
                    <a:cubicBezTo>
                      <a:pt x="730386" y="637457"/>
                      <a:pt x="732662" y="639730"/>
                      <a:pt x="730386" y="642003"/>
                    </a:cubicBezTo>
                    <a:cubicBezTo>
                      <a:pt x="730386" y="646550"/>
                      <a:pt x="728111" y="651097"/>
                      <a:pt x="728111" y="655643"/>
                    </a:cubicBezTo>
                    <a:cubicBezTo>
                      <a:pt x="728111" y="660190"/>
                      <a:pt x="730386" y="662463"/>
                      <a:pt x="728111" y="664736"/>
                    </a:cubicBezTo>
                    <a:cubicBezTo>
                      <a:pt x="725836" y="669283"/>
                      <a:pt x="721285" y="669283"/>
                      <a:pt x="716734" y="671556"/>
                    </a:cubicBezTo>
                    <a:cubicBezTo>
                      <a:pt x="714459" y="673829"/>
                      <a:pt x="712184" y="676103"/>
                      <a:pt x="709908" y="678376"/>
                    </a:cubicBezTo>
                    <a:cubicBezTo>
                      <a:pt x="709908" y="680649"/>
                      <a:pt x="709908" y="682922"/>
                      <a:pt x="709908" y="685196"/>
                    </a:cubicBezTo>
                    <a:cubicBezTo>
                      <a:pt x="712184" y="685196"/>
                      <a:pt x="709908" y="687469"/>
                      <a:pt x="709908" y="689742"/>
                    </a:cubicBezTo>
                    <a:cubicBezTo>
                      <a:pt x="707633" y="685196"/>
                      <a:pt x="698532" y="687469"/>
                      <a:pt x="696256" y="687469"/>
                    </a:cubicBezTo>
                    <a:cubicBezTo>
                      <a:pt x="693981" y="687469"/>
                      <a:pt x="689430" y="689742"/>
                      <a:pt x="689430" y="687469"/>
                    </a:cubicBezTo>
                    <a:cubicBezTo>
                      <a:pt x="684880" y="687469"/>
                      <a:pt x="687155" y="682922"/>
                      <a:pt x="687155" y="680649"/>
                    </a:cubicBezTo>
                    <a:cubicBezTo>
                      <a:pt x="680329" y="682922"/>
                      <a:pt x="687155" y="685196"/>
                      <a:pt x="684880" y="687469"/>
                    </a:cubicBezTo>
                    <a:cubicBezTo>
                      <a:pt x="684880" y="692015"/>
                      <a:pt x="671227" y="689742"/>
                      <a:pt x="668952" y="692015"/>
                    </a:cubicBezTo>
                    <a:cubicBezTo>
                      <a:pt x="671227" y="689742"/>
                      <a:pt x="673503" y="689742"/>
                      <a:pt x="675778" y="689742"/>
                    </a:cubicBezTo>
                    <a:cubicBezTo>
                      <a:pt x="673503" y="687469"/>
                      <a:pt x="671227" y="685196"/>
                      <a:pt x="666677" y="687469"/>
                    </a:cubicBezTo>
                    <a:cubicBezTo>
                      <a:pt x="664401" y="689742"/>
                      <a:pt x="664401" y="687469"/>
                      <a:pt x="659851" y="689742"/>
                    </a:cubicBezTo>
                    <a:cubicBezTo>
                      <a:pt x="657575" y="689742"/>
                      <a:pt x="655300" y="689742"/>
                      <a:pt x="653025" y="692015"/>
                    </a:cubicBezTo>
                    <a:cubicBezTo>
                      <a:pt x="653025" y="694289"/>
                      <a:pt x="657575" y="694289"/>
                      <a:pt x="657575" y="696562"/>
                    </a:cubicBezTo>
                    <a:cubicBezTo>
                      <a:pt x="655300" y="698835"/>
                      <a:pt x="650749" y="696562"/>
                      <a:pt x="648474" y="698835"/>
                    </a:cubicBezTo>
                    <a:cubicBezTo>
                      <a:pt x="646199" y="701108"/>
                      <a:pt x="643923" y="703382"/>
                      <a:pt x="641648" y="703382"/>
                    </a:cubicBezTo>
                    <a:cubicBezTo>
                      <a:pt x="639373" y="705655"/>
                      <a:pt x="641648" y="707928"/>
                      <a:pt x="639373" y="710202"/>
                    </a:cubicBezTo>
                    <a:cubicBezTo>
                      <a:pt x="637097" y="712475"/>
                      <a:pt x="630271" y="705655"/>
                      <a:pt x="627996" y="710202"/>
                    </a:cubicBezTo>
                    <a:cubicBezTo>
                      <a:pt x="625721" y="710202"/>
                      <a:pt x="623445" y="714748"/>
                      <a:pt x="623445" y="714748"/>
                    </a:cubicBezTo>
                    <a:cubicBezTo>
                      <a:pt x="621170" y="712475"/>
                      <a:pt x="621170" y="710202"/>
                      <a:pt x="618894" y="712475"/>
                    </a:cubicBezTo>
                    <a:cubicBezTo>
                      <a:pt x="621170" y="714748"/>
                      <a:pt x="616619" y="714748"/>
                      <a:pt x="614344" y="717021"/>
                    </a:cubicBezTo>
                    <a:cubicBezTo>
                      <a:pt x="609793" y="719295"/>
                      <a:pt x="609793" y="721568"/>
                      <a:pt x="605242" y="726114"/>
                    </a:cubicBezTo>
                    <a:cubicBezTo>
                      <a:pt x="602967" y="728388"/>
                      <a:pt x="598416" y="728388"/>
                      <a:pt x="596141" y="732934"/>
                    </a:cubicBezTo>
                    <a:cubicBezTo>
                      <a:pt x="593866" y="735208"/>
                      <a:pt x="591590" y="737481"/>
                      <a:pt x="589315" y="739754"/>
                    </a:cubicBezTo>
                    <a:cubicBezTo>
                      <a:pt x="591590" y="742027"/>
                      <a:pt x="591590" y="742027"/>
                      <a:pt x="591590" y="742027"/>
                    </a:cubicBezTo>
                    <a:cubicBezTo>
                      <a:pt x="589315" y="744301"/>
                      <a:pt x="587040" y="746574"/>
                      <a:pt x="584764" y="748847"/>
                    </a:cubicBezTo>
                    <a:cubicBezTo>
                      <a:pt x="584764" y="746574"/>
                      <a:pt x="584764" y="746574"/>
                      <a:pt x="587040" y="744301"/>
                    </a:cubicBezTo>
                    <a:cubicBezTo>
                      <a:pt x="584764" y="746574"/>
                      <a:pt x="582489" y="746574"/>
                      <a:pt x="580214" y="744301"/>
                    </a:cubicBezTo>
                    <a:cubicBezTo>
                      <a:pt x="580214" y="748847"/>
                      <a:pt x="577938" y="751120"/>
                      <a:pt x="575663" y="748847"/>
                    </a:cubicBezTo>
                    <a:cubicBezTo>
                      <a:pt x="575663" y="751120"/>
                      <a:pt x="580214" y="753394"/>
                      <a:pt x="582489" y="753394"/>
                    </a:cubicBezTo>
                    <a:cubicBezTo>
                      <a:pt x="580214" y="753394"/>
                      <a:pt x="580214" y="755667"/>
                      <a:pt x="580214" y="757940"/>
                    </a:cubicBezTo>
                    <a:cubicBezTo>
                      <a:pt x="580214" y="760214"/>
                      <a:pt x="575663" y="757940"/>
                      <a:pt x="575663" y="760214"/>
                    </a:cubicBezTo>
                    <a:cubicBezTo>
                      <a:pt x="577938" y="760214"/>
                      <a:pt x="577938" y="760214"/>
                      <a:pt x="580214" y="760214"/>
                    </a:cubicBezTo>
                    <a:cubicBezTo>
                      <a:pt x="580214" y="762487"/>
                      <a:pt x="580214" y="764760"/>
                      <a:pt x="580214" y="764760"/>
                    </a:cubicBezTo>
                    <a:cubicBezTo>
                      <a:pt x="577938" y="767033"/>
                      <a:pt x="575663" y="769307"/>
                      <a:pt x="575663" y="764760"/>
                    </a:cubicBezTo>
                    <a:cubicBezTo>
                      <a:pt x="575663" y="767033"/>
                      <a:pt x="575663" y="769307"/>
                      <a:pt x="577938" y="769307"/>
                    </a:cubicBezTo>
                    <a:cubicBezTo>
                      <a:pt x="580214" y="771580"/>
                      <a:pt x="577938" y="776126"/>
                      <a:pt x="580214" y="778400"/>
                    </a:cubicBezTo>
                    <a:cubicBezTo>
                      <a:pt x="580214" y="780673"/>
                      <a:pt x="584764" y="785219"/>
                      <a:pt x="582489" y="789766"/>
                    </a:cubicBezTo>
                    <a:cubicBezTo>
                      <a:pt x="584764" y="789766"/>
                      <a:pt x="584764" y="792039"/>
                      <a:pt x="582489" y="794313"/>
                    </a:cubicBezTo>
                    <a:cubicBezTo>
                      <a:pt x="584764" y="794313"/>
                      <a:pt x="582489" y="803406"/>
                      <a:pt x="584764" y="807952"/>
                    </a:cubicBezTo>
                    <a:cubicBezTo>
                      <a:pt x="587040" y="810225"/>
                      <a:pt x="584764" y="819319"/>
                      <a:pt x="584764" y="821592"/>
                    </a:cubicBezTo>
                    <a:cubicBezTo>
                      <a:pt x="582489" y="821592"/>
                      <a:pt x="582489" y="821592"/>
                      <a:pt x="580214" y="819319"/>
                    </a:cubicBezTo>
                    <a:cubicBezTo>
                      <a:pt x="582489" y="821592"/>
                      <a:pt x="582489" y="823865"/>
                      <a:pt x="584764" y="823865"/>
                    </a:cubicBezTo>
                    <a:cubicBezTo>
                      <a:pt x="582489" y="828412"/>
                      <a:pt x="577938" y="828412"/>
                      <a:pt x="575663" y="832958"/>
                    </a:cubicBezTo>
                    <a:cubicBezTo>
                      <a:pt x="571112" y="835231"/>
                      <a:pt x="571112" y="837505"/>
                      <a:pt x="568837" y="842051"/>
                    </a:cubicBezTo>
                    <a:cubicBezTo>
                      <a:pt x="564286" y="851144"/>
                      <a:pt x="562011" y="860237"/>
                      <a:pt x="559735" y="869330"/>
                    </a:cubicBezTo>
                    <a:cubicBezTo>
                      <a:pt x="557460" y="878424"/>
                      <a:pt x="552909" y="885243"/>
                      <a:pt x="548359" y="894336"/>
                    </a:cubicBezTo>
                    <a:cubicBezTo>
                      <a:pt x="543808" y="901156"/>
                      <a:pt x="534707" y="905703"/>
                      <a:pt x="530156" y="912523"/>
                    </a:cubicBezTo>
                    <a:lnTo>
                      <a:pt x="529831" y="911223"/>
                    </a:lnTo>
                    <a:lnTo>
                      <a:pt x="530156" y="910249"/>
                    </a:lnTo>
                    <a:lnTo>
                      <a:pt x="529557" y="910130"/>
                    </a:lnTo>
                    <a:lnTo>
                      <a:pt x="527881" y="903429"/>
                    </a:lnTo>
                    <a:cubicBezTo>
                      <a:pt x="532431" y="905703"/>
                      <a:pt x="532431" y="905703"/>
                      <a:pt x="534707" y="903429"/>
                    </a:cubicBezTo>
                    <a:cubicBezTo>
                      <a:pt x="539257" y="901156"/>
                      <a:pt x="539257" y="898883"/>
                      <a:pt x="541533" y="896610"/>
                    </a:cubicBezTo>
                    <a:cubicBezTo>
                      <a:pt x="543808" y="894336"/>
                      <a:pt x="546083" y="894336"/>
                      <a:pt x="546083" y="889790"/>
                    </a:cubicBezTo>
                    <a:cubicBezTo>
                      <a:pt x="546083" y="887517"/>
                      <a:pt x="546083" y="885243"/>
                      <a:pt x="548359" y="887517"/>
                    </a:cubicBezTo>
                    <a:cubicBezTo>
                      <a:pt x="546083" y="885243"/>
                      <a:pt x="548359" y="882970"/>
                      <a:pt x="550634" y="880697"/>
                    </a:cubicBezTo>
                    <a:cubicBezTo>
                      <a:pt x="552909" y="878424"/>
                      <a:pt x="552909" y="876150"/>
                      <a:pt x="552909" y="873877"/>
                    </a:cubicBezTo>
                    <a:cubicBezTo>
                      <a:pt x="552909" y="873877"/>
                      <a:pt x="550634" y="867057"/>
                      <a:pt x="552909" y="871604"/>
                    </a:cubicBezTo>
                    <a:cubicBezTo>
                      <a:pt x="552909" y="869330"/>
                      <a:pt x="552909" y="864784"/>
                      <a:pt x="550634" y="864784"/>
                    </a:cubicBezTo>
                    <a:cubicBezTo>
                      <a:pt x="550634" y="864784"/>
                      <a:pt x="546083" y="869330"/>
                      <a:pt x="546083" y="869330"/>
                    </a:cubicBezTo>
                    <a:cubicBezTo>
                      <a:pt x="543808" y="869330"/>
                      <a:pt x="543808" y="867057"/>
                      <a:pt x="541533" y="867057"/>
                    </a:cubicBezTo>
                    <a:cubicBezTo>
                      <a:pt x="539257" y="864784"/>
                      <a:pt x="539257" y="862511"/>
                      <a:pt x="536982" y="860237"/>
                    </a:cubicBezTo>
                    <a:cubicBezTo>
                      <a:pt x="536982" y="867057"/>
                      <a:pt x="539257" y="867057"/>
                      <a:pt x="541533" y="869330"/>
                    </a:cubicBezTo>
                    <a:cubicBezTo>
                      <a:pt x="536982" y="871604"/>
                      <a:pt x="541533" y="876150"/>
                      <a:pt x="539257" y="878424"/>
                    </a:cubicBezTo>
                    <a:lnTo>
                      <a:pt x="539257" y="880697"/>
                    </a:lnTo>
                    <a:cubicBezTo>
                      <a:pt x="539257" y="882970"/>
                      <a:pt x="536982" y="882970"/>
                      <a:pt x="536982" y="882970"/>
                    </a:cubicBezTo>
                    <a:cubicBezTo>
                      <a:pt x="536982" y="887517"/>
                      <a:pt x="534707" y="889790"/>
                      <a:pt x="530156" y="892063"/>
                    </a:cubicBezTo>
                    <a:cubicBezTo>
                      <a:pt x="527881" y="894336"/>
                      <a:pt x="530156" y="896610"/>
                      <a:pt x="527881" y="898883"/>
                    </a:cubicBezTo>
                    <a:cubicBezTo>
                      <a:pt x="527881" y="901156"/>
                      <a:pt x="523330" y="905703"/>
                      <a:pt x="527881" y="905703"/>
                    </a:cubicBezTo>
                    <a:cubicBezTo>
                      <a:pt x="526743" y="906839"/>
                      <a:pt x="526743" y="908544"/>
                      <a:pt x="527312" y="909681"/>
                    </a:cubicBezTo>
                    <a:lnTo>
                      <a:pt x="529557" y="910130"/>
                    </a:lnTo>
                    <a:lnTo>
                      <a:pt x="529831" y="911223"/>
                    </a:lnTo>
                    <a:lnTo>
                      <a:pt x="527881" y="917069"/>
                    </a:lnTo>
                    <a:cubicBezTo>
                      <a:pt x="525605" y="921616"/>
                      <a:pt x="525605" y="923889"/>
                      <a:pt x="525605" y="928435"/>
                    </a:cubicBezTo>
                    <a:cubicBezTo>
                      <a:pt x="523330" y="937529"/>
                      <a:pt x="518779" y="939802"/>
                      <a:pt x="514229" y="946622"/>
                    </a:cubicBezTo>
                    <a:cubicBezTo>
                      <a:pt x="514229" y="948895"/>
                      <a:pt x="511953" y="951168"/>
                      <a:pt x="509678" y="951168"/>
                    </a:cubicBezTo>
                    <a:cubicBezTo>
                      <a:pt x="509678" y="948895"/>
                      <a:pt x="507402" y="946622"/>
                      <a:pt x="507402" y="944348"/>
                    </a:cubicBezTo>
                    <a:cubicBezTo>
                      <a:pt x="505127" y="942075"/>
                      <a:pt x="505127" y="939802"/>
                      <a:pt x="505127" y="937529"/>
                    </a:cubicBezTo>
                    <a:cubicBezTo>
                      <a:pt x="505127" y="932982"/>
                      <a:pt x="507402" y="930709"/>
                      <a:pt x="509678" y="928435"/>
                    </a:cubicBezTo>
                    <a:cubicBezTo>
                      <a:pt x="511953" y="923889"/>
                      <a:pt x="507402" y="923889"/>
                      <a:pt x="505127" y="921616"/>
                    </a:cubicBezTo>
                    <a:cubicBezTo>
                      <a:pt x="500576" y="919342"/>
                      <a:pt x="500576" y="917069"/>
                      <a:pt x="498301" y="914796"/>
                    </a:cubicBezTo>
                    <a:cubicBezTo>
                      <a:pt x="493750" y="907976"/>
                      <a:pt x="486924" y="907976"/>
                      <a:pt x="482374" y="903429"/>
                    </a:cubicBezTo>
                    <a:cubicBezTo>
                      <a:pt x="477823" y="898883"/>
                      <a:pt x="473272" y="896610"/>
                      <a:pt x="468722" y="894336"/>
                    </a:cubicBezTo>
                    <a:cubicBezTo>
                      <a:pt x="468722" y="894336"/>
                      <a:pt x="466446" y="892063"/>
                      <a:pt x="466446" y="892063"/>
                    </a:cubicBezTo>
                    <a:cubicBezTo>
                      <a:pt x="461896" y="894336"/>
                      <a:pt x="455069" y="885243"/>
                      <a:pt x="450519" y="880697"/>
                    </a:cubicBezTo>
                    <a:cubicBezTo>
                      <a:pt x="452794" y="885243"/>
                      <a:pt x="443693" y="889790"/>
                      <a:pt x="443693" y="882970"/>
                    </a:cubicBezTo>
                    <a:cubicBezTo>
                      <a:pt x="443693" y="876150"/>
                      <a:pt x="436867" y="873877"/>
                      <a:pt x="432316" y="869330"/>
                    </a:cubicBezTo>
                    <a:cubicBezTo>
                      <a:pt x="430041" y="867057"/>
                      <a:pt x="423215" y="860237"/>
                      <a:pt x="418664" y="862511"/>
                    </a:cubicBezTo>
                    <a:cubicBezTo>
                      <a:pt x="416389" y="864784"/>
                      <a:pt x="416389" y="867057"/>
                      <a:pt x="414113" y="867057"/>
                    </a:cubicBezTo>
                    <a:cubicBezTo>
                      <a:pt x="411838" y="867057"/>
                      <a:pt x="409563" y="867057"/>
                      <a:pt x="407287" y="864784"/>
                    </a:cubicBezTo>
                    <a:cubicBezTo>
                      <a:pt x="411838" y="862511"/>
                      <a:pt x="409563" y="855691"/>
                      <a:pt x="414113" y="853418"/>
                    </a:cubicBezTo>
                    <a:cubicBezTo>
                      <a:pt x="418664" y="851144"/>
                      <a:pt x="420939" y="846598"/>
                      <a:pt x="423215" y="842051"/>
                    </a:cubicBezTo>
                    <a:cubicBezTo>
                      <a:pt x="425490" y="835231"/>
                      <a:pt x="427765" y="830685"/>
                      <a:pt x="432316" y="826138"/>
                    </a:cubicBezTo>
                    <a:cubicBezTo>
                      <a:pt x="432316" y="823865"/>
                      <a:pt x="436867" y="817045"/>
                      <a:pt x="439142" y="821592"/>
                    </a:cubicBezTo>
                    <a:cubicBezTo>
                      <a:pt x="439142" y="819319"/>
                      <a:pt x="439142" y="817045"/>
                      <a:pt x="436867" y="817045"/>
                    </a:cubicBezTo>
                    <a:cubicBezTo>
                      <a:pt x="441417" y="814772"/>
                      <a:pt x="443693" y="810225"/>
                      <a:pt x="445968" y="807952"/>
                    </a:cubicBezTo>
                    <a:cubicBezTo>
                      <a:pt x="450519" y="805679"/>
                      <a:pt x="450519" y="803406"/>
                      <a:pt x="455069" y="801132"/>
                    </a:cubicBezTo>
                    <a:cubicBezTo>
                      <a:pt x="457345" y="798859"/>
                      <a:pt x="459620" y="798859"/>
                      <a:pt x="464171" y="796586"/>
                    </a:cubicBezTo>
                    <a:cubicBezTo>
                      <a:pt x="466446" y="794313"/>
                      <a:pt x="470997" y="789766"/>
                      <a:pt x="473272" y="792039"/>
                    </a:cubicBezTo>
                    <a:cubicBezTo>
                      <a:pt x="473272" y="785219"/>
                      <a:pt x="473272" y="782946"/>
                      <a:pt x="473272" y="776126"/>
                    </a:cubicBezTo>
                    <a:cubicBezTo>
                      <a:pt x="473272" y="771580"/>
                      <a:pt x="473272" y="767033"/>
                      <a:pt x="470997" y="762487"/>
                    </a:cubicBezTo>
                    <a:cubicBezTo>
                      <a:pt x="468722" y="757940"/>
                      <a:pt x="468722" y="753394"/>
                      <a:pt x="464171" y="751120"/>
                    </a:cubicBezTo>
                    <a:cubicBezTo>
                      <a:pt x="461896" y="751120"/>
                      <a:pt x="457345" y="751120"/>
                      <a:pt x="457345" y="753394"/>
                    </a:cubicBezTo>
                    <a:cubicBezTo>
                      <a:pt x="455069" y="753394"/>
                      <a:pt x="452794" y="753394"/>
                      <a:pt x="452794" y="753394"/>
                    </a:cubicBezTo>
                    <a:cubicBezTo>
                      <a:pt x="450519" y="753394"/>
                      <a:pt x="450519" y="748847"/>
                      <a:pt x="450519" y="748847"/>
                    </a:cubicBezTo>
                    <a:cubicBezTo>
                      <a:pt x="450519" y="742027"/>
                      <a:pt x="452794" y="739754"/>
                      <a:pt x="452794" y="735208"/>
                    </a:cubicBezTo>
                    <a:cubicBezTo>
                      <a:pt x="452794" y="730661"/>
                      <a:pt x="452794" y="726114"/>
                      <a:pt x="455069" y="723841"/>
                    </a:cubicBezTo>
                    <a:cubicBezTo>
                      <a:pt x="455069" y="719295"/>
                      <a:pt x="450519" y="717021"/>
                      <a:pt x="455069" y="714748"/>
                    </a:cubicBezTo>
                    <a:cubicBezTo>
                      <a:pt x="452794" y="712475"/>
                      <a:pt x="450519" y="710202"/>
                      <a:pt x="448243" y="710202"/>
                    </a:cubicBezTo>
                    <a:cubicBezTo>
                      <a:pt x="443693" y="710202"/>
                      <a:pt x="441417" y="712475"/>
                      <a:pt x="439142" y="712475"/>
                    </a:cubicBezTo>
                    <a:cubicBezTo>
                      <a:pt x="430041" y="717021"/>
                      <a:pt x="427765" y="707928"/>
                      <a:pt x="427765" y="701108"/>
                    </a:cubicBezTo>
                    <a:cubicBezTo>
                      <a:pt x="425490" y="696562"/>
                      <a:pt x="423215" y="694289"/>
                      <a:pt x="423215" y="689742"/>
                    </a:cubicBezTo>
                    <a:cubicBezTo>
                      <a:pt x="420939" y="680649"/>
                      <a:pt x="416389" y="678376"/>
                      <a:pt x="414113" y="673829"/>
                    </a:cubicBezTo>
                    <a:cubicBezTo>
                      <a:pt x="411838" y="671556"/>
                      <a:pt x="407287" y="671556"/>
                      <a:pt x="405012" y="669283"/>
                    </a:cubicBezTo>
                    <a:cubicBezTo>
                      <a:pt x="402736" y="667009"/>
                      <a:pt x="402736" y="669283"/>
                      <a:pt x="398186" y="673829"/>
                    </a:cubicBezTo>
                    <a:cubicBezTo>
                      <a:pt x="393635" y="682922"/>
                      <a:pt x="393635" y="673829"/>
                      <a:pt x="391360" y="671556"/>
                    </a:cubicBezTo>
                    <a:cubicBezTo>
                      <a:pt x="386809" y="671556"/>
                      <a:pt x="382258" y="671556"/>
                      <a:pt x="379983" y="669283"/>
                    </a:cubicBezTo>
                    <a:cubicBezTo>
                      <a:pt x="377708" y="669283"/>
                      <a:pt x="370882" y="669283"/>
                      <a:pt x="370882" y="667009"/>
                    </a:cubicBezTo>
                    <a:cubicBezTo>
                      <a:pt x="368606" y="664736"/>
                      <a:pt x="370882" y="662463"/>
                      <a:pt x="370882" y="660190"/>
                    </a:cubicBezTo>
                    <a:cubicBezTo>
                      <a:pt x="373157" y="657916"/>
                      <a:pt x="370882" y="653370"/>
                      <a:pt x="370882" y="651097"/>
                    </a:cubicBezTo>
                    <a:cubicBezTo>
                      <a:pt x="373157" y="648823"/>
                      <a:pt x="370882" y="644277"/>
                      <a:pt x="370882" y="639730"/>
                    </a:cubicBezTo>
                    <a:cubicBezTo>
                      <a:pt x="373157" y="637457"/>
                      <a:pt x="366331" y="637457"/>
                      <a:pt x="368606" y="632910"/>
                    </a:cubicBezTo>
                    <a:cubicBezTo>
                      <a:pt x="366331" y="632910"/>
                      <a:pt x="364056" y="626091"/>
                      <a:pt x="364056" y="623817"/>
                    </a:cubicBezTo>
                    <a:cubicBezTo>
                      <a:pt x="359505" y="616998"/>
                      <a:pt x="373157" y="616998"/>
                      <a:pt x="366331" y="612451"/>
                    </a:cubicBezTo>
                    <a:cubicBezTo>
                      <a:pt x="359505" y="607904"/>
                      <a:pt x="364056" y="605631"/>
                      <a:pt x="366331" y="598811"/>
                    </a:cubicBezTo>
                    <a:cubicBezTo>
                      <a:pt x="366331" y="596538"/>
                      <a:pt x="368606" y="591992"/>
                      <a:pt x="368606" y="589718"/>
                    </a:cubicBezTo>
                    <a:cubicBezTo>
                      <a:pt x="366331" y="587445"/>
                      <a:pt x="368606" y="585172"/>
                      <a:pt x="368606" y="580625"/>
                    </a:cubicBezTo>
                    <a:cubicBezTo>
                      <a:pt x="373157" y="573805"/>
                      <a:pt x="370882" y="571532"/>
                      <a:pt x="366331" y="564712"/>
                    </a:cubicBezTo>
                    <a:cubicBezTo>
                      <a:pt x="364056" y="560166"/>
                      <a:pt x="364056" y="553346"/>
                      <a:pt x="361780" y="555619"/>
                    </a:cubicBezTo>
                    <a:cubicBezTo>
                      <a:pt x="357230" y="557892"/>
                      <a:pt x="350403" y="551073"/>
                      <a:pt x="350403" y="546526"/>
                    </a:cubicBezTo>
                    <a:cubicBezTo>
                      <a:pt x="348128" y="541980"/>
                      <a:pt x="348128" y="539706"/>
                      <a:pt x="348128" y="535160"/>
                    </a:cubicBezTo>
                    <a:cubicBezTo>
                      <a:pt x="348128" y="532887"/>
                      <a:pt x="350403" y="530613"/>
                      <a:pt x="350403" y="526067"/>
                    </a:cubicBezTo>
                    <a:cubicBezTo>
                      <a:pt x="343577" y="528340"/>
                      <a:pt x="336751" y="526067"/>
                      <a:pt x="329925" y="526067"/>
                    </a:cubicBezTo>
                    <a:cubicBezTo>
                      <a:pt x="325375" y="526067"/>
                      <a:pt x="313998" y="526067"/>
                      <a:pt x="311723" y="523793"/>
                    </a:cubicBezTo>
                    <a:cubicBezTo>
                      <a:pt x="309447" y="521520"/>
                      <a:pt x="309447" y="514700"/>
                      <a:pt x="307172" y="510154"/>
                    </a:cubicBezTo>
                    <a:cubicBezTo>
                      <a:pt x="307172" y="503334"/>
                      <a:pt x="300346" y="501061"/>
                      <a:pt x="300346" y="496514"/>
                    </a:cubicBezTo>
                    <a:cubicBezTo>
                      <a:pt x="302621" y="496514"/>
                      <a:pt x="304897" y="496514"/>
                      <a:pt x="307172" y="496514"/>
                    </a:cubicBezTo>
                    <a:cubicBezTo>
                      <a:pt x="304897" y="489694"/>
                      <a:pt x="302621" y="482875"/>
                      <a:pt x="300346" y="478328"/>
                    </a:cubicBezTo>
                    <a:cubicBezTo>
                      <a:pt x="300346" y="476055"/>
                      <a:pt x="300346" y="476055"/>
                      <a:pt x="300346" y="473782"/>
                    </a:cubicBezTo>
                    <a:cubicBezTo>
                      <a:pt x="300346" y="469235"/>
                      <a:pt x="300346" y="466962"/>
                      <a:pt x="298070" y="464688"/>
                    </a:cubicBezTo>
                    <a:cubicBezTo>
                      <a:pt x="291244" y="460142"/>
                      <a:pt x="284418" y="457869"/>
                      <a:pt x="282143" y="457869"/>
                    </a:cubicBezTo>
                    <a:cubicBezTo>
                      <a:pt x="270766" y="460142"/>
                      <a:pt x="273042" y="457869"/>
                      <a:pt x="270766" y="457869"/>
                    </a:cubicBezTo>
                    <a:cubicBezTo>
                      <a:pt x="268491" y="457869"/>
                      <a:pt x="263940" y="451049"/>
                      <a:pt x="261665" y="451049"/>
                    </a:cubicBezTo>
                    <a:cubicBezTo>
                      <a:pt x="261665" y="448776"/>
                      <a:pt x="259390" y="448776"/>
                      <a:pt x="257114" y="448776"/>
                    </a:cubicBezTo>
                    <a:cubicBezTo>
                      <a:pt x="257114" y="448776"/>
                      <a:pt x="252564" y="446502"/>
                      <a:pt x="250288" y="444229"/>
                    </a:cubicBezTo>
                    <a:cubicBezTo>
                      <a:pt x="250288" y="444229"/>
                      <a:pt x="248013" y="444229"/>
                      <a:pt x="248013" y="444229"/>
                    </a:cubicBezTo>
                    <a:cubicBezTo>
                      <a:pt x="243462" y="441956"/>
                      <a:pt x="243462" y="439682"/>
                      <a:pt x="241187" y="437409"/>
                    </a:cubicBezTo>
                    <a:cubicBezTo>
                      <a:pt x="241187" y="435136"/>
                      <a:pt x="238911" y="437409"/>
                      <a:pt x="236636" y="437409"/>
                    </a:cubicBezTo>
                    <a:cubicBezTo>
                      <a:pt x="234361" y="439682"/>
                      <a:pt x="232085" y="435136"/>
                      <a:pt x="232085" y="435136"/>
                    </a:cubicBezTo>
                    <a:cubicBezTo>
                      <a:pt x="225259" y="430589"/>
                      <a:pt x="225259" y="435136"/>
                      <a:pt x="218433" y="432862"/>
                    </a:cubicBezTo>
                    <a:cubicBezTo>
                      <a:pt x="213883" y="432862"/>
                      <a:pt x="213883" y="432862"/>
                      <a:pt x="209332" y="428316"/>
                    </a:cubicBezTo>
                    <a:cubicBezTo>
                      <a:pt x="209332" y="426043"/>
                      <a:pt x="202506" y="421496"/>
                      <a:pt x="200231" y="421496"/>
                    </a:cubicBezTo>
                    <a:cubicBezTo>
                      <a:pt x="197955" y="421496"/>
                      <a:pt x="197955" y="416949"/>
                      <a:pt x="197955" y="416949"/>
                    </a:cubicBezTo>
                    <a:cubicBezTo>
                      <a:pt x="195680" y="414676"/>
                      <a:pt x="193404" y="414676"/>
                      <a:pt x="193404" y="412403"/>
                    </a:cubicBezTo>
                    <a:cubicBezTo>
                      <a:pt x="193404" y="410130"/>
                      <a:pt x="188854" y="405583"/>
                      <a:pt x="188854" y="401037"/>
                    </a:cubicBezTo>
                    <a:cubicBezTo>
                      <a:pt x="188854" y="398763"/>
                      <a:pt x="191129" y="396490"/>
                      <a:pt x="191129" y="394217"/>
                    </a:cubicBezTo>
                    <a:cubicBezTo>
                      <a:pt x="191129" y="391944"/>
                      <a:pt x="188854" y="391944"/>
                      <a:pt x="188854" y="389670"/>
                    </a:cubicBezTo>
                    <a:cubicBezTo>
                      <a:pt x="186578" y="387397"/>
                      <a:pt x="186578" y="385124"/>
                      <a:pt x="186578" y="385124"/>
                    </a:cubicBezTo>
                    <a:cubicBezTo>
                      <a:pt x="186578" y="382850"/>
                      <a:pt x="188854" y="380577"/>
                      <a:pt x="188854" y="378304"/>
                    </a:cubicBezTo>
                    <a:cubicBezTo>
                      <a:pt x="188854" y="373757"/>
                      <a:pt x="188854" y="366938"/>
                      <a:pt x="186578" y="364664"/>
                    </a:cubicBezTo>
                    <a:cubicBezTo>
                      <a:pt x="184303" y="364664"/>
                      <a:pt x="184303" y="366938"/>
                      <a:pt x="182028" y="366938"/>
                    </a:cubicBezTo>
                    <a:cubicBezTo>
                      <a:pt x="179752" y="366938"/>
                      <a:pt x="175202" y="366938"/>
                      <a:pt x="172926" y="366938"/>
                    </a:cubicBezTo>
                    <a:cubicBezTo>
                      <a:pt x="168376" y="369211"/>
                      <a:pt x="159274" y="369211"/>
                      <a:pt x="156999" y="371484"/>
                    </a:cubicBezTo>
                    <a:cubicBezTo>
                      <a:pt x="152448" y="378304"/>
                      <a:pt x="152448" y="380577"/>
                      <a:pt x="145622" y="380577"/>
                    </a:cubicBezTo>
                    <a:cubicBezTo>
                      <a:pt x="143347" y="380577"/>
                      <a:pt x="141071" y="385124"/>
                      <a:pt x="141071" y="387397"/>
                    </a:cubicBezTo>
                    <a:cubicBezTo>
                      <a:pt x="138796" y="389670"/>
                      <a:pt x="136521" y="387397"/>
                      <a:pt x="134245" y="387397"/>
                    </a:cubicBezTo>
                    <a:cubicBezTo>
                      <a:pt x="131970" y="387397"/>
                      <a:pt x="129695" y="389670"/>
                      <a:pt x="129695" y="391944"/>
                    </a:cubicBezTo>
                    <a:cubicBezTo>
                      <a:pt x="127419" y="396490"/>
                      <a:pt x="125144" y="398763"/>
                      <a:pt x="122869" y="398763"/>
                    </a:cubicBezTo>
                    <a:cubicBezTo>
                      <a:pt x="120593" y="398763"/>
                      <a:pt x="116043" y="401037"/>
                      <a:pt x="116043" y="396490"/>
                    </a:cubicBezTo>
                    <a:cubicBezTo>
                      <a:pt x="118318" y="396490"/>
                      <a:pt x="113767" y="396490"/>
                      <a:pt x="111492" y="396490"/>
                    </a:cubicBezTo>
                    <a:cubicBezTo>
                      <a:pt x="104666" y="396490"/>
                      <a:pt x="95565" y="394217"/>
                      <a:pt x="91014" y="394217"/>
                    </a:cubicBezTo>
                    <a:cubicBezTo>
                      <a:pt x="88738" y="394217"/>
                      <a:pt x="86463" y="398763"/>
                      <a:pt x="81912" y="398763"/>
                    </a:cubicBezTo>
                    <a:cubicBezTo>
                      <a:pt x="79637" y="396490"/>
                      <a:pt x="79637" y="394217"/>
                      <a:pt x="77362" y="396490"/>
                    </a:cubicBezTo>
                    <a:cubicBezTo>
                      <a:pt x="75086" y="387397"/>
                      <a:pt x="75086" y="380577"/>
                      <a:pt x="75086" y="373757"/>
                    </a:cubicBezTo>
                    <a:cubicBezTo>
                      <a:pt x="75086" y="369211"/>
                      <a:pt x="75086" y="369211"/>
                      <a:pt x="77362" y="364664"/>
                    </a:cubicBezTo>
                    <a:cubicBezTo>
                      <a:pt x="77362" y="364664"/>
                      <a:pt x="75086" y="364664"/>
                      <a:pt x="75086" y="362391"/>
                    </a:cubicBezTo>
                    <a:cubicBezTo>
                      <a:pt x="75086" y="360118"/>
                      <a:pt x="77362" y="360118"/>
                      <a:pt x="77362" y="357844"/>
                    </a:cubicBezTo>
                    <a:cubicBezTo>
                      <a:pt x="72811" y="357844"/>
                      <a:pt x="65985" y="366938"/>
                      <a:pt x="63710" y="369211"/>
                    </a:cubicBezTo>
                    <a:cubicBezTo>
                      <a:pt x="56884" y="373757"/>
                      <a:pt x="47782" y="373757"/>
                      <a:pt x="40956" y="371484"/>
                    </a:cubicBezTo>
                    <a:cubicBezTo>
                      <a:pt x="43232" y="369211"/>
                      <a:pt x="38681" y="362391"/>
                      <a:pt x="36405" y="360118"/>
                    </a:cubicBezTo>
                    <a:cubicBezTo>
                      <a:pt x="31855" y="357844"/>
                      <a:pt x="25029" y="360118"/>
                      <a:pt x="18203" y="357844"/>
                    </a:cubicBezTo>
                    <a:cubicBezTo>
                      <a:pt x="25029" y="348751"/>
                      <a:pt x="22753" y="346478"/>
                      <a:pt x="15927" y="339658"/>
                    </a:cubicBezTo>
                    <a:cubicBezTo>
                      <a:pt x="15927" y="339658"/>
                      <a:pt x="15927" y="337385"/>
                      <a:pt x="13652" y="335112"/>
                    </a:cubicBezTo>
                    <a:cubicBezTo>
                      <a:pt x="13652" y="335112"/>
                      <a:pt x="11377" y="332839"/>
                      <a:pt x="11377" y="332839"/>
                    </a:cubicBezTo>
                    <a:cubicBezTo>
                      <a:pt x="9101" y="328292"/>
                      <a:pt x="9101" y="323745"/>
                      <a:pt x="4551" y="321472"/>
                    </a:cubicBezTo>
                    <a:cubicBezTo>
                      <a:pt x="9101" y="319199"/>
                      <a:pt x="0" y="314652"/>
                      <a:pt x="0" y="312379"/>
                    </a:cubicBezTo>
                    <a:cubicBezTo>
                      <a:pt x="2275" y="310106"/>
                      <a:pt x="0" y="307833"/>
                      <a:pt x="4551" y="307833"/>
                    </a:cubicBezTo>
                    <a:cubicBezTo>
                      <a:pt x="6826" y="305559"/>
                      <a:pt x="2275" y="303286"/>
                      <a:pt x="4551" y="298739"/>
                    </a:cubicBezTo>
                    <a:cubicBezTo>
                      <a:pt x="4551" y="291920"/>
                      <a:pt x="11377" y="291920"/>
                      <a:pt x="15927" y="287373"/>
                    </a:cubicBezTo>
                    <a:cubicBezTo>
                      <a:pt x="18203" y="285100"/>
                      <a:pt x="15927" y="280553"/>
                      <a:pt x="15927" y="278280"/>
                    </a:cubicBezTo>
                    <a:cubicBezTo>
                      <a:pt x="13652" y="273733"/>
                      <a:pt x="15927" y="271460"/>
                      <a:pt x="18203" y="269187"/>
                    </a:cubicBezTo>
                    <a:cubicBezTo>
                      <a:pt x="20478" y="264640"/>
                      <a:pt x="18203" y="257821"/>
                      <a:pt x="20478" y="253274"/>
                    </a:cubicBezTo>
                    <a:cubicBezTo>
                      <a:pt x="22753" y="251001"/>
                      <a:pt x="27304" y="251001"/>
                      <a:pt x="29579" y="248728"/>
                    </a:cubicBezTo>
                    <a:cubicBezTo>
                      <a:pt x="31855" y="246454"/>
                      <a:pt x="31855" y="244181"/>
                      <a:pt x="34130" y="244181"/>
                    </a:cubicBezTo>
                    <a:cubicBezTo>
                      <a:pt x="36405" y="241908"/>
                      <a:pt x="38681" y="239634"/>
                      <a:pt x="43232" y="237361"/>
                    </a:cubicBezTo>
                    <a:cubicBezTo>
                      <a:pt x="45507" y="237361"/>
                      <a:pt x="50058" y="237361"/>
                      <a:pt x="52333" y="237361"/>
                    </a:cubicBezTo>
                    <a:cubicBezTo>
                      <a:pt x="56884" y="235088"/>
                      <a:pt x="61434" y="235088"/>
                      <a:pt x="63710" y="232815"/>
                    </a:cubicBezTo>
                    <a:cubicBezTo>
                      <a:pt x="63710" y="232815"/>
                      <a:pt x="63710" y="230541"/>
                      <a:pt x="68260" y="228268"/>
                    </a:cubicBezTo>
                    <a:cubicBezTo>
                      <a:pt x="70536" y="228268"/>
                      <a:pt x="70536" y="230541"/>
                      <a:pt x="72811" y="230541"/>
                    </a:cubicBezTo>
                    <a:cubicBezTo>
                      <a:pt x="75086" y="230541"/>
                      <a:pt x="77362" y="232815"/>
                      <a:pt x="77362" y="235088"/>
                    </a:cubicBezTo>
                    <a:cubicBezTo>
                      <a:pt x="79637" y="232815"/>
                      <a:pt x="79637" y="232815"/>
                      <a:pt x="79637" y="232815"/>
                    </a:cubicBezTo>
                    <a:cubicBezTo>
                      <a:pt x="81912" y="237361"/>
                      <a:pt x="84188" y="228268"/>
                      <a:pt x="84188" y="225995"/>
                    </a:cubicBezTo>
                    <a:cubicBezTo>
                      <a:pt x="86463" y="216902"/>
                      <a:pt x="86463" y="210082"/>
                      <a:pt x="88738" y="200989"/>
                    </a:cubicBezTo>
                    <a:cubicBezTo>
                      <a:pt x="88738" y="191896"/>
                      <a:pt x="88738" y="180529"/>
                      <a:pt x="91014" y="169163"/>
                    </a:cubicBezTo>
                    <a:cubicBezTo>
                      <a:pt x="93289" y="164617"/>
                      <a:pt x="95565" y="162343"/>
                      <a:pt x="93289" y="157797"/>
                    </a:cubicBezTo>
                    <a:cubicBezTo>
                      <a:pt x="93289" y="153250"/>
                      <a:pt x="88738" y="150977"/>
                      <a:pt x="88738" y="146430"/>
                    </a:cubicBezTo>
                    <a:cubicBezTo>
                      <a:pt x="88738" y="139611"/>
                      <a:pt x="86463" y="139611"/>
                      <a:pt x="84188" y="137337"/>
                    </a:cubicBezTo>
                    <a:cubicBezTo>
                      <a:pt x="79637" y="132791"/>
                      <a:pt x="79637" y="128244"/>
                      <a:pt x="79637" y="123698"/>
                    </a:cubicBezTo>
                    <a:cubicBezTo>
                      <a:pt x="79637" y="121424"/>
                      <a:pt x="79637" y="116878"/>
                      <a:pt x="79637" y="114605"/>
                    </a:cubicBezTo>
                    <a:cubicBezTo>
                      <a:pt x="84188" y="110058"/>
                      <a:pt x="91014" y="107785"/>
                      <a:pt x="95565" y="112331"/>
                    </a:cubicBezTo>
                    <a:cubicBezTo>
                      <a:pt x="97840" y="112331"/>
                      <a:pt x="100115" y="112331"/>
                      <a:pt x="97840" y="107785"/>
                    </a:cubicBezTo>
                    <a:cubicBezTo>
                      <a:pt x="97840" y="103238"/>
                      <a:pt x="88738" y="98692"/>
                      <a:pt x="84188" y="103238"/>
                    </a:cubicBezTo>
                    <a:cubicBezTo>
                      <a:pt x="84188" y="98692"/>
                      <a:pt x="81912" y="89599"/>
                      <a:pt x="84188" y="87325"/>
                    </a:cubicBezTo>
                    <a:cubicBezTo>
                      <a:pt x="86463" y="82779"/>
                      <a:pt x="93289" y="85052"/>
                      <a:pt x="95565" y="85052"/>
                    </a:cubicBezTo>
                    <a:cubicBezTo>
                      <a:pt x="102391" y="85052"/>
                      <a:pt x="106941" y="85052"/>
                      <a:pt x="113767" y="87325"/>
                    </a:cubicBezTo>
                    <a:cubicBezTo>
                      <a:pt x="113767" y="87325"/>
                      <a:pt x="118318" y="87325"/>
                      <a:pt x="118318" y="85052"/>
                    </a:cubicBezTo>
                    <a:cubicBezTo>
                      <a:pt x="118318" y="85052"/>
                      <a:pt x="118318" y="80506"/>
                      <a:pt x="118318" y="80506"/>
                    </a:cubicBezTo>
                    <a:cubicBezTo>
                      <a:pt x="122869" y="78232"/>
                      <a:pt x="122869" y="87325"/>
                      <a:pt x="125144" y="85052"/>
                    </a:cubicBezTo>
                    <a:cubicBezTo>
                      <a:pt x="129695" y="82779"/>
                      <a:pt x="131970" y="80506"/>
                      <a:pt x="134245" y="78232"/>
                    </a:cubicBezTo>
                    <a:cubicBezTo>
                      <a:pt x="138796" y="73686"/>
                      <a:pt x="141071" y="80506"/>
                      <a:pt x="141071" y="82779"/>
                    </a:cubicBezTo>
                    <a:cubicBezTo>
                      <a:pt x="143347" y="87325"/>
                      <a:pt x="143347" y="89599"/>
                      <a:pt x="143347" y="96418"/>
                    </a:cubicBezTo>
                    <a:cubicBezTo>
                      <a:pt x="143347" y="96418"/>
                      <a:pt x="143347" y="98692"/>
                      <a:pt x="145622" y="98692"/>
                    </a:cubicBezTo>
                    <a:cubicBezTo>
                      <a:pt x="147898" y="98692"/>
                      <a:pt x="147898" y="96418"/>
                      <a:pt x="150173" y="98692"/>
                    </a:cubicBezTo>
                    <a:cubicBezTo>
                      <a:pt x="152448" y="103238"/>
                      <a:pt x="154724" y="105512"/>
                      <a:pt x="159274" y="107785"/>
                    </a:cubicBezTo>
                    <a:cubicBezTo>
                      <a:pt x="163825" y="110058"/>
                      <a:pt x="168376" y="107785"/>
                      <a:pt x="172926" y="105512"/>
                    </a:cubicBezTo>
                    <a:cubicBezTo>
                      <a:pt x="179752" y="100965"/>
                      <a:pt x="175202" y="110058"/>
                      <a:pt x="177477" y="112331"/>
                    </a:cubicBezTo>
                    <a:cubicBezTo>
                      <a:pt x="179752" y="112331"/>
                      <a:pt x="182028" y="105512"/>
                      <a:pt x="184303" y="105512"/>
                    </a:cubicBezTo>
                    <a:cubicBezTo>
                      <a:pt x="186578" y="100965"/>
                      <a:pt x="186578" y="100965"/>
                      <a:pt x="191129" y="98692"/>
                    </a:cubicBezTo>
                    <a:cubicBezTo>
                      <a:pt x="193404" y="96418"/>
                      <a:pt x="195680" y="96418"/>
                      <a:pt x="197955" y="94145"/>
                    </a:cubicBezTo>
                    <a:cubicBezTo>
                      <a:pt x="197955" y="94145"/>
                      <a:pt x="202506" y="89599"/>
                      <a:pt x="202506" y="94145"/>
                    </a:cubicBezTo>
                    <a:cubicBezTo>
                      <a:pt x="204781" y="89599"/>
                      <a:pt x="207057" y="89599"/>
                      <a:pt x="209332" y="85052"/>
                    </a:cubicBezTo>
                    <a:cubicBezTo>
                      <a:pt x="209332" y="80506"/>
                      <a:pt x="211607" y="80506"/>
                      <a:pt x="213883" y="80506"/>
                    </a:cubicBezTo>
                    <a:cubicBezTo>
                      <a:pt x="216158" y="78232"/>
                      <a:pt x="220709" y="75959"/>
                      <a:pt x="222984" y="75959"/>
                    </a:cubicBezTo>
                    <a:cubicBezTo>
                      <a:pt x="225259" y="69139"/>
                      <a:pt x="222984" y="69139"/>
                      <a:pt x="218433" y="69139"/>
                    </a:cubicBezTo>
                    <a:cubicBezTo>
                      <a:pt x="216158" y="69139"/>
                      <a:pt x="211607" y="69139"/>
                      <a:pt x="211607" y="66866"/>
                    </a:cubicBezTo>
                    <a:cubicBezTo>
                      <a:pt x="209332" y="66866"/>
                      <a:pt x="211607" y="62319"/>
                      <a:pt x="211607" y="62319"/>
                    </a:cubicBezTo>
                    <a:cubicBezTo>
                      <a:pt x="209332" y="55500"/>
                      <a:pt x="207057" y="53226"/>
                      <a:pt x="207057" y="44133"/>
                    </a:cubicBezTo>
                    <a:cubicBezTo>
                      <a:pt x="207057" y="39587"/>
                      <a:pt x="202506" y="37313"/>
                      <a:pt x="200231" y="35040"/>
                    </a:cubicBezTo>
                    <a:cubicBezTo>
                      <a:pt x="197955" y="32767"/>
                      <a:pt x="193404" y="25947"/>
                      <a:pt x="195680" y="23674"/>
                    </a:cubicBezTo>
                    <a:cubicBezTo>
                      <a:pt x="197955" y="23674"/>
                      <a:pt x="197955" y="25947"/>
                      <a:pt x="200231" y="28220"/>
                    </a:cubicBezTo>
                    <a:cubicBezTo>
                      <a:pt x="202506" y="28220"/>
                      <a:pt x="209332" y="25947"/>
                      <a:pt x="209332" y="30494"/>
                    </a:cubicBezTo>
                    <a:cubicBezTo>
                      <a:pt x="209332" y="32767"/>
                      <a:pt x="211607" y="32767"/>
                      <a:pt x="213883" y="32767"/>
                    </a:cubicBezTo>
                    <a:cubicBezTo>
                      <a:pt x="220709" y="32767"/>
                      <a:pt x="222984" y="35040"/>
                      <a:pt x="222984" y="32767"/>
                    </a:cubicBezTo>
                    <a:cubicBezTo>
                      <a:pt x="227535" y="25947"/>
                      <a:pt x="229810" y="41860"/>
                      <a:pt x="236636" y="41860"/>
                    </a:cubicBezTo>
                    <a:cubicBezTo>
                      <a:pt x="238911" y="39587"/>
                      <a:pt x="236636" y="32767"/>
                      <a:pt x="238911" y="30494"/>
                    </a:cubicBezTo>
                    <a:cubicBezTo>
                      <a:pt x="238911" y="28220"/>
                      <a:pt x="243462" y="30494"/>
                      <a:pt x="243462" y="28220"/>
                    </a:cubicBezTo>
                    <a:cubicBezTo>
                      <a:pt x="245737" y="23674"/>
                      <a:pt x="248013" y="28220"/>
                      <a:pt x="252564" y="28220"/>
                    </a:cubicBezTo>
                    <a:cubicBezTo>
                      <a:pt x="254839" y="25947"/>
                      <a:pt x="263940" y="23674"/>
                      <a:pt x="266216" y="21401"/>
                    </a:cubicBezTo>
                    <a:cubicBezTo>
                      <a:pt x="270766" y="16854"/>
                      <a:pt x="270766" y="16854"/>
                      <a:pt x="270766" y="16854"/>
                    </a:cubicBezTo>
                    <a:cubicBezTo>
                      <a:pt x="273042" y="19127"/>
                      <a:pt x="275317" y="19127"/>
                      <a:pt x="277592" y="16854"/>
                    </a:cubicBezTo>
                    <a:cubicBezTo>
                      <a:pt x="279868" y="12307"/>
                      <a:pt x="288969" y="10034"/>
                      <a:pt x="282143" y="941"/>
                    </a:cubicBezTo>
                    <a:close/>
                  </a:path>
                </a:pathLst>
              </a:custGeom>
              <a:grpFill/>
              <a:ln w="3175">
                <a:solidFill>
                  <a:schemeClr val="accent2">
                    <a:lumMod val="75000"/>
                  </a:schemeClr>
                </a:solidFill>
              </a:ln>
            </p:spPr>
            <p:txBody>
              <a:bodyPr vert="horz" wrap="square" lIns="91273" tIns="45637" rIns="91273" bIns="4563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97" b="0" i="0" u="none" strike="noStrike" kern="1200" cap="none" spc="0" normalizeH="0" baseline="0" noProof="0" dirty="0">
                  <a:ln>
                    <a:noFill/>
                  </a:ln>
                  <a:solidFill>
                    <a:srgbClr val="000000"/>
                  </a:solidFill>
                  <a:effectLst/>
                  <a:uLnTx/>
                  <a:uFillTx/>
                  <a:latin typeface="Calibri"/>
                  <a:ea typeface="+mn-ea"/>
                  <a:cs typeface="+mn-cs"/>
                </a:endParaRPr>
              </a:p>
            </p:txBody>
          </p:sp>
          <p:sp>
            <p:nvSpPr>
              <p:cNvPr id="197" name="Bolivia">
                <a:extLst>
                  <a:ext uri="{FF2B5EF4-FFF2-40B4-BE49-F238E27FC236}">
                    <a16:creationId xmlns:a16="http://schemas.microsoft.com/office/drawing/2014/main" id="{46C934D1-271B-97D7-1AD3-2B12A18B43E0}"/>
                  </a:ext>
                </a:extLst>
              </p:cNvPr>
              <p:cNvSpPr>
                <a:spLocks/>
              </p:cNvSpPr>
              <p:nvPr/>
            </p:nvSpPr>
            <p:spPr bwMode="auto">
              <a:xfrm>
                <a:off x="2275235" y="3586291"/>
                <a:ext cx="276642" cy="330028"/>
              </a:xfrm>
              <a:custGeom>
                <a:avLst/>
                <a:gdLst/>
                <a:ahLst/>
                <a:cxnLst>
                  <a:cxn ang="0">
                    <a:pos x="7" y="14"/>
                  </a:cxn>
                  <a:cxn ang="0">
                    <a:pos x="10" y="15"/>
                  </a:cxn>
                  <a:cxn ang="0">
                    <a:pos x="13" y="11"/>
                  </a:cxn>
                  <a:cxn ang="0">
                    <a:pos x="23" y="6"/>
                  </a:cxn>
                  <a:cxn ang="0">
                    <a:pos x="34" y="1"/>
                  </a:cxn>
                  <a:cxn ang="0">
                    <a:pos x="39" y="11"/>
                  </a:cxn>
                  <a:cxn ang="0">
                    <a:pos x="39" y="15"/>
                  </a:cxn>
                  <a:cxn ang="0">
                    <a:pos x="43" y="23"/>
                  </a:cxn>
                  <a:cxn ang="0">
                    <a:pos x="46" y="26"/>
                  </a:cxn>
                  <a:cxn ang="0">
                    <a:pos x="49" y="29"/>
                  </a:cxn>
                  <a:cxn ang="0">
                    <a:pos x="55" y="30"/>
                  </a:cxn>
                  <a:cxn ang="0">
                    <a:pos x="59" y="32"/>
                  </a:cxn>
                  <a:cxn ang="0">
                    <a:pos x="65" y="35"/>
                  </a:cxn>
                  <a:cxn ang="0">
                    <a:pos x="75" y="41"/>
                  </a:cxn>
                  <a:cxn ang="0">
                    <a:pos x="86" y="43"/>
                  </a:cxn>
                  <a:cxn ang="0">
                    <a:pos x="91" y="58"/>
                  </a:cxn>
                  <a:cxn ang="0">
                    <a:pos x="91" y="64"/>
                  </a:cxn>
                  <a:cxn ang="0">
                    <a:pos x="99" y="71"/>
                  </a:cxn>
                  <a:cxn ang="0">
                    <a:pos x="109" y="75"/>
                  </a:cxn>
                  <a:cxn ang="0">
                    <a:pos x="114" y="84"/>
                  </a:cxn>
                  <a:cxn ang="0">
                    <a:pos x="117" y="87"/>
                  </a:cxn>
                  <a:cxn ang="0">
                    <a:pos x="118" y="99"/>
                  </a:cxn>
                  <a:cxn ang="0">
                    <a:pos x="117" y="110"/>
                  </a:cxn>
                  <a:cxn ang="0">
                    <a:pos x="111" y="106"/>
                  </a:cxn>
                  <a:cxn ang="0">
                    <a:pos x="86" y="106"/>
                  </a:cxn>
                  <a:cxn ang="0">
                    <a:pos x="78" y="117"/>
                  </a:cxn>
                  <a:cxn ang="0">
                    <a:pos x="76" y="135"/>
                  </a:cxn>
                  <a:cxn ang="0">
                    <a:pos x="66" y="132"/>
                  </a:cxn>
                  <a:cxn ang="0">
                    <a:pos x="61" y="141"/>
                  </a:cxn>
                  <a:cxn ang="0">
                    <a:pos x="47" y="133"/>
                  </a:cxn>
                  <a:cxn ang="0">
                    <a:pos x="40" y="134"/>
                  </a:cxn>
                  <a:cxn ang="0">
                    <a:pos x="32" y="142"/>
                  </a:cxn>
                  <a:cxn ang="0">
                    <a:pos x="25" y="130"/>
                  </a:cxn>
                  <a:cxn ang="0">
                    <a:pos x="20" y="120"/>
                  </a:cxn>
                  <a:cxn ang="0">
                    <a:pos x="17" y="115"/>
                  </a:cxn>
                  <a:cxn ang="0">
                    <a:pos x="17" y="108"/>
                  </a:cxn>
                  <a:cxn ang="0">
                    <a:pos x="17" y="102"/>
                  </a:cxn>
                  <a:cxn ang="0">
                    <a:pos x="11" y="89"/>
                  </a:cxn>
                  <a:cxn ang="0">
                    <a:pos x="6" y="80"/>
                  </a:cxn>
                  <a:cxn ang="0">
                    <a:pos x="10" y="75"/>
                  </a:cxn>
                  <a:cxn ang="0">
                    <a:pos x="11" y="72"/>
                  </a:cxn>
                  <a:cxn ang="0">
                    <a:pos x="11" y="67"/>
                  </a:cxn>
                  <a:cxn ang="0">
                    <a:pos x="7" y="59"/>
                  </a:cxn>
                  <a:cxn ang="0">
                    <a:pos x="8" y="49"/>
                  </a:cxn>
                  <a:cxn ang="0">
                    <a:pos x="7" y="40"/>
                  </a:cxn>
                  <a:cxn ang="0">
                    <a:pos x="9" y="29"/>
                  </a:cxn>
                </a:cxnLst>
                <a:rect l="0" t="0" r="r" b="b"/>
                <a:pathLst>
                  <a:path w="119" h="142">
                    <a:moveTo>
                      <a:pt x="0" y="13"/>
                    </a:moveTo>
                    <a:cubicBezTo>
                      <a:pt x="2" y="14"/>
                      <a:pt x="4" y="14"/>
                      <a:pt x="7" y="14"/>
                    </a:cubicBezTo>
                    <a:cubicBezTo>
                      <a:pt x="8" y="14"/>
                      <a:pt x="7" y="14"/>
                      <a:pt x="7" y="15"/>
                    </a:cubicBezTo>
                    <a:cubicBezTo>
                      <a:pt x="8" y="16"/>
                      <a:pt x="9" y="15"/>
                      <a:pt x="10" y="15"/>
                    </a:cubicBezTo>
                    <a:cubicBezTo>
                      <a:pt x="10" y="14"/>
                      <a:pt x="12" y="14"/>
                      <a:pt x="12" y="14"/>
                    </a:cubicBezTo>
                    <a:cubicBezTo>
                      <a:pt x="12" y="13"/>
                      <a:pt x="13" y="12"/>
                      <a:pt x="13" y="11"/>
                    </a:cubicBezTo>
                    <a:cubicBezTo>
                      <a:pt x="15" y="9"/>
                      <a:pt x="17" y="12"/>
                      <a:pt x="18" y="9"/>
                    </a:cubicBezTo>
                    <a:cubicBezTo>
                      <a:pt x="18" y="7"/>
                      <a:pt x="21" y="7"/>
                      <a:pt x="23" y="6"/>
                    </a:cubicBezTo>
                    <a:cubicBezTo>
                      <a:pt x="24" y="5"/>
                      <a:pt x="25" y="3"/>
                      <a:pt x="27" y="2"/>
                    </a:cubicBezTo>
                    <a:cubicBezTo>
                      <a:pt x="29" y="2"/>
                      <a:pt x="32" y="1"/>
                      <a:pt x="34" y="1"/>
                    </a:cubicBezTo>
                    <a:cubicBezTo>
                      <a:pt x="37" y="1"/>
                      <a:pt x="36" y="2"/>
                      <a:pt x="38" y="0"/>
                    </a:cubicBezTo>
                    <a:cubicBezTo>
                      <a:pt x="42" y="2"/>
                      <a:pt x="38" y="7"/>
                      <a:pt x="39" y="11"/>
                    </a:cubicBezTo>
                    <a:cubicBezTo>
                      <a:pt x="39" y="12"/>
                      <a:pt x="40" y="12"/>
                      <a:pt x="40" y="13"/>
                    </a:cubicBezTo>
                    <a:cubicBezTo>
                      <a:pt x="40" y="14"/>
                      <a:pt x="39" y="15"/>
                      <a:pt x="39" y="15"/>
                    </a:cubicBezTo>
                    <a:cubicBezTo>
                      <a:pt x="39" y="18"/>
                      <a:pt x="41" y="19"/>
                      <a:pt x="41" y="21"/>
                    </a:cubicBezTo>
                    <a:cubicBezTo>
                      <a:pt x="42" y="22"/>
                      <a:pt x="42" y="22"/>
                      <a:pt x="43" y="23"/>
                    </a:cubicBezTo>
                    <a:cubicBezTo>
                      <a:pt x="43" y="23"/>
                      <a:pt x="43" y="24"/>
                      <a:pt x="44" y="25"/>
                    </a:cubicBezTo>
                    <a:cubicBezTo>
                      <a:pt x="45" y="25"/>
                      <a:pt x="45" y="25"/>
                      <a:pt x="46" y="26"/>
                    </a:cubicBezTo>
                    <a:cubicBezTo>
                      <a:pt x="47" y="26"/>
                      <a:pt x="47" y="27"/>
                      <a:pt x="48" y="27"/>
                    </a:cubicBezTo>
                    <a:cubicBezTo>
                      <a:pt x="49" y="29"/>
                      <a:pt x="49" y="29"/>
                      <a:pt x="49" y="29"/>
                    </a:cubicBezTo>
                    <a:cubicBezTo>
                      <a:pt x="50" y="30"/>
                      <a:pt x="51" y="30"/>
                      <a:pt x="51" y="30"/>
                    </a:cubicBezTo>
                    <a:cubicBezTo>
                      <a:pt x="53" y="30"/>
                      <a:pt x="54" y="31"/>
                      <a:pt x="55" y="30"/>
                    </a:cubicBezTo>
                    <a:cubicBezTo>
                      <a:pt x="56" y="30"/>
                      <a:pt x="56" y="30"/>
                      <a:pt x="57" y="30"/>
                    </a:cubicBezTo>
                    <a:cubicBezTo>
                      <a:pt x="58" y="31"/>
                      <a:pt x="59" y="32"/>
                      <a:pt x="59" y="32"/>
                    </a:cubicBezTo>
                    <a:cubicBezTo>
                      <a:pt x="60" y="33"/>
                      <a:pt x="61" y="31"/>
                      <a:pt x="61" y="32"/>
                    </a:cubicBezTo>
                    <a:cubicBezTo>
                      <a:pt x="63" y="32"/>
                      <a:pt x="63" y="35"/>
                      <a:pt x="65" y="35"/>
                    </a:cubicBezTo>
                    <a:cubicBezTo>
                      <a:pt x="67" y="35"/>
                      <a:pt x="68" y="37"/>
                      <a:pt x="70" y="37"/>
                    </a:cubicBezTo>
                    <a:cubicBezTo>
                      <a:pt x="72" y="37"/>
                      <a:pt x="72" y="40"/>
                      <a:pt x="75" y="41"/>
                    </a:cubicBezTo>
                    <a:cubicBezTo>
                      <a:pt x="76" y="41"/>
                      <a:pt x="78" y="41"/>
                      <a:pt x="79" y="41"/>
                    </a:cubicBezTo>
                    <a:cubicBezTo>
                      <a:pt x="82" y="41"/>
                      <a:pt x="84" y="42"/>
                      <a:pt x="86" y="43"/>
                    </a:cubicBezTo>
                    <a:cubicBezTo>
                      <a:pt x="89" y="45"/>
                      <a:pt x="87" y="47"/>
                      <a:pt x="88" y="50"/>
                    </a:cubicBezTo>
                    <a:cubicBezTo>
                      <a:pt x="89" y="52"/>
                      <a:pt x="90" y="55"/>
                      <a:pt x="91" y="58"/>
                    </a:cubicBezTo>
                    <a:cubicBezTo>
                      <a:pt x="90" y="58"/>
                      <a:pt x="89" y="58"/>
                      <a:pt x="88" y="58"/>
                    </a:cubicBezTo>
                    <a:cubicBezTo>
                      <a:pt x="88" y="60"/>
                      <a:pt x="91" y="61"/>
                      <a:pt x="91" y="64"/>
                    </a:cubicBezTo>
                    <a:cubicBezTo>
                      <a:pt x="92" y="66"/>
                      <a:pt x="92" y="68"/>
                      <a:pt x="92" y="69"/>
                    </a:cubicBezTo>
                    <a:cubicBezTo>
                      <a:pt x="93" y="71"/>
                      <a:pt x="97" y="71"/>
                      <a:pt x="99" y="71"/>
                    </a:cubicBezTo>
                    <a:cubicBezTo>
                      <a:pt x="103" y="71"/>
                      <a:pt x="106" y="72"/>
                      <a:pt x="110" y="71"/>
                    </a:cubicBezTo>
                    <a:cubicBezTo>
                      <a:pt x="110" y="73"/>
                      <a:pt x="109" y="73"/>
                      <a:pt x="109" y="75"/>
                    </a:cubicBezTo>
                    <a:cubicBezTo>
                      <a:pt x="109" y="76"/>
                      <a:pt x="109" y="78"/>
                      <a:pt x="109" y="79"/>
                    </a:cubicBezTo>
                    <a:cubicBezTo>
                      <a:pt x="110" y="80"/>
                      <a:pt x="112" y="83"/>
                      <a:pt x="114" y="84"/>
                    </a:cubicBezTo>
                    <a:cubicBezTo>
                      <a:pt x="115" y="84"/>
                      <a:pt x="115" y="83"/>
                      <a:pt x="116" y="84"/>
                    </a:cubicBezTo>
                    <a:cubicBezTo>
                      <a:pt x="116" y="85"/>
                      <a:pt x="117" y="86"/>
                      <a:pt x="117" y="87"/>
                    </a:cubicBezTo>
                    <a:cubicBezTo>
                      <a:pt x="118" y="90"/>
                      <a:pt x="119" y="91"/>
                      <a:pt x="119" y="94"/>
                    </a:cubicBezTo>
                    <a:cubicBezTo>
                      <a:pt x="119" y="95"/>
                      <a:pt x="117" y="97"/>
                      <a:pt x="118" y="99"/>
                    </a:cubicBezTo>
                    <a:cubicBezTo>
                      <a:pt x="118" y="101"/>
                      <a:pt x="117" y="102"/>
                      <a:pt x="116" y="104"/>
                    </a:cubicBezTo>
                    <a:cubicBezTo>
                      <a:pt x="115" y="107"/>
                      <a:pt x="115" y="108"/>
                      <a:pt x="117" y="110"/>
                    </a:cubicBezTo>
                    <a:cubicBezTo>
                      <a:pt x="119" y="111"/>
                      <a:pt x="116" y="112"/>
                      <a:pt x="115" y="112"/>
                    </a:cubicBezTo>
                    <a:cubicBezTo>
                      <a:pt x="116" y="110"/>
                      <a:pt x="113" y="107"/>
                      <a:pt x="111" y="106"/>
                    </a:cubicBezTo>
                    <a:cubicBezTo>
                      <a:pt x="109" y="105"/>
                      <a:pt x="107" y="104"/>
                      <a:pt x="105" y="103"/>
                    </a:cubicBezTo>
                    <a:cubicBezTo>
                      <a:pt x="98" y="102"/>
                      <a:pt x="92" y="105"/>
                      <a:pt x="86" y="106"/>
                    </a:cubicBezTo>
                    <a:cubicBezTo>
                      <a:pt x="83" y="106"/>
                      <a:pt x="81" y="107"/>
                      <a:pt x="81" y="110"/>
                    </a:cubicBezTo>
                    <a:cubicBezTo>
                      <a:pt x="80" y="113"/>
                      <a:pt x="78" y="114"/>
                      <a:pt x="78" y="117"/>
                    </a:cubicBezTo>
                    <a:cubicBezTo>
                      <a:pt x="77" y="119"/>
                      <a:pt x="78" y="121"/>
                      <a:pt x="78" y="124"/>
                    </a:cubicBezTo>
                    <a:cubicBezTo>
                      <a:pt x="77" y="127"/>
                      <a:pt x="77" y="131"/>
                      <a:pt x="76" y="135"/>
                    </a:cubicBezTo>
                    <a:cubicBezTo>
                      <a:pt x="74" y="133"/>
                      <a:pt x="75" y="132"/>
                      <a:pt x="72" y="132"/>
                    </a:cubicBezTo>
                    <a:cubicBezTo>
                      <a:pt x="70" y="132"/>
                      <a:pt x="68" y="132"/>
                      <a:pt x="66" y="132"/>
                    </a:cubicBezTo>
                    <a:cubicBezTo>
                      <a:pt x="64" y="133"/>
                      <a:pt x="64" y="131"/>
                      <a:pt x="63" y="134"/>
                    </a:cubicBezTo>
                    <a:cubicBezTo>
                      <a:pt x="62" y="137"/>
                      <a:pt x="62" y="139"/>
                      <a:pt x="61" y="141"/>
                    </a:cubicBezTo>
                    <a:cubicBezTo>
                      <a:pt x="59" y="138"/>
                      <a:pt x="59" y="134"/>
                      <a:pt x="54" y="133"/>
                    </a:cubicBezTo>
                    <a:cubicBezTo>
                      <a:pt x="52" y="133"/>
                      <a:pt x="49" y="134"/>
                      <a:pt x="47" y="133"/>
                    </a:cubicBezTo>
                    <a:cubicBezTo>
                      <a:pt x="45" y="132"/>
                      <a:pt x="44" y="130"/>
                      <a:pt x="42" y="130"/>
                    </a:cubicBezTo>
                    <a:cubicBezTo>
                      <a:pt x="42" y="132"/>
                      <a:pt x="42" y="133"/>
                      <a:pt x="40" y="134"/>
                    </a:cubicBezTo>
                    <a:cubicBezTo>
                      <a:pt x="38" y="135"/>
                      <a:pt x="37" y="137"/>
                      <a:pt x="36" y="139"/>
                    </a:cubicBezTo>
                    <a:cubicBezTo>
                      <a:pt x="35" y="140"/>
                      <a:pt x="34" y="141"/>
                      <a:pt x="32" y="142"/>
                    </a:cubicBezTo>
                    <a:cubicBezTo>
                      <a:pt x="31" y="142"/>
                      <a:pt x="29" y="141"/>
                      <a:pt x="29" y="141"/>
                    </a:cubicBezTo>
                    <a:cubicBezTo>
                      <a:pt x="27" y="136"/>
                      <a:pt x="27" y="134"/>
                      <a:pt x="25" y="130"/>
                    </a:cubicBezTo>
                    <a:cubicBezTo>
                      <a:pt x="23" y="127"/>
                      <a:pt x="23" y="125"/>
                      <a:pt x="22" y="123"/>
                    </a:cubicBezTo>
                    <a:cubicBezTo>
                      <a:pt x="21" y="122"/>
                      <a:pt x="20" y="121"/>
                      <a:pt x="20" y="120"/>
                    </a:cubicBezTo>
                    <a:cubicBezTo>
                      <a:pt x="19" y="118"/>
                      <a:pt x="20" y="117"/>
                      <a:pt x="19" y="117"/>
                    </a:cubicBezTo>
                    <a:cubicBezTo>
                      <a:pt x="18" y="117"/>
                      <a:pt x="18" y="116"/>
                      <a:pt x="17" y="115"/>
                    </a:cubicBezTo>
                    <a:cubicBezTo>
                      <a:pt x="17" y="114"/>
                      <a:pt x="18" y="113"/>
                      <a:pt x="16" y="112"/>
                    </a:cubicBezTo>
                    <a:cubicBezTo>
                      <a:pt x="19" y="110"/>
                      <a:pt x="19" y="110"/>
                      <a:pt x="17" y="108"/>
                    </a:cubicBezTo>
                    <a:cubicBezTo>
                      <a:pt x="17" y="107"/>
                      <a:pt x="18" y="106"/>
                      <a:pt x="18" y="106"/>
                    </a:cubicBezTo>
                    <a:cubicBezTo>
                      <a:pt x="18" y="104"/>
                      <a:pt x="18" y="104"/>
                      <a:pt x="17" y="102"/>
                    </a:cubicBezTo>
                    <a:cubicBezTo>
                      <a:pt x="14" y="100"/>
                      <a:pt x="13" y="99"/>
                      <a:pt x="12" y="96"/>
                    </a:cubicBezTo>
                    <a:cubicBezTo>
                      <a:pt x="12" y="94"/>
                      <a:pt x="10" y="91"/>
                      <a:pt x="11" y="89"/>
                    </a:cubicBezTo>
                    <a:cubicBezTo>
                      <a:pt x="7" y="89"/>
                      <a:pt x="7" y="82"/>
                      <a:pt x="5" y="81"/>
                    </a:cubicBezTo>
                    <a:cubicBezTo>
                      <a:pt x="5" y="81"/>
                      <a:pt x="5" y="80"/>
                      <a:pt x="6" y="80"/>
                    </a:cubicBezTo>
                    <a:cubicBezTo>
                      <a:pt x="7" y="79"/>
                      <a:pt x="7" y="78"/>
                      <a:pt x="8" y="77"/>
                    </a:cubicBezTo>
                    <a:cubicBezTo>
                      <a:pt x="9" y="76"/>
                      <a:pt x="9" y="75"/>
                      <a:pt x="10" y="75"/>
                    </a:cubicBezTo>
                    <a:cubicBezTo>
                      <a:pt x="10" y="73"/>
                      <a:pt x="10" y="73"/>
                      <a:pt x="10" y="73"/>
                    </a:cubicBezTo>
                    <a:cubicBezTo>
                      <a:pt x="11" y="74"/>
                      <a:pt x="12" y="74"/>
                      <a:pt x="11" y="72"/>
                    </a:cubicBezTo>
                    <a:cubicBezTo>
                      <a:pt x="11" y="72"/>
                      <a:pt x="13" y="70"/>
                      <a:pt x="13" y="71"/>
                    </a:cubicBezTo>
                    <a:cubicBezTo>
                      <a:pt x="13" y="68"/>
                      <a:pt x="9" y="72"/>
                      <a:pt x="11" y="67"/>
                    </a:cubicBezTo>
                    <a:cubicBezTo>
                      <a:pt x="9" y="67"/>
                      <a:pt x="11" y="66"/>
                      <a:pt x="6" y="63"/>
                    </a:cubicBezTo>
                    <a:cubicBezTo>
                      <a:pt x="6" y="62"/>
                      <a:pt x="7" y="60"/>
                      <a:pt x="7" y="59"/>
                    </a:cubicBezTo>
                    <a:cubicBezTo>
                      <a:pt x="6" y="57"/>
                      <a:pt x="4" y="56"/>
                      <a:pt x="6" y="54"/>
                    </a:cubicBezTo>
                    <a:cubicBezTo>
                      <a:pt x="6" y="52"/>
                      <a:pt x="7" y="51"/>
                      <a:pt x="8" y="49"/>
                    </a:cubicBezTo>
                    <a:cubicBezTo>
                      <a:pt x="8" y="47"/>
                      <a:pt x="9" y="47"/>
                      <a:pt x="8" y="45"/>
                    </a:cubicBezTo>
                    <a:cubicBezTo>
                      <a:pt x="7" y="43"/>
                      <a:pt x="7" y="42"/>
                      <a:pt x="7" y="40"/>
                    </a:cubicBezTo>
                    <a:cubicBezTo>
                      <a:pt x="7" y="38"/>
                      <a:pt x="6" y="35"/>
                      <a:pt x="7" y="33"/>
                    </a:cubicBezTo>
                    <a:cubicBezTo>
                      <a:pt x="9" y="32"/>
                      <a:pt x="10" y="31"/>
                      <a:pt x="9" y="29"/>
                    </a:cubicBezTo>
                    <a:cubicBezTo>
                      <a:pt x="6" y="24"/>
                      <a:pt x="2" y="19"/>
                      <a:pt x="0" y="13"/>
                    </a:cubicBezTo>
                  </a:path>
                </a:pathLst>
              </a:custGeom>
              <a:grpFill/>
              <a:ln w="3175">
                <a:solidFill>
                  <a:schemeClr val="accent2">
                    <a:lumMod val="75000"/>
                  </a:schemeClr>
                </a:solidFill>
              </a:ln>
            </p:spPr>
            <p:txBody>
              <a:bodyPr vert="horz" wrap="square" lIns="91273" tIns="45637" rIns="91273" bIns="4563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97" b="0" i="0" u="none" strike="noStrike" kern="1200" cap="none" spc="0" normalizeH="0" baseline="0" noProof="0" dirty="0">
                  <a:ln>
                    <a:noFill/>
                  </a:ln>
                  <a:solidFill>
                    <a:srgbClr val="000000"/>
                  </a:solidFill>
                  <a:effectLst/>
                  <a:uLnTx/>
                  <a:uFillTx/>
                  <a:latin typeface="Calibri"/>
                  <a:ea typeface="+mn-ea"/>
                  <a:cs typeface="+mn-cs"/>
                </a:endParaRPr>
              </a:p>
            </p:txBody>
          </p:sp>
          <p:sp>
            <p:nvSpPr>
              <p:cNvPr id="198" name="Argentina">
                <a:extLst>
                  <a:ext uri="{FF2B5EF4-FFF2-40B4-BE49-F238E27FC236}">
                    <a16:creationId xmlns:a16="http://schemas.microsoft.com/office/drawing/2014/main" id="{113C2642-892A-1E2F-F9B5-B0F57968E502}"/>
                  </a:ext>
                </a:extLst>
              </p:cNvPr>
              <p:cNvSpPr>
                <a:spLocks/>
              </p:cNvSpPr>
              <p:nvPr/>
            </p:nvSpPr>
            <p:spPr bwMode="auto">
              <a:xfrm>
                <a:off x="2321982" y="3888411"/>
                <a:ext cx="336668" cy="815362"/>
              </a:xfrm>
              <a:custGeom>
                <a:avLst/>
                <a:gdLst>
                  <a:gd name="connsiteX0" fmla="*/ 327986 w 330367"/>
                  <a:gd name="connsiteY0" fmla="*/ 792956 h 800100"/>
                  <a:gd name="connsiteX1" fmla="*/ 313698 w 330367"/>
                  <a:gd name="connsiteY1" fmla="*/ 797719 h 800100"/>
                  <a:gd name="connsiteX2" fmla="*/ 311317 w 330367"/>
                  <a:gd name="connsiteY2" fmla="*/ 795338 h 800100"/>
                  <a:gd name="connsiteX3" fmla="*/ 327986 w 330367"/>
                  <a:gd name="connsiteY3" fmla="*/ 792956 h 800100"/>
                  <a:gd name="connsiteX4" fmla="*/ 218448 w 330367"/>
                  <a:gd name="connsiteY4" fmla="*/ 745331 h 800100"/>
                  <a:gd name="connsiteX5" fmla="*/ 229884 w 330367"/>
                  <a:gd name="connsiteY5" fmla="*/ 754459 h 800100"/>
                  <a:gd name="connsiteX6" fmla="*/ 232172 w 330367"/>
                  <a:gd name="connsiteY6" fmla="*/ 759023 h 800100"/>
                  <a:gd name="connsiteX7" fmla="*/ 239033 w 330367"/>
                  <a:gd name="connsiteY7" fmla="*/ 765870 h 800100"/>
                  <a:gd name="connsiteX8" fmla="*/ 250470 w 330367"/>
                  <a:gd name="connsiteY8" fmla="*/ 772716 h 800100"/>
                  <a:gd name="connsiteX9" fmla="*/ 277917 w 330367"/>
                  <a:gd name="connsiteY9" fmla="*/ 786408 h 800100"/>
                  <a:gd name="connsiteX10" fmla="*/ 293928 w 330367"/>
                  <a:gd name="connsiteY10" fmla="*/ 790972 h 800100"/>
                  <a:gd name="connsiteX11" fmla="*/ 300790 w 330367"/>
                  <a:gd name="connsiteY11" fmla="*/ 790972 h 800100"/>
                  <a:gd name="connsiteX12" fmla="*/ 303077 w 330367"/>
                  <a:gd name="connsiteY12" fmla="*/ 797818 h 800100"/>
                  <a:gd name="connsiteX13" fmla="*/ 293928 w 330367"/>
                  <a:gd name="connsiteY13" fmla="*/ 797818 h 800100"/>
                  <a:gd name="connsiteX14" fmla="*/ 282491 w 330367"/>
                  <a:gd name="connsiteY14" fmla="*/ 800100 h 800100"/>
                  <a:gd name="connsiteX15" fmla="*/ 266481 w 330367"/>
                  <a:gd name="connsiteY15" fmla="*/ 797818 h 800100"/>
                  <a:gd name="connsiteX16" fmla="*/ 248182 w 330367"/>
                  <a:gd name="connsiteY16" fmla="*/ 795536 h 800100"/>
                  <a:gd name="connsiteX17" fmla="*/ 241321 w 330367"/>
                  <a:gd name="connsiteY17" fmla="*/ 793254 h 800100"/>
                  <a:gd name="connsiteX18" fmla="*/ 234459 w 330367"/>
                  <a:gd name="connsiteY18" fmla="*/ 779562 h 800100"/>
                  <a:gd name="connsiteX19" fmla="*/ 218448 w 330367"/>
                  <a:gd name="connsiteY19" fmla="*/ 745331 h 800100"/>
                  <a:gd name="connsiteX20" fmla="*/ 50512 w 330367"/>
                  <a:gd name="connsiteY20" fmla="*/ 0 h 800100"/>
                  <a:gd name="connsiteX21" fmla="*/ 61889 w 330367"/>
                  <a:gd name="connsiteY21" fmla="*/ 6814 h 800100"/>
                  <a:gd name="connsiteX22" fmla="*/ 77815 w 330367"/>
                  <a:gd name="connsiteY22" fmla="*/ 6814 h 800100"/>
                  <a:gd name="connsiteX23" fmla="*/ 93742 w 330367"/>
                  <a:gd name="connsiteY23" fmla="*/ 24985 h 800100"/>
                  <a:gd name="connsiteX24" fmla="*/ 96017 w 330367"/>
                  <a:gd name="connsiteY24" fmla="*/ 15899 h 800100"/>
                  <a:gd name="connsiteX25" fmla="*/ 100568 w 330367"/>
                  <a:gd name="connsiteY25" fmla="*/ 4543 h 800100"/>
                  <a:gd name="connsiteX26" fmla="*/ 107393 w 330367"/>
                  <a:gd name="connsiteY26" fmla="*/ 4543 h 800100"/>
                  <a:gd name="connsiteX27" fmla="*/ 116494 w 330367"/>
                  <a:gd name="connsiteY27" fmla="*/ 4543 h 800100"/>
                  <a:gd name="connsiteX28" fmla="*/ 123320 w 330367"/>
                  <a:gd name="connsiteY28" fmla="*/ 6814 h 800100"/>
                  <a:gd name="connsiteX29" fmla="*/ 132421 w 330367"/>
                  <a:gd name="connsiteY29" fmla="*/ 13628 h 800100"/>
                  <a:gd name="connsiteX30" fmla="*/ 139247 w 330367"/>
                  <a:gd name="connsiteY30" fmla="*/ 20442 h 800100"/>
                  <a:gd name="connsiteX31" fmla="*/ 143797 w 330367"/>
                  <a:gd name="connsiteY31" fmla="*/ 27256 h 800100"/>
                  <a:gd name="connsiteX32" fmla="*/ 159724 w 330367"/>
                  <a:gd name="connsiteY32" fmla="*/ 40884 h 800100"/>
                  <a:gd name="connsiteX33" fmla="*/ 166550 w 330367"/>
                  <a:gd name="connsiteY33" fmla="*/ 47698 h 800100"/>
                  <a:gd name="connsiteX34" fmla="*/ 175651 w 330367"/>
                  <a:gd name="connsiteY34" fmla="*/ 52241 h 800100"/>
                  <a:gd name="connsiteX35" fmla="*/ 187027 w 330367"/>
                  <a:gd name="connsiteY35" fmla="*/ 54512 h 800100"/>
                  <a:gd name="connsiteX36" fmla="*/ 196128 w 330367"/>
                  <a:gd name="connsiteY36" fmla="*/ 59055 h 800100"/>
                  <a:gd name="connsiteX37" fmla="*/ 216605 w 330367"/>
                  <a:gd name="connsiteY37" fmla="*/ 72683 h 800100"/>
                  <a:gd name="connsiteX38" fmla="*/ 223431 w 330367"/>
                  <a:gd name="connsiteY38" fmla="*/ 74954 h 800100"/>
                  <a:gd name="connsiteX39" fmla="*/ 230257 w 330367"/>
                  <a:gd name="connsiteY39" fmla="*/ 77226 h 800100"/>
                  <a:gd name="connsiteX40" fmla="*/ 239357 w 330367"/>
                  <a:gd name="connsiteY40" fmla="*/ 81768 h 800100"/>
                  <a:gd name="connsiteX41" fmla="*/ 243908 w 330367"/>
                  <a:gd name="connsiteY41" fmla="*/ 86311 h 800100"/>
                  <a:gd name="connsiteX42" fmla="*/ 239357 w 330367"/>
                  <a:gd name="connsiteY42" fmla="*/ 99939 h 800100"/>
                  <a:gd name="connsiteX43" fmla="*/ 234807 w 330367"/>
                  <a:gd name="connsiteY43" fmla="*/ 113567 h 800100"/>
                  <a:gd name="connsiteX44" fmla="*/ 230257 w 330367"/>
                  <a:gd name="connsiteY44" fmla="*/ 129467 h 800100"/>
                  <a:gd name="connsiteX45" fmla="*/ 230257 w 330367"/>
                  <a:gd name="connsiteY45" fmla="*/ 134009 h 800100"/>
                  <a:gd name="connsiteX46" fmla="*/ 241633 w 330367"/>
                  <a:gd name="connsiteY46" fmla="*/ 134009 h 800100"/>
                  <a:gd name="connsiteX47" fmla="*/ 264385 w 330367"/>
                  <a:gd name="connsiteY47" fmla="*/ 136281 h 800100"/>
                  <a:gd name="connsiteX48" fmla="*/ 271211 w 330367"/>
                  <a:gd name="connsiteY48" fmla="*/ 138552 h 800100"/>
                  <a:gd name="connsiteX49" fmla="*/ 278037 w 330367"/>
                  <a:gd name="connsiteY49" fmla="*/ 140823 h 800100"/>
                  <a:gd name="connsiteX50" fmla="*/ 282587 w 330367"/>
                  <a:gd name="connsiteY50" fmla="*/ 134009 h 800100"/>
                  <a:gd name="connsiteX51" fmla="*/ 289413 w 330367"/>
                  <a:gd name="connsiteY51" fmla="*/ 136281 h 800100"/>
                  <a:gd name="connsiteX52" fmla="*/ 293963 w 330367"/>
                  <a:gd name="connsiteY52" fmla="*/ 129467 h 800100"/>
                  <a:gd name="connsiteX53" fmla="*/ 300789 w 330367"/>
                  <a:gd name="connsiteY53" fmla="*/ 124924 h 800100"/>
                  <a:gd name="connsiteX54" fmla="*/ 305339 w 330367"/>
                  <a:gd name="connsiteY54" fmla="*/ 118110 h 800100"/>
                  <a:gd name="connsiteX55" fmla="*/ 307615 w 330367"/>
                  <a:gd name="connsiteY55" fmla="*/ 109025 h 800100"/>
                  <a:gd name="connsiteX56" fmla="*/ 307615 w 330367"/>
                  <a:gd name="connsiteY56" fmla="*/ 95396 h 800100"/>
                  <a:gd name="connsiteX57" fmla="*/ 312165 w 330367"/>
                  <a:gd name="connsiteY57" fmla="*/ 93125 h 800100"/>
                  <a:gd name="connsiteX58" fmla="*/ 318991 w 330367"/>
                  <a:gd name="connsiteY58" fmla="*/ 90854 h 800100"/>
                  <a:gd name="connsiteX59" fmla="*/ 325817 w 330367"/>
                  <a:gd name="connsiteY59" fmla="*/ 102211 h 800100"/>
                  <a:gd name="connsiteX60" fmla="*/ 328092 w 330367"/>
                  <a:gd name="connsiteY60" fmla="*/ 115839 h 800100"/>
                  <a:gd name="connsiteX61" fmla="*/ 330367 w 330367"/>
                  <a:gd name="connsiteY61" fmla="*/ 124924 h 800100"/>
                  <a:gd name="connsiteX62" fmla="*/ 328092 w 330367"/>
                  <a:gd name="connsiteY62" fmla="*/ 131738 h 800100"/>
                  <a:gd name="connsiteX63" fmla="*/ 325817 w 330367"/>
                  <a:gd name="connsiteY63" fmla="*/ 131738 h 800100"/>
                  <a:gd name="connsiteX64" fmla="*/ 316716 w 330367"/>
                  <a:gd name="connsiteY64" fmla="*/ 136281 h 800100"/>
                  <a:gd name="connsiteX65" fmla="*/ 307615 w 330367"/>
                  <a:gd name="connsiteY65" fmla="*/ 143095 h 800100"/>
                  <a:gd name="connsiteX66" fmla="*/ 300789 w 330367"/>
                  <a:gd name="connsiteY66" fmla="*/ 147637 h 800100"/>
                  <a:gd name="connsiteX67" fmla="*/ 298514 w 330367"/>
                  <a:gd name="connsiteY67" fmla="*/ 152180 h 800100"/>
                  <a:gd name="connsiteX68" fmla="*/ 291688 w 330367"/>
                  <a:gd name="connsiteY68" fmla="*/ 156723 h 800100"/>
                  <a:gd name="connsiteX69" fmla="*/ 293963 w 330367"/>
                  <a:gd name="connsiteY69" fmla="*/ 161266 h 800100"/>
                  <a:gd name="connsiteX70" fmla="*/ 280312 w 330367"/>
                  <a:gd name="connsiteY70" fmla="*/ 174894 h 800100"/>
                  <a:gd name="connsiteX71" fmla="*/ 268936 w 330367"/>
                  <a:gd name="connsiteY71" fmla="*/ 193064 h 800100"/>
                  <a:gd name="connsiteX72" fmla="*/ 264385 w 330367"/>
                  <a:gd name="connsiteY72" fmla="*/ 202150 h 800100"/>
                  <a:gd name="connsiteX73" fmla="*/ 262110 w 330367"/>
                  <a:gd name="connsiteY73" fmla="*/ 204421 h 800100"/>
                  <a:gd name="connsiteX74" fmla="*/ 259835 w 330367"/>
                  <a:gd name="connsiteY74" fmla="*/ 211235 h 800100"/>
                  <a:gd name="connsiteX75" fmla="*/ 262110 w 330367"/>
                  <a:gd name="connsiteY75" fmla="*/ 220321 h 800100"/>
                  <a:gd name="connsiteX76" fmla="*/ 259835 w 330367"/>
                  <a:gd name="connsiteY76" fmla="*/ 224863 h 800100"/>
                  <a:gd name="connsiteX77" fmla="*/ 259835 w 330367"/>
                  <a:gd name="connsiteY77" fmla="*/ 227135 h 800100"/>
                  <a:gd name="connsiteX78" fmla="*/ 259835 w 330367"/>
                  <a:gd name="connsiteY78" fmla="*/ 233949 h 800100"/>
                  <a:gd name="connsiteX79" fmla="*/ 259835 w 330367"/>
                  <a:gd name="connsiteY79" fmla="*/ 238491 h 800100"/>
                  <a:gd name="connsiteX80" fmla="*/ 259835 w 330367"/>
                  <a:gd name="connsiteY80" fmla="*/ 249848 h 800100"/>
                  <a:gd name="connsiteX81" fmla="*/ 259835 w 330367"/>
                  <a:gd name="connsiteY81" fmla="*/ 258934 h 800100"/>
                  <a:gd name="connsiteX82" fmla="*/ 264385 w 330367"/>
                  <a:gd name="connsiteY82" fmla="*/ 270290 h 800100"/>
                  <a:gd name="connsiteX83" fmla="*/ 259835 w 330367"/>
                  <a:gd name="connsiteY83" fmla="*/ 277104 h 800100"/>
                  <a:gd name="connsiteX84" fmla="*/ 259835 w 330367"/>
                  <a:gd name="connsiteY84" fmla="*/ 288461 h 800100"/>
                  <a:gd name="connsiteX85" fmla="*/ 262110 w 330367"/>
                  <a:gd name="connsiteY85" fmla="*/ 304360 h 800100"/>
                  <a:gd name="connsiteX86" fmla="*/ 271211 w 330367"/>
                  <a:gd name="connsiteY86" fmla="*/ 313446 h 800100"/>
                  <a:gd name="connsiteX87" fmla="*/ 282587 w 330367"/>
                  <a:gd name="connsiteY87" fmla="*/ 320260 h 800100"/>
                  <a:gd name="connsiteX88" fmla="*/ 296238 w 330367"/>
                  <a:gd name="connsiteY88" fmla="*/ 338431 h 800100"/>
                  <a:gd name="connsiteX89" fmla="*/ 309890 w 330367"/>
                  <a:gd name="connsiteY89" fmla="*/ 354330 h 800100"/>
                  <a:gd name="connsiteX90" fmla="*/ 314440 w 330367"/>
                  <a:gd name="connsiteY90" fmla="*/ 363415 h 800100"/>
                  <a:gd name="connsiteX91" fmla="*/ 312165 w 330367"/>
                  <a:gd name="connsiteY91" fmla="*/ 377044 h 800100"/>
                  <a:gd name="connsiteX92" fmla="*/ 305339 w 330367"/>
                  <a:gd name="connsiteY92" fmla="*/ 392943 h 800100"/>
                  <a:gd name="connsiteX93" fmla="*/ 300789 w 330367"/>
                  <a:gd name="connsiteY93" fmla="*/ 402028 h 800100"/>
                  <a:gd name="connsiteX94" fmla="*/ 273486 w 330367"/>
                  <a:gd name="connsiteY94" fmla="*/ 411114 h 800100"/>
                  <a:gd name="connsiteX95" fmla="*/ 239357 w 330367"/>
                  <a:gd name="connsiteY95" fmla="*/ 417928 h 800100"/>
                  <a:gd name="connsiteX96" fmla="*/ 227981 w 330367"/>
                  <a:gd name="connsiteY96" fmla="*/ 417928 h 800100"/>
                  <a:gd name="connsiteX97" fmla="*/ 214330 w 330367"/>
                  <a:gd name="connsiteY97" fmla="*/ 413385 h 800100"/>
                  <a:gd name="connsiteX98" fmla="*/ 216605 w 330367"/>
                  <a:gd name="connsiteY98" fmla="*/ 417928 h 800100"/>
                  <a:gd name="connsiteX99" fmla="*/ 216605 w 330367"/>
                  <a:gd name="connsiteY99" fmla="*/ 422471 h 800100"/>
                  <a:gd name="connsiteX100" fmla="*/ 221156 w 330367"/>
                  <a:gd name="connsiteY100" fmla="*/ 427013 h 800100"/>
                  <a:gd name="connsiteX101" fmla="*/ 225706 w 330367"/>
                  <a:gd name="connsiteY101" fmla="*/ 433827 h 800100"/>
                  <a:gd name="connsiteX102" fmla="*/ 223431 w 330367"/>
                  <a:gd name="connsiteY102" fmla="*/ 438370 h 800100"/>
                  <a:gd name="connsiteX103" fmla="*/ 223431 w 330367"/>
                  <a:gd name="connsiteY103" fmla="*/ 445184 h 800100"/>
                  <a:gd name="connsiteX104" fmla="*/ 223431 w 330367"/>
                  <a:gd name="connsiteY104" fmla="*/ 451998 h 800100"/>
                  <a:gd name="connsiteX105" fmla="*/ 227981 w 330367"/>
                  <a:gd name="connsiteY105" fmla="*/ 454269 h 800100"/>
                  <a:gd name="connsiteX106" fmla="*/ 230257 w 330367"/>
                  <a:gd name="connsiteY106" fmla="*/ 458812 h 800100"/>
                  <a:gd name="connsiteX107" fmla="*/ 209779 w 330367"/>
                  <a:gd name="connsiteY107" fmla="*/ 470169 h 800100"/>
                  <a:gd name="connsiteX108" fmla="*/ 180201 w 330367"/>
                  <a:gd name="connsiteY108" fmla="*/ 463355 h 800100"/>
                  <a:gd name="connsiteX109" fmla="*/ 177926 w 330367"/>
                  <a:gd name="connsiteY109" fmla="*/ 461083 h 800100"/>
                  <a:gd name="connsiteX110" fmla="*/ 173375 w 330367"/>
                  <a:gd name="connsiteY110" fmla="*/ 465626 h 800100"/>
                  <a:gd name="connsiteX111" fmla="*/ 182476 w 330367"/>
                  <a:gd name="connsiteY111" fmla="*/ 481526 h 800100"/>
                  <a:gd name="connsiteX112" fmla="*/ 189302 w 330367"/>
                  <a:gd name="connsiteY112" fmla="*/ 495154 h 800100"/>
                  <a:gd name="connsiteX113" fmla="*/ 196128 w 330367"/>
                  <a:gd name="connsiteY113" fmla="*/ 501968 h 800100"/>
                  <a:gd name="connsiteX114" fmla="*/ 207504 w 330367"/>
                  <a:gd name="connsiteY114" fmla="*/ 499696 h 800100"/>
                  <a:gd name="connsiteX115" fmla="*/ 200678 w 330367"/>
                  <a:gd name="connsiteY115" fmla="*/ 497425 h 800100"/>
                  <a:gd name="connsiteX116" fmla="*/ 209779 w 330367"/>
                  <a:gd name="connsiteY116" fmla="*/ 492882 h 800100"/>
                  <a:gd name="connsiteX117" fmla="*/ 216605 w 330367"/>
                  <a:gd name="connsiteY117" fmla="*/ 499696 h 800100"/>
                  <a:gd name="connsiteX118" fmla="*/ 218880 w 330367"/>
                  <a:gd name="connsiteY118" fmla="*/ 511053 h 800100"/>
                  <a:gd name="connsiteX119" fmla="*/ 209779 w 330367"/>
                  <a:gd name="connsiteY119" fmla="*/ 513324 h 800100"/>
                  <a:gd name="connsiteX120" fmla="*/ 205229 w 330367"/>
                  <a:gd name="connsiteY120" fmla="*/ 506510 h 800100"/>
                  <a:gd name="connsiteX121" fmla="*/ 196128 w 330367"/>
                  <a:gd name="connsiteY121" fmla="*/ 504239 h 800100"/>
                  <a:gd name="connsiteX122" fmla="*/ 207504 w 330367"/>
                  <a:gd name="connsiteY122" fmla="*/ 513324 h 800100"/>
                  <a:gd name="connsiteX123" fmla="*/ 200678 w 330367"/>
                  <a:gd name="connsiteY123" fmla="*/ 520138 h 800100"/>
                  <a:gd name="connsiteX124" fmla="*/ 196128 w 330367"/>
                  <a:gd name="connsiteY124" fmla="*/ 526953 h 800100"/>
                  <a:gd name="connsiteX125" fmla="*/ 196128 w 330367"/>
                  <a:gd name="connsiteY125" fmla="*/ 536038 h 800100"/>
                  <a:gd name="connsiteX126" fmla="*/ 198403 w 330367"/>
                  <a:gd name="connsiteY126" fmla="*/ 540581 h 800100"/>
                  <a:gd name="connsiteX127" fmla="*/ 198403 w 330367"/>
                  <a:gd name="connsiteY127" fmla="*/ 545123 h 800100"/>
                  <a:gd name="connsiteX128" fmla="*/ 200678 w 330367"/>
                  <a:gd name="connsiteY128" fmla="*/ 549666 h 800100"/>
                  <a:gd name="connsiteX129" fmla="*/ 200678 w 330367"/>
                  <a:gd name="connsiteY129" fmla="*/ 551937 h 800100"/>
                  <a:gd name="connsiteX130" fmla="*/ 196128 w 330367"/>
                  <a:gd name="connsiteY130" fmla="*/ 556480 h 800100"/>
                  <a:gd name="connsiteX131" fmla="*/ 200678 w 330367"/>
                  <a:gd name="connsiteY131" fmla="*/ 563294 h 800100"/>
                  <a:gd name="connsiteX132" fmla="*/ 182476 w 330367"/>
                  <a:gd name="connsiteY132" fmla="*/ 567837 h 800100"/>
                  <a:gd name="connsiteX133" fmla="*/ 171100 w 330367"/>
                  <a:gd name="connsiteY133" fmla="*/ 583736 h 800100"/>
                  <a:gd name="connsiteX134" fmla="*/ 184752 w 330367"/>
                  <a:gd name="connsiteY134" fmla="*/ 604178 h 800100"/>
                  <a:gd name="connsiteX135" fmla="*/ 196128 w 330367"/>
                  <a:gd name="connsiteY135" fmla="*/ 610992 h 800100"/>
                  <a:gd name="connsiteX136" fmla="*/ 214330 w 330367"/>
                  <a:gd name="connsiteY136" fmla="*/ 613264 h 800100"/>
                  <a:gd name="connsiteX137" fmla="*/ 209779 w 330367"/>
                  <a:gd name="connsiteY137" fmla="*/ 631435 h 800100"/>
                  <a:gd name="connsiteX138" fmla="*/ 216605 w 330367"/>
                  <a:gd name="connsiteY138" fmla="*/ 631435 h 800100"/>
                  <a:gd name="connsiteX139" fmla="*/ 223431 w 330367"/>
                  <a:gd name="connsiteY139" fmla="*/ 633706 h 800100"/>
                  <a:gd name="connsiteX140" fmla="*/ 221156 w 330367"/>
                  <a:gd name="connsiteY140" fmla="*/ 635977 h 800100"/>
                  <a:gd name="connsiteX141" fmla="*/ 209779 w 330367"/>
                  <a:gd name="connsiteY141" fmla="*/ 647334 h 800100"/>
                  <a:gd name="connsiteX142" fmla="*/ 202954 w 330367"/>
                  <a:gd name="connsiteY142" fmla="*/ 656419 h 800100"/>
                  <a:gd name="connsiteX143" fmla="*/ 198403 w 330367"/>
                  <a:gd name="connsiteY143" fmla="*/ 660962 h 800100"/>
                  <a:gd name="connsiteX144" fmla="*/ 198403 w 330367"/>
                  <a:gd name="connsiteY144" fmla="*/ 667776 h 800100"/>
                  <a:gd name="connsiteX145" fmla="*/ 200678 w 330367"/>
                  <a:gd name="connsiteY145" fmla="*/ 665505 h 800100"/>
                  <a:gd name="connsiteX146" fmla="*/ 198403 w 330367"/>
                  <a:gd name="connsiteY146" fmla="*/ 685947 h 800100"/>
                  <a:gd name="connsiteX147" fmla="*/ 184752 w 330367"/>
                  <a:gd name="connsiteY147" fmla="*/ 676861 h 800100"/>
                  <a:gd name="connsiteX148" fmla="*/ 189302 w 330367"/>
                  <a:gd name="connsiteY148" fmla="*/ 681404 h 800100"/>
                  <a:gd name="connsiteX149" fmla="*/ 182476 w 330367"/>
                  <a:gd name="connsiteY149" fmla="*/ 683675 h 800100"/>
                  <a:gd name="connsiteX150" fmla="*/ 193853 w 330367"/>
                  <a:gd name="connsiteY150" fmla="*/ 685947 h 800100"/>
                  <a:gd name="connsiteX151" fmla="*/ 187027 w 330367"/>
                  <a:gd name="connsiteY151" fmla="*/ 692761 h 800100"/>
                  <a:gd name="connsiteX152" fmla="*/ 187027 w 330367"/>
                  <a:gd name="connsiteY152" fmla="*/ 708660 h 800100"/>
                  <a:gd name="connsiteX153" fmla="*/ 198403 w 330367"/>
                  <a:gd name="connsiteY153" fmla="*/ 717746 h 800100"/>
                  <a:gd name="connsiteX154" fmla="*/ 189302 w 330367"/>
                  <a:gd name="connsiteY154" fmla="*/ 720017 h 800100"/>
                  <a:gd name="connsiteX155" fmla="*/ 198403 w 330367"/>
                  <a:gd name="connsiteY155" fmla="*/ 722288 h 800100"/>
                  <a:gd name="connsiteX156" fmla="*/ 205229 w 330367"/>
                  <a:gd name="connsiteY156" fmla="*/ 726831 h 800100"/>
                  <a:gd name="connsiteX157" fmla="*/ 218880 w 330367"/>
                  <a:gd name="connsiteY157" fmla="*/ 738188 h 800100"/>
                  <a:gd name="connsiteX158" fmla="*/ 212054 w 330367"/>
                  <a:gd name="connsiteY158" fmla="*/ 735916 h 800100"/>
                  <a:gd name="connsiteX159" fmla="*/ 202954 w 330367"/>
                  <a:gd name="connsiteY159" fmla="*/ 733645 h 800100"/>
                  <a:gd name="connsiteX160" fmla="*/ 175651 w 330367"/>
                  <a:gd name="connsiteY160" fmla="*/ 729102 h 800100"/>
                  <a:gd name="connsiteX161" fmla="*/ 161999 w 330367"/>
                  <a:gd name="connsiteY161" fmla="*/ 729102 h 800100"/>
                  <a:gd name="connsiteX162" fmla="*/ 148348 w 330367"/>
                  <a:gd name="connsiteY162" fmla="*/ 729102 h 800100"/>
                  <a:gd name="connsiteX163" fmla="*/ 134696 w 330367"/>
                  <a:gd name="connsiteY163" fmla="*/ 717746 h 800100"/>
                  <a:gd name="connsiteX164" fmla="*/ 132421 w 330367"/>
                  <a:gd name="connsiteY164" fmla="*/ 710932 h 800100"/>
                  <a:gd name="connsiteX165" fmla="*/ 130146 w 330367"/>
                  <a:gd name="connsiteY165" fmla="*/ 701846 h 800100"/>
                  <a:gd name="connsiteX166" fmla="*/ 123320 w 330367"/>
                  <a:gd name="connsiteY166" fmla="*/ 697304 h 800100"/>
                  <a:gd name="connsiteX167" fmla="*/ 118770 w 330367"/>
                  <a:gd name="connsiteY167" fmla="*/ 697304 h 800100"/>
                  <a:gd name="connsiteX168" fmla="*/ 114219 w 330367"/>
                  <a:gd name="connsiteY168" fmla="*/ 699575 h 800100"/>
                  <a:gd name="connsiteX169" fmla="*/ 107393 w 330367"/>
                  <a:gd name="connsiteY169" fmla="*/ 692761 h 800100"/>
                  <a:gd name="connsiteX170" fmla="*/ 98292 w 330367"/>
                  <a:gd name="connsiteY170" fmla="*/ 683675 h 800100"/>
                  <a:gd name="connsiteX171" fmla="*/ 96017 w 330367"/>
                  <a:gd name="connsiteY171" fmla="*/ 681404 h 800100"/>
                  <a:gd name="connsiteX172" fmla="*/ 96017 w 330367"/>
                  <a:gd name="connsiteY172" fmla="*/ 676861 h 800100"/>
                  <a:gd name="connsiteX173" fmla="*/ 91467 w 330367"/>
                  <a:gd name="connsiteY173" fmla="*/ 672319 h 800100"/>
                  <a:gd name="connsiteX174" fmla="*/ 91467 w 330367"/>
                  <a:gd name="connsiteY174" fmla="*/ 665505 h 800100"/>
                  <a:gd name="connsiteX175" fmla="*/ 96017 w 330367"/>
                  <a:gd name="connsiteY175" fmla="*/ 660962 h 800100"/>
                  <a:gd name="connsiteX176" fmla="*/ 98292 w 330367"/>
                  <a:gd name="connsiteY176" fmla="*/ 658691 h 800100"/>
                  <a:gd name="connsiteX177" fmla="*/ 100568 w 330367"/>
                  <a:gd name="connsiteY177" fmla="*/ 656419 h 800100"/>
                  <a:gd name="connsiteX178" fmla="*/ 100568 w 330367"/>
                  <a:gd name="connsiteY178" fmla="*/ 647334 h 800100"/>
                  <a:gd name="connsiteX179" fmla="*/ 102843 w 330367"/>
                  <a:gd name="connsiteY179" fmla="*/ 642791 h 800100"/>
                  <a:gd name="connsiteX180" fmla="*/ 98292 w 330367"/>
                  <a:gd name="connsiteY180" fmla="*/ 635977 h 800100"/>
                  <a:gd name="connsiteX181" fmla="*/ 93742 w 330367"/>
                  <a:gd name="connsiteY181" fmla="*/ 626892 h 800100"/>
                  <a:gd name="connsiteX182" fmla="*/ 100568 w 330367"/>
                  <a:gd name="connsiteY182" fmla="*/ 615535 h 800100"/>
                  <a:gd name="connsiteX183" fmla="*/ 96017 w 330367"/>
                  <a:gd name="connsiteY183" fmla="*/ 610992 h 800100"/>
                  <a:gd name="connsiteX184" fmla="*/ 96017 w 330367"/>
                  <a:gd name="connsiteY184" fmla="*/ 606450 h 800100"/>
                  <a:gd name="connsiteX185" fmla="*/ 98292 w 330367"/>
                  <a:gd name="connsiteY185" fmla="*/ 604178 h 800100"/>
                  <a:gd name="connsiteX186" fmla="*/ 89192 w 330367"/>
                  <a:gd name="connsiteY186" fmla="*/ 590550 h 800100"/>
                  <a:gd name="connsiteX187" fmla="*/ 91467 w 330367"/>
                  <a:gd name="connsiteY187" fmla="*/ 583736 h 800100"/>
                  <a:gd name="connsiteX188" fmla="*/ 86916 w 330367"/>
                  <a:gd name="connsiteY188" fmla="*/ 576922 h 800100"/>
                  <a:gd name="connsiteX189" fmla="*/ 91467 w 330367"/>
                  <a:gd name="connsiteY189" fmla="*/ 572379 h 800100"/>
                  <a:gd name="connsiteX190" fmla="*/ 91467 w 330367"/>
                  <a:gd name="connsiteY190" fmla="*/ 567837 h 800100"/>
                  <a:gd name="connsiteX191" fmla="*/ 84641 w 330367"/>
                  <a:gd name="connsiteY191" fmla="*/ 563294 h 800100"/>
                  <a:gd name="connsiteX192" fmla="*/ 73265 w 330367"/>
                  <a:gd name="connsiteY192" fmla="*/ 561023 h 800100"/>
                  <a:gd name="connsiteX193" fmla="*/ 89192 w 330367"/>
                  <a:gd name="connsiteY193" fmla="*/ 556480 h 800100"/>
                  <a:gd name="connsiteX194" fmla="*/ 89192 w 330367"/>
                  <a:gd name="connsiteY194" fmla="*/ 551937 h 800100"/>
                  <a:gd name="connsiteX195" fmla="*/ 73265 w 330367"/>
                  <a:gd name="connsiteY195" fmla="*/ 545123 h 800100"/>
                  <a:gd name="connsiteX196" fmla="*/ 70990 w 330367"/>
                  <a:gd name="connsiteY196" fmla="*/ 542852 h 800100"/>
                  <a:gd name="connsiteX197" fmla="*/ 73265 w 330367"/>
                  <a:gd name="connsiteY197" fmla="*/ 538309 h 800100"/>
                  <a:gd name="connsiteX198" fmla="*/ 68714 w 330367"/>
                  <a:gd name="connsiteY198" fmla="*/ 531495 h 800100"/>
                  <a:gd name="connsiteX199" fmla="*/ 64164 w 330367"/>
                  <a:gd name="connsiteY199" fmla="*/ 522410 h 800100"/>
                  <a:gd name="connsiteX200" fmla="*/ 59613 w 330367"/>
                  <a:gd name="connsiteY200" fmla="*/ 517867 h 800100"/>
                  <a:gd name="connsiteX201" fmla="*/ 52788 w 330367"/>
                  <a:gd name="connsiteY201" fmla="*/ 511053 h 800100"/>
                  <a:gd name="connsiteX202" fmla="*/ 50512 w 330367"/>
                  <a:gd name="connsiteY202" fmla="*/ 501968 h 800100"/>
                  <a:gd name="connsiteX203" fmla="*/ 50512 w 330367"/>
                  <a:gd name="connsiteY203" fmla="*/ 495154 h 800100"/>
                  <a:gd name="connsiteX204" fmla="*/ 52788 w 330367"/>
                  <a:gd name="connsiteY204" fmla="*/ 490611 h 800100"/>
                  <a:gd name="connsiteX205" fmla="*/ 45962 w 330367"/>
                  <a:gd name="connsiteY205" fmla="*/ 481526 h 800100"/>
                  <a:gd name="connsiteX206" fmla="*/ 39136 w 330367"/>
                  <a:gd name="connsiteY206" fmla="*/ 461083 h 800100"/>
                  <a:gd name="connsiteX207" fmla="*/ 39136 w 330367"/>
                  <a:gd name="connsiteY207" fmla="*/ 451998 h 800100"/>
                  <a:gd name="connsiteX208" fmla="*/ 34586 w 330367"/>
                  <a:gd name="connsiteY208" fmla="*/ 445184 h 800100"/>
                  <a:gd name="connsiteX209" fmla="*/ 36861 w 330367"/>
                  <a:gd name="connsiteY209" fmla="*/ 438370 h 800100"/>
                  <a:gd name="connsiteX210" fmla="*/ 36861 w 330367"/>
                  <a:gd name="connsiteY210" fmla="*/ 433827 h 800100"/>
                  <a:gd name="connsiteX211" fmla="*/ 34586 w 330367"/>
                  <a:gd name="connsiteY211" fmla="*/ 420199 h 800100"/>
                  <a:gd name="connsiteX212" fmla="*/ 41411 w 330367"/>
                  <a:gd name="connsiteY212" fmla="*/ 411114 h 800100"/>
                  <a:gd name="connsiteX213" fmla="*/ 36861 w 330367"/>
                  <a:gd name="connsiteY213" fmla="*/ 399757 h 800100"/>
                  <a:gd name="connsiteX214" fmla="*/ 30035 w 330367"/>
                  <a:gd name="connsiteY214" fmla="*/ 383858 h 800100"/>
                  <a:gd name="connsiteX215" fmla="*/ 25485 w 330367"/>
                  <a:gd name="connsiteY215" fmla="*/ 370230 h 800100"/>
                  <a:gd name="connsiteX216" fmla="*/ 25485 w 330367"/>
                  <a:gd name="connsiteY216" fmla="*/ 356601 h 800100"/>
                  <a:gd name="connsiteX217" fmla="*/ 27760 w 330367"/>
                  <a:gd name="connsiteY217" fmla="*/ 354330 h 800100"/>
                  <a:gd name="connsiteX218" fmla="*/ 30035 w 330367"/>
                  <a:gd name="connsiteY218" fmla="*/ 349787 h 800100"/>
                  <a:gd name="connsiteX219" fmla="*/ 32311 w 330367"/>
                  <a:gd name="connsiteY219" fmla="*/ 347516 h 800100"/>
                  <a:gd name="connsiteX220" fmla="*/ 30035 w 330367"/>
                  <a:gd name="connsiteY220" fmla="*/ 338431 h 800100"/>
                  <a:gd name="connsiteX221" fmla="*/ 27760 w 330367"/>
                  <a:gd name="connsiteY221" fmla="*/ 331617 h 800100"/>
                  <a:gd name="connsiteX222" fmla="*/ 25485 w 330367"/>
                  <a:gd name="connsiteY222" fmla="*/ 327074 h 800100"/>
                  <a:gd name="connsiteX223" fmla="*/ 27760 w 330367"/>
                  <a:gd name="connsiteY223" fmla="*/ 324803 h 800100"/>
                  <a:gd name="connsiteX224" fmla="*/ 27760 w 330367"/>
                  <a:gd name="connsiteY224" fmla="*/ 317989 h 800100"/>
                  <a:gd name="connsiteX225" fmla="*/ 32311 w 330367"/>
                  <a:gd name="connsiteY225" fmla="*/ 304360 h 800100"/>
                  <a:gd name="connsiteX226" fmla="*/ 30035 w 330367"/>
                  <a:gd name="connsiteY226" fmla="*/ 295275 h 800100"/>
                  <a:gd name="connsiteX227" fmla="*/ 25485 w 330367"/>
                  <a:gd name="connsiteY227" fmla="*/ 279376 h 800100"/>
                  <a:gd name="connsiteX228" fmla="*/ 23210 w 330367"/>
                  <a:gd name="connsiteY228" fmla="*/ 279376 h 800100"/>
                  <a:gd name="connsiteX229" fmla="*/ 20934 w 330367"/>
                  <a:gd name="connsiteY229" fmla="*/ 270290 h 800100"/>
                  <a:gd name="connsiteX230" fmla="*/ 18659 w 330367"/>
                  <a:gd name="connsiteY230" fmla="*/ 265748 h 800100"/>
                  <a:gd name="connsiteX231" fmla="*/ 16384 w 330367"/>
                  <a:gd name="connsiteY231" fmla="*/ 261205 h 800100"/>
                  <a:gd name="connsiteX232" fmla="*/ 7283 w 330367"/>
                  <a:gd name="connsiteY232" fmla="*/ 249848 h 800100"/>
                  <a:gd name="connsiteX233" fmla="*/ 5008 w 330367"/>
                  <a:gd name="connsiteY233" fmla="*/ 245305 h 800100"/>
                  <a:gd name="connsiteX234" fmla="*/ 457 w 330367"/>
                  <a:gd name="connsiteY234" fmla="*/ 231677 h 800100"/>
                  <a:gd name="connsiteX235" fmla="*/ 2732 w 330367"/>
                  <a:gd name="connsiteY235" fmla="*/ 222592 h 800100"/>
                  <a:gd name="connsiteX236" fmla="*/ 2732 w 330367"/>
                  <a:gd name="connsiteY236" fmla="*/ 208964 h 800100"/>
                  <a:gd name="connsiteX237" fmla="*/ 7283 w 330367"/>
                  <a:gd name="connsiteY237" fmla="*/ 197607 h 800100"/>
                  <a:gd name="connsiteX238" fmla="*/ 457 w 330367"/>
                  <a:gd name="connsiteY238" fmla="*/ 181708 h 800100"/>
                  <a:gd name="connsiteX239" fmla="*/ 5008 w 330367"/>
                  <a:gd name="connsiteY239" fmla="*/ 177165 h 800100"/>
                  <a:gd name="connsiteX240" fmla="*/ 2732 w 330367"/>
                  <a:gd name="connsiteY240" fmla="*/ 168080 h 800100"/>
                  <a:gd name="connsiteX241" fmla="*/ 11833 w 330367"/>
                  <a:gd name="connsiteY241" fmla="*/ 149909 h 800100"/>
                  <a:gd name="connsiteX242" fmla="*/ 14109 w 330367"/>
                  <a:gd name="connsiteY242" fmla="*/ 136281 h 800100"/>
                  <a:gd name="connsiteX243" fmla="*/ 16384 w 330367"/>
                  <a:gd name="connsiteY243" fmla="*/ 129467 h 800100"/>
                  <a:gd name="connsiteX244" fmla="*/ 20934 w 330367"/>
                  <a:gd name="connsiteY244" fmla="*/ 129467 h 800100"/>
                  <a:gd name="connsiteX245" fmla="*/ 18659 w 330367"/>
                  <a:gd name="connsiteY245" fmla="*/ 115839 h 800100"/>
                  <a:gd name="connsiteX246" fmla="*/ 18659 w 330367"/>
                  <a:gd name="connsiteY246" fmla="*/ 102211 h 800100"/>
                  <a:gd name="connsiteX247" fmla="*/ 16384 w 330367"/>
                  <a:gd name="connsiteY247" fmla="*/ 81768 h 800100"/>
                  <a:gd name="connsiteX248" fmla="*/ 11833 w 330367"/>
                  <a:gd name="connsiteY248" fmla="*/ 70412 h 800100"/>
                  <a:gd name="connsiteX249" fmla="*/ 20934 w 330367"/>
                  <a:gd name="connsiteY249" fmla="*/ 61326 h 800100"/>
                  <a:gd name="connsiteX250" fmla="*/ 34586 w 330367"/>
                  <a:gd name="connsiteY250" fmla="*/ 52241 h 800100"/>
                  <a:gd name="connsiteX251" fmla="*/ 36861 w 330367"/>
                  <a:gd name="connsiteY251" fmla="*/ 36341 h 800100"/>
                  <a:gd name="connsiteX252" fmla="*/ 36861 w 330367"/>
                  <a:gd name="connsiteY252" fmla="*/ 27256 h 800100"/>
                  <a:gd name="connsiteX253" fmla="*/ 32311 w 330367"/>
                  <a:gd name="connsiteY253" fmla="*/ 24985 h 800100"/>
                  <a:gd name="connsiteX254" fmla="*/ 43687 w 330367"/>
                  <a:gd name="connsiteY254" fmla="*/ 9085 h 800100"/>
                  <a:gd name="connsiteX255" fmla="*/ 50512 w 330367"/>
                  <a:gd name="connsiteY255" fmla="*/ 0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Lst>
                <a:rect l="l" t="t" r="r" b="b"/>
                <a:pathLst>
                  <a:path w="330367" h="800100">
                    <a:moveTo>
                      <a:pt x="327986" y="792956"/>
                    </a:moveTo>
                    <a:cubicBezTo>
                      <a:pt x="323223" y="795338"/>
                      <a:pt x="316080" y="792956"/>
                      <a:pt x="313698" y="797719"/>
                    </a:cubicBezTo>
                    <a:cubicBezTo>
                      <a:pt x="313698" y="797719"/>
                      <a:pt x="313698" y="797719"/>
                      <a:pt x="311317" y="795338"/>
                    </a:cubicBezTo>
                    <a:cubicBezTo>
                      <a:pt x="316080" y="792956"/>
                      <a:pt x="323223" y="792956"/>
                      <a:pt x="327986" y="792956"/>
                    </a:cubicBezTo>
                    <a:close/>
                    <a:moveTo>
                      <a:pt x="218448" y="745331"/>
                    </a:moveTo>
                    <a:cubicBezTo>
                      <a:pt x="220735" y="747613"/>
                      <a:pt x="227597" y="749895"/>
                      <a:pt x="229884" y="754459"/>
                    </a:cubicBezTo>
                    <a:cubicBezTo>
                      <a:pt x="227597" y="749895"/>
                      <a:pt x="220735" y="759023"/>
                      <a:pt x="232172" y="759023"/>
                    </a:cubicBezTo>
                    <a:cubicBezTo>
                      <a:pt x="234459" y="759023"/>
                      <a:pt x="236746" y="763587"/>
                      <a:pt x="239033" y="765870"/>
                    </a:cubicBezTo>
                    <a:cubicBezTo>
                      <a:pt x="241321" y="768152"/>
                      <a:pt x="248182" y="770434"/>
                      <a:pt x="250470" y="772716"/>
                    </a:cubicBezTo>
                    <a:cubicBezTo>
                      <a:pt x="257332" y="779562"/>
                      <a:pt x="268768" y="781844"/>
                      <a:pt x="277917" y="786408"/>
                    </a:cubicBezTo>
                    <a:cubicBezTo>
                      <a:pt x="282491" y="788690"/>
                      <a:pt x="289353" y="790972"/>
                      <a:pt x="293928" y="790972"/>
                    </a:cubicBezTo>
                    <a:cubicBezTo>
                      <a:pt x="296215" y="790972"/>
                      <a:pt x="298502" y="790972"/>
                      <a:pt x="300790" y="790972"/>
                    </a:cubicBezTo>
                    <a:cubicBezTo>
                      <a:pt x="305364" y="790972"/>
                      <a:pt x="303077" y="795536"/>
                      <a:pt x="303077" y="797818"/>
                    </a:cubicBezTo>
                    <a:cubicBezTo>
                      <a:pt x="300790" y="795536"/>
                      <a:pt x="296215" y="797818"/>
                      <a:pt x="293928" y="797818"/>
                    </a:cubicBezTo>
                    <a:cubicBezTo>
                      <a:pt x="291640" y="795536"/>
                      <a:pt x="287066" y="800100"/>
                      <a:pt x="282491" y="800100"/>
                    </a:cubicBezTo>
                    <a:cubicBezTo>
                      <a:pt x="275630" y="797818"/>
                      <a:pt x="273342" y="797818"/>
                      <a:pt x="266481" y="797818"/>
                    </a:cubicBezTo>
                    <a:cubicBezTo>
                      <a:pt x="261906" y="797818"/>
                      <a:pt x="255044" y="797818"/>
                      <a:pt x="248182" y="795536"/>
                    </a:cubicBezTo>
                    <a:cubicBezTo>
                      <a:pt x="245895" y="793254"/>
                      <a:pt x="243608" y="797818"/>
                      <a:pt x="241321" y="793254"/>
                    </a:cubicBezTo>
                    <a:cubicBezTo>
                      <a:pt x="239033" y="788690"/>
                      <a:pt x="236746" y="784126"/>
                      <a:pt x="234459" y="779562"/>
                    </a:cubicBezTo>
                    <a:cubicBezTo>
                      <a:pt x="227597" y="768152"/>
                      <a:pt x="223023" y="756741"/>
                      <a:pt x="218448" y="745331"/>
                    </a:cubicBezTo>
                    <a:close/>
                    <a:moveTo>
                      <a:pt x="50512" y="0"/>
                    </a:moveTo>
                    <a:cubicBezTo>
                      <a:pt x="55063" y="0"/>
                      <a:pt x="57338" y="4543"/>
                      <a:pt x="61889" y="6814"/>
                    </a:cubicBezTo>
                    <a:cubicBezTo>
                      <a:pt x="66439" y="9085"/>
                      <a:pt x="73265" y="6814"/>
                      <a:pt x="77815" y="6814"/>
                    </a:cubicBezTo>
                    <a:cubicBezTo>
                      <a:pt x="89192" y="9085"/>
                      <a:pt x="89192" y="18171"/>
                      <a:pt x="93742" y="24985"/>
                    </a:cubicBezTo>
                    <a:cubicBezTo>
                      <a:pt x="96017" y="22713"/>
                      <a:pt x="96017" y="18171"/>
                      <a:pt x="96017" y="15899"/>
                    </a:cubicBezTo>
                    <a:cubicBezTo>
                      <a:pt x="98292" y="13628"/>
                      <a:pt x="98292" y="6814"/>
                      <a:pt x="100568" y="4543"/>
                    </a:cubicBezTo>
                    <a:cubicBezTo>
                      <a:pt x="102843" y="4543"/>
                      <a:pt x="105118" y="4543"/>
                      <a:pt x="107393" y="4543"/>
                    </a:cubicBezTo>
                    <a:cubicBezTo>
                      <a:pt x="109669" y="4543"/>
                      <a:pt x="114219" y="4543"/>
                      <a:pt x="116494" y="4543"/>
                    </a:cubicBezTo>
                    <a:cubicBezTo>
                      <a:pt x="118770" y="4543"/>
                      <a:pt x="123320" y="4543"/>
                      <a:pt x="123320" y="6814"/>
                    </a:cubicBezTo>
                    <a:cubicBezTo>
                      <a:pt x="125595" y="9085"/>
                      <a:pt x="130146" y="11357"/>
                      <a:pt x="132421" y="13628"/>
                    </a:cubicBezTo>
                    <a:cubicBezTo>
                      <a:pt x="134696" y="15899"/>
                      <a:pt x="136972" y="18171"/>
                      <a:pt x="139247" y="20442"/>
                    </a:cubicBezTo>
                    <a:cubicBezTo>
                      <a:pt x="139247" y="22713"/>
                      <a:pt x="141522" y="24985"/>
                      <a:pt x="143797" y="27256"/>
                    </a:cubicBezTo>
                    <a:cubicBezTo>
                      <a:pt x="148348" y="34070"/>
                      <a:pt x="155173" y="36341"/>
                      <a:pt x="159724" y="40884"/>
                    </a:cubicBezTo>
                    <a:cubicBezTo>
                      <a:pt x="161999" y="43155"/>
                      <a:pt x="164274" y="45427"/>
                      <a:pt x="166550" y="47698"/>
                    </a:cubicBezTo>
                    <a:cubicBezTo>
                      <a:pt x="168825" y="49970"/>
                      <a:pt x="173375" y="49970"/>
                      <a:pt x="175651" y="52241"/>
                    </a:cubicBezTo>
                    <a:cubicBezTo>
                      <a:pt x="180201" y="52241"/>
                      <a:pt x="182476" y="54512"/>
                      <a:pt x="187027" y="54512"/>
                    </a:cubicBezTo>
                    <a:cubicBezTo>
                      <a:pt x="191577" y="54512"/>
                      <a:pt x="193853" y="56784"/>
                      <a:pt x="196128" y="59055"/>
                    </a:cubicBezTo>
                    <a:cubicBezTo>
                      <a:pt x="202954" y="61326"/>
                      <a:pt x="209779" y="70412"/>
                      <a:pt x="216605" y="72683"/>
                    </a:cubicBezTo>
                    <a:cubicBezTo>
                      <a:pt x="218880" y="72683"/>
                      <a:pt x="221156" y="72683"/>
                      <a:pt x="223431" y="74954"/>
                    </a:cubicBezTo>
                    <a:cubicBezTo>
                      <a:pt x="225706" y="77226"/>
                      <a:pt x="227981" y="74954"/>
                      <a:pt x="230257" y="77226"/>
                    </a:cubicBezTo>
                    <a:cubicBezTo>
                      <a:pt x="232532" y="79497"/>
                      <a:pt x="237082" y="79497"/>
                      <a:pt x="239357" y="81768"/>
                    </a:cubicBezTo>
                    <a:cubicBezTo>
                      <a:pt x="241633" y="84040"/>
                      <a:pt x="241633" y="86311"/>
                      <a:pt x="243908" y="86311"/>
                    </a:cubicBezTo>
                    <a:cubicBezTo>
                      <a:pt x="246183" y="90854"/>
                      <a:pt x="241633" y="95396"/>
                      <a:pt x="239357" y="99939"/>
                    </a:cubicBezTo>
                    <a:cubicBezTo>
                      <a:pt x="239357" y="104482"/>
                      <a:pt x="234807" y="106753"/>
                      <a:pt x="234807" y="113567"/>
                    </a:cubicBezTo>
                    <a:cubicBezTo>
                      <a:pt x="237082" y="120381"/>
                      <a:pt x="230257" y="122653"/>
                      <a:pt x="230257" y="129467"/>
                    </a:cubicBezTo>
                    <a:cubicBezTo>
                      <a:pt x="227981" y="131738"/>
                      <a:pt x="227981" y="131738"/>
                      <a:pt x="230257" y="134009"/>
                    </a:cubicBezTo>
                    <a:cubicBezTo>
                      <a:pt x="232532" y="131738"/>
                      <a:pt x="237082" y="131738"/>
                      <a:pt x="241633" y="134009"/>
                    </a:cubicBezTo>
                    <a:cubicBezTo>
                      <a:pt x="250734" y="134009"/>
                      <a:pt x="257559" y="138552"/>
                      <a:pt x="264385" y="136281"/>
                    </a:cubicBezTo>
                    <a:cubicBezTo>
                      <a:pt x="266660" y="136281"/>
                      <a:pt x="268936" y="140823"/>
                      <a:pt x="271211" y="138552"/>
                    </a:cubicBezTo>
                    <a:cubicBezTo>
                      <a:pt x="273486" y="136281"/>
                      <a:pt x="275761" y="140823"/>
                      <a:pt x="278037" y="140823"/>
                    </a:cubicBezTo>
                    <a:cubicBezTo>
                      <a:pt x="278037" y="138552"/>
                      <a:pt x="278037" y="134009"/>
                      <a:pt x="282587" y="134009"/>
                    </a:cubicBezTo>
                    <a:cubicBezTo>
                      <a:pt x="284862" y="134009"/>
                      <a:pt x="287138" y="136281"/>
                      <a:pt x="289413" y="136281"/>
                    </a:cubicBezTo>
                    <a:cubicBezTo>
                      <a:pt x="293963" y="136281"/>
                      <a:pt x="291688" y="131738"/>
                      <a:pt x="293963" y="129467"/>
                    </a:cubicBezTo>
                    <a:cubicBezTo>
                      <a:pt x="293963" y="124924"/>
                      <a:pt x="300789" y="124924"/>
                      <a:pt x="300789" y="124924"/>
                    </a:cubicBezTo>
                    <a:cubicBezTo>
                      <a:pt x="305339" y="118110"/>
                      <a:pt x="305339" y="118110"/>
                      <a:pt x="305339" y="118110"/>
                    </a:cubicBezTo>
                    <a:cubicBezTo>
                      <a:pt x="307615" y="118110"/>
                      <a:pt x="307615" y="111296"/>
                      <a:pt x="307615" y="109025"/>
                    </a:cubicBezTo>
                    <a:cubicBezTo>
                      <a:pt x="307615" y="104482"/>
                      <a:pt x="307615" y="99939"/>
                      <a:pt x="307615" y="95396"/>
                    </a:cubicBezTo>
                    <a:cubicBezTo>
                      <a:pt x="305339" y="90854"/>
                      <a:pt x="307615" y="93125"/>
                      <a:pt x="312165" y="93125"/>
                    </a:cubicBezTo>
                    <a:cubicBezTo>
                      <a:pt x="312165" y="90854"/>
                      <a:pt x="316716" y="90854"/>
                      <a:pt x="318991" y="90854"/>
                    </a:cubicBezTo>
                    <a:cubicBezTo>
                      <a:pt x="323541" y="93125"/>
                      <a:pt x="323541" y="97668"/>
                      <a:pt x="325817" y="102211"/>
                    </a:cubicBezTo>
                    <a:cubicBezTo>
                      <a:pt x="328092" y="106753"/>
                      <a:pt x="328092" y="111296"/>
                      <a:pt x="328092" y="115839"/>
                    </a:cubicBezTo>
                    <a:cubicBezTo>
                      <a:pt x="328092" y="120381"/>
                      <a:pt x="330367" y="122653"/>
                      <a:pt x="330367" y="124924"/>
                    </a:cubicBezTo>
                    <a:cubicBezTo>
                      <a:pt x="328092" y="127195"/>
                      <a:pt x="328092" y="129467"/>
                      <a:pt x="328092" y="131738"/>
                    </a:cubicBezTo>
                    <a:cubicBezTo>
                      <a:pt x="328092" y="129467"/>
                      <a:pt x="325817" y="129467"/>
                      <a:pt x="325817" y="131738"/>
                    </a:cubicBezTo>
                    <a:cubicBezTo>
                      <a:pt x="321266" y="134009"/>
                      <a:pt x="318991" y="136281"/>
                      <a:pt x="316716" y="136281"/>
                    </a:cubicBezTo>
                    <a:cubicBezTo>
                      <a:pt x="314440" y="138552"/>
                      <a:pt x="307615" y="140823"/>
                      <a:pt x="307615" y="143095"/>
                    </a:cubicBezTo>
                    <a:cubicBezTo>
                      <a:pt x="307615" y="145366"/>
                      <a:pt x="303064" y="145366"/>
                      <a:pt x="300789" y="147637"/>
                    </a:cubicBezTo>
                    <a:cubicBezTo>
                      <a:pt x="300789" y="149909"/>
                      <a:pt x="298514" y="149909"/>
                      <a:pt x="298514" y="152180"/>
                    </a:cubicBezTo>
                    <a:cubicBezTo>
                      <a:pt x="296238" y="154452"/>
                      <a:pt x="293963" y="154452"/>
                      <a:pt x="291688" y="156723"/>
                    </a:cubicBezTo>
                    <a:cubicBezTo>
                      <a:pt x="293963" y="156723"/>
                      <a:pt x="293963" y="158994"/>
                      <a:pt x="293963" y="161266"/>
                    </a:cubicBezTo>
                    <a:cubicBezTo>
                      <a:pt x="289413" y="156723"/>
                      <a:pt x="282587" y="172622"/>
                      <a:pt x="280312" y="174894"/>
                    </a:cubicBezTo>
                    <a:cubicBezTo>
                      <a:pt x="278037" y="181708"/>
                      <a:pt x="275761" y="190793"/>
                      <a:pt x="268936" y="193064"/>
                    </a:cubicBezTo>
                    <a:cubicBezTo>
                      <a:pt x="266660" y="195336"/>
                      <a:pt x="266660" y="199878"/>
                      <a:pt x="264385" y="202150"/>
                    </a:cubicBezTo>
                    <a:cubicBezTo>
                      <a:pt x="264385" y="202150"/>
                      <a:pt x="262110" y="204421"/>
                      <a:pt x="262110" y="204421"/>
                    </a:cubicBezTo>
                    <a:cubicBezTo>
                      <a:pt x="262110" y="206693"/>
                      <a:pt x="262110" y="208964"/>
                      <a:pt x="259835" y="211235"/>
                    </a:cubicBezTo>
                    <a:cubicBezTo>
                      <a:pt x="255284" y="215778"/>
                      <a:pt x="259835" y="215778"/>
                      <a:pt x="262110" y="220321"/>
                    </a:cubicBezTo>
                    <a:cubicBezTo>
                      <a:pt x="262110" y="222592"/>
                      <a:pt x="259835" y="222592"/>
                      <a:pt x="259835" y="224863"/>
                    </a:cubicBezTo>
                    <a:cubicBezTo>
                      <a:pt x="259835" y="224863"/>
                      <a:pt x="259835" y="227135"/>
                      <a:pt x="259835" y="227135"/>
                    </a:cubicBezTo>
                    <a:cubicBezTo>
                      <a:pt x="259835" y="229406"/>
                      <a:pt x="259835" y="231677"/>
                      <a:pt x="259835" y="233949"/>
                    </a:cubicBezTo>
                    <a:cubicBezTo>
                      <a:pt x="257559" y="238491"/>
                      <a:pt x="262110" y="236220"/>
                      <a:pt x="259835" y="238491"/>
                    </a:cubicBezTo>
                    <a:cubicBezTo>
                      <a:pt x="259835" y="243034"/>
                      <a:pt x="257559" y="245305"/>
                      <a:pt x="259835" y="249848"/>
                    </a:cubicBezTo>
                    <a:cubicBezTo>
                      <a:pt x="259835" y="252119"/>
                      <a:pt x="262110" y="254391"/>
                      <a:pt x="259835" y="258934"/>
                    </a:cubicBezTo>
                    <a:cubicBezTo>
                      <a:pt x="259835" y="263476"/>
                      <a:pt x="262110" y="268019"/>
                      <a:pt x="264385" y="270290"/>
                    </a:cubicBezTo>
                    <a:cubicBezTo>
                      <a:pt x="266660" y="274833"/>
                      <a:pt x="259835" y="274833"/>
                      <a:pt x="259835" y="277104"/>
                    </a:cubicBezTo>
                    <a:cubicBezTo>
                      <a:pt x="259835" y="281647"/>
                      <a:pt x="257559" y="286190"/>
                      <a:pt x="259835" y="288461"/>
                    </a:cubicBezTo>
                    <a:cubicBezTo>
                      <a:pt x="262110" y="290732"/>
                      <a:pt x="268936" y="304360"/>
                      <a:pt x="262110" y="304360"/>
                    </a:cubicBezTo>
                    <a:cubicBezTo>
                      <a:pt x="266660" y="306632"/>
                      <a:pt x="266660" y="311174"/>
                      <a:pt x="271211" y="313446"/>
                    </a:cubicBezTo>
                    <a:cubicBezTo>
                      <a:pt x="273486" y="315717"/>
                      <a:pt x="278037" y="317989"/>
                      <a:pt x="282587" y="320260"/>
                    </a:cubicBezTo>
                    <a:cubicBezTo>
                      <a:pt x="289413" y="322531"/>
                      <a:pt x="300789" y="329345"/>
                      <a:pt x="296238" y="338431"/>
                    </a:cubicBezTo>
                    <a:cubicBezTo>
                      <a:pt x="293963" y="342973"/>
                      <a:pt x="303064" y="356601"/>
                      <a:pt x="309890" y="354330"/>
                    </a:cubicBezTo>
                    <a:cubicBezTo>
                      <a:pt x="312165" y="352059"/>
                      <a:pt x="314440" y="361144"/>
                      <a:pt x="314440" y="363415"/>
                    </a:cubicBezTo>
                    <a:cubicBezTo>
                      <a:pt x="316716" y="367958"/>
                      <a:pt x="314440" y="374772"/>
                      <a:pt x="312165" y="377044"/>
                    </a:cubicBezTo>
                    <a:cubicBezTo>
                      <a:pt x="309890" y="381586"/>
                      <a:pt x="305339" y="388400"/>
                      <a:pt x="305339" y="392943"/>
                    </a:cubicBezTo>
                    <a:cubicBezTo>
                      <a:pt x="305339" y="397486"/>
                      <a:pt x="305339" y="397486"/>
                      <a:pt x="300789" y="402028"/>
                    </a:cubicBezTo>
                    <a:cubicBezTo>
                      <a:pt x="293963" y="406571"/>
                      <a:pt x="284862" y="411114"/>
                      <a:pt x="273486" y="411114"/>
                    </a:cubicBezTo>
                    <a:cubicBezTo>
                      <a:pt x="262110" y="415656"/>
                      <a:pt x="250734" y="417928"/>
                      <a:pt x="239357" y="417928"/>
                    </a:cubicBezTo>
                    <a:cubicBezTo>
                      <a:pt x="234807" y="417928"/>
                      <a:pt x="232532" y="417928"/>
                      <a:pt x="227981" y="417928"/>
                    </a:cubicBezTo>
                    <a:cubicBezTo>
                      <a:pt x="221156" y="417928"/>
                      <a:pt x="218880" y="413385"/>
                      <a:pt x="214330" y="413385"/>
                    </a:cubicBezTo>
                    <a:cubicBezTo>
                      <a:pt x="214330" y="415656"/>
                      <a:pt x="214330" y="415656"/>
                      <a:pt x="216605" y="417928"/>
                    </a:cubicBezTo>
                    <a:cubicBezTo>
                      <a:pt x="218880" y="417928"/>
                      <a:pt x="216605" y="420199"/>
                      <a:pt x="216605" y="422471"/>
                    </a:cubicBezTo>
                    <a:cubicBezTo>
                      <a:pt x="216605" y="422471"/>
                      <a:pt x="225706" y="429285"/>
                      <a:pt x="221156" y="427013"/>
                    </a:cubicBezTo>
                    <a:cubicBezTo>
                      <a:pt x="223431" y="429285"/>
                      <a:pt x="225706" y="431556"/>
                      <a:pt x="225706" y="433827"/>
                    </a:cubicBezTo>
                    <a:cubicBezTo>
                      <a:pt x="225706" y="436099"/>
                      <a:pt x="225706" y="440641"/>
                      <a:pt x="223431" y="438370"/>
                    </a:cubicBezTo>
                    <a:cubicBezTo>
                      <a:pt x="223431" y="440641"/>
                      <a:pt x="223431" y="442913"/>
                      <a:pt x="223431" y="445184"/>
                    </a:cubicBezTo>
                    <a:cubicBezTo>
                      <a:pt x="223431" y="447455"/>
                      <a:pt x="221156" y="449727"/>
                      <a:pt x="223431" y="451998"/>
                    </a:cubicBezTo>
                    <a:cubicBezTo>
                      <a:pt x="223431" y="454269"/>
                      <a:pt x="225706" y="454269"/>
                      <a:pt x="227981" y="454269"/>
                    </a:cubicBezTo>
                    <a:cubicBezTo>
                      <a:pt x="227981" y="456541"/>
                      <a:pt x="227981" y="458812"/>
                      <a:pt x="230257" y="458812"/>
                    </a:cubicBezTo>
                    <a:cubicBezTo>
                      <a:pt x="227981" y="467897"/>
                      <a:pt x="218880" y="470169"/>
                      <a:pt x="209779" y="470169"/>
                    </a:cubicBezTo>
                    <a:cubicBezTo>
                      <a:pt x="198403" y="472440"/>
                      <a:pt x="189302" y="463355"/>
                      <a:pt x="180201" y="463355"/>
                    </a:cubicBezTo>
                    <a:cubicBezTo>
                      <a:pt x="184752" y="461083"/>
                      <a:pt x="180201" y="461083"/>
                      <a:pt x="177926" y="461083"/>
                    </a:cubicBezTo>
                    <a:cubicBezTo>
                      <a:pt x="175651" y="461083"/>
                      <a:pt x="175651" y="463355"/>
                      <a:pt x="173375" y="465626"/>
                    </a:cubicBezTo>
                    <a:cubicBezTo>
                      <a:pt x="173375" y="472440"/>
                      <a:pt x="182476" y="476983"/>
                      <a:pt x="182476" y="481526"/>
                    </a:cubicBezTo>
                    <a:cubicBezTo>
                      <a:pt x="182476" y="486068"/>
                      <a:pt x="184752" y="492882"/>
                      <a:pt x="189302" y="495154"/>
                    </a:cubicBezTo>
                    <a:cubicBezTo>
                      <a:pt x="191577" y="495154"/>
                      <a:pt x="198403" y="497425"/>
                      <a:pt x="196128" y="501968"/>
                    </a:cubicBezTo>
                    <a:cubicBezTo>
                      <a:pt x="198403" y="501968"/>
                      <a:pt x="207504" y="501968"/>
                      <a:pt x="207504" y="499696"/>
                    </a:cubicBezTo>
                    <a:cubicBezTo>
                      <a:pt x="207504" y="497425"/>
                      <a:pt x="202954" y="497425"/>
                      <a:pt x="200678" y="497425"/>
                    </a:cubicBezTo>
                    <a:cubicBezTo>
                      <a:pt x="205229" y="497425"/>
                      <a:pt x="205229" y="492882"/>
                      <a:pt x="209779" y="492882"/>
                    </a:cubicBezTo>
                    <a:cubicBezTo>
                      <a:pt x="212054" y="492882"/>
                      <a:pt x="216605" y="497425"/>
                      <a:pt x="216605" y="499696"/>
                    </a:cubicBezTo>
                    <a:cubicBezTo>
                      <a:pt x="216605" y="504239"/>
                      <a:pt x="221156" y="506510"/>
                      <a:pt x="218880" y="511053"/>
                    </a:cubicBezTo>
                    <a:cubicBezTo>
                      <a:pt x="216605" y="511053"/>
                      <a:pt x="212054" y="513324"/>
                      <a:pt x="209779" y="513324"/>
                    </a:cubicBezTo>
                    <a:cubicBezTo>
                      <a:pt x="207504" y="511053"/>
                      <a:pt x="207504" y="508782"/>
                      <a:pt x="205229" y="506510"/>
                    </a:cubicBezTo>
                    <a:cubicBezTo>
                      <a:pt x="202954" y="504239"/>
                      <a:pt x="198403" y="501968"/>
                      <a:pt x="196128" y="504239"/>
                    </a:cubicBezTo>
                    <a:cubicBezTo>
                      <a:pt x="187027" y="511053"/>
                      <a:pt x="202954" y="515596"/>
                      <a:pt x="207504" y="513324"/>
                    </a:cubicBezTo>
                    <a:cubicBezTo>
                      <a:pt x="207504" y="517867"/>
                      <a:pt x="202954" y="517867"/>
                      <a:pt x="200678" y="520138"/>
                    </a:cubicBezTo>
                    <a:cubicBezTo>
                      <a:pt x="196128" y="520138"/>
                      <a:pt x="196128" y="522410"/>
                      <a:pt x="196128" y="526953"/>
                    </a:cubicBezTo>
                    <a:cubicBezTo>
                      <a:pt x="193853" y="531495"/>
                      <a:pt x="193853" y="531495"/>
                      <a:pt x="196128" y="536038"/>
                    </a:cubicBezTo>
                    <a:cubicBezTo>
                      <a:pt x="196128" y="538309"/>
                      <a:pt x="198403" y="538309"/>
                      <a:pt x="198403" y="540581"/>
                    </a:cubicBezTo>
                    <a:cubicBezTo>
                      <a:pt x="198403" y="542852"/>
                      <a:pt x="198403" y="542852"/>
                      <a:pt x="198403" y="545123"/>
                    </a:cubicBezTo>
                    <a:cubicBezTo>
                      <a:pt x="200678" y="545123"/>
                      <a:pt x="200678" y="547395"/>
                      <a:pt x="200678" y="549666"/>
                    </a:cubicBezTo>
                    <a:cubicBezTo>
                      <a:pt x="200678" y="549666"/>
                      <a:pt x="200678" y="551937"/>
                      <a:pt x="200678" y="551937"/>
                    </a:cubicBezTo>
                    <a:cubicBezTo>
                      <a:pt x="198403" y="554209"/>
                      <a:pt x="196128" y="554209"/>
                      <a:pt x="196128" y="556480"/>
                    </a:cubicBezTo>
                    <a:cubicBezTo>
                      <a:pt x="196128" y="558751"/>
                      <a:pt x="200678" y="558751"/>
                      <a:pt x="200678" y="563294"/>
                    </a:cubicBezTo>
                    <a:cubicBezTo>
                      <a:pt x="198403" y="565565"/>
                      <a:pt x="177926" y="561023"/>
                      <a:pt x="182476" y="567837"/>
                    </a:cubicBezTo>
                    <a:cubicBezTo>
                      <a:pt x="175651" y="565565"/>
                      <a:pt x="173375" y="576922"/>
                      <a:pt x="171100" y="583736"/>
                    </a:cubicBezTo>
                    <a:cubicBezTo>
                      <a:pt x="168825" y="595093"/>
                      <a:pt x="175651" y="597364"/>
                      <a:pt x="184752" y="604178"/>
                    </a:cubicBezTo>
                    <a:cubicBezTo>
                      <a:pt x="187027" y="606450"/>
                      <a:pt x="191577" y="608721"/>
                      <a:pt x="196128" y="610992"/>
                    </a:cubicBezTo>
                    <a:cubicBezTo>
                      <a:pt x="200678" y="613264"/>
                      <a:pt x="207504" y="610992"/>
                      <a:pt x="214330" y="613264"/>
                    </a:cubicBezTo>
                    <a:cubicBezTo>
                      <a:pt x="221156" y="617806"/>
                      <a:pt x="221156" y="633706"/>
                      <a:pt x="209779" y="631435"/>
                    </a:cubicBezTo>
                    <a:cubicBezTo>
                      <a:pt x="212054" y="631435"/>
                      <a:pt x="214330" y="631435"/>
                      <a:pt x="216605" y="631435"/>
                    </a:cubicBezTo>
                    <a:cubicBezTo>
                      <a:pt x="218880" y="629163"/>
                      <a:pt x="221156" y="631435"/>
                      <a:pt x="223431" y="633706"/>
                    </a:cubicBezTo>
                    <a:cubicBezTo>
                      <a:pt x="221156" y="633706"/>
                      <a:pt x="218880" y="635977"/>
                      <a:pt x="221156" y="635977"/>
                    </a:cubicBezTo>
                    <a:cubicBezTo>
                      <a:pt x="216605" y="635977"/>
                      <a:pt x="209779" y="645063"/>
                      <a:pt x="209779" y="647334"/>
                    </a:cubicBezTo>
                    <a:cubicBezTo>
                      <a:pt x="205229" y="649605"/>
                      <a:pt x="202954" y="651877"/>
                      <a:pt x="202954" y="656419"/>
                    </a:cubicBezTo>
                    <a:cubicBezTo>
                      <a:pt x="200678" y="658691"/>
                      <a:pt x="198403" y="658691"/>
                      <a:pt x="198403" y="660962"/>
                    </a:cubicBezTo>
                    <a:cubicBezTo>
                      <a:pt x="198403" y="663233"/>
                      <a:pt x="200678" y="665505"/>
                      <a:pt x="198403" y="667776"/>
                    </a:cubicBezTo>
                    <a:cubicBezTo>
                      <a:pt x="198403" y="667776"/>
                      <a:pt x="200678" y="667776"/>
                      <a:pt x="200678" y="665505"/>
                    </a:cubicBezTo>
                    <a:cubicBezTo>
                      <a:pt x="200678" y="672319"/>
                      <a:pt x="207504" y="681404"/>
                      <a:pt x="198403" y="685947"/>
                    </a:cubicBezTo>
                    <a:cubicBezTo>
                      <a:pt x="191577" y="685947"/>
                      <a:pt x="189302" y="676861"/>
                      <a:pt x="184752" y="676861"/>
                    </a:cubicBezTo>
                    <a:cubicBezTo>
                      <a:pt x="184752" y="676861"/>
                      <a:pt x="189302" y="679133"/>
                      <a:pt x="189302" y="681404"/>
                    </a:cubicBezTo>
                    <a:cubicBezTo>
                      <a:pt x="187027" y="683675"/>
                      <a:pt x="182476" y="681404"/>
                      <a:pt x="182476" y="683675"/>
                    </a:cubicBezTo>
                    <a:cubicBezTo>
                      <a:pt x="187027" y="681404"/>
                      <a:pt x="189302" y="683675"/>
                      <a:pt x="193853" y="685947"/>
                    </a:cubicBezTo>
                    <a:cubicBezTo>
                      <a:pt x="193853" y="688218"/>
                      <a:pt x="189302" y="688218"/>
                      <a:pt x="187027" y="692761"/>
                    </a:cubicBezTo>
                    <a:cubicBezTo>
                      <a:pt x="184752" y="699575"/>
                      <a:pt x="189302" y="701846"/>
                      <a:pt x="187027" y="708660"/>
                    </a:cubicBezTo>
                    <a:cubicBezTo>
                      <a:pt x="189302" y="701846"/>
                      <a:pt x="196128" y="713203"/>
                      <a:pt x="198403" y="717746"/>
                    </a:cubicBezTo>
                    <a:cubicBezTo>
                      <a:pt x="200678" y="722288"/>
                      <a:pt x="191577" y="717746"/>
                      <a:pt x="189302" y="720017"/>
                    </a:cubicBezTo>
                    <a:cubicBezTo>
                      <a:pt x="191577" y="720017"/>
                      <a:pt x="196128" y="722288"/>
                      <a:pt x="198403" y="722288"/>
                    </a:cubicBezTo>
                    <a:cubicBezTo>
                      <a:pt x="200678" y="720017"/>
                      <a:pt x="202954" y="724560"/>
                      <a:pt x="205229" y="726831"/>
                    </a:cubicBezTo>
                    <a:cubicBezTo>
                      <a:pt x="209779" y="729102"/>
                      <a:pt x="216605" y="733645"/>
                      <a:pt x="218880" y="738188"/>
                    </a:cubicBezTo>
                    <a:cubicBezTo>
                      <a:pt x="216605" y="735916"/>
                      <a:pt x="214330" y="735916"/>
                      <a:pt x="212054" y="735916"/>
                    </a:cubicBezTo>
                    <a:cubicBezTo>
                      <a:pt x="209779" y="735916"/>
                      <a:pt x="205229" y="733645"/>
                      <a:pt x="202954" y="733645"/>
                    </a:cubicBezTo>
                    <a:cubicBezTo>
                      <a:pt x="193853" y="731374"/>
                      <a:pt x="184752" y="729102"/>
                      <a:pt x="175651" y="729102"/>
                    </a:cubicBezTo>
                    <a:cubicBezTo>
                      <a:pt x="171100" y="729102"/>
                      <a:pt x="166550" y="729102"/>
                      <a:pt x="161999" y="729102"/>
                    </a:cubicBezTo>
                    <a:cubicBezTo>
                      <a:pt x="159724" y="729102"/>
                      <a:pt x="152898" y="731374"/>
                      <a:pt x="148348" y="729102"/>
                    </a:cubicBezTo>
                    <a:cubicBezTo>
                      <a:pt x="143797" y="726831"/>
                      <a:pt x="141522" y="720017"/>
                      <a:pt x="134696" y="717746"/>
                    </a:cubicBezTo>
                    <a:cubicBezTo>
                      <a:pt x="136972" y="715474"/>
                      <a:pt x="134696" y="710932"/>
                      <a:pt x="132421" y="710932"/>
                    </a:cubicBezTo>
                    <a:cubicBezTo>
                      <a:pt x="130146" y="708660"/>
                      <a:pt x="132421" y="704118"/>
                      <a:pt x="130146" y="701846"/>
                    </a:cubicBezTo>
                    <a:cubicBezTo>
                      <a:pt x="130146" y="699575"/>
                      <a:pt x="125595" y="695032"/>
                      <a:pt x="123320" y="697304"/>
                    </a:cubicBezTo>
                    <a:cubicBezTo>
                      <a:pt x="121045" y="697304"/>
                      <a:pt x="121045" y="697304"/>
                      <a:pt x="118770" y="697304"/>
                    </a:cubicBezTo>
                    <a:cubicBezTo>
                      <a:pt x="116494" y="697304"/>
                      <a:pt x="116494" y="699575"/>
                      <a:pt x="114219" y="699575"/>
                    </a:cubicBezTo>
                    <a:cubicBezTo>
                      <a:pt x="111944" y="701846"/>
                      <a:pt x="107393" y="695032"/>
                      <a:pt x="107393" y="692761"/>
                    </a:cubicBezTo>
                    <a:cubicBezTo>
                      <a:pt x="105118" y="690490"/>
                      <a:pt x="98292" y="688218"/>
                      <a:pt x="98292" y="683675"/>
                    </a:cubicBezTo>
                    <a:cubicBezTo>
                      <a:pt x="98292" y="681404"/>
                      <a:pt x="98292" y="681404"/>
                      <a:pt x="96017" y="681404"/>
                    </a:cubicBezTo>
                    <a:cubicBezTo>
                      <a:pt x="96017" y="679133"/>
                      <a:pt x="96017" y="676861"/>
                      <a:pt x="96017" y="676861"/>
                    </a:cubicBezTo>
                    <a:cubicBezTo>
                      <a:pt x="96017" y="674590"/>
                      <a:pt x="93742" y="674590"/>
                      <a:pt x="91467" y="672319"/>
                    </a:cubicBezTo>
                    <a:cubicBezTo>
                      <a:pt x="91467" y="670047"/>
                      <a:pt x="91467" y="667776"/>
                      <a:pt x="91467" y="665505"/>
                    </a:cubicBezTo>
                    <a:cubicBezTo>
                      <a:pt x="96017" y="665505"/>
                      <a:pt x="96017" y="665505"/>
                      <a:pt x="96017" y="660962"/>
                    </a:cubicBezTo>
                    <a:cubicBezTo>
                      <a:pt x="96017" y="660962"/>
                      <a:pt x="96017" y="658691"/>
                      <a:pt x="98292" y="658691"/>
                    </a:cubicBezTo>
                    <a:cubicBezTo>
                      <a:pt x="98292" y="656419"/>
                      <a:pt x="100568" y="656419"/>
                      <a:pt x="100568" y="656419"/>
                    </a:cubicBezTo>
                    <a:cubicBezTo>
                      <a:pt x="102843" y="654148"/>
                      <a:pt x="100568" y="649605"/>
                      <a:pt x="100568" y="647334"/>
                    </a:cubicBezTo>
                    <a:cubicBezTo>
                      <a:pt x="98292" y="645063"/>
                      <a:pt x="102843" y="645063"/>
                      <a:pt x="102843" y="642791"/>
                    </a:cubicBezTo>
                    <a:cubicBezTo>
                      <a:pt x="102843" y="640520"/>
                      <a:pt x="100568" y="638249"/>
                      <a:pt x="98292" y="635977"/>
                    </a:cubicBezTo>
                    <a:cubicBezTo>
                      <a:pt x="96017" y="633706"/>
                      <a:pt x="93742" y="631435"/>
                      <a:pt x="93742" y="626892"/>
                    </a:cubicBezTo>
                    <a:cubicBezTo>
                      <a:pt x="93742" y="624620"/>
                      <a:pt x="96017" y="615535"/>
                      <a:pt x="100568" y="615535"/>
                    </a:cubicBezTo>
                    <a:cubicBezTo>
                      <a:pt x="98292" y="613264"/>
                      <a:pt x="96017" y="613264"/>
                      <a:pt x="96017" y="610992"/>
                    </a:cubicBezTo>
                    <a:cubicBezTo>
                      <a:pt x="96017" y="608721"/>
                      <a:pt x="96017" y="608721"/>
                      <a:pt x="96017" y="606450"/>
                    </a:cubicBezTo>
                    <a:cubicBezTo>
                      <a:pt x="96017" y="606450"/>
                      <a:pt x="98292" y="606450"/>
                      <a:pt x="98292" y="604178"/>
                    </a:cubicBezTo>
                    <a:cubicBezTo>
                      <a:pt x="100568" y="599636"/>
                      <a:pt x="91467" y="592822"/>
                      <a:pt x="89192" y="590550"/>
                    </a:cubicBezTo>
                    <a:cubicBezTo>
                      <a:pt x="91467" y="590550"/>
                      <a:pt x="93742" y="586008"/>
                      <a:pt x="91467" y="583736"/>
                    </a:cubicBezTo>
                    <a:cubicBezTo>
                      <a:pt x="89192" y="583736"/>
                      <a:pt x="84641" y="579194"/>
                      <a:pt x="86916" y="576922"/>
                    </a:cubicBezTo>
                    <a:cubicBezTo>
                      <a:pt x="89192" y="574651"/>
                      <a:pt x="89192" y="576922"/>
                      <a:pt x="91467" y="572379"/>
                    </a:cubicBezTo>
                    <a:cubicBezTo>
                      <a:pt x="91467" y="570108"/>
                      <a:pt x="93742" y="570108"/>
                      <a:pt x="91467" y="567837"/>
                    </a:cubicBezTo>
                    <a:cubicBezTo>
                      <a:pt x="89192" y="565565"/>
                      <a:pt x="86916" y="565565"/>
                      <a:pt x="84641" y="563294"/>
                    </a:cubicBezTo>
                    <a:cubicBezTo>
                      <a:pt x="80091" y="561023"/>
                      <a:pt x="77815" y="563294"/>
                      <a:pt x="73265" y="561023"/>
                    </a:cubicBezTo>
                    <a:cubicBezTo>
                      <a:pt x="70990" y="556480"/>
                      <a:pt x="86916" y="558751"/>
                      <a:pt x="89192" y="556480"/>
                    </a:cubicBezTo>
                    <a:cubicBezTo>
                      <a:pt x="86916" y="558751"/>
                      <a:pt x="89192" y="551937"/>
                      <a:pt x="89192" y="551937"/>
                    </a:cubicBezTo>
                    <a:cubicBezTo>
                      <a:pt x="86916" y="545123"/>
                      <a:pt x="75540" y="551937"/>
                      <a:pt x="73265" y="545123"/>
                    </a:cubicBezTo>
                    <a:cubicBezTo>
                      <a:pt x="73265" y="545123"/>
                      <a:pt x="70990" y="545123"/>
                      <a:pt x="70990" y="542852"/>
                    </a:cubicBezTo>
                    <a:cubicBezTo>
                      <a:pt x="70990" y="540581"/>
                      <a:pt x="73265" y="540581"/>
                      <a:pt x="73265" y="538309"/>
                    </a:cubicBezTo>
                    <a:cubicBezTo>
                      <a:pt x="70990" y="536038"/>
                      <a:pt x="66439" y="533767"/>
                      <a:pt x="68714" y="531495"/>
                    </a:cubicBezTo>
                    <a:cubicBezTo>
                      <a:pt x="70990" y="529224"/>
                      <a:pt x="59613" y="526953"/>
                      <a:pt x="64164" y="522410"/>
                    </a:cubicBezTo>
                    <a:cubicBezTo>
                      <a:pt x="66439" y="520138"/>
                      <a:pt x="61889" y="517867"/>
                      <a:pt x="59613" y="517867"/>
                    </a:cubicBezTo>
                    <a:cubicBezTo>
                      <a:pt x="55063" y="517867"/>
                      <a:pt x="55063" y="515596"/>
                      <a:pt x="52788" y="511053"/>
                    </a:cubicBezTo>
                    <a:cubicBezTo>
                      <a:pt x="52788" y="508782"/>
                      <a:pt x="52788" y="504239"/>
                      <a:pt x="50512" y="501968"/>
                    </a:cubicBezTo>
                    <a:cubicBezTo>
                      <a:pt x="50512" y="499696"/>
                      <a:pt x="45962" y="497425"/>
                      <a:pt x="50512" y="495154"/>
                    </a:cubicBezTo>
                    <a:cubicBezTo>
                      <a:pt x="52788" y="492882"/>
                      <a:pt x="55063" y="495154"/>
                      <a:pt x="52788" y="490611"/>
                    </a:cubicBezTo>
                    <a:cubicBezTo>
                      <a:pt x="50512" y="488340"/>
                      <a:pt x="45962" y="483797"/>
                      <a:pt x="45962" y="481526"/>
                    </a:cubicBezTo>
                    <a:cubicBezTo>
                      <a:pt x="48237" y="474712"/>
                      <a:pt x="39136" y="467897"/>
                      <a:pt x="39136" y="461083"/>
                    </a:cubicBezTo>
                    <a:cubicBezTo>
                      <a:pt x="39136" y="458812"/>
                      <a:pt x="39136" y="454269"/>
                      <a:pt x="39136" y="451998"/>
                    </a:cubicBezTo>
                    <a:cubicBezTo>
                      <a:pt x="41411" y="449727"/>
                      <a:pt x="36861" y="447455"/>
                      <a:pt x="34586" y="445184"/>
                    </a:cubicBezTo>
                    <a:cubicBezTo>
                      <a:pt x="41411" y="447455"/>
                      <a:pt x="36861" y="440641"/>
                      <a:pt x="36861" y="438370"/>
                    </a:cubicBezTo>
                    <a:cubicBezTo>
                      <a:pt x="32311" y="433827"/>
                      <a:pt x="34586" y="433827"/>
                      <a:pt x="36861" y="433827"/>
                    </a:cubicBezTo>
                    <a:cubicBezTo>
                      <a:pt x="34586" y="431556"/>
                      <a:pt x="36861" y="424742"/>
                      <a:pt x="34586" y="420199"/>
                    </a:cubicBezTo>
                    <a:cubicBezTo>
                      <a:pt x="34586" y="415656"/>
                      <a:pt x="39136" y="413385"/>
                      <a:pt x="41411" y="411114"/>
                    </a:cubicBezTo>
                    <a:cubicBezTo>
                      <a:pt x="45962" y="408842"/>
                      <a:pt x="39136" y="404300"/>
                      <a:pt x="36861" y="399757"/>
                    </a:cubicBezTo>
                    <a:cubicBezTo>
                      <a:pt x="36861" y="395214"/>
                      <a:pt x="27760" y="388400"/>
                      <a:pt x="30035" y="383858"/>
                    </a:cubicBezTo>
                    <a:cubicBezTo>
                      <a:pt x="30035" y="381586"/>
                      <a:pt x="25485" y="372501"/>
                      <a:pt x="25485" y="370230"/>
                    </a:cubicBezTo>
                    <a:cubicBezTo>
                      <a:pt x="23210" y="367958"/>
                      <a:pt x="23210" y="358873"/>
                      <a:pt x="25485" y="356601"/>
                    </a:cubicBezTo>
                    <a:cubicBezTo>
                      <a:pt x="25485" y="356601"/>
                      <a:pt x="27760" y="356601"/>
                      <a:pt x="27760" y="354330"/>
                    </a:cubicBezTo>
                    <a:cubicBezTo>
                      <a:pt x="30035" y="354330"/>
                      <a:pt x="30035" y="352059"/>
                      <a:pt x="30035" y="349787"/>
                    </a:cubicBezTo>
                    <a:cubicBezTo>
                      <a:pt x="30035" y="349787"/>
                      <a:pt x="32311" y="349787"/>
                      <a:pt x="32311" y="347516"/>
                    </a:cubicBezTo>
                    <a:cubicBezTo>
                      <a:pt x="34586" y="345245"/>
                      <a:pt x="32311" y="340702"/>
                      <a:pt x="30035" y="338431"/>
                    </a:cubicBezTo>
                    <a:cubicBezTo>
                      <a:pt x="30035" y="336159"/>
                      <a:pt x="27760" y="333888"/>
                      <a:pt x="27760" y="331617"/>
                    </a:cubicBezTo>
                    <a:cubicBezTo>
                      <a:pt x="25485" y="327074"/>
                      <a:pt x="25485" y="327074"/>
                      <a:pt x="25485" y="327074"/>
                    </a:cubicBezTo>
                    <a:cubicBezTo>
                      <a:pt x="25485" y="324803"/>
                      <a:pt x="27760" y="327074"/>
                      <a:pt x="27760" y="324803"/>
                    </a:cubicBezTo>
                    <a:cubicBezTo>
                      <a:pt x="27760" y="322531"/>
                      <a:pt x="27760" y="320260"/>
                      <a:pt x="27760" y="317989"/>
                    </a:cubicBezTo>
                    <a:cubicBezTo>
                      <a:pt x="27760" y="313446"/>
                      <a:pt x="27760" y="304360"/>
                      <a:pt x="32311" y="304360"/>
                    </a:cubicBezTo>
                    <a:cubicBezTo>
                      <a:pt x="34586" y="304360"/>
                      <a:pt x="30035" y="295275"/>
                      <a:pt x="30035" y="295275"/>
                    </a:cubicBezTo>
                    <a:cubicBezTo>
                      <a:pt x="27760" y="293004"/>
                      <a:pt x="30035" y="281647"/>
                      <a:pt x="25485" y="279376"/>
                    </a:cubicBezTo>
                    <a:cubicBezTo>
                      <a:pt x="23210" y="279376"/>
                      <a:pt x="25485" y="281647"/>
                      <a:pt x="23210" y="279376"/>
                    </a:cubicBezTo>
                    <a:cubicBezTo>
                      <a:pt x="20934" y="274833"/>
                      <a:pt x="20934" y="274833"/>
                      <a:pt x="20934" y="270290"/>
                    </a:cubicBezTo>
                    <a:cubicBezTo>
                      <a:pt x="20934" y="268019"/>
                      <a:pt x="18659" y="268019"/>
                      <a:pt x="18659" y="265748"/>
                    </a:cubicBezTo>
                    <a:cubicBezTo>
                      <a:pt x="16384" y="265748"/>
                      <a:pt x="16384" y="263476"/>
                      <a:pt x="16384" y="261205"/>
                    </a:cubicBezTo>
                    <a:cubicBezTo>
                      <a:pt x="14109" y="256662"/>
                      <a:pt x="9558" y="254391"/>
                      <a:pt x="7283" y="249848"/>
                    </a:cubicBezTo>
                    <a:cubicBezTo>
                      <a:pt x="11833" y="252119"/>
                      <a:pt x="7283" y="245305"/>
                      <a:pt x="5008" y="245305"/>
                    </a:cubicBezTo>
                    <a:cubicBezTo>
                      <a:pt x="2732" y="243034"/>
                      <a:pt x="457" y="236220"/>
                      <a:pt x="457" y="231677"/>
                    </a:cubicBezTo>
                    <a:cubicBezTo>
                      <a:pt x="457" y="227135"/>
                      <a:pt x="5008" y="227135"/>
                      <a:pt x="2732" y="222592"/>
                    </a:cubicBezTo>
                    <a:cubicBezTo>
                      <a:pt x="2732" y="218049"/>
                      <a:pt x="5008" y="211235"/>
                      <a:pt x="2732" y="208964"/>
                    </a:cubicBezTo>
                    <a:cubicBezTo>
                      <a:pt x="9558" y="213507"/>
                      <a:pt x="7283" y="202150"/>
                      <a:pt x="7283" y="197607"/>
                    </a:cubicBezTo>
                    <a:cubicBezTo>
                      <a:pt x="5008" y="195336"/>
                      <a:pt x="-1818" y="186250"/>
                      <a:pt x="457" y="181708"/>
                    </a:cubicBezTo>
                    <a:cubicBezTo>
                      <a:pt x="457" y="179436"/>
                      <a:pt x="2732" y="179436"/>
                      <a:pt x="5008" y="177165"/>
                    </a:cubicBezTo>
                    <a:cubicBezTo>
                      <a:pt x="5008" y="174894"/>
                      <a:pt x="2732" y="170351"/>
                      <a:pt x="2732" y="168080"/>
                    </a:cubicBezTo>
                    <a:cubicBezTo>
                      <a:pt x="2732" y="161266"/>
                      <a:pt x="7283" y="156723"/>
                      <a:pt x="11833" y="149909"/>
                    </a:cubicBezTo>
                    <a:cubicBezTo>
                      <a:pt x="11833" y="145366"/>
                      <a:pt x="11833" y="140823"/>
                      <a:pt x="14109" y="136281"/>
                    </a:cubicBezTo>
                    <a:cubicBezTo>
                      <a:pt x="14109" y="134009"/>
                      <a:pt x="14109" y="131738"/>
                      <a:pt x="16384" y="129467"/>
                    </a:cubicBezTo>
                    <a:cubicBezTo>
                      <a:pt x="16384" y="129467"/>
                      <a:pt x="18659" y="129467"/>
                      <a:pt x="20934" y="129467"/>
                    </a:cubicBezTo>
                    <a:cubicBezTo>
                      <a:pt x="30035" y="124924"/>
                      <a:pt x="20934" y="120381"/>
                      <a:pt x="18659" y="115839"/>
                    </a:cubicBezTo>
                    <a:cubicBezTo>
                      <a:pt x="16384" y="111296"/>
                      <a:pt x="20934" y="106753"/>
                      <a:pt x="18659" y="102211"/>
                    </a:cubicBezTo>
                    <a:cubicBezTo>
                      <a:pt x="18659" y="99939"/>
                      <a:pt x="7283" y="81768"/>
                      <a:pt x="16384" y="81768"/>
                    </a:cubicBezTo>
                    <a:cubicBezTo>
                      <a:pt x="16384" y="79497"/>
                      <a:pt x="11833" y="72683"/>
                      <a:pt x="11833" y="70412"/>
                    </a:cubicBezTo>
                    <a:cubicBezTo>
                      <a:pt x="14109" y="65869"/>
                      <a:pt x="16384" y="63598"/>
                      <a:pt x="20934" y="61326"/>
                    </a:cubicBezTo>
                    <a:cubicBezTo>
                      <a:pt x="25485" y="59055"/>
                      <a:pt x="32311" y="56784"/>
                      <a:pt x="34586" y="52241"/>
                    </a:cubicBezTo>
                    <a:cubicBezTo>
                      <a:pt x="36861" y="47698"/>
                      <a:pt x="36861" y="40884"/>
                      <a:pt x="36861" y="36341"/>
                    </a:cubicBezTo>
                    <a:cubicBezTo>
                      <a:pt x="36861" y="34070"/>
                      <a:pt x="36861" y="29527"/>
                      <a:pt x="36861" y="27256"/>
                    </a:cubicBezTo>
                    <a:cubicBezTo>
                      <a:pt x="34586" y="24985"/>
                      <a:pt x="32311" y="24985"/>
                      <a:pt x="32311" y="24985"/>
                    </a:cubicBezTo>
                    <a:cubicBezTo>
                      <a:pt x="34586" y="24985"/>
                      <a:pt x="39136" y="11357"/>
                      <a:pt x="43687" y="9085"/>
                    </a:cubicBezTo>
                    <a:cubicBezTo>
                      <a:pt x="50512" y="6814"/>
                      <a:pt x="50512" y="6814"/>
                      <a:pt x="50512" y="0"/>
                    </a:cubicBezTo>
                    <a:close/>
                  </a:path>
                </a:pathLst>
              </a:custGeom>
              <a:grpFill/>
              <a:ln w="3175">
                <a:solidFill>
                  <a:schemeClr val="accent2">
                    <a:lumMod val="75000"/>
                  </a:schemeClr>
                </a:solidFill>
              </a:ln>
            </p:spPr>
            <p:txBody>
              <a:bodyPr vert="horz" wrap="square" lIns="91273" tIns="45637" rIns="91273" bIns="4563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97" b="0"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199" name="Group 217">
              <a:extLst>
                <a:ext uri="{FF2B5EF4-FFF2-40B4-BE49-F238E27FC236}">
                  <a16:creationId xmlns:a16="http://schemas.microsoft.com/office/drawing/2014/main" id="{00E14AFD-DFF6-6875-312F-7717842A3872}"/>
                </a:ext>
              </a:extLst>
            </p:cNvPr>
            <p:cNvGrpSpPr/>
            <p:nvPr/>
          </p:nvGrpSpPr>
          <p:grpSpPr>
            <a:xfrm>
              <a:off x="3448503" y="1581354"/>
              <a:ext cx="1402049" cy="1307350"/>
              <a:chOff x="5258830" y="2462741"/>
              <a:chExt cx="2202844" cy="2054061"/>
            </a:xfrm>
            <a:solidFill>
              <a:schemeClr val="accent2"/>
            </a:solidFill>
          </p:grpSpPr>
          <p:grpSp>
            <p:nvGrpSpPr>
              <p:cNvPr id="200" name="Group 203">
                <a:extLst>
                  <a:ext uri="{FF2B5EF4-FFF2-40B4-BE49-F238E27FC236}">
                    <a16:creationId xmlns:a16="http://schemas.microsoft.com/office/drawing/2014/main" id="{5F5F5C78-9659-01C9-44ED-376B4AC11A58}"/>
                  </a:ext>
                </a:extLst>
              </p:cNvPr>
              <p:cNvGrpSpPr/>
              <p:nvPr/>
            </p:nvGrpSpPr>
            <p:grpSpPr>
              <a:xfrm>
                <a:off x="5258830" y="2462741"/>
                <a:ext cx="2202844" cy="2054061"/>
                <a:chOff x="5258830" y="2462741"/>
                <a:chExt cx="2202844" cy="2054061"/>
              </a:xfrm>
              <a:grpFill/>
            </p:grpSpPr>
            <p:sp>
              <p:nvSpPr>
                <p:cNvPr id="203" name="Bangladesh">
                  <a:extLst>
                    <a:ext uri="{FF2B5EF4-FFF2-40B4-BE49-F238E27FC236}">
                      <a16:creationId xmlns:a16="http://schemas.microsoft.com/office/drawing/2014/main" id="{04F9FE3D-D44C-289F-B01A-2B0B9B94079D}"/>
                    </a:ext>
                  </a:extLst>
                </p:cNvPr>
                <p:cNvSpPr>
                  <a:spLocks/>
                </p:cNvSpPr>
                <p:nvPr/>
              </p:nvSpPr>
              <p:spPr bwMode="auto">
                <a:xfrm>
                  <a:off x="5679717" y="2684782"/>
                  <a:ext cx="114196" cy="144388"/>
                </a:xfrm>
                <a:custGeom>
                  <a:avLst/>
                  <a:gdLst>
                    <a:gd name="connsiteX0" fmla="*/ 43871 w 112058"/>
                    <a:gd name="connsiteY0" fmla="*/ 111215 h 141685"/>
                    <a:gd name="connsiteX1" fmla="*/ 44122 w 112058"/>
                    <a:gd name="connsiteY1" fmla="*/ 111748 h 141685"/>
                    <a:gd name="connsiteX2" fmla="*/ 44122 w 112058"/>
                    <a:gd name="connsiteY2" fmla="*/ 111977 h 141685"/>
                    <a:gd name="connsiteX3" fmla="*/ 43573 w 112058"/>
                    <a:gd name="connsiteY3" fmla="*/ 110315 h 141685"/>
                    <a:gd name="connsiteX4" fmla="*/ 43871 w 112058"/>
                    <a:gd name="connsiteY4" fmla="*/ 111215 h 141685"/>
                    <a:gd name="connsiteX5" fmla="*/ 43556 w 112058"/>
                    <a:gd name="connsiteY5" fmla="*/ 110549 h 141685"/>
                    <a:gd name="connsiteX6" fmla="*/ 64433 w 112058"/>
                    <a:gd name="connsiteY6" fmla="*/ 107156 h 141685"/>
                    <a:gd name="connsiteX7" fmla="*/ 64433 w 112058"/>
                    <a:gd name="connsiteY7" fmla="*/ 111919 h 141685"/>
                    <a:gd name="connsiteX8" fmla="*/ 62052 w 112058"/>
                    <a:gd name="connsiteY8" fmla="*/ 109538 h 141685"/>
                    <a:gd name="connsiteX9" fmla="*/ 64433 w 112058"/>
                    <a:gd name="connsiteY9" fmla="*/ 107156 h 141685"/>
                    <a:gd name="connsiteX10" fmla="*/ 73958 w 112058"/>
                    <a:gd name="connsiteY10" fmla="*/ 97631 h 141685"/>
                    <a:gd name="connsiteX11" fmla="*/ 73958 w 112058"/>
                    <a:gd name="connsiteY11" fmla="*/ 109537 h 141685"/>
                    <a:gd name="connsiteX12" fmla="*/ 73958 w 112058"/>
                    <a:gd name="connsiteY12" fmla="*/ 97631 h 141685"/>
                    <a:gd name="connsiteX13" fmla="*/ 59671 w 112058"/>
                    <a:gd name="connsiteY13" fmla="*/ 91678 h 141685"/>
                    <a:gd name="connsiteX14" fmla="*/ 64434 w 112058"/>
                    <a:gd name="connsiteY14" fmla="*/ 91678 h 141685"/>
                    <a:gd name="connsiteX15" fmla="*/ 62279 w 112058"/>
                    <a:gd name="connsiteY15" fmla="*/ 95988 h 141685"/>
                    <a:gd name="connsiteX16" fmla="*/ 64433 w 112058"/>
                    <a:gd name="connsiteY16" fmla="*/ 93941 h 141685"/>
                    <a:gd name="connsiteX17" fmla="*/ 69196 w 112058"/>
                    <a:gd name="connsiteY17" fmla="*/ 100728 h 141685"/>
                    <a:gd name="connsiteX18" fmla="*/ 66815 w 112058"/>
                    <a:gd name="connsiteY18" fmla="*/ 112039 h 141685"/>
                    <a:gd name="connsiteX19" fmla="*/ 66815 w 112058"/>
                    <a:gd name="connsiteY19" fmla="*/ 109777 h 141685"/>
                    <a:gd name="connsiteX20" fmla="*/ 66815 w 112058"/>
                    <a:gd name="connsiteY20" fmla="*/ 107515 h 141685"/>
                    <a:gd name="connsiteX21" fmla="*/ 66815 w 112058"/>
                    <a:gd name="connsiteY21" fmla="*/ 100728 h 141685"/>
                    <a:gd name="connsiteX22" fmla="*/ 62133 w 112058"/>
                    <a:gd name="connsiteY22" fmla="*/ 96280 h 141685"/>
                    <a:gd name="connsiteX23" fmla="*/ 62053 w 112058"/>
                    <a:gd name="connsiteY23" fmla="*/ 96441 h 141685"/>
                    <a:gd name="connsiteX24" fmla="*/ 59671 w 112058"/>
                    <a:gd name="connsiteY24" fmla="*/ 91678 h 141685"/>
                    <a:gd name="connsiteX25" fmla="*/ 3361 w 112058"/>
                    <a:gd name="connsiteY25" fmla="*/ 0 h 141685"/>
                    <a:gd name="connsiteX26" fmla="*/ 10154 w 112058"/>
                    <a:gd name="connsiteY26" fmla="*/ 4571 h 141685"/>
                    <a:gd name="connsiteX27" fmla="*/ 16948 w 112058"/>
                    <a:gd name="connsiteY27" fmla="*/ 6856 h 141685"/>
                    <a:gd name="connsiteX28" fmla="*/ 14683 w 112058"/>
                    <a:gd name="connsiteY28" fmla="*/ 4571 h 141685"/>
                    <a:gd name="connsiteX29" fmla="*/ 21477 w 112058"/>
                    <a:gd name="connsiteY29" fmla="*/ 9141 h 141685"/>
                    <a:gd name="connsiteX30" fmla="*/ 30535 w 112058"/>
                    <a:gd name="connsiteY30" fmla="*/ 13712 h 141685"/>
                    <a:gd name="connsiteX31" fmla="*/ 30535 w 112058"/>
                    <a:gd name="connsiteY31" fmla="*/ 9141 h 141685"/>
                    <a:gd name="connsiteX32" fmla="*/ 37329 w 112058"/>
                    <a:gd name="connsiteY32" fmla="*/ 25138 h 141685"/>
                    <a:gd name="connsiteX33" fmla="*/ 39593 w 112058"/>
                    <a:gd name="connsiteY33" fmla="*/ 31994 h 141685"/>
                    <a:gd name="connsiteX34" fmla="*/ 55445 w 112058"/>
                    <a:gd name="connsiteY34" fmla="*/ 34279 h 141685"/>
                    <a:gd name="connsiteX35" fmla="*/ 84884 w 112058"/>
                    <a:gd name="connsiteY35" fmla="*/ 34279 h 141685"/>
                    <a:gd name="connsiteX36" fmla="*/ 91677 w 112058"/>
                    <a:gd name="connsiteY36" fmla="*/ 41134 h 141685"/>
                    <a:gd name="connsiteX37" fmla="*/ 84884 w 112058"/>
                    <a:gd name="connsiteY37" fmla="*/ 59416 h 141685"/>
                    <a:gd name="connsiteX38" fmla="*/ 80355 w 112058"/>
                    <a:gd name="connsiteY38" fmla="*/ 57131 h 141685"/>
                    <a:gd name="connsiteX39" fmla="*/ 75826 w 112058"/>
                    <a:gd name="connsiteY39" fmla="*/ 59416 h 141685"/>
                    <a:gd name="connsiteX40" fmla="*/ 71297 w 112058"/>
                    <a:gd name="connsiteY40" fmla="*/ 70843 h 141685"/>
                    <a:gd name="connsiteX41" fmla="*/ 78090 w 112058"/>
                    <a:gd name="connsiteY41" fmla="*/ 84554 h 141685"/>
                    <a:gd name="connsiteX42" fmla="*/ 78090 w 112058"/>
                    <a:gd name="connsiteY42" fmla="*/ 79984 h 141685"/>
                    <a:gd name="connsiteX43" fmla="*/ 87148 w 112058"/>
                    <a:gd name="connsiteY43" fmla="*/ 86839 h 141685"/>
                    <a:gd name="connsiteX44" fmla="*/ 87148 w 112058"/>
                    <a:gd name="connsiteY44" fmla="*/ 77698 h 141685"/>
                    <a:gd name="connsiteX45" fmla="*/ 87148 w 112058"/>
                    <a:gd name="connsiteY45" fmla="*/ 70843 h 141685"/>
                    <a:gd name="connsiteX46" fmla="*/ 96207 w 112058"/>
                    <a:gd name="connsiteY46" fmla="*/ 70843 h 141685"/>
                    <a:gd name="connsiteX47" fmla="*/ 100736 w 112058"/>
                    <a:gd name="connsiteY47" fmla="*/ 86839 h 141685"/>
                    <a:gd name="connsiteX48" fmla="*/ 107529 w 112058"/>
                    <a:gd name="connsiteY48" fmla="*/ 107406 h 141685"/>
                    <a:gd name="connsiteX49" fmla="*/ 112058 w 112058"/>
                    <a:gd name="connsiteY49" fmla="*/ 127974 h 141685"/>
                    <a:gd name="connsiteX50" fmla="*/ 103000 w 112058"/>
                    <a:gd name="connsiteY50" fmla="*/ 125688 h 141685"/>
                    <a:gd name="connsiteX51" fmla="*/ 105265 w 112058"/>
                    <a:gd name="connsiteY51" fmla="*/ 141685 h 141685"/>
                    <a:gd name="connsiteX52" fmla="*/ 98471 w 112058"/>
                    <a:gd name="connsiteY52" fmla="*/ 130259 h 141685"/>
                    <a:gd name="connsiteX53" fmla="*/ 96343 w 112058"/>
                    <a:gd name="connsiteY53" fmla="*/ 121667 h 141685"/>
                    <a:gd name="connsiteX54" fmla="*/ 94199 w 112058"/>
                    <a:gd name="connsiteY54" fmla="*/ 125017 h 141685"/>
                    <a:gd name="connsiteX55" fmla="*/ 91817 w 112058"/>
                    <a:gd name="connsiteY55" fmla="*/ 119063 h 141685"/>
                    <a:gd name="connsiteX56" fmla="*/ 96208 w 112058"/>
                    <a:gd name="connsiteY56" fmla="*/ 121121 h 141685"/>
                    <a:gd name="connsiteX57" fmla="*/ 96207 w 112058"/>
                    <a:gd name="connsiteY57" fmla="*/ 121118 h 141685"/>
                    <a:gd name="connsiteX58" fmla="*/ 91677 w 112058"/>
                    <a:gd name="connsiteY58" fmla="*/ 100551 h 141685"/>
                    <a:gd name="connsiteX59" fmla="*/ 89413 w 112058"/>
                    <a:gd name="connsiteY59" fmla="*/ 105121 h 141685"/>
                    <a:gd name="connsiteX60" fmla="*/ 80355 w 112058"/>
                    <a:gd name="connsiteY60" fmla="*/ 89125 h 141685"/>
                    <a:gd name="connsiteX61" fmla="*/ 75826 w 112058"/>
                    <a:gd name="connsiteY61" fmla="*/ 95980 h 141685"/>
                    <a:gd name="connsiteX62" fmla="*/ 71297 w 112058"/>
                    <a:gd name="connsiteY62" fmla="*/ 95980 h 141685"/>
                    <a:gd name="connsiteX63" fmla="*/ 71297 w 112058"/>
                    <a:gd name="connsiteY63" fmla="*/ 98266 h 141685"/>
                    <a:gd name="connsiteX64" fmla="*/ 64503 w 112058"/>
                    <a:gd name="connsiteY64" fmla="*/ 86839 h 141685"/>
                    <a:gd name="connsiteX65" fmla="*/ 62239 w 112058"/>
                    <a:gd name="connsiteY65" fmla="*/ 82269 h 141685"/>
                    <a:gd name="connsiteX66" fmla="*/ 62239 w 112058"/>
                    <a:gd name="connsiteY66" fmla="*/ 77698 h 141685"/>
                    <a:gd name="connsiteX67" fmla="*/ 62239 w 112058"/>
                    <a:gd name="connsiteY67" fmla="*/ 75413 h 141685"/>
                    <a:gd name="connsiteX68" fmla="*/ 62239 w 112058"/>
                    <a:gd name="connsiteY68" fmla="*/ 75185 h 141685"/>
                    <a:gd name="connsiteX69" fmla="*/ 62805 w 112058"/>
                    <a:gd name="connsiteY69" fmla="*/ 75127 h 141685"/>
                    <a:gd name="connsiteX70" fmla="*/ 62239 w 112058"/>
                    <a:gd name="connsiteY70" fmla="*/ 73128 h 141685"/>
                    <a:gd name="connsiteX71" fmla="*/ 62239 w 112058"/>
                    <a:gd name="connsiteY71" fmla="*/ 75185 h 141685"/>
                    <a:gd name="connsiteX72" fmla="*/ 59974 w 112058"/>
                    <a:gd name="connsiteY72" fmla="*/ 75413 h 141685"/>
                    <a:gd name="connsiteX73" fmla="*/ 59974 w 112058"/>
                    <a:gd name="connsiteY73" fmla="*/ 73128 h 141685"/>
                    <a:gd name="connsiteX74" fmla="*/ 57710 w 112058"/>
                    <a:gd name="connsiteY74" fmla="*/ 73128 h 141685"/>
                    <a:gd name="connsiteX75" fmla="*/ 59974 w 112058"/>
                    <a:gd name="connsiteY75" fmla="*/ 77698 h 141685"/>
                    <a:gd name="connsiteX76" fmla="*/ 59670 w 112058"/>
                    <a:gd name="connsiteY76" fmla="*/ 77596 h 141685"/>
                    <a:gd name="connsiteX77" fmla="*/ 59670 w 112058"/>
                    <a:gd name="connsiteY77" fmla="*/ 79772 h 141685"/>
                    <a:gd name="connsiteX78" fmla="*/ 57289 w 112058"/>
                    <a:gd name="connsiteY78" fmla="*/ 77391 h 141685"/>
                    <a:gd name="connsiteX79" fmla="*/ 59061 w 112058"/>
                    <a:gd name="connsiteY79" fmla="*/ 77391 h 141685"/>
                    <a:gd name="connsiteX80" fmla="*/ 53180 w 112058"/>
                    <a:gd name="connsiteY80" fmla="*/ 75413 h 141685"/>
                    <a:gd name="connsiteX81" fmla="*/ 62239 w 112058"/>
                    <a:gd name="connsiteY81" fmla="*/ 82269 h 141685"/>
                    <a:gd name="connsiteX82" fmla="*/ 59974 w 112058"/>
                    <a:gd name="connsiteY82" fmla="*/ 86839 h 141685"/>
                    <a:gd name="connsiteX83" fmla="*/ 57710 w 112058"/>
                    <a:gd name="connsiteY83" fmla="*/ 93695 h 141685"/>
                    <a:gd name="connsiteX84" fmla="*/ 59974 w 112058"/>
                    <a:gd name="connsiteY84" fmla="*/ 100551 h 141685"/>
                    <a:gd name="connsiteX85" fmla="*/ 62239 w 112058"/>
                    <a:gd name="connsiteY85" fmla="*/ 98266 h 141685"/>
                    <a:gd name="connsiteX86" fmla="*/ 64433 w 112058"/>
                    <a:gd name="connsiteY86" fmla="*/ 103802 h 141685"/>
                    <a:gd name="connsiteX87" fmla="*/ 64503 w 112058"/>
                    <a:gd name="connsiteY87" fmla="*/ 103979 h 141685"/>
                    <a:gd name="connsiteX88" fmla="*/ 64433 w 112058"/>
                    <a:gd name="connsiteY88" fmla="*/ 104067 h 141685"/>
                    <a:gd name="connsiteX89" fmla="*/ 59974 w 112058"/>
                    <a:gd name="connsiteY89" fmla="*/ 109692 h 141685"/>
                    <a:gd name="connsiteX90" fmla="*/ 59974 w 112058"/>
                    <a:gd name="connsiteY90" fmla="*/ 114262 h 141685"/>
                    <a:gd name="connsiteX91" fmla="*/ 55445 w 112058"/>
                    <a:gd name="connsiteY91" fmla="*/ 114262 h 141685"/>
                    <a:gd name="connsiteX92" fmla="*/ 53180 w 112058"/>
                    <a:gd name="connsiteY92" fmla="*/ 114262 h 141685"/>
                    <a:gd name="connsiteX93" fmla="*/ 57710 w 112058"/>
                    <a:gd name="connsiteY93" fmla="*/ 107406 h 141685"/>
                    <a:gd name="connsiteX94" fmla="*/ 53180 w 112058"/>
                    <a:gd name="connsiteY94" fmla="*/ 111977 h 141685"/>
                    <a:gd name="connsiteX95" fmla="*/ 53180 w 112058"/>
                    <a:gd name="connsiteY95" fmla="*/ 107406 h 141685"/>
                    <a:gd name="connsiteX96" fmla="*/ 50916 w 112058"/>
                    <a:gd name="connsiteY96" fmla="*/ 111977 h 141685"/>
                    <a:gd name="connsiteX97" fmla="*/ 50916 w 112058"/>
                    <a:gd name="connsiteY97" fmla="*/ 100551 h 141685"/>
                    <a:gd name="connsiteX98" fmla="*/ 48651 w 112058"/>
                    <a:gd name="connsiteY98" fmla="*/ 109692 h 141685"/>
                    <a:gd name="connsiteX99" fmla="*/ 50916 w 112058"/>
                    <a:gd name="connsiteY99" fmla="*/ 114262 h 141685"/>
                    <a:gd name="connsiteX100" fmla="*/ 46387 w 112058"/>
                    <a:gd name="connsiteY100" fmla="*/ 114262 h 141685"/>
                    <a:gd name="connsiteX101" fmla="*/ 46387 w 112058"/>
                    <a:gd name="connsiteY101" fmla="*/ 116547 h 141685"/>
                    <a:gd name="connsiteX102" fmla="*/ 44122 w 112058"/>
                    <a:gd name="connsiteY102" fmla="*/ 111748 h 141685"/>
                    <a:gd name="connsiteX103" fmla="*/ 44122 w 112058"/>
                    <a:gd name="connsiteY103" fmla="*/ 102836 h 141685"/>
                    <a:gd name="connsiteX104" fmla="*/ 43573 w 112058"/>
                    <a:gd name="connsiteY104" fmla="*/ 110315 h 141685"/>
                    <a:gd name="connsiteX105" fmla="*/ 41858 w 112058"/>
                    <a:gd name="connsiteY105" fmla="*/ 105121 h 141685"/>
                    <a:gd name="connsiteX106" fmla="*/ 41858 w 112058"/>
                    <a:gd name="connsiteY106" fmla="*/ 118833 h 141685"/>
                    <a:gd name="connsiteX107" fmla="*/ 39593 w 112058"/>
                    <a:gd name="connsiteY107" fmla="*/ 111977 h 141685"/>
                    <a:gd name="connsiteX108" fmla="*/ 37329 w 112058"/>
                    <a:gd name="connsiteY108" fmla="*/ 121118 h 141685"/>
                    <a:gd name="connsiteX109" fmla="*/ 32800 w 112058"/>
                    <a:gd name="connsiteY109" fmla="*/ 109692 h 141685"/>
                    <a:gd name="connsiteX110" fmla="*/ 28271 w 112058"/>
                    <a:gd name="connsiteY110" fmla="*/ 95980 h 141685"/>
                    <a:gd name="connsiteX111" fmla="*/ 28271 w 112058"/>
                    <a:gd name="connsiteY111" fmla="*/ 89125 h 141685"/>
                    <a:gd name="connsiteX112" fmla="*/ 26006 w 112058"/>
                    <a:gd name="connsiteY112" fmla="*/ 82269 h 141685"/>
                    <a:gd name="connsiteX113" fmla="*/ 23742 w 112058"/>
                    <a:gd name="connsiteY113" fmla="*/ 82269 h 141685"/>
                    <a:gd name="connsiteX114" fmla="*/ 23742 w 112058"/>
                    <a:gd name="connsiteY114" fmla="*/ 75413 h 141685"/>
                    <a:gd name="connsiteX115" fmla="*/ 16948 w 112058"/>
                    <a:gd name="connsiteY115" fmla="*/ 68557 h 141685"/>
                    <a:gd name="connsiteX116" fmla="*/ 19213 w 112058"/>
                    <a:gd name="connsiteY116" fmla="*/ 63987 h 141685"/>
                    <a:gd name="connsiteX117" fmla="*/ 19213 w 112058"/>
                    <a:gd name="connsiteY117" fmla="*/ 57131 h 141685"/>
                    <a:gd name="connsiteX118" fmla="*/ 7890 w 112058"/>
                    <a:gd name="connsiteY118" fmla="*/ 50275 h 141685"/>
                    <a:gd name="connsiteX119" fmla="*/ 3361 w 112058"/>
                    <a:gd name="connsiteY119" fmla="*/ 45705 h 141685"/>
                    <a:gd name="connsiteX120" fmla="*/ 5625 w 112058"/>
                    <a:gd name="connsiteY120" fmla="*/ 38849 h 141685"/>
                    <a:gd name="connsiteX121" fmla="*/ 12419 w 112058"/>
                    <a:gd name="connsiteY121" fmla="*/ 34279 h 141685"/>
                    <a:gd name="connsiteX122" fmla="*/ 21477 w 112058"/>
                    <a:gd name="connsiteY122" fmla="*/ 34279 h 141685"/>
                    <a:gd name="connsiteX123" fmla="*/ 16948 w 112058"/>
                    <a:gd name="connsiteY123" fmla="*/ 27423 h 141685"/>
                    <a:gd name="connsiteX124" fmla="*/ 10154 w 112058"/>
                    <a:gd name="connsiteY124" fmla="*/ 25138 h 141685"/>
                    <a:gd name="connsiteX125" fmla="*/ 3361 w 112058"/>
                    <a:gd name="connsiteY125" fmla="*/ 18282 h 141685"/>
                    <a:gd name="connsiteX126" fmla="*/ 7890 w 112058"/>
                    <a:gd name="connsiteY126" fmla="*/ 4571 h 141685"/>
                    <a:gd name="connsiteX127" fmla="*/ 3361 w 112058"/>
                    <a:gd name="connsiteY127" fmla="*/ 2285 h 141685"/>
                    <a:gd name="connsiteX128" fmla="*/ 3361 w 112058"/>
                    <a:gd name="connsiteY128" fmla="*/ 0 h 141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112058" h="141685">
                      <a:moveTo>
                        <a:pt x="43871" y="111215"/>
                      </a:moveTo>
                      <a:lnTo>
                        <a:pt x="44122" y="111748"/>
                      </a:lnTo>
                      <a:lnTo>
                        <a:pt x="44122" y="111977"/>
                      </a:lnTo>
                      <a:close/>
                      <a:moveTo>
                        <a:pt x="43573" y="110315"/>
                      </a:moveTo>
                      <a:lnTo>
                        <a:pt x="43871" y="111215"/>
                      </a:lnTo>
                      <a:lnTo>
                        <a:pt x="43556" y="110549"/>
                      </a:lnTo>
                      <a:close/>
                      <a:moveTo>
                        <a:pt x="64433" y="107156"/>
                      </a:moveTo>
                      <a:cubicBezTo>
                        <a:pt x="64433" y="109538"/>
                        <a:pt x="64433" y="111919"/>
                        <a:pt x="64433" y="111919"/>
                      </a:cubicBezTo>
                      <a:cubicBezTo>
                        <a:pt x="64433" y="109538"/>
                        <a:pt x="64433" y="111919"/>
                        <a:pt x="62052" y="109538"/>
                      </a:cubicBezTo>
                      <a:cubicBezTo>
                        <a:pt x="62052" y="109538"/>
                        <a:pt x="62052" y="109538"/>
                        <a:pt x="64433" y="107156"/>
                      </a:cubicBezTo>
                      <a:close/>
                      <a:moveTo>
                        <a:pt x="73958" y="97631"/>
                      </a:moveTo>
                      <a:cubicBezTo>
                        <a:pt x="75744" y="102394"/>
                        <a:pt x="77530" y="107156"/>
                        <a:pt x="73958" y="109537"/>
                      </a:cubicBezTo>
                      <a:cubicBezTo>
                        <a:pt x="73958" y="104775"/>
                        <a:pt x="73958" y="102394"/>
                        <a:pt x="73958" y="97631"/>
                      </a:cubicBezTo>
                      <a:close/>
                      <a:moveTo>
                        <a:pt x="59671" y="91678"/>
                      </a:moveTo>
                      <a:cubicBezTo>
                        <a:pt x="62053" y="91678"/>
                        <a:pt x="64434" y="89297"/>
                        <a:pt x="64434" y="91678"/>
                      </a:cubicBezTo>
                      <a:lnTo>
                        <a:pt x="62279" y="95988"/>
                      </a:lnTo>
                      <a:lnTo>
                        <a:pt x="64433" y="93941"/>
                      </a:lnTo>
                      <a:cubicBezTo>
                        <a:pt x="64433" y="96204"/>
                        <a:pt x="69196" y="98466"/>
                        <a:pt x="69196" y="100728"/>
                      </a:cubicBezTo>
                      <a:cubicBezTo>
                        <a:pt x="71577" y="102990"/>
                        <a:pt x="69196" y="112039"/>
                        <a:pt x="66815" y="112039"/>
                      </a:cubicBezTo>
                      <a:cubicBezTo>
                        <a:pt x="66815" y="112039"/>
                        <a:pt x="66815" y="112039"/>
                        <a:pt x="66815" y="109777"/>
                      </a:cubicBezTo>
                      <a:cubicBezTo>
                        <a:pt x="64433" y="114301"/>
                        <a:pt x="66815" y="107515"/>
                        <a:pt x="66815" y="107515"/>
                      </a:cubicBezTo>
                      <a:cubicBezTo>
                        <a:pt x="66815" y="105252"/>
                        <a:pt x="66815" y="102990"/>
                        <a:pt x="66815" y="100728"/>
                      </a:cubicBezTo>
                      <a:lnTo>
                        <a:pt x="62133" y="96280"/>
                      </a:lnTo>
                      <a:lnTo>
                        <a:pt x="62053" y="96441"/>
                      </a:lnTo>
                      <a:cubicBezTo>
                        <a:pt x="59671" y="94060"/>
                        <a:pt x="59671" y="94060"/>
                        <a:pt x="59671" y="91678"/>
                      </a:cubicBezTo>
                      <a:close/>
                      <a:moveTo>
                        <a:pt x="3361" y="0"/>
                      </a:moveTo>
                      <a:cubicBezTo>
                        <a:pt x="5625" y="0"/>
                        <a:pt x="10154" y="2285"/>
                        <a:pt x="10154" y="4571"/>
                      </a:cubicBezTo>
                      <a:cubicBezTo>
                        <a:pt x="12419" y="6856"/>
                        <a:pt x="16948" y="6856"/>
                        <a:pt x="16948" y="6856"/>
                      </a:cubicBezTo>
                      <a:cubicBezTo>
                        <a:pt x="16948" y="6856"/>
                        <a:pt x="16948" y="4571"/>
                        <a:pt x="14683" y="4571"/>
                      </a:cubicBezTo>
                      <a:cubicBezTo>
                        <a:pt x="19213" y="2285"/>
                        <a:pt x="19213" y="6856"/>
                        <a:pt x="21477" y="9141"/>
                      </a:cubicBezTo>
                      <a:cubicBezTo>
                        <a:pt x="21477" y="11426"/>
                        <a:pt x="26006" y="13712"/>
                        <a:pt x="30535" y="13712"/>
                      </a:cubicBezTo>
                      <a:cubicBezTo>
                        <a:pt x="30535" y="13712"/>
                        <a:pt x="30535" y="11426"/>
                        <a:pt x="30535" y="9141"/>
                      </a:cubicBezTo>
                      <a:cubicBezTo>
                        <a:pt x="37329" y="9141"/>
                        <a:pt x="37329" y="20567"/>
                        <a:pt x="37329" y="25138"/>
                      </a:cubicBezTo>
                      <a:cubicBezTo>
                        <a:pt x="37329" y="27423"/>
                        <a:pt x="37329" y="29708"/>
                        <a:pt x="39593" y="31994"/>
                      </a:cubicBezTo>
                      <a:cubicBezTo>
                        <a:pt x="44122" y="31994"/>
                        <a:pt x="50916" y="34279"/>
                        <a:pt x="55445" y="34279"/>
                      </a:cubicBezTo>
                      <a:cubicBezTo>
                        <a:pt x="64503" y="34279"/>
                        <a:pt x="73561" y="31994"/>
                        <a:pt x="84884" y="34279"/>
                      </a:cubicBezTo>
                      <a:cubicBezTo>
                        <a:pt x="89413" y="34279"/>
                        <a:pt x="100736" y="41134"/>
                        <a:pt x="91677" y="41134"/>
                      </a:cubicBezTo>
                      <a:cubicBezTo>
                        <a:pt x="93942" y="47990"/>
                        <a:pt x="87148" y="52561"/>
                        <a:pt x="84884" y="59416"/>
                      </a:cubicBezTo>
                      <a:cubicBezTo>
                        <a:pt x="84884" y="57131"/>
                        <a:pt x="82619" y="59416"/>
                        <a:pt x="80355" y="57131"/>
                      </a:cubicBezTo>
                      <a:cubicBezTo>
                        <a:pt x="80355" y="61702"/>
                        <a:pt x="78090" y="59416"/>
                        <a:pt x="75826" y="59416"/>
                      </a:cubicBezTo>
                      <a:cubicBezTo>
                        <a:pt x="75826" y="63987"/>
                        <a:pt x="73561" y="68557"/>
                        <a:pt x="71297" y="70843"/>
                      </a:cubicBezTo>
                      <a:cubicBezTo>
                        <a:pt x="71297" y="75413"/>
                        <a:pt x="75826" y="82269"/>
                        <a:pt x="78090" y="84554"/>
                      </a:cubicBezTo>
                      <a:cubicBezTo>
                        <a:pt x="78090" y="84554"/>
                        <a:pt x="78090" y="82269"/>
                        <a:pt x="78090" y="79984"/>
                      </a:cubicBezTo>
                      <a:cubicBezTo>
                        <a:pt x="80355" y="82269"/>
                        <a:pt x="82619" y="91410"/>
                        <a:pt x="87148" y="86839"/>
                      </a:cubicBezTo>
                      <a:cubicBezTo>
                        <a:pt x="89413" y="84554"/>
                        <a:pt x="84884" y="79984"/>
                        <a:pt x="87148" y="77698"/>
                      </a:cubicBezTo>
                      <a:cubicBezTo>
                        <a:pt x="89413" y="73128"/>
                        <a:pt x="89413" y="73128"/>
                        <a:pt x="87148" y="70843"/>
                      </a:cubicBezTo>
                      <a:cubicBezTo>
                        <a:pt x="91677" y="73128"/>
                        <a:pt x="93942" y="66272"/>
                        <a:pt x="96207" y="70843"/>
                      </a:cubicBezTo>
                      <a:cubicBezTo>
                        <a:pt x="98471" y="75413"/>
                        <a:pt x="98471" y="82269"/>
                        <a:pt x="100736" y="86839"/>
                      </a:cubicBezTo>
                      <a:cubicBezTo>
                        <a:pt x="103000" y="93695"/>
                        <a:pt x="105265" y="100551"/>
                        <a:pt x="107529" y="107406"/>
                      </a:cubicBezTo>
                      <a:cubicBezTo>
                        <a:pt x="107529" y="114262"/>
                        <a:pt x="107529" y="123403"/>
                        <a:pt x="112058" y="127974"/>
                      </a:cubicBezTo>
                      <a:cubicBezTo>
                        <a:pt x="109794" y="130259"/>
                        <a:pt x="105265" y="125688"/>
                        <a:pt x="103000" y="125688"/>
                      </a:cubicBezTo>
                      <a:cubicBezTo>
                        <a:pt x="98471" y="125688"/>
                        <a:pt x="105265" y="139400"/>
                        <a:pt x="105265" y="141685"/>
                      </a:cubicBezTo>
                      <a:cubicBezTo>
                        <a:pt x="103000" y="139400"/>
                        <a:pt x="98471" y="134829"/>
                        <a:pt x="98471" y="130259"/>
                      </a:cubicBezTo>
                      <a:lnTo>
                        <a:pt x="96343" y="121667"/>
                      </a:lnTo>
                      <a:lnTo>
                        <a:pt x="94199" y="125017"/>
                      </a:lnTo>
                      <a:cubicBezTo>
                        <a:pt x="94199" y="123032"/>
                        <a:pt x="94199" y="121048"/>
                        <a:pt x="91817" y="119063"/>
                      </a:cubicBezTo>
                      <a:lnTo>
                        <a:pt x="96208" y="121121"/>
                      </a:lnTo>
                      <a:lnTo>
                        <a:pt x="96207" y="121118"/>
                      </a:lnTo>
                      <a:cubicBezTo>
                        <a:pt x="96207" y="114262"/>
                        <a:pt x="87148" y="107406"/>
                        <a:pt x="91677" y="100551"/>
                      </a:cubicBezTo>
                      <a:cubicBezTo>
                        <a:pt x="89413" y="102836"/>
                        <a:pt x="89413" y="105121"/>
                        <a:pt x="89413" y="105121"/>
                      </a:cubicBezTo>
                      <a:cubicBezTo>
                        <a:pt x="87148" y="100551"/>
                        <a:pt x="80355" y="95980"/>
                        <a:pt x="80355" y="89125"/>
                      </a:cubicBezTo>
                      <a:cubicBezTo>
                        <a:pt x="80355" y="91410"/>
                        <a:pt x="78090" y="93695"/>
                        <a:pt x="75826" y="95980"/>
                      </a:cubicBezTo>
                      <a:cubicBezTo>
                        <a:pt x="73561" y="98266"/>
                        <a:pt x="73561" y="95980"/>
                        <a:pt x="71297" y="95980"/>
                      </a:cubicBezTo>
                      <a:cubicBezTo>
                        <a:pt x="71297" y="98266"/>
                        <a:pt x="71297" y="98266"/>
                        <a:pt x="71297" y="98266"/>
                      </a:cubicBezTo>
                      <a:cubicBezTo>
                        <a:pt x="69032" y="98266"/>
                        <a:pt x="64503" y="89125"/>
                        <a:pt x="64503" y="86839"/>
                      </a:cubicBezTo>
                      <a:cubicBezTo>
                        <a:pt x="62239" y="86839"/>
                        <a:pt x="62239" y="84554"/>
                        <a:pt x="62239" y="82269"/>
                      </a:cubicBezTo>
                      <a:cubicBezTo>
                        <a:pt x="62239" y="79984"/>
                        <a:pt x="62239" y="79984"/>
                        <a:pt x="62239" y="77698"/>
                      </a:cubicBezTo>
                      <a:cubicBezTo>
                        <a:pt x="61107" y="76556"/>
                        <a:pt x="61673" y="75984"/>
                        <a:pt x="62239" y="75413"/>
                      </a:cubicBezTo>
                      <a:lnTo>
                        <a:pt x="62239" y="75185"/>
                      </a:lnTo>
                      <a:lnTo>
                        <a:pt x="62805" y="75127"/>
                      </a:lnTo>
                      <a:cubicBezTo>
                        <a:pt x="62805" y="74842"/>
                        <a:pt x="62239" y="74270"/>
                        <a:pt x="62239" y="73128"/>
                      </a:cubicBezTo>
                      <a:lnTo>
                        <a:pt x="62239" y="75185"/>
                      </a:lnTo>
                      <a:lnTo>
                        <a:pt x="59974" y="75413"/>
                      </a:lnTo>
                      <a:cubicBezTo>
                        <a:pt x="59974" y="73128"/>
                        <a:pt x="59974" y="73128"/>
                        <a:pt x="59974" y="73128"/>
                      </a:cubicBezTo>
                      <a:cubicBezTo>
                        <a:pt x="59974" y="73128"/>
                        <a:pt x="59974" y="73128"/>
                        <a:pt x="57710" y="73128"/>
                      </a:cubicBezTo>
                      <a:cubicBezTo>
                        <a:pt x="57710" y="73128"/>
                        <a:pt x="62239" y="77698"/>
                        <a:pt x="59974" y="77698"/>
                      </a:cubicBezTo>
                      <a:lnTo>
                        <a:pt x="59670" y="77596"/>
                      </a:lnTo>
                      <a:lnTo>
                        <a:pt x="59670" y="79772"/>
                      </a:lnTo>
                      <a:cubicBezTo>
                        <a:pt x="59670" y="79772"/>
                        <a:pt x="57289" y="79772"/>
                        <a:pt x="57289" y="77391"/>
                      </a:cubicBezTo>
                      <a:lnTo>
                        <a:pt x="59061" y="77391"/>
                      </a:lnTo>
                      <a:lnTo>
                        <a:pt x="53180" y="75413"/>
                      </a:lnTo>
                      <a:cubicBezTo>
                        <a:pt x="55445" y="77698"/>
                        <a:pt x="59974" y="79984"/>
                        <a:pt x="62239" y="82269"/>
                      </a:cubicBezTo>
                      <a:cubicBezTo>
                        <a:pt x="62239" y="84554"/>
                        <a:pt x="59974" y="84554"/>
                        <a:pt x="59974" y="86839"/>
                      </a:cubicBezTo>
                      <a:cubicBezTo>
                        <a:pt x="59974" y="89125"/>
                        <a:pt x="59974" y="91410"/>
                        <a:pt x="57710" y="93695"/>
                      </a:cubicBezTo>
                      <a:cubicBezTo>
                        <a:pt x="62239" y="93695"/>
                        <a:pt x="59974" y="95980"/>
                        <a:pt x="59974" y="100551"/>
                      </a:cubicBezTo>
                      <a:cubicBezTo>
                        <a:pt x="62239" y="98266"/>
                        <a:pt x="62239" y="98266"/>
                        <a:pt x="62239" y="98266"/>
                      </a:cubicBezTo>
                      <a:lnTo>
                        <a:pt x="64433" y="103802"/>
                      </a:lnTo>
                      <a:lnTo>
                        <a:pt x="64503" y="103979"/>
                      </a:lnTo>
                      <a:lnTo>
                        <a:pt x="64433" y="104067"/>
                      </a:lnTo>
                      <a:lnTo>
                        <a:pt x="59974" y="109692"/>
                      </a:lnTo>
                      <a:lnTo>
                        <a:pt x="59974" y="114262"/>
                      </a:lnTo>
                      <a:cubicBezTo>
                        <a:pt x="57710" y="118833"/>
                        <a:pt x="53180" y="116547"/>
                        <a:pt x="55445" y="114262"/>
                      </a:cubicBezTo>
                      <a:cubicBezTo>
                        <a:pt x="53180" y="114262"/>
                        <a:pt x="53180" y="114262"/>
                        <a:pt x="53180" y="114262"/>
                      </a:cubicBezTo>
                      <a:cubicBezTo>
                        <a:pt x="53180" y="111977"/>
                        <a:pt x="57710" y="109692"/>
                        <a:pt x="57710" y="107406"/>
                      </a:cubicBezTo>
                      <a:cubicBezTo>
                        <a:pt x="55445" y="109692"/>
                        <a:pt x="55445" y="109692"/>
                        <a:pt x="53180" y="111977"/>
                      </a:cubicBezTo>
                      <a:cubicBezTo>
                        <a:pt x="53180" y="109692"/>
                        <a:pt x="53180" y="109692"/>
                        <a:pt x="53180" y="107406"/>
                      </a:cubicBezTo>
                      <a:cubicBezTo>
                        <a:pt x="53180" y="109692"/>
                        <a:pt x="53180" y="109692"/>
                        <a:pt x="50916" y="111977"/>
                      </a:cubicBezTo>
                      <a:cubicBezTo>
                        <a:pt x="50916" y="107406"/>
                        <a:pt x="48651" y="105121"/>
                        <a:pt x="50916" y="100551"/>
                      </a:cubicBezTo>
                      <a:cubicBezTo>
                        <a:pt x="46387" y="102836"/>
                        <a:pt x="50916" y="105121"/>
                        <a:pt x="48651" y="109692"/>
                      </a:cubicBezTo>
                      <a:cubicBezTo>
                        <a:pt x="48651" y="111977"/>
                        <a:pt x="50916" y="111977"/>
                        <a:pt x="50916" y="114262"/>
                      </a:cubicBezTo>
                      <a:cubicBezTo>
                        <a:pt x="48651" y="116547"/>
                        <a:pt x="46387" y="114262"/>
                        <a:pt x="46387" y="114262"/>
                      </a:cubicBezTo>
                      <a:cubicBezTo>
                        <a:pt x="46387" y="114262"/>
                        <a:pt x="46387" y="116547"/>
                        <a:pt x="46387" y="116547"/>
                      </a:cubicBezTo>
                      <a:lnTo>
                        <a:pt x="44122" y="111748"/>
                      </a:lnTo>
                      <a:lnTo>
                        <a:pt x="44122" y="102836"/>
                      </a:lnTo>
                      <a:lnTo>
                        <a:pt x="43573" y="110315"/>
                      </a:lnTo>
                      <a:lnTo>
                        <a:pt x="41858" y="105121"/>
                      </a:lnTo>
                      <a:cubicBezTo>
                        <a:pt x="41858" y="109692"/>
                        <a:pt x="44122" y="114262"/>
                        <a:pt x="41858" y="118833"/>
                      </a:cubicBezTo>
                      <a:cubicBezTo>
                        <a:pt x="39593" y="116547"/>
                        <a:pt x="41858" y="114262"/>
                        <a:pt x="39593" y="111977"/>
                      </a:cubicBezTo>
                      <a:cubicBezTo>
                        <a:pt x="39593" y="114262"/>
                        <a:pt x="39593" y="118833"/>
                        <a:pt x="37329" y="121118"/>
                      </a:cubicBezTo>
                      <a:cubicBezTo>
                        <a:pt x="37329" y="116547"/>
                        <a:pt x="32800" y="114262"/>
                        <a:pt x="32800" y="109692"/>
                      </a:cubicBezTo>
                      <a:cubicBezTo>
                        <a:pt x="32800" y="105121"/>
                        <a:pt x="30535" y="100551"/>
                        <a:pt x="28271" y="95980"/>
                      </a:cubicBezTo>
                      <a:cubicBezTo>
                        <a:pt x="28271" y="93695"/>
                        <a:pt x="28271" y="91410"/>
                        <a:pt x="28271" y="89125"/>
                      </a:cubicBezTo>
                      <a:cubicBezTo>
                        <a:pt x="26006" y="86839"/>
                        <a:pt x="28271" y="84554"/>
                        <a:pt x="26006" y="82269"/>
                      </a:cubicBezTo>
                      <a:cubicBezTo>
                        <a:pt x="26006" y="82269"/>
                        <a:pt x="23742" y="82269"/>
                        <a:pt x="23742" y="82269"/>
                      </a:cubicBezTo>
                      <a:cubicBezTo>
                        <a:pt x="21477" y="79984"/>
                        <a:pt x="23742" y="77698"/>
                        <a:pt x="23742" y="75413"/>
                      </a:cubicBezTo>
                      <a:cubicBezTo>
                        <a:pt x="23742" y="73128"/>
                        <a:pt x="16948" y="73128"/>
                        <a:pt x="16948" y="68557"/>
                      </a:cubicBezTo>
                      <a:cubicBezTo>
                        <a:pt x="16948" y="66272"/>
                        <a:pt x="19213" y="66272"/>
                        <a:pt x="19213" y="63987"/>
                      </a:cubicBezTo>
                      <a:cubicBezTo>
                        <a:pt x="21477" y="61702"/>
                        <a:pt x="19213" y="59416"/>
                        <a:pt x="19213" y="57131"/>
                      </a:cubicBezTo>
                      <a:cubicBezTo>
                        <a:pt x="16948" y="54846"/>
                        <a:pt x="10154" y="52561"/>
                        <a:pt x="7890" y="50275"/>
                      </a:cubicBezTo>
                      <a:cubicBezTo>
                        <a:pt x="5625" y="50275"/>
                        <a:pt x="3361" y="47990"/>
                        <a:pt x="3361" y="45705"/>
                      </a:cubicBezTo>
                      <a:cubicBezTo>
                        <a:pt x="3361" y="43420"/>
                        <a:pt x="5625" y="41134"/>
                        <a:pt x="5625" y="38849"/>
                      </a:cubicBezTo>
                      <a:cubicBezTo>
                        <a:pt x="10154" y="45705"/>
                        <a:pt x="10154" y="34279"/>
                        <a:pt x="12419" y="34279"/>
                      </a:cubicBezTo>
                      <a:cubicBezTo>
                        <a:pt x="14683" y="34279"/>
                        <a:pt x="19213" y="31994"/>
                        <a:pt x="21477" y="34279"/>
                      </a:cubicBezTo>
                      <a:cubicBezTo>
                        <a:pt x="23742" y="29708"/>
                        <a:pt x="16948" y="31994"/>
                        <a:pt x="16948" y="27423"/>
                      </a:cubicBezTo>
                      <a:cubicBezTo>
                        <a:pt x="16948" y="25138"/>
                        <a:pt x="12419" y="27423"/>
                        <a:pt x="10154" y="25138"/>
                      </a:cubicBezTo>
                      <a:cubicBezTo>
                        <a:pt x="7890" y="22853"/>
                        <a:pt x="7890" y="20567"/>
                        <a:pt x="3361" y="18282"/>
                      </a:cubicBezTo>
                      <a:cubicBezTo>
                        <a:pt x="-3433" y="15997"/>
                        <a:pt x="1096" y="6856"/>
                        <a:pt x="7890" y="4571"/>
                      </a:cubicBezTo>
                      <a:cubicBezTo>
                        <a:pt x="5625" y="2285"/>
                        <a:pt x="3361" y="2285"/>
                        <a:pt x="3361" y="2285"/>
                      </a:cubicBezTo>
                      <a:cubicBezTo>
                        <a:pt x="3361" y="0"/>
                        <a:pt x="3361" y="0"/>
                        <a:pt x="3361" y="0"/>
                      </a:cubicBezTo>
                      <a:close/>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grpSp>
              <p:nvGrpSpPr>
                <p:cNvPr id="204" name="Group 202">
                  <a:extLst>
                    <a:ext uri="{FF2B5EF4-FFF2-40B4-BE49-F238E27FC236}">
                      <a16:creationId xmlns:a16="http://schemas.microsoft.com/office/drawing/2014/main" id="{2161CF26-3034-9A4A-4695-5DEFDEADA87D}"/>
                    </a:ext>
                  </a:extLst>
                </p:cNvPr>
                <p:cNvGrpSpPr/>
                <p:nvPr/>
              </p:nvGrpSpPr>
              <p:grpSpPr>
                <a:xfrm>
                  <a:off x="5258830" y="2462741"/>
                  <a:ext cx="2202844" cy="2054061"/>
                  <a:chOff x="5258830" y="2462741"/>
                  <a:chExt cx="2202844" cy="2054061"/>
                </a:xfrm>
                <a:grpFill/>
              </p:grpSpPr>
              <p:sp>
                <p:nvSpPr>
                  <p:cNvPr id="205" name="Sri Lanka">
                    <a:extLst>
                      <a:ext uri="{FF2B5EF4-FFF2-40B4-BE49-F238E27FC236}">
                        <a16:creationId xmlns:a16="http://schemas.microsoft.com/office/drawing/2014/main" id="{AC97EF39-DD89-4A84-DA6D-6B0F03F3E766}"/>
                      </a:ext>
                    </a:extLst>
                  </p:cNvPr>
                  <p:cNvSpPr>
                    <a:spLocks/>
                  </p:cNvSpPr>
                  <p:nvPr/>
                </p:nvSpPr>
                <p:spPr bwMode="auto">
                  <a:xfrm>
                    <a:off x="5539264" y="3100397"/>
                    <a:ext cx="50012" cy="97548"/>
                  </a:xfrm>
                  <a:custGeom>
                    <a:avLst/>
                    <a:gdLst>
                      <a:gd name="connsiteX0" fmla="*/ 2024 w 49075"/>
                      <a:gd name="connsiteY0" fmla="*/ 53920 h 95722"/>
                      <a:gd name="connsiteX1" fmla="*/ 22524 w 49075"/>
                      <a:gd name="connsiteY1" fmla="*/ 94919 h 95722"/>
                      <a:gd name="connsiteX2" fmla="*/ 45302 w 49075"/>
                      <a:gd name="connsiteY2" fmla="*/ 81253 h 95722"/>
                      <a:gd name="connsiteX3" fmla="*/ 47580 w 49075"/>
                      <a:gd name="connsiteY3" fmla="*/ 58475 h 95722"/>
                      <a:gd name="connsiteX4" fmla="*/ 43024 w 49075"/>
                      <a:gd name="connsiteY4" fmla="*/ 51642 h 95722"/>
                      <a:gd name="connsiteX5" fmla="*/ 40746 w 49075"/>
                      <a:gd name="connsiteY5" fmla="*/ 44809 h 95722"/>
                      <a:gd name="connsiteX6" fmla="*/ 36191 w 49075"/>
                      <a:gd name="connsiteY6" fmla="*/ 33421 h 95722"/>
                      <a:gd name="connsiteX7" fmla="*/ 31635 w 49075"/>
                      <a:gd name="connsiteY7" fmla="*/ 31143 h 95722"/>
                      <a:gd name="connsiteX8" fmla="*/ 24802 w 49075"/>
                      <a:gd name="connsiteY8" fmla="*/ 15199 h 95722"/>
                      <a:gd name="connsiteX9" fmla="*/ 8858 w 49075"/>
                      <a:gd name="connsiteY9" fmla="*/ 1532 h 95722"/>
                      <a:gd name="connsiteX10" fmla="*/ 13413 w 49075"/>
                      <a:gd name="connsiteY10" fmla="*/ 6088 h 95722"/>
                      <a:gd name="connsiteX11" fmla="*/ 2024 w 49075"/>
                      <a:gd name="connsiteY11" fmla="*/ 1532 h 95722"/>
                      <a:gd name="connsiteX12" fmla="*/ 8858 w 49075"/>
                      <a:gd name="connsiteY12" fmla="*/ 6088 h 95722"/>
                      <a:gd name="connsiteX13" fmla="*/ 17969 w 49075"/>
                      <a:gd name="connsiteY13" fmla="*/ 10643 h 95722"/>
                      <a:gd name="connsiteX14" fmla="*/ 8858 w 49075"/>
                      <a:gd name="connsiteY14" fmla="*/ 8366 h 95722"/>
                      <a:gd name="connsiteX15" fmla="*/ 6580 w 49075"/>
                      <a:gd name="connsiteY15" fmla="*/ 10643 h 95722"/>
                      <a:gd name="connsiteX16" fmla="*/ 6580 w 49075"/>
                      <a:gd name="connsiteY16" fmla="*/ 17477 h 95722"/>
                      <a:gd name="connsiteX17" fmla="*/ 2024 w 49075"/>
                      <a:gd name="connsiteY17" fmla="*/ 44809 h 95722"/>
                      <a:gd name="connsiteX18" fmla="*/ 2024 w 49075"/>
                      <a:gd name="connsiteY18" fmla="*/ 37976 h 95722"/>
                      <a:gd name="connsiteX19" fmla="*/ 2024 w 49075"/>
                      <a:gd name="connsiteY19" fmla="*/ 53920 h 95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9075" h="95722">
                        <a:moveTo>
                          <a:pt x="2024" y="53920"/>
                        </a:moveTo>
                        <a:cubicBezTo>
                          <a:pt x="2024" y="63031"/>
                          <a:pt x="6580" y="101752"/>
                          <a:pt x="22524" y="94919"/>
                        </a:cubicBezTo>
                        <a:cubicBezTo>
                          <a:pt x="31635" y="92641"/>
                          <a:pt x="43024" y="88086"/>
                          <a:pt x="45302" y="81253"/>
                        </a:cubicBezTo>
                        <a:cubicBezTo>
                          <a:pt x="49857" y="74420"/>
                          <a:pt x="49857" y="63031"/>
                          <a:pt x="47580" y="58475"/>
                        </a:cubicBezTo>
                        <a:cubicBezTo>
                          <a:pt x="47580" y="58475"/>
                          <a:pt x="43024" y="51642"/>
                          <a:pt x="43024" y="51642"/>
                        </a:cubicBezTo>
                        <a:cubicBezTo>
                          <a:pt x="47580" y="53920"/>
                          <a:pt x="40746" y="47087"/>
                          <a:pt x="40746" y="44809"/>
                        </a:cubicBezTo>
                        <a:cubicBezTo>
                          <a:pt x="38469" y="42531"/>
                          <a:pt x="38469" y="37976"/>
                          <a:pt x="36191" y="33421"/>
                        </a:cubicBezTo>
                        <a:cubicBezTo>
                          <a:pt x="33913" y="33421"/>
                          <a:pt x="31635" y="33421"/>
                          <a:pt x="31635" y="31143"/>
                        </a:cubicBezTo>
                        <a:cubicBezTo>
                          <a:pt x="36191" y="33421"/>
                          <a:pt x="24802" y="17477"/>
                          <a:pt x="24802" y="15199"/>
                        </a:cubicBezTo>
                        <a:cubicBezTo>
                          <a:pt x="22524" y="15199"/>
                          <a:pt x="11136" y="-745"/>
                          <a:pt x="8858" y="1532"/>
                        </a:cubicBezTo>
                        <a:cubicBezTo>
                          <a:pt x="11136" y="1532"/>
                          <a:pt x="13413" y="3810"/>
                          <a:pt x="13413" y="6088"/>
                        </a:cubicBezTo>
                        <a:cubicBezTo>
                          <a:pt x="11136" y="3810"/>
                          <a:pt x="6580" y="-3023"/>
                          <a:pt x="2024" y="1532"/>
                        </a:cubicBezTo>
                        <a:cubicBezTo>
                          <a:pt x="4302" y="3810"/>
                          <a:pt x="6580" y="3810"/>
                          <a:pt x="8858" y="6088"/>
                        </a:cubicBezTo>
                        <a:cubicBezTo>
                          <a:pt x="8858" y="3810"/>
                          <a:pt x="15691" y="8366"/>
                          <a:pt x="17969" y="10643"/>
                        </a:cubicBezTo>
                        <a:cubicBezTo>
                          <a:pt x="15691" y="8366"/>
                          <a:pt x="8858" y="8366"/>
                          <a:pt x="8858" y="8366"/>
                        </a:cubicBezTo>
                        <a:cubicBezTo>
                          <a:pt x="8858" y="8366"/>
                          <a:pt x="8858" y="8366"/>
                          <a:pt x="6580" y="10643"/>
                        </a:cubicBezTo>
                        <a:cubicBezTo>
                          <a:pt x="6580" y="12921"/>
                          <a:pt x="8858" y="15199"/>
                          <a:pt x="6580" y="17477"/>
                        </a:cubicBezTo>
                        <a:cubicBezTo>
                          <a:pt x="2024" y="24310"/>
                          <a:pt x="4302" y="37976"/>
                          <a:pt x="2024" y="44809"/>
                        </a:cubicBezTo>
                        <a:cubicBezTo>
                          <a:pt x="-254" y="44809"/>
                          <a:pt x="2024" y="40254"/>
                          <a:pt x="2024" y="37976"/>
                        </a:cubicBezTo>
                        <a:cubicBezTo>
                          <a:pt x="-2531" y="42531"/>
                          <a:pt x="2024" y="49365"/>
                          <a:pt x="2024" y="53920"/>
                        </a:cubicBezTo>
                        <a:close/>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206" name="India">
                    <a:extLst>
                      <a:ext uri="{FF2B5EF4-FFF2-40B4-BE49-F238E27FC236}">
                        <a16:creationId xmlns:a16="http://schemas.microsoft.com/office/drawing/2014/main" id="{7C16D49F-58B6-FCAA-AB9E-D7F96D357986}"/>
                      </a:ext>
                    </a:extLst>
                  </p:cNvPr>
                  <p:cNvSpPr>
                    <a:spLocks/>
                  </p:cNvSpPr>
                  <p:nvPr/>
                </p:nvSpPr>
                <p:spPr bwMode="auto">
                  <a:xfrm>
                    <a:off x="5258830" y="2462741"/>
                    <a:ext cx="606669" cy="683109"/>
                  </a:xfrm>
                  <a:custGeom>
                    <a:avLst/>
                    <a:gdLst/>
                    <a:ahLst/>
                    <a:cxnLst>
                      <a:cxn ang="0">
                        <a:pos x="18" y="120"/>
                      </a:cxn>
                      <a:cxn ang="0">
                        <a:pos x="16" y="102"/>
                      </a:cxn>
                      <a:cxn ang="0">
                        <a:pos x="20" y="84"/>
                      </a:cxn>
                      <a:cxn ang="0">
                        <a:pos x="42" y="59"/>
                      </a:cxn>
                      <a:cxn ang="0">
                        <a:pos x="46" y="40"/>
                      </a:cxn>
                      <a:cxn ang="0">
                        <a:pos x="39" y="24"/>
                      </a:cxn>
                      <a:cxn ang="0">
                        <a:pos x="36" y="9"/>
                      </a:cxn>
                      <a:cxn ang="0">
                        <a:pos x="65" y="2"/>
                      </a:cxn>
                      <a:cxn ang="0">
                        <a:pos x="80" y="15"/>
                      </a:cxn>
                      <a:cxn ang="0">
                        <a:pos x="87" y="32"/>
                      </a:cxn>
                      <a:cxn ang="0">
                        <a:pos x="87" y="45"/>
                      </a:cxn>
                      <a:cxn ang="0">
                        <a:pos x="100" y="52"/>
                      </a:cxn>
                      <a:cxn ang="0">
                        <a:pos x="103" y="71"/>
                      </a:cxn>
                      <a:cxn ang="0">
                        <a:pos x="129" y="84"/>
                      </a:cxn>
                      <a:cxn ang="0">
                        <a:pos x="154" y="94"/>
                      </a:cxn>
                      <a:cxn ang="0">
                        <a:pos x="178" y="98"/>
                      </a:cxn>
                      <a:cxn ang="0">
                        <a:pos x="185" y="87"/>
                      </a:cxn>
                      <a:cxn ang="0">
                        <a:pos x="201" y="93"/>
                      </a:cxn>
                      <a:cxn ang="0">
                        <a:pos x="212" y="83"/>
                      </a:cxn>
                      <a:cxn ang="0">
                        <a:pos x="235" y="66"/>
                      </a:cxn>
                      <a:cxn ang="0">
                        <a:pos x="251" y="68"/>
                      </a:cxn>
                      <a:cxn ang="0">
                        <a:pos x="259" y="77"/>
                      </a:cxn>
                      <a:cxn ang="0">
                        <a:pos x="252" y="90"/>
                      </a:cxn>
                      <a:cxn ang="0">
                        <a:pos x="246" y="101"/>
                      </a:cxn>
                      <a:cxn ang="0">
                        <a:pos x="235" y="124"/>
                      </a:cxn>
                      <a:cxn ang="0">
                        <a:pos x="230" y="143"/>
                      </a:cxn>
                      <a:cxn ang="0">
                        <a:pos x="218" y="134"/>
                      </a:cxn>
                      <a:cxn ang="0">
                        <a:pos x="219" y="122"/>
                      </a:cxn>
                      <a:cxn ang="0">
                        <a:pos x="198" y="107"/>
                      </a:cxn>
                      <a:cxn ang="0">
                        <a:pos x="187" y="99"/>
                      </a:cxn>
                      <a:cxn ang="0">
                        <a:pos x="186" y="107"/>
                      </a:cxn>
                      <a:cxn ang="0">
                        <a:pos x="184" y="118"/>
                      </a:cxn>
                      <a:cxn ang="0">
                        <a:pos x="193" y="132"/>
                      </a:cxn>
                      <a:cxn ang="0">
                        <a:pos x="196" y="149"/>
                      </a:cxn>
                      <a:cxn ang="0">
                        <a:pos x="192" y="150"/>
                      </a:cxn>
                      <a:cxn ang="0">
                        <a:pos x="188" y="145"/>
                      </a:cxn>
                      <a:cxn ang="0">
                        <a:pos x="177" y="161"/>
                      </a:cxn>
                      <a:cxn ang="0">
                        <a:pos x="163" y="172"/>
                      </a:cxn>
                      <a:cxn ang="0">
                        <a:pos x="141" y="196"/>
                      </a:cxn>
                      <a:cxn ang="0">
                        <a:pos x="127" y="209"/>
                      </a:cxn>
                      <a:cxn ang="0">
                        <a:pos x="122" y="235"/>
                      </a:cxn>
                      <a:cxn ang="0">
                        <a:pos x="120" y="259"/>
                      </a:cxn>
                      <a:cxn ang="0">
                        <a:pos x="116" y="273"/>
                      </a:cxn>
                      <a:cxn ang="0">
                        <a:pos x="106" y="291"/>
                      </a:cxn>
                      <a:cxn ang="0">
                        <a:pos x="89" y="277"/>
                      </a:cxn>
                      <a:cxn ang="0">
                        <a:pos x="83" y="263"/>
                      </a:cxn>
                      <a:cxn ang="0">
                        <a:pos x="67" y="224"/>
                      </a:cxn>
                      <a:cxn ang="0">
                        <a:pos x="59" y="212"/>
                      </a:cxn>
                      <a:cxn ang="0">
                        <a:pos x="51" y="183"/>
                      </a:cxn>
                      <a:cxn ang="0">
                        <a:pos x="50" y="175"/>
                      </a:cxn>
                      <a:cxn ang="0">
                        <a:pos x="45" y="155"/>
                      </a:cxn>
                      <a:cxn ang="0">
                        <a:pos x="45" y="142"/>
                      </a:cxn>
                      <a:cxn ang="0">
                        <a:pos x="38" y="147"/>
                      </a:cxn>
                      <a:cxn ang="0">
                        <a:pos x="11" y="144"/>
                      </a:cxn>
                      <a:cxn ang="0">
                        <a:pos x="23" y="133"/>
                      </a:cxn>
                      <a:cxn ang="0">
                        <a:pos x="4" y="130"/>
                      </a:cxn>
                    </a:cxnLst>
                    <a:rect l="0" t="0" r="r" b="b"/>
                    <a:pathLst>
                      <a:path w="262" h="295">
                        <a:moveTo>
                          <a:pt x="1" y="126"/>
                        </a:moveTo>
                        <a:cubicBezTo>
                          <a:pt x="1" y="124"/>
                          <a:pt x="3" y="124"/>
                          <a:pt x="5" y="124"/>
                        </a:cubicBezTo>
                        <a:cubicBezTo>
                          <a:pt x="6" y="124"/>
                          <a:pt x="5" y="121"/>
                          <a:pt x="5" y="120"/>
                        </a:cubicBezTo>
                        <a:cubicBezTo>
                          <a:pt x="6" y="121"/>
                          <a:pt x="9" y="120"/>
                          <a:pt x="10" y="120"/>
                        </a:cubicBezTo>
                        <a:cubicBezTo>
                          <a:pt x="13" y="121"/>
                          <a:pt x="15" y="122"/>
                          <a:pt x="17" y="121"/>
                        </a:cubicBezTo>
                        <a:cubicBezTo>
                          <a:pt x="18" y="121"/>
                          <a:pt x="17" y="120"/>
                          <a:pt x="18" y="120"/>
                        </a:cubicBezTo>
                        <a:cubicBezTo>
                          <a:pt x="19" y="120"/>
                          <a:pt x="21" y="118"/>
                          <a:pt x="22" y="119"/>
                        </a:cubicBezTo>
                        <a:cubicBezTo>
                          <a:pt x="23" y="122"/>
                          <a:pt x="25" y="121"/>
                          <a:pt x="27" y="119"/>
                        </a:cubicBezTo>
                        <a:cubicBezTo>
                          <a:pt x="24" y="117"/>
                          <a:pt x="26" y="117"/>
                          <a:pt x="26" y="116"/>
                        </a:cubicBezTo>
                        <a:cubicBezTo>
                          <a:pt x="25" y="112"/>
                          <a:pt x="23" y="110"/>
                          <a:pt x="22" y="108"/>
                        </a:cubicBezTo>
                        <a:cubicBezTo>
                          <a:pt x="21" y="107"/>
                          <a:pt x="22" y="105"/>
                          <a:pt x="20" y="105"/>
                        </a:cubicBezTo>
                        <a:cubicBezTo>
                          <a:pt x="17" y="106"/>
                          <a:pt x="16" y="104"/>
                          <a:pt x="16" y="102"/>
                        </a:cubicBezTo>
                        <a:cubicBezTo>
                          <a:pt x="16" y="100"/>
                          <a:pt x="17" y="97"/>
                          <a:pt x="15" y="96"/>
                        </a:cubicBezTo>
                        <a:cubicBezTo>
                          <a:pt x="13" y="95"/>
                          <a:pt x="10" y="96"/>
                          <a:pt x="9" y="93"/>
                        </a:cubicBezTo>
                        <a:cubicBezTo>
                          <a:pt x="8" y="90"/>
                          <a:pt x="10" y="88"/>
                          <a:pt x="11" y="86"/>
                        </a:cubicBezTo>
                        <a:cubicBezTo>
                          <a:pt x="12" y="85"/>
                          <a:pt x="13" y="84"/>
                          <a:pt x="13" y="83"/>
                        </a:cubicBezTo>
                        <a:cubicBezTo>
                          <a:pt x="14" y="82"/>
                          <a:pt x="15" y="80"/>
                          <a:pt x="16" y="80"/>
                        </a:cubicBezTo>
                        <a:cubicBezTo>
                          <a:pt x="18" y="81"/>
                          <a:pt x="18" y="83"/>
                          <a:pt x="20" y="84"/>
                        </a:cubicBezTo>
                        <a:cubicBezTo>
                          <a:pt x="21" y="84"/>
                          <a:pt x="22" y="83"/>
                          <a:pt x="23" y="82"/>
                        </a:cubicBezTo>
                        <a:cubicBezTo>
                          <a:pt x="24" y="82"/>
                          <a:pt x="26" y="82"/>
                          <a:pt x="27" y="82"/>
                        </a:cubicBezTo>
                        <a:cubicBezTo>
                          <a:pt x="29" y="81"/>
                          <a:pt x="29" y="79"/>
                          <a:pt x="31" y="77"/>
                        </a:cubicBezTo>
                        <a:cubicBezTo>
                          <a:pt x="33" y="75"/>
                          <a:pt x="32" y="73"/>
                          <a:pt x="34" y="71"/>
                        </a:cubicBezTo>
                        <a:cubicBezTo>
                          <a:pt x="37" y="69"/>
                          <a:pt x="38" y="68"/>
                          <a:pt x="39" y="65"/>
                        </a:cubicBezTo>
                        <a:cubicBezTo>
                          <a:pt x="40" y="63"/>
                          <a:pt x="39" y="60"/>
                          <a:pt x="42" y="59"/>
                        </a:cubicBezTo>
                        <a:cubicBezTo>
                          <a:pt x="43" y="58"/>
                          <a:pt x="44" y="58"/>
                          <a:pt x="44" y="57"/>
                        </a:cubicBezTo>
                        <a:cubicBezTo>
                          <a:pt x="45" y="56"/>
                          <a:pt x="43" y="56"/>
                          <a:pt x="43" y="55"/>
                        </a:cubicBezTo>
                        <a:cubicBezTo>
                          <a:pt x="43" y="54"/>
                          <a:pt x="45" y="52"/>
                          <a:pt x="46" y="51"/>
                        </a:cubicBezTo>
                        <a:cubicBezTo>
                          <a:pt x="47" y="49"/>
                          <a:pt x="49" y="49"/>
                          <a:pt x="49" y="47"/>
                        </a:cubicBezTo>
                        <a:cubicBezTo>
                          <a:pt x="47" y="47"/>
                          <a:pt x="48" y="45"/>
                          <a:pt x="48" y="44"/>
                        </a:cubicBezTo>
                        <a:cubicBezTo>
                          <a:pt x="48" y="43"/>
                          <a:pt x="46" y="41"/>
                          <a:pt x="46" y="40"/>
                        </a:cubicBezTo>
                        <a:cubicBezTo>
                          <a:pt x="46" y="38"/>
                          <a:pt x="51" y="37"/>
                          <a:pt x="52" y="36"/>
                        </a:cubicBezTo>
                        <a:cubicBezTo>
                          <a:pt x="55" y="33"/>
                          <a:pt x="48" y="33"/>
                          <a:pt x="47" y="32"/>
                        </a:cubicBezTo>
                        <a:cubicBezTo>
                          <a:pt x="46" y="32"/>
                          <a:pt x="46" y="30"/>
                          <a:pt x="45" y="30"/>
                        </a:cubicBezTo>
                        <a:cubicBezTo>
                          <a:pt x="44" y="29"/>
                          <a:pt x="43" y="29"/>
                          <a:pt x="42" y="29"/>
                        </a:cubicBezTo>
                        <a:cubicBezTo>
                          <a:pt x="43" y="28"/>
                          <a:pt x="42" y="27"/>
                          <a:pt x="42" y="27"/>
                        </a:cubicBezTo>
                        <a:cubicBezTo>
                          <a:pt x="41" y="26"/>
                          <a:pt x="38" y="25"/>
                          <a:pt x="39" y="24"/>
                        </a:cubicBezTo>
                        <a:cubicBezTo>
                          <a:pt x="40" y="23"/>
                          <a:pt x="40" y="22"/>
                          <a:pt x="39" y="21"/>
                        </a:cubicBezTo>
                        <a:cubicBezTo>
                          <a:pt x="38" y="20"/>
                          <a:pt x="37" y="19"/>
                          <a:pt x="38" y="18"/>
                        </a:cubicBezTo>
                        <a:cubicBezTo>
                          <a:pt x="38" y="18"/>
                          <a:pt x="41" y="16"/>
                          <a:pt x="39" y="16"/>
                        </a:cubicBezTo>
                        <a:cubicBezTo>
                          <a:pt x="38" y="16"/>
                          <a:pt x="35" y="16"/>
                          <a:pt x="36" y="15"/>
                        </a:cubicBezTo>
                        <a:cubicBezTo>
                          <a:pt x="37" y="13"/>
                          <a:pt x="36" y="13"/>
                          <a:pt x="35" y="12"/>
                        </a:cubicBezTo>
                        <a:cubicBezTo>
                          <a:pt x="33" y="12"/>
                          <a:pt x="35" y="9"/>
                          <a:pt x="36" y="9"/>
                        </a:cubicBezTo>
                        <a:cubicBezTo>
                          <a:pt x="38" y="7"/>
                          <a:pt x="40" y="8"/>
                          <a:pt x="42" y="9"/>
                        </a:cubicBezTo>
                        <a:cubicBezTo>
                          <a:pt x="45" y="9"/>
                          <a:pt x="47" y="10"/>
                          <a:pt x="49" y="10"/>
                        </a:cubicBezTo>
                        <a:cubicBezTo>
                          <a:pt x="51" y="11"/>
                          <a:pt x="53" y="10"/>
                          <a:pt x="54" y="9"/>
                        </a:cubicBezTo>
                        <a:cubicBezTo>
                          <a:pt x="56" y="9"/>
                          <a:pt x="57" y="9"/>
                          <a:pt x="59" y="8"/>
                        </a:cubicBezTo>
                        <a:cubicBezTo>
                          <a:pt x="59" y="8"/>
                          <a:pt x="62" y="5"/>
                          <a:pt x="62" y="5"/>
                        </a:cubicBezTo>
                        <a:cubicBezTo>
                          <a:pt x="61" y="4"/>
                          <a:pt x="64" y="2"/>
                          <a:pt x="65" y="2"/>
                        </a:cubicBezTo>
                        <a:cubicBezTo>
                          <a:pt x="66" y="1"/>
                          <a:pt x="66" y="1"/>
                          <a:pt x="67" y="0"/>
                        </a:cubicBezTo>
                        <a:cubicBezTo>
                          <a:pt x="68" y="0"/>
                          <a:pt x="68" y="0"/>
                          <a:pt x="68" y="1"/>
                        </a:cubicBezTo>
                        <a:cubicBezTo>
                          <a:pt x="70" y="2"/>
                          <a:pt x="70" y="3"/>
                          <a:pt x="71" y="3"/>
                        </a:cubicBezTo>
                        <a:cubicBezTo>
                          <a:pt x="72" y="5"/>
                          <a:pt x="72" y="7"/>
                          <a:pt x="74" y="9"/>
                        </a:cubicBezTo>
                        <a:cubicBezTo>
                          <a:pt x="76" y="10"/>
                          <a:pt x="79" y="12"/>
                          <a:pt x="81" y="13"/>
                        </a:cubicBezTo>
                        <a:cubicBezTo>
                          <a:pt x="82" y="14"/>
                          <a:pt x="80" y="15"/>
                          <a:pt x="80" y="15"/>
                        </a:cubicBezTo>
                        <a:cubicBezTo>
                          <a:pt x="80" y="16"/>
                          <a:pt x="80" y="16"/>
                          <a:pt x="80" y="18"/>
                        </a:cubicBezTo>
                        <a:cubicBezTo>
                          <a:pt x="81" y="20"/>
                          <a:pt x="82" y="21"/>
                          <a:pt x="83" y="23"/>
                        </a:cubicBezTo>
                        <a:cubicBezTo>
                          <a:pt x="84" y="24"/>
                          <a:pt x="87" y="24"/>
                          <a:pt x="87" y="25"/>
                        </a:cubicBezTo>
                        <a:cubicBezTo>
                          <a:pt x="88" y="26"/>
                          <a:pt x="88" y="26"/>
                          <a:pt x="88" y="27"/>
                        </a:cubicBezTo>
                        <a:cubicBezTo>
                          <a:pt x="88" y="28"/>
                          <a:pt x="88" y="28"/>
                          <a:pt x="89" y="29"/>
                        </a:cubicBezTo>
                        <a:cubicBezTo>
                          <a:pt x="90" y="31"/>
                          <a:pt x="88" y="32"/>
                          <a:pt x="87" y="32"/>
                        </a:cubicBezTo>
                        <a:cubicBezTo>
                          <a:pt x="86" y="33"/>
                          <a:pt x="85" y="35"/>
                          <a:pt x="84" y="33"/>
                        </a:cubicBezTo>
                        <a:cubicBezTo>
                          <a:pt x="83" y="31"/>
                          <a:pt x="82" y="30"/>
                          <a:pt x="80" y="32"/>
                        </a:cubicBezTo>
                        <a:cubicBezTo>
                          <a:pt x="80" y="33"/>
                          <a:pt x="81" y="33"/>
                          <a:pt x="81" y="34"/>
                        </a:cubicBezTo>
                        <a:cubicBezTo>
                          <a:pt x="81" y="35"/>
                          <a:pt x="82" y="36"/>
                          <a:pt x="83" y="37"/>
                        </a:cubicBezTo>
                        <a:cubicBezTo>
                          <a:pt x="85" y="39"/>
                          <a:pt x="84" y="40"/>
                          <a:pt x="85" y="41"/>
                        </a:cubicBezTo>
                        <a:cubicBezTo>
                          <a:pt x="86" y="42"/>
                          <a:pt x="85" y="46"/>
                          <a:pt x="87" y="45"/>
                        </a:cubicBezTo>
                        <a:cubicBezTo>
                          <a:pt x="87" y="45"/>
                          <a:pt x="88" y="44"/>
                          <a:pt x="89" y="44"/>
                        </a:cubicBezTo>
                        <a:cubicBezTo>
                          <a:pt x="90" y="44"/>
                          <a:pt x="90" y="45"/>
                          <a:pt x="90" y="46"/>
                        </a:cubicBezTo>
                        <a:cubicBezTo>
                          <a:pt x="91" y="46"/>
                          <a:pt x="93" y="48"/>
                          <a:pt x="94" y="49"/>
                        </a:cubicBezTo>
                        <a:cubicBezTo>
                          <a:pt x="95" y="49"/>
                          <a:pt x="96" y="48"/>
                          <a:pt x="98" y="49"/>
                        </a:cubicBezTo>
                        <a:cubicBezTo>
                          <a:pt x="98" y="50"/>
                          <a:pt x="99" y="50"/>
                          <a:pt x="100" y="50"/>
                        </a:cubicBezTo>
                        <a:cubicBezTo>
                          <a:pt x="101" y="51"/>
                          <a:pt x="101" y="52"/>
                          <a:pt x="100" y="52"/>
                        </a:cubicBezTo>
                        <a:cubicBezTo>
                          <a:pt x="100" y="53"/>
                          <a:pt x="102" y="53"/>
                          <a:pt x="103" y="54"/>
                        </a:cubicBezTo>
                        <a:cubicBezTo>
                          <a:pt x="105" y="54"/>
                          <a:pt x="107" y="55"/>
                          <a:pt x="109" y="57"/>
                        </a:cubicBezTo>
                        <a:cubicBezTo>
                          <a:pt x="106" y="57"/>
                          <a:pt x="106" y="62"/>
                          <a:pt x="104" y="63"/>
                        </a:cubicBezTo>
                        <a:cubicBezTo>
                          <a:pt x="104" y="63"/>
                          <a:pt x="104" y="64"/>
                          <a:pt x="104" y="65"/>
                        </a:cubicBezTo>
                        <a:cubicBezTo>
                          <a:pt x="103" y="66"/>
                          <a:pt x="104" y="66"/>
                          <a:pt x="104" y="67"/>
                        </a:cubicBezTo>
                        <a:cubicBezTo>
                          <a:pt x="104" y="69"/>
                          <a:pt x="102" y="70"/>
                          <a:pt x="103" y="71"/>
                        </a:cubicBezTo>
                        <a:cubicBezTo>
                          <a:pt x="104" y="72"/>
                          <a:pt x="107" y="75"/>
                          <a:pt x="107" y="73"/>
                        </a:cubicBezTo>
                        <a:cubicBezTo>
                          <a:pt x="109" y="74"/>
                          <a:pt x="111" y="75"/>
                          <a:pt x="112" y="76"/>
                        </a:cubicBezTo>
                        <a:cubicBezTo>
                          <a:pt x="114" y="77"/>
                          <a:pt x="115" y="78"/>
                          <a:pt x="117" y="79"/>
                        </a:cubicBezTo>
                        <a:cubicBezTo>
                          <a:pt x="117" y="80"/>
                          <a:pt x="120" y="82"/>
                          <a:pt x="121" y="82"/>
                        </a:cubicBezTo>
                        <a:cubicBezTo>
                          <a:pt x="123" y="81"/>
                          <a:pt x="124" y="83"/>
                          <a:pt x="126" y="83"/>
                        </a:cubicBezTo>
                        <a:cubicBezTo>
                          <a:pt x="126" y="84"/>
                          <a:pt x="129" y="84"/>
                          <a:pt x="129" y="84"/>
                        </a:cubicBezTo>
                        <a:cubicBezTo>
                          <a:pt x="130" y="86"/>
                          <a:pt x="130" y="86"/>
                          <a:pt x="132" y="86"/>
                        </a:cubicBezTo>
                        <a:cubicBezTo>
                          <a:pt x="134" y="87"/>
                          <a:pt x="135" y="87"/>
                          <a:pt x="136" y="87"/>
                        </a:cubicBezTo>
                        <a:cubicBezTo>
                          <a:pt x="137" y="85"/>
                          <a:pt x="138" y="87"/>
                          <a:pt x="140" y="87"/>
                        </a:cubicBezTo>
                        <a:cubicBezTo>
                          <a:pt x="139" y="85"/>
                          <a:pt x="146" y="87"/>
                          <a:pt x="146" y="88"/>
                        </a:cubicBezTo>
                        <a:cubicBezTo>
                          <a:pt x="148" y="88"/>
                          <a:pt x="148" y="91"/>
                          <a:pt x="149" y="91"/>
                        </a:cubicBezTo>
                        <a:cubicBezTo>
                          <a:pt x="151" y="92"/>
                          <a:pt x="153" y="92"/>
                          <a:pt x="154" y="94"/>
                        </a:cubicBezTo>
                        <a:cubicBezTo>
                          <a:pt x="154" y="95"/>
                          <a:pt x="156" y="93"/>
                          <a:pt x="157" y="93"/>
                        </a:cubicBezTo>
                        <a:cubicBezTo>
                          <a:pt x="159" y="93"/>
                          <a:pt x="158" y="96"/>
                          <a:pt x="161" y="95"/>
                        </a:cubicBezTo>
                        <a:cubicBezTo>
                          <a:pt x="162" y="95"/>
                          <a:pt x="166" y="96"/>
                          <a:pt x="166" y="96"/>
                        </a:cubicBezTo>
                        <a:cubicBezTo>
                          <a:pt x="168" y="98"/>
                          <a:pt x="169" y="96"/>
                          <a:pt x="171" y="96"/>
                        </a:cubicBezTo>
                        <a:cubicBezTo>
                          <a:pt x="171" y="97"/>
                          <a:pt x="173" y="98"/>
                          <a:pt x="174" y="98"/>
                        </a:cubicBezTo>
                        <a:cubicBezTo>
                          <a:pt x="175" y="97"/>
                          <a:pt x="178" y="98"/>
                          <a:pt x="178" y="98"/>
                        </a:cubicBezTo>
                        <a:cubicBezTo>
                          <a:pt x="180" y="98"/>
                          <a:pt x="180" y="97"/>
                          <a:pt x="181" y="96"/>
                        </a:cubicBezTo>
                        <a:cubicBezTo>
                          <a:pt x="181" y="93"/>
                          <a:pt x="179" y="92"/>
                          <a:pt x="178" y="90"/>
                        </a:cubicBezTo>
                        <a:cubicBezTo>
                          <a:pt x="178" y="89"/>
                          <a:pt x="178" y="87"/>
                          <a:pt x="178" y="86"/>
                        </a:cubicBezTo>
                        <a:cubicBezTo>
                          <a:pt x="179" y="84"/>
                          <a:pt x="178" y="83"/>
                          <a:pt x="178" y="81"/>
                        </a:cubicBezTo>
                        <a:cubicBezTo>
                          <a:pt x="180" y="81"/>
                          <a:pt x="182" y="79"/>
                          <a:pt x="183" y="80"/>
                        </a:cubicBezTo>
                        <a:cubicBezTo>
                          <a:pt x="187" y="81"/>
                          <a:pt x="184" y="85"/>
                          <a:pt x="185" y="87"/>
                        </a:cubicBezTo>
                        <a:cubicBezTo>
                          <a:pt x="185" y="87"/>
                          <a:pt x="187" y="88"/>
                          <a:pt x="186" y="88"/>
                        </a:cubicBezTo>
                        <a:cubicBezTo>
                          <a:pt x="186" y="89"/>
                          <a:pt x="185" y="89"/>
                          <a:pt x="186" y="90"/>
                        </a:cubicBezTo>
                        <a:cubicBezTo>
                          <a:pt x="187" y="93"/>
                          <a:pt x="189" y="93"/>
                          <a:pt x="192" y="93"/>
                        </a:cubicBezTo>
                        <a:cubicBezTo>
                          <a:pt x="193" y="93"/>
                          <a:pt x="194" y="95"/>
                          <a:pt x="196" y="94"/>
                        </a:cubicBezTo>
                        <a:cubicBezTo>
                          <a:pt x="197" y="94"/>
                          <a:pt x="198" y="94"/>
                          <a:pt x="198" y="94"/>
                        </a:cubicBezTo>
                        <a:cubicBezTo>
                          <a:pt x="199" y="93"/>
                          <a:pt x="200" y="92"/>
                          <a:pt x="201" y="93"/>
                        </a:cubicBezTo>
                        <a:cubicBezTo>
                          <a:pt x="203" y="94"/>
                          <a:pt x="206" y="94"/>
                          <a:pt x="209" y="93"/>
                        </a:cubicBezTo>
                        <a:cubicBezTo>
                          <a:pt x="210" y="93"/>
                          <a:pt x="211" y="92"/>
                          <a:pt x="211" y="93"/>
                        </a:cubicBezTo>
                        <a:cubicBezTo>
                          <a:pt x="212" y="94"/>
                          <a:pt x="214" y="93"/>
                          <a:pt x="215" y="93"/>
                        </a:cubicBezTo>
                        <a:cubicBezTo>
                          <a:pt x="218" y="93"/>
                          <a:pt x="215" y="91"/>
                          <a:pt x="215" y="89"/>
                        </a:cubicBezTo>
                        <a:cubicBezTo>
                          <a:pt x="216" y="85"/>
                          <a:pt x="212" y="88"/>
                          <a:pt x="211" y="86"/>
                        </a:cubicBezTo>
                        <a:cubicBezTo>
                          <a:pt x="211" y="84"/>
                          <a:pt x="210" y="83"/>
                          <a:pt x="212" y="83"/>
                        </a:cubicBezTo>
                        <a:cubicBezTo>
                          <a:pt x="213" y="84"/>
                          <a:pt x="215" y="83"/>
                          <a:pt x="216" y="83"/>
                        </a:cubicBezTo>
                        <a:cubicBezTo>
                          <a:pt x="218" y="82"/>
                          <a:pt x="219" y="83"/>
                          <a:pt x="219" y="80"/>
                        </a:cubicBezTo>
                        <a:cubicBezTo>
                          <a:pt x="220" y="78"/>
                          <a:pt x="223" y="77"/>
                          <a:pt x="223" y="75"/>
                        </a:cubicBezTo>
                        <a:cubicBezTo>
                          <a:pt x="223" y="72"/>
                          <a:pt x="227" y="74"/>
                          <a:pt x="229" y="72"/>
                        </a:cubicBezTo>
                        <a:cubicBezTo>
                          <a:pt x="230" y="71"/>
                          <a:pt x="231" y="69"/>
                          <a:pt x="233" y="68"/>
                        </a:cubicBezTo>
                        <a:cubicBezTo>
                          <a:pt x="233" y="67"/>
                          <a:pt x="234" y="67"/>
                          <a:pt x="235" y="66"/>
                        </a:cubicBezTo>
                        <a:cubicBezTo>
                          <a:pt x="235" y="66"/>
                          <a:pt x="238" y="68"/>
                          <a:pt x="238" y="68"/>
                        </a:cubicBezTo>
                        <a:cubicBezTo>
                          <a:pt x="238" y="68"/>
                          <a:pt x="238" y="68"/>
                          <a:pt x="239" y="68"/>
                        </a:cubicBezTo>
                        <a:cubicBezTo>
                          <a:pt x="240" y="69"/>
                          <a:pt x="241" y="69"/>
                          <a:pt x="242" y="69"/>
                        </a:cubicBezTo>
                        <a:cubicBezTo>
                          <a:pt x="243" y="69"/>
                          <a:pt x="243" y="68"/>
                          <a:pt x="243" y="67"/>
                        </a:cubicBezTo>
                        <a:cubicBezTo>
                          <a:pt x="244" y="66"/>
                          <a:pt x="246" y="65"/>
                          <a:pt x="247" y="65"/>
                        </a:cubicBezTo>
                        <a:cubicBezTo>
                          <a:pt x="251" y="68"/>
                          <a:pt x="251" y="68"/>
                          <a:pt x="251" y="68"/>
                        </a:cubicBezTo>
                        <a:cubicBezTo>
                          <a:pt x="248" y="69"/>
                          <a:pt x="249" y="69"/>
                          <a:pt x="249" y="70"/>
                        </a:cubicBezTo>
                        <a:cubicBezTo>
                          <a:pt x="250" y="71"/>
                          <a:pt x="252" y="69"/>
                          <a:pt x="252" y="69"/>
                        </a:cubicBezTo>
                        <a:cubicBezTo>
                          <a:pt x="252" y="70"/>
                          <a:pt x="254" y="71"/>
                          <a:pt x="254" y="72"/>
                        </a:cubicBezTo>
                        <a:cubicBezTo>
                          <a:pt x="253" y="74"/>
                          <a:pt x="252" y="74"/>
                          <a:pt x="252" y="76"/>
                        </a:cubicBezTo>
                        <a:cubicBezTo>
                          <a:pt x="252" y="77"/>
                          <a:pt x="254" y="76"/>
                          <a:pt x="254" y="76"/>
                        </a:cubicBezTo>
                        <a:cubicBezTo>
                          <a:pt x="256" y="75"/>
                          <a:pt x="258" y="77"/>
                          <a:pt x="259" y="77"/>
                        </a:cubicBezTo>
                        <a:cubicBezTo>
                          <a:pt x="261" y="76"/>
                          <a:pt x="262" y="78"/>
                          <a:pt x="262" y="79"/>
                        </a:cubicBezTo>
                        <a:cubicBezTo>
                          <a:pt x="262" y="80"/>
                          <a:pt x="262" y="80"/>
                          <a:pt x="262" y="81"/>
                        </a:cubicBezTo>
                        <a:cubicBezTo>
                          <a:pt x="262" y="81"/>
                          <a:pt x="261" y="82"/>
                          <a:pt x="260" y="83"/>
                        </a:cubicBezTo>
                        <a:cubicBezTo>
                          <a:pt x="257" y="86"/>
                          <a:pt x="262" y="88"/>
                          <a:pt x="262" y="90"/>
                        </a:cubicBezTo>
                        <a:cubicBezTo>
                          <a:pt x="260" y="91"/>
                          <a:pt x="259" y="88"/>
                          <a:pt x="258" y="88"/>
                        </a:cubicBezTo>
                        <a:cubicBezTo>
                          <a:pt x="254" y="89"/>
                          <a:pt x="253" y="88"/>
                          <a:pt x="252" y="90"/>
                        </a:cubicBezTo>
                        <a:cubicBezTo>
                          <a:pt x="251" y="91"/>
                          <a:pt x="251" y="92"/>
                          <a:pt x="249" y="93"/>
                        </a:cubicBezTo>
                        <a:cubicBezTo>
                          <a:pt x="249" y="93"/>
                          <a:pt x="249" y="93"/>
                          <a:pt x="248" y="93"/>
                        </a:cubicBezTo>
                        <a:cubicBezTo>
                          <a:pt x="248" y="94"/>
                          <a:pt x="248" y="94"/>
                          <a:pt x="247" y="95"/>
                        </a:cubicBezTo>
                        <a:cubicBezTo>
                          <a:pt x="247" y="95"/>
                          <a:pt x="246" y="94"/>
                          <a:pt x="245" y="96"/>
                        </a:cubicBezTo>
                        <a:cubicBezTo>
                          <a:pt x="244" y="97"/>
                          <a:pt x="245" y="98"/>
                          <a:pt x="245" y="99"/>
                        </a:cubicBezTo>
                        <a:cubicBezTo>
                          <a:pt x="245" y="100"/>
                          <a:pt x="246" y="100"/>
                          <a:pt x="246" y="101"/>
                        </a:cubicBezTo>
                        <a:cubicBezTo>
                          <a:pt x="246" y="102"/>
                          <a:pt x="246" y="103"/>
                          <a:pt x="246" y="104"/>
                        </a:cubicBezTo>
                        <a:cubicBezTo>
                          <a:pt x="245" y="107"/>
                          <a:pt x="242" y="108"/>
                          <a:pt x="243" y="110"/>
                        </a:cubicBezTo>
                        <a:cubicBezTo>
                          <a:pt x="243" y="111"/>
                          <a:pt x="244" y="112"/>
                          <a:pt x="244" y="113"/>
                        </a:cubicBezTo>
                        <a:cubicBezTo>
                          <a:pt x="244" y="117"/>
                          <a:pt x="241" y="121"/>
                          <a:pt x="241" y="125"/>
                        </a:cubicBezTo>
                        <a:cubicBezTo>
                          <a:pt x="240" y="124"/>
                          <a:pt x="237" y="124"/>
                          <a:pt x="236" y="123"/>
                        </a:cubicBezTo>
                        <a:cubicBezTo>
                          <a:pt x="236" y="123"/>
                          <a:pt x="235" y="124"/>
                          <a:pt x="235" y="124"/>
                        </a:cubicBezTo>
                        <a:cubicBezTo>
                          <a:pt x="234" y="124"/>
                          <a:pt x="234" y="123"/>
                          <a:pt x="233" y="123"/>
                        </a:cubicBezTo>
                        <a:cubicBezTo>
                          <a:pt x="234" y="126"/>
                          <a:pt x="234" y="128"/>
                          <a:pt x="234" y="131"/>
                        </a:cubicBezTo>
                        <a:cubicBezTo>
                          <a:pt x="234" y="132"/>
                          <a:pt x="235" y="135"/>
                          <a:pt x="232" y="134"/>
                        </a:cubicBezTo>
                        <a:cubicBezTo>
                          <a:pt x="233" y="136"/>
                          <a:pt x="233" y="138"/>
                          <a:pt x="234" y="140"/>
                        </a:cubicBezTo>
                        <a:cubicBezTo>
                          <a:pt x="234" y="141"/>
                          <a:pt x="235" y="144"/>
                          <a:pt x="233" y="143"/>
                        </a:cubicBezTo>
                        <a:cubicBezTo>
                          <a:pt x="233" y="147"/>
                          <a:pt x="231" y="145"/>
                          <a:pt x="230" y="143"/>
                        </a:cubicBezTo>
                        <a:cubicBezTo>
                          <a:pt x="230" y="144"/>
                          <a:pt x="229" y="145"/>
                          <a:pt x="229" y="145"/>
                        </a:cubicBezTo>
                        <a:cubicBezTo>
                          <a:pt x="227" y="139"/>
                          <a:pt x="226" y="134"/>
                          <a:pt x="224" y="127"/>
                        </a:cubicBezTo>
                        <a:cubicBezTo>
                          <a:pt x="223" y="125"/>
                          <a:pt x="221" y="128"/>
                          <a:pt x="220" y="127"/>
                        </a:cubicBezTo>
                        <a:cubicBezTo>
                          <a:pt x="221" y="128"/>
                          <a:pt x="221" y="129"/>
                          <a:pt x="220" y="130"/>
                        </a:cubicBezTo>
                        <a:cubicBezTo>
                          <a:pt x="220" y="131"/>
                          <a:pt x="220" y="132"/>
                          <a:pt x="220" y="133"/>
                        </a:cubicBezTo>
                        <a:cubicBezTo>
                          <a:pt x="220" y="134"/>
                          <a:pt x="220" y="135"/>
                          <a:pt x="218" y="134"/>
                        </a:cubicBezTo>
                        <a:cubicBezTo>
                          <a:pt x="217" y="134"/>
                          <a:pt x="217" y="132"/>
                          <a:pt x="216" y="131"/>
                        </a:cubicBezTo>
                        <a:cubicBezTo>
                          <a:pt x="216" y="132"/>
                          <a:pt x="216" y="133"/>
                          <a:pt x="216" y="133"/>
                        </a:cubicBezTo>
                        <a:cubicBezTo>
                          <a:pt x="215" y="131"/>
                          <a:pt x="214" y="130"/>
                          <a:pt x="213" y="128"/>
                        </a:cubicBezTo>
                        <a:cubicBezTo>
                          <a:pt x="213" y="126"/>
                          <a:pt x="215" y="124"/>
                          <a:pt x="215" y="122"/>
                        </a:cubicBezTo>
                        <a:cubicBezTo>
                          <a:pt x="216" y="122"/>
                          <a:pt x="217" y="123"/>
                          <a:pt x="217" y="121"/>
                        </a:cubicBezTo>
                        <a:cubicBezTo>
                          <a:pt x="218" y="122"/>
                          <a:pt x="218" y="121"/>
                          <a:pt x="219" y="122"/>
                        </a:cubicBezTo>
                        <a:cubicBezTo>
                          <a:pt x="220" y="119"/>
                          <a:pt x="223" y="117"/>
                          <a:pt x="221" y="114"/>
                        </a:cubicBezTo>
                        <a:cubicBezTo>
                          <a:pt x="222" y="114"/>
                          <a:pt x="224" y="114"/>
                          <a:pt x="223" y="113"/>
                        </a:cubicBezTo>
                        <a:cubicBezTo>
                          <a:pt x="222" y="112"/>
                          <a:pt x="220" y="111"/>
                          <a:pt x="218" y="111"/>
                        </a:cubicBezTo>
                        <a:cubicBezTo>
                          <a:pt x="216" y="111"/>
                          <a:pt x="215" y="111"/>
                          <a:pt x="213" y="111"/>
                        </a:cubicBezTo>
                        <a:cubicBezTo>
                          <a:pt x="211" y="111"/>
                          <a:pt x="209" y="111"/>
                          <a:pt x="207" y="111"/>
                        </a:cubicBezTo>
                        <a:cubicBezTo>
                          <a:pt x="204" y="111"/>
                          <a:pt x="198" y="111"/>
                          <a:pt x="198" y="107"/>
                        </a:cubicBezTo>
                        <a:cubicBezTo>
                          <a:pt x="198" y="106"/>
                          <a:pt x="198" y="100"/>
                          <a:pt x="195" y="100"/>
                        </a:cubicBezTo>
                        <a:cubicBezTo>
                          <a:pt x="195" y="101"/>
                          <a:pt x="195" y="102"/>
                          <a:pt x="195" y="102"/>
                        </a:cubicBezTo>
                        <a:cubicBezTo>
                          <a:pt x="194" y="102"/>
                          <a:pt x="192" y="101"/>
                          <a:pt x="191" y="100"/>
                        </a:cubicBezTo>
                        <a:cubicBezTo>
                          <a:pt x="190" y="99"/>
                          <a:pt x="190" y="97"/>
                          <a:pt x="188" y="98"/>
                        </a:cubicBezTo>
                        <a:cubicBezTo>
                          <a:pt x="189" y="98"/>
                          <a:pt x="189" y="99"/>
                          <a:pt x="189" y="99"/>
                        </a:cubicBezTo>
                        <a:cubicBezTo>
                          <a:pt x="189" y="99"/>
                          <a:pt x="188" y="99"/>
                          <a:pt x="187" y="99"/>
                        </a:cubicBezTo>
                        <a:cubicBezTo>
                          <a:pt x="186" y="98"/>
                          <a:pt x="186" y="97"/>
                          <a:pt x="185" y="97"/>
                        </a:cubicBezTo>
                        <a:cubicBezTo>
                          <a:pt x="185" y="96"/>
                          <a:pt x="184" y="96"/>
                          <a:pt x="183" y="96"/>
                        </a:cubicBezTo>
                        <a:cubicBezTo>
                          <a:pt x="183" y="97"/>
                          <a:pt x="183" y="97"/>
                          <a:pt x="183" y="97"/>
                        </a:cubicBezTo>
                        <a:cubicBezTo>
                          <a:pt x="183" y="97"/>
                          <a:pt x="184" y="97"/>
                          <a:pt x="185" y="98"/>
                        </a:cubicBezTo>
                        <a:cubicBezTo>
                          <a:pt x="182" y="99"/>
                          <a:pt x="180" y="103"/>
                          <a:pt x="183" y="104"/>
                        </a:cubicBezTo>
                        <a:cubicBezTo>
                          <a:pt x="185" y="105"/>
                          <a:pt x="185" y="106"/>
                          <a:pt x="186" y="107"/>
                        </a:cubicBezTo>
                        <a:cubicBezTo>
                          <a:pt x="187" y="108"/>
                          <a:pt x="189" y="107"/>
                          <a:pt x="189" y="108"/>
                        </a:cubicBezTo>
                        <a:cubicBezTo>
                          <a:pt x="189" y="110"/>
                          <a:pt x="192" y="109"/>
                          <a:pt x="191" y="111"/>
                        </a:cubicBezTo>
                        <a:cubicBezTo>
                          <a:pt x="190" y="111"/>
                          <a:pt x="188" y="111"/>
                          <a:pt x="188" y="111"/>
                        </a:cubicBezTo>
                        <a:cubicBezTo>
                          <a:pt x="187" y="111"/>
                          <a:pt x="186" y="111"/>
                          <a:pt x="186" y="112"/>
                        </a:cubicBezTo>
                        <a:cubicBezTo>
                          <a:pt x="186" y="113"/>
                          <a:pt x="185" y="115"/>
                          <a:pt x="184" y="113"/>
                        </a:cubicBezTo>
                        <a:cubicBezTo>
                          <a:pt x="184" y="115"/>
                          <a:pt x="182" y="116"/>
                          <a:pt x="184" y="118"/>
                        </a:cubicBezTo>
                        <a:cubicBezTo>
                          <a:pt x="186" y="119"/>
                          <a:pt x="188" y="119"/>
                          <a:pt x="189" y="120"/>
                        </a:cubicBezTo>
                        <a:cubicBezTo>
                          <a:pt x="191" y="122"/>
                          <a:pt x="190" y="123"/>
                          <a:pt x="190" y="124"/>
                        </a:cubicBezTo>
                        <a:cubicBezTo>
                          <a:pt x="191" y="125"/>
                          <a:pt x="188" y="126"/>
                          <a:pt x="190" y="127"/>
                        </a:cubicBezTo>
                        <a:cubicBezTo>
                          <a:pt x="191" y="128"/>
                          <a:pt x="191" y="128"/>
                          <a:pt x="191" y="129"/>
                        </a:cubicBezTo>
                        <a:cubicBezTo>
                          <a:pt x="192" y="129"/>
                          <a:pt x="191" y="130"/>
                          <a:pt x="192" y="131"/>
                        </a:cubicBezTo>
                        <a:cubicBezTo>
                          <a:pt x="193" y="132"/>
                          <a:pt x="193" y="132"/>
                          <a:pt x="193" y="132"/>
                        </a:cubicBezTo>
                        <a:cubicBezTo>
                          <a:pt x="194" y="132"/>
                          <a:pt x="193" y="133"/>
                          <a:pt x="194" y="134"/>
                        </a:cubicBezTo>
                        <a:cubicBezTo>
                          <a:pt x="194" y="135"/>
                          <a:pt x="194" y="136"/>
                          <a:pt x="194" y="137"/>
                        </a:cubicBezTo>
                        <a:cubicBezTo>
                          <a:pt x="194" y="139"/>
                          <a:pt x="195" y="139"/>
                          <a:pt x="195" y="141"/>
                        </a:cubicBezTo>
                        <a:cubicBezTo>
                          <a:pt x="196" y="142"/>
                          <a:pt x="197" y="144"/>
                          <a:pt x="196" y="146"/>
                        </a:cubicBezTo>
                        <a:cubicBezTo>
                          <a:pt x="196" y="146"/>
                          <a:pt x="195" y="145"/>
                          <a:pt x="195" y="145"/>
                        </a:cubicBezTo>
                        <a:cubicBezTo>
                          <a:pt x="195" y="146"/>
                          <a:pt x="197" y="148"/>
                          <a:pt x="196" y="149"/>
                        </a:cubicBezTo>
                        <a:cubicBezTo>
                          <a:pt x="196" y="149"/>
                          <a:pt x="195" y="148"/>
                          <a:pt x="195" y="147"/>
                        </a:cubicBezTo>
                        <a:cubicBezTo>
                          <a:pt x="194" y="148"/>
                          <a:pt x="194" y="149"/>
                          <a:pt x="193" y="148"/>
                        </a:cubicBezTo>
                        <a:cubicBezTo>
                          <a:pt x="192" y="147"/>
                          <a:pt x="193" y="145"/>
                          <a:pt x="193" y="144"/>
                        </a:cubicBezTo>
                        <a:cubicBezTo>
                          <a:pt x="192" y="144"/>
                          <a:pt x="193" y="145"/>
                          <a:pt x="192" y="146"/>
                        </a:cubicBezTo>
                        <a:cubicBezTo>
                          <a:pt x="193" y="145"/>
                          <a:pt x="192" y="144"/>
                          <a:pt x="192" y="143"/>
                        </a:cubicBezTo>
                        <a:cubicBezTo>
                          <a:pt x="191" y="144"/>
                          <a:pt x="192" y="148"/>
                          <a:pt x="192" y="150"/>
                        </a:cubicBezTo>
                        <a:cubicBezTo>
                          <a:pt x="192" y="149"/>
                          <a:pt x="192" y="147"/>
                          <a:pt x="191" y="146"/>
                        </a:cubicBezTo>
                        <a:cubicBezTo>
                          <a:pt x="191" y="146"/>
                          <a:pt x="191" y="149"/>
                          <a:pt x="191" y="149"/>
                        </a:cubicBezTo>
                        <a:cubicBezTo>
                          <a:pt x="190" y="148"/>
                          <a:pt x="190" y="148"/>
                          <a:pt x="190" y="148"/>
                        </a:cubicBezTo>
                        <a:cubicBezTo>
                          <a:pt x="189" y="147"/>
                          <a:pt x="190" y="151"/>
                          <a:pt x="189" y="148"/>
                        </a:cubicBezTo>
                        <a:cubicBezTo>
                          <a:pt x="190" y="148"/>
                          <a:pt x="190" y="149"/>
                          <a:pt x="189" y="150"/>
                        </a:cubicBezTo>
                        <a:cubicBezTo>
                          <a:pt x="188" y="149"/>
                          <a:pt x="188" y="146"/>
                          <a:pt x="188" y="145"/>
                        </a:cubicBezTo>
                        <a:cubicBezTo>
                          <a:pt x="188" y="142"/>
                          <a:pt x="186" y="143"/>
                          <a:pt x="185" y="141"/>
                        </a:cubicBezTo>
                        <a:cubicBezTo>
                          <a:pt x="185" y="143"/>
                          <a:pt x="188" y="143"/>
                          <a:pt x="187" y="145"/>
                        </a:cubicBezTo>
                        <a:cubicBezTo>
                          <a:pt x="185" y="148"/>
                          <a:pt x="184" y="149"/>
                          <a:pt x="181" y="150"/>
                        </a:cubicBezTo>
                        <a:cubicBezTo>
                          <a:pt x="179" y="150"/>
                          <a:pt x="177" y="151"/>
                          <a:pt x="177" y="153"/>
                        </a:cubicBezTo>
                        <a:cubicBezTo>
                          <a:pt x="176" y="154"/>
                          <a:pt x="178" y="158"/>
                          <a:pt x="179" y="159"/>
                        </a:cubicBezTo>
                        <a:cubicBezTo>
                          <a:pt x="178" y="160"/>
                          <a:pt x="177" y="160"/>
                          <a:pt x="177" y="161"/>
                        </a:cubicBezTo>
                        <a:cubicBezTo>
                          <a:pt x="176" y="162"/>
                          <a:pt x="177" y="162"/>
                          <a:pt x="176" y="164"/>
                        </a:cubicBezTo>
                        <a:cubicBezTo>
                          <a:pt x="174" y="165"/>
                          <a:pt x="174" y="168"/>
                          <a:pt x="172" y="165"/>
                        </a:cubicBezTo>
                        <a:cubicBezTo>
                          <a:pt x="172" y="166"/>
                          <a:pt x="173" y="166"/>
                          <a:pt x="174" y="167"/>
                        </a:cubicBezTo>
                        <a:cubicBezTo>
                          <a:pt x="171" y="168"/>
                          <a:pt x="168" y="169"/>
                          <a:pt x="166" y="170"/>
                        </a:cubicBezTo>
                        <a:cubicBezTo>
                          <a:pt x="166" y="169"/>
                          <a:pt x="167" y="167"/>
                          <a:pt x="165" y="168"/>
                        </a:cubicBezTo>
                        <a:cubicBezTo>
                          <a:pt x="164" y="168"/>
                          <a:pt x="162" y="170"/>
                          <a:pt x="163" y="172"/>
                        </a:cubicBezTo>
                        <a:cubicBezTo>
                          <a:pt x="163" y="171"/>
                          <a:pt x="165" y="169"/>
                          <a:pt x="165" y="170"/>
                        </a:cubicBezTo>
                        <a:cubicBezTo>
                          <a:pt x="164" y="171"/>
                          <a:pt x="163" y="173"/>
                          <a:pt x="162" y="174"/>
                        </a:cubicBezTo>
                        <a:cubicBezTo>
                          <a:pt x="160" y="176"/>
                          <a:pt x="159" y="178"/>
                          <a:pt x="158" y="180"/>
                        </a:cubicBezTo>
                        <a:cubicBezTo>
                          <a:pt x="156" y="183"/>
                          <a:pt x="155" y="185"/>
                          <a:pt x="152" y="186"/>
                        </a:cubicBezTo>
                        <a:cubicBezTo>
                          <a:pt x="150" y="187"/>
                          <a:pt x="150" y="190"/>
                          <a:pt x="147" y="191"/>
                        </a:cubicBezTo>
                        <a:cubicBezTo>
                          <a:pt x="149" y="192"/>
                          <a:pt x="142" y="195"/>
                          <a:pt x="141" y="196"/>
                        </a:cubicBezTo>
                        <a:cubicBezTo>
                          <a:pt x="140" y="197"/>
                          <a:pt x="139" y="198"/>
                          <a:pt x="139" y="199"/>
                        </a:cubicBezTo>
                        <a:cubicBezTo>
                          <a:pt x="138" y="200"/>
                          <a:pt x="140" y="201"/>
                          <a:pt x="140" y="202"/>
                        </a:cubicBezTo>
                        <a:cubicBezTo>
                          <a:pt x="138" y="206"/>
                          <a:pt x="134" y="205"/>
                          <a:pt x="131" y="206"/>
                        </a:cubicBezTo>
                        <a:cubicBezTo>
                          <a:pt x="130" y="206"/>
                          <a:pt x="130" y="207"/>
                          <a:pt x="130" y="208"/>
                        </a:cubicBezTo>
                        <a:cubicBezTo>
                          <a:pt x="129" y="209"/>
                          <a:pt x="128" y="211"/>
                          <a:pt x="128" y="212"/>
                        </a:cubicBezTo>
                        <a:cubicBezTo>
                          <a:pt x="127" y="211"/>
                          <a:pt x="127" y="210"/>
                          <a:pt x="127" y="209"/>
                        </a:cubicBezTo>
                        <a:cubicBezTo>
                          <a:pt x="127" y="210"/>
                          <a:pt x="127" y="211"/>
                          <a:pt x="126" y="212"/>
                        </a:cubicBezTo>
                        <a:cubicBezTo>
                          <a:pt x="127" y="209"/>
                          <a:pt x="123" y="211"/>
                          <a:pt x="122" y="212"/>
                        </a:cubicBezTo>
                        <a:cubicBezTo>
                          <a:pt x="121" y="215"/>
                          <a:pt x="119" y="218"/>
                          <a:pt x="120" y="220"/>
                        </a:cubicBezTo>
                        <a:cubicBezTo>
                          <a:pt x="121" y="222"/>
                          <a:pt x="122" y="224"/>
                          <a:pt x="122" y="226"/>
                        </a:cubicBezTo>
                        <a:cubicBezTo>
                          <a:pt x="122" y="230"/>
                          <a:pt x="122" y="233"/>
                          <a:pt x="123" y="236"/>
                        </a:cubicBezTo>
                        <a:cubicBezTo>
                          <a:pt x="123" y="235"/>
                          <a:pt x="122" y="233"/>
                          <a:pt x="122" y="235"/>
                        </a:cubicBezTo>
                        <a:cubicBezTo>
                          <a:pt x="121" y="233"/>
                          <a:pt x="121" y="235"/>
                          <a:pt x="122" y="236"/>
                        </a:cubicBezTo>
                        <a:cubicBezTo>
                          <a:pt x="123" y="236"/>
                          <a:pt x="123" y="236"/>
                          <a:pt x="124" y="237"/>
                        </a:cubicBezTo>
                        <a:cubicBezTo>
                          <a:pt x="125" y="239"/>
                          <a:pt x="124" y="243"/>
                          <a:pt x="124" y="244"/>
                        </a:cubicBezTo>
                        <a:cubicBezTo>
                          <a:pt x="123" y="247"/>
                          <a:pt x="121" y="250"/>
                          <a:pt x="121" y="253"/>
                        </a:cubicBezTo>
                        <a:cubicBezTo>
                          <a:pt x="120" y="255"/>
                          <a:pt x="121" y="258"/>
                          <a:pt x="119" y="260"/>
                        </a:cubicBezTo>
                        <a:cubicBezTo>
                          <a:pt x="120" y="259"/>
                          <a:pt x="120" y="259"/>
                          <a:pt x="120" y="259"/>
                        </a:cubicBezTo>
                        <a:cubicBezTo>
                          <a:pt x="121" y="260"/>
                          <a:pt x="121" y="262"/>
                          <a:pt x="121" y="263"/>
                        </a:cubicBezTo>
                        <a:cubicBezTo>
                          <a:pt x="121" y="266"/>
                          <a:pt x="122" y="268"/>
                          <a:pt x="122" y="270"/>
                        </a:cubicBezTo>
                        <a:cubicBezTo>
                          <a:pt x="121" y="270"/>
                          <a:pt x="120" y="270"/>
                          <a:pt x="120" y="270"/>
                        </a:cubicBezTo>
                        <a:cubicBezTo>
                          <a:pt x="122" y="271"/>
                          <a:pt x="120" y="271"/>
                          <a:pt x="119" y="271"/>
                        </a:cubicBezTo>
                        <a:cubicBezTo>
                          <a:pt x="118" y="270"/>
                          <a:pt x="117" y="270"/>
                          <a:pt x="117" y="271"/>
                        </a:cubicBezTo>
                        <a:cubicBezTo>
                          <a:pt x="116" y="271"/>
                          <a:pt x="116" y="272"/>
                          <a:pt x="116" y="273"/>
                        </a:cubicBezTo>
                        <a:cubicBezTo>
                          <a:pt x="117" y="274"/>
                          <a:pt x="115" y="275"/>
                          <a:pt x="115" y="275"/>
                        </a:cubicBezTo>
                        <a:cubicBezTo>
                          <a:pt x="114" y="277"/>
                          <a:pt x="112" y="280"/>
                          <a:pt x="115" y="281"/>
                        </a:cubicBezTo>
                        <a:cubicBezTo>
                          <a:pt x="115" y="281"/>
                          <a:pt x="116" y="281"/>
                          <a:pt x="117" y="281"/>
                        </a:cubicBezTo>
                        <a:cubicBezTo>
                          <a:pt x="117" y="281"/>
                          <a:pt x="118" y="283"/>
                          <a:pt x="118" y="283"/>
                        </a:cubicBezTo>
                        <a:cubicBezTo>
                          <a:pt x="116" y="280"/>
                          <a:pt x="112" y="282"/>
                          <a:pt x="109" y="283"/>
                        </a:cubicBezTo>
                        <a:cubicBezTo>
                          <a:pt x="106" y="285"/>
                          <a:pt x="107" y="288"/>
                          <a:pt x="106" y="291"/>
                        </a:cubicBezTo>
                        <a:cubicBezTo>
                          <a:pt x="105" y="292"/>
                          <a:pt x="103" y="293"/>
                          <a:pt x="102" y="294"/>
                        </a:cubicBezTo>
                        <a:cubicBezTo>
                          <a:pt x="100" y="295"/>
                          <a:pt x="98" y="294"/>
                          <a:pt x="97" y="292"/>
                        </a:cubicBezTo>
                        <a:cubicBezTo>
                          <a:pt x="96" y="291"/>
                          <a:pt x="90" y="285"/>
                          <a:pt x="92" y="285"/>
                        </a:cubicBezTo>
                        <a:cubicBezTo>
                          <a:pt x="90" y="285"/>
                          <a:pt x="90" y="282"/>
                          <a:pt x="89" y="281"/>
                        </a:cubicBezTo>
                        <a:cubicBezTo>
                          <a:pt x="88" y="279"/>
                          <a:pt x="87" y="276"/>
                          <a:pt x="88" y="274"/>
                        </a:cubicBezTo>
                        <a:cubicBezTo>
                          <a:pt x="88" y="275"/>
                          <a:pt x="89" y="276"/>
                          <a:pt x="89" y="277"/>
                        </a:cubicBezTo>
                        <a:cubicBezTo>
                          <a:pt x="89" y="275"/>
                          <a:pt x="89" y="279"/>
                          <a:pt x="90" y="279"/>
                        </a:cubicBezTo>
                        <a:cubicBezTo>
                          <a:pt x="89" y="278"/>
                          <a:pt x="90" y="277"/>
                          <a:pt x="89" y="275"/>
                        </a:cubicBezTo>
                        <a:cubicBezTo>
                          <a:pt x="89" y="274"/>
                          <a:pt x="88" y="274"/>
                          <a:pt x="88" y="273"/>
                        </a:cubicBezTo>
                        <a:cubicBezTo>
                          <a:pt x="88" y="275"/>
                          <a:pt x="87" y="273"/>
                          <a:pt x="87" y="272"/>
                        </a:cubicBezTo>
                        <a:cubicBezTo>
                          <a:pt x="87" y="271"/>
                          <a:pt x="86" y="271"/>
                          <a:pt x="86" y="270"/>
                        </a:cubicBezTo>
                        <a:cubicBezTo>
                          <a:pt x="85" y="267"/>
                          <a:pt x="84" y="265"/>
                          <a:pt x="83" y="263"/>
                        </a:cubicBezTo>
                        <a:cubicBezTo>
                          <a:pt x="83" y="262"/>
                          <a:pt x="78" y="253"/>
                          <a:pt x="78" y="253"/>
                        </a:cubicBezTo>
                        <a:cubicBezTo>
                          <a:pt x="75" y="249"/>
                          <a:pt x="73" y="244"/>
                          <a:pt x="71" y="239"/>
                        </a:cubicBezTo>
                        <a:cubicBezTo>
                          <a:pt x="71" y="237"/>
                          <a:pt x="71" y="236"/>
                          <a:pt x="70" y="234"/>
                        </a:cubicBezTo>
                        <a:cubicBezTo>
                          <a:pt x="70" y="233"/>
                          <a:pt x="69" y="232"/>
                          <a:pt x="69" y="231"/>
                        </a:cubicBezTo>
                        <a:cubicBezTo>
                          <a:pt x="68" y="230"/>
                          <a:pt x="67" y="228"/>
                          <a:pt x="69" y="228"/>
                        </a:cubicBezTo>
                        <a:cubicBezTo>
                          <a:pt x="67" y="228"/>
                          <a:pt x="67" y="225"/>
                          <a:pt x="67" y="224"/>
                        </a:cubicBezTo>
                        <a:cubicBezTo>
                          <a:pt x="66" y="223"/>
                          <a:pt x="63" y="222"/>
                          <a:pt x="66" y="221"/>
                        </a:cubicBezTo>
                        <a:cubicBezTo>
                          <a:pt x="64" y="222"/>
                          <a:pt x="63" y="220"/>
                          <a:pt x="63" y="219"/>
                        </a:cubicBezTo>
                        <a:cubicBezTo>
                          <a:pt x="63" y="219"/>
                          <a:pt x="63" y="218"/>
                          <a:pt x="62" y="217"/>
                        </a:cubicBezTo>
                        <a:cubicBezTo>
                          <a:pt x="62" y="216"/>
                          <a:pt x="60" y="216"/>
                          <a:pt x="62" y="216"/>
                        </a:cubicBezTo>
                        <a:cubicBezTo>
                          <a:pt x="61" y="216"/>
                          <a:pt x="61" y="214"/>
                          <a:pt x="61" y="214"/>
                        </a:cubicBezTo>
                        <a:cubicBezTo>
                          <a:pt x="61" y="213"/>
                          <a:pt x="60" y="213"/>
                          <a:pt x="59" y="212"/>
                        </a:cubicBezTo>
                        <a:cubicBezTo>
                          <a:pt x="58" y="210"/>
                          <a:pt x="57" y="207"/>
                          <a:pt x="56" y="205"/>
                        </a:cubicBezTo>
                        <a:cubicBezTo>
                          <a:pt x="55" y="203"/>
                          <a:pt x="55" y="201"/>
                          <a:pt x="55" y="200"/>
                        </a:cubicBezTo>
                        <a:cubicBezTo>
                          <a:pt x="55" y="198"/>
                          <a:pt x="54" y="196"/>
                          <a:pt x="54" y="194"/>
                        </a:cubicBezTo>
                        <a:cubicBezTo>
                          <a:pt x="53" y="192"/>
                          <a:pt x="52" y="191"/>
                          <a:pt x="52" y="189"/>
                        </a:cubicBezTo>
                        <a:cubicBezTo>
                          <a:pt x="52" y="188"/>
                          <a:pt x="50" y="185"/>
                          <a:pt x="51" y="185"/>
                        </a:cubicBezTo>
                        <a:cubicBezTo>
                          <a:pt x="51" y="185"/>
                          <a:pt x="49" y="182"/>
                          <a:pt x="51" y="183"/>
                        </a:cubicBezTo>
                        <a:cubicBezTo>
                          <a:pt x="50" y="182"/>
                          <a:pt x="49" y="181"/>
                          <a:pt x="49" y="179"/>
                        </a:cubicBezTo>
                        <a:cubicBezTo>
                          <a:pt x="50" y="180"/>
                          <a:pt x="50" y="180"/>
                          <a:pt x="50" y="180"/>
                        </a:cubicBezTo>
                        <a:cubicBezTo>
                          <a:pt x="50" y="179"/>
                          <a:pt x="50" y="179"/>
                          <a:pt x="50" y="178"/>
                        </a:cubicBezTo>
                        <a:cubicBezTo>
                          <a:pt x="51" y="178"/>
                          <a:pt x="50" y="176"/>
                          <a:pt x="50" y="175"/>
                        </a:cubicBezTo>
                        <a:cubicBezTo>
                          <a:pt x="50" y="176"/>
                          <a:pt x="50" y="177"/>
                          <a:pt x="49" y="177"/>
                        </a:cubicBezTo>
                        <a:cubicBezTo>
                          <a:pt x="48" y="176"/>
                          <a:pt x="48" y="172"/>
                          <a:pt x="50" y="175"/>
                        </a:cubicBezTo>
                        <a:cubicBezTo>
                          <a:pt x="50" y="174"/>
                          <a:pt x="47" y="173"/>
                          <a:pt x="48" y="172"/>
                        </a:cubicBezTo>
                        <a:cubicBezTo>
                          <a:pt x="48" y="172"/>
                          <a:pt x="47" y="170"/>
                          <a:pt x="47" y="169"/>
                        </a:cubicBezTo>
                        <a:cubicBezTo>
                          <a:pt x="46" y="168"/>
                          <a:pt x="46" y="166"/>
                          <a:pt x="46" y="165"/>
                        </a:cubicBezTo>
                        <a:cubicBezTo>
                          <a:pt x="47" y="163"/>
                          <a:pt x="48" y="160"/>
                          <a:pt x="47" y="158"/>
                        </a:cubicBezTo>
                        <a:cubicBezTo>
                          <a:pt x="47" y="157"/>
                          <a:pt x="47" y="153"/>
                          <a:pt x="45" y="155"/>
                        </a:cubicBezTo>
                        <a:cubicBezTo>
                          <a:pt x="46" y="154"/>
                          <a:pt x="46" y="154"/>
                          <a:pt x="45" y="155"/>
                        </a:cubicBezTo>
                        <a:cubicBezTo>
                          <a:pt x="46" y="153"/>
                          <a:pt x="44" y="153"/>
                          <a:pt x="44" y="152"/>
                        </a:cubicBezTo>
                        <a:cubicBezTo>
                          <a:pt x="44" y="151"/>
                          <a:pt x="45" y="151"/>
                          <a:pt x="45" y="150"/>
                        </a:cubicBezTo>
                        <a:cubicBezTo>
                          <a:pt x="45" y="149"/>
                          <a:pt x="48" y="149"/>
                          <a:pt x="49" y="147"/>
                        </a:cubicBezTo>
                        <a:cubicBezTo>
                          <a:pt x="46" y="149"/>
                          <a:pt x="41" y="148"/>
                          <a:pt x="45" y="145"/>
                        </a:cubicBezTo>
                        <a:cubicBezTo>
                          <a:pt x="43" y="146"/>
                          <a:pt x="42" y="145"/>
                          <a:pt x="43" y="144"/>
                        </a:cubicBezTo>
                        <a:cubicBezTo>
                          <a:pt x="43" y="142"/>
                          <a:pt x="45" y="144"/>
                          <a:pt x="45" y="142"/>
                        </a:cubicBezTo>
                        <a:cubicBezTo>
                          <a:pt x="44" y="143"/>
                          <a:pt x="42" y="142"/>
                          <a:pt x="41" y="141"/>
                        </a:cubicBezTo>
                        <a:cubicBezTo>
                          <a:pt x="41" y="142"/>
                          <a:pt x="40" y="142"/>
                          <a:pt x="40" y="142"/>
                        </a:cubicBezTo>
                        <a:cubicBezTo>
                          <a:pt x="40" y="142"/>
                          <a:pt x="41" y="142"/>
                          <a:pt x="41" y="143"/>
                        </a:cubicBezTo>
                        <a:cubicBezTo>
                          <a:pt x="41" y="145"/>
                          <a:pt x="40" y="145"/>
                          <a:pt x="39" y="145"/>
                        </a:cubicBezTo>
                        <a:cubicBezTo>
                          <a:pt x="39" y="146"/>
                          <a:pt x="39" y="146"/>
                          <a:pt x="39" y="146"/>
                        </a:cubicBezTo>
                        <a:cubicBezTo>
                          <a:pt x="39" y="146"/>
                          <a:pt x="38" y="146"/>
                          <a:pt x="38" y="147"/>
                        </a:cubicBezTo>
                        <a:cubicBezTo>
                          <a:pt x="41" y="148"/>
                          <a:pt x="42" y="149"/>
                          <a:pt x="40" y="152"/>
                        </a:cubicBezTo>
                        <a:cubicBezTo>
                          <a:pt x="39" y="153"/>
                          <a:pt x="40" y="154"/>
                          <a:pt x="39" y="154"/>
                        </a:cubicBezTo>
                        <a:cubicBezTo>
                          <a:pt x="37" y="155"/>
                          <a:pt x="36" y="156"/>
                          <a:pt x="35" y="156"/>
                        </a:cubicBezTo>
                        <a:cubicBezTo>
                          <a:pt x="32" y="158"/>
                          <a:pt x="30" y="159"/>
                          <a:pt x="27" y="159"/>
                        </a:cubicBezTo>
                        <a:cubicBezTo>
                          <a:pt x="24" y="158"/>
                          <a:pt x="21" y="155"/>
                          <a:pt x="20" y="153"/>
                        </a:cubicBezTo>
                        <a:cubicBezTo>
                          <a:pt x="17" y="149"/>
                          <a:pt x="14" y="147"/>
                          <a:pt x="11" y="144"/>
                        </a:cubicBezTo>
                        <a:cubicBezTo>
                          <a:pt x="10" y="143"/>
                          <a:pt x="8" y="140"/>
                          <a:pt x="10" y="140"/>
                        </a:cubicBezTo>
                        <a:cubicBezTo>
                          <a:pt x="11" y="140"/>
                          <a:pt x="11" y="141"/>
                          <a:pt x="12" y="142"/>
                        </a:cubicBezTo>
                        <a:cubicBezTo>
                          <a:pt x="12" y="142"/>
                          <a:pt x="14" y="142"/>
                          <a:pt x="14" y="140"/>
                        </a:cubicBezTo>
                        <a:cubicBezTo>
                          <a:pt x="15" y="142"/>
                          <a:pt x="20" y="139"/>
                          <a:pt x="21" y="138"/>
                        </a:cubicBezTo>
                        <a:cubicBezTo>
                          <a:pt x="21" y="138"/>
                          <a:pt x="21" y="136"/>
                          <a:pt x="22" y="136"/>
                        </a:cubicBezTo>
                        <a:cubicBezTo>
                          <a:pt x="22" y="135"/>
                          <a:pt x="24" y="134"/>
                          <a:pt x="23" y="133"/>
                        </a:cubicBezTo>
                        <a:cubicBezTo>
                          <a:pt x="22" y="133"/>
                          <a:pt x="23" y="135"/>
                          <a:pt x="21" y="135"/>
                        </a:cubicBezTo>
                        <a:cubicBezTo>
                          <a:pt x="20" y="135"/>
                          <a:pt x="19" y="135"/>
                          <a:pt x="18" y="135"/>
                        </a:cubicBezTo>
                        <a:cubicBezTo>
                          <a:pt x="17" y="136"/>
                          <a:pt x="16" y="137"/>
                          <a:pt x="15" y="137"/>
                        </a:cubicBezTo>
                        <a:cubicBezTo>
                          <a:pt x="13" y="137"/>
                          <a:pt x="12" y="136"/>
                          <a:pt x="10" y="135"/>
                        </a:cubicBezTo>
                        <a:cubicBezTo>
                          <a:pt x="9" y="135"/>
                          <a:pt x="8" y="134"/>
                          <a:pt x="6" y="133"/>
                        </a:cubicBezTo>
                        <a:cubicBezTo>
                          <a:pt x="6" y="132"/>
                          <a:pt x="5" y="131"/>
                          <a:pt x="4" y="130"/>
                        </a:cubicBezTo>
                        <a:cubicBezTo>
                          <a:pt x="0" y="129"/>
                          <a:pt x="5" y="126"/>
                          <a:pt x="6" y="125"/>
                        </a:cubicBezTo>
                        <a:cubicBezTo>
                          <a:pt x="4" y="125"/>
                          <a:pt x="3" y="129"/>
                          <a:pt x="1" y="128"/>
                        </a:cubicBezTo>
                        <a:cubicBezTo>
                          <a:pt x="1" y="127"/>
                          <a:pt x="1" y="127"/>
                          <a:pt x="1" y="126"/>
                        </a:cubicBezTo>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grpSp>
                <p:nvGrpSpPr>
                  <p:cNvPr id="207" name="Group 201">
                    <a:extLst>
                      <a:ext uri="{FF2B5EF4-FFF2-40B4-BE49-F238E27FC236}">
                        <a16:creationId xmlns:a16="http://schemas.microsoft.com/office/drawing/2014/main" id="{3EAB8226-C826-1877-F8D1-5E2218D310E0}"/>
                      </a:ext>
                    </a:extLst>
                  </p:cNvPr>
                  <p:cNvGrpSpPr/>
                  <p:nvPr/>
                </p:nvGrpSpPr>
                <p:grpSpPr>
                  <a:xfrm>
                    <a:off x="5781779" y="2636248"/>
                    <a:ext cx="1679895" cy="1880554"/>
                    <a:chOff x="5781779" y="2636248"/>
                    <a:chExt cx="1679895" cy="1880554"/>
                  </a:xfrm>
                  <a:grpFill/>
                </p:grpSpPr>
                <p:sp>
                  <p:nvSpPr>
                    <p:cNvPr id="208" name="Thailand">
                      <a:extLst>
                        <a:ext uri="{FF2B5EF4-FFF2-40B4-BE49-F238E27FC236}">
                          <a16:creationId xmlns:a16="http://schemas.microsoft.com/office/drawing/2014/main" id="{CB0F6D86-8AAB-BB2B-493D-D1AC1E31B125}"/>
                        </a:ext>
                      </a:extLst>
                    </p:cNvPr>
                    <p:cNvSpPr>
                      <a:spLocks/>
                    </p:cNvSpPr>
                    <p:nvPr/>
                  </p:nvSpPr>
                  <p:spPr bwMode="auto">
                    <a:xfrm>
                      <a:off x="5903113" y="2837878"/>
                      <a:ext cx="189398" cy="366214"/>
                    </a:xfrm>
                    <a:custGeom>
                      <a:avLst/>
                      <a:gdLst>
                        <a:gd name="connsiteX0" fmla="*/ 79772 w 185853"/>
                        <a:gd name="connsiteY0" fmla="*/ 341498 h 359358"/>
                        <a:gd name="connsiteX1" fmla="*/ 75009 w 185853"/>
                        <a:gd name="connsiteY1" fmla="*/ 343879 h 359358"/>
                        <a:gd name="connsiteX2" fmla="*/ 79772 w 185853"/>
                        <a:gd name="connsiteY2" fmla="*/ 341498 h 359358"/>
                        <a:gd name="connsiteX3" fmla="*/ 47313 w 185853"/>
                        <a:gd name="connsiteY3" fmla="*/ 473 h 359358"/>
                        <a:gd name="connsiteX4" fmla="*/ 52129 w 185853"/>
                        <a:gd name="connsiteY4" fmla="*/ 3026 h 359358"/>
                        <a:gd name="connsiteX5" fmla="*/ 56662 w 185853"/>
                        <a:gd name="connsiteY5" fmla="*/ 756 h 359358"/>
                        <a:gd name="connsiteX6" fmla="*/ 63462 w 185853"/>
                        <a:gd name="connsiteY6" fmla="*/ 7565 h 359358"/>
                        <a:gd name="connsiteX7" fmla="*/ 61195 w 185853"/>
                        <a:gd name="connsiteY7" fmla="*/ 14374 h 359358"/>
                        <a:gd name="connsiteX8" fmla="*/ 63462 w 185853"/>
                        <a:gd name="connsiteY8" fmla="*/ 21183 h 359358"/>
                        <a:gd name="connsiteX9" fmla="*/ 67995 w 185853"/>
                        <a:gd name="connsiteY9" fmla="*/ 23452 h 359358"/>
                        <a:gd name="connsiteX10" fmla="*/ 70261 w 185853"/>
                        <a:gd name="connsiteY10" fmla="*/ 21183 h 359358"/>
                        <a:gd name="connsiteX11" fmla="*/ 72528 w 185853"/>
                        <a:gd name="connsiteY11" fmla="*/ 21183 h 359358"/>
                        <a:gd name="connsiteX12" fmla="*/ 77061 w 185853"/>
                        <a:gd name="connsiteY12" fmla="*/ 21183 h 359358"/>
                        <a:gd name="connsiteX13" fmla="*/ 81594 w 185853"/>
                        <a:gd name="connsiteY13" fmla="*/ 34801 h 359358"/>
                        <a:gd name="connsiteX14" fmla="*/ 81594 w 185853"/>
                        <a:gd name="connsiteY14" fmla="*/ 41609 h 359358"/>
                        <a:gd name="connsiteX15" fmla="*/ 79328 w 185853"/>
                        <a:gd name="connsiteY15" fmla="*/ 48418 h 359358"/>
                        <a:gd name="connsiteX16" fmla="*/ 81594 w 185853"/>
                        <a:gd name="connsiteY16" fmla="*/ 52958 h 359358"/>
                        <a:gd name="connsiteX17" fmla="*/ 81594 w 185853"/>
                        <a:gd name="connsiteY17" fmla="*/ 59767 h 359358"/>
                        <a:gd name="connsiteX18" fmla="*/ 83861 w 185853"/>
                        <a:gd name="connsiteY18" fmla="*/ 71115 h 359358"/>
                        <a:gd name="connsiteX19" fmla="*/ 95193 w 185853"/>
                        <a:gd name="connsiteY19" fmla="*/ 57497 h 359358"/>
                        <a:gd name="connsiteX20" fmla="*/ 101992 w 185853"/>
                        <a:gd name="connsiteY20" fmla="*/ 55227 h 359358"/>
                        <a:gd name="connsiteX21" fmla="*/ 106525 w 185853"/>
                        <a:gd name="connsiteY21" fmla="*/ 57497 h 359358"/>
                        <a:gd name="connsiteX22" fmla="*/ 113325 w 185853"/>
                        <a:gd name="connsiteY22" fmla="*/ 59767 h 359358"/>
                        <a:gd name="connsiteX23" fmla="*/ 122391 w 185853"/>
                        <a:gd name="connsiteY23" fmla="*/ 59767 h 359358"/>
                        <a:gd name="connsiteX24" fmla="*/ 126924 w 185853"/>
                        <a:gd name="connsiteY24" fmla="*/ 52958 h 359358"/>
                        <a:gd name="connsiteX25" fmla="*/ 138256 w 185853"/>
                        <a:gd name="connsiteY25" fmla="*/ 50688 h 359358"/>
                        <a:gd name="connsiteX26" fmla="*/ 158655 w 185853"/>
                        <a:gd name="connsiteY26" fmla="*/ 68845 h 359358"/>
                        <a:gd name="connsiteX27" fmla="*/ 163188 w 185853"/>
                        <a:gd name="connsiteY27" fmla="*/ 91541 h 359358"/>
                        <a:gd name="connsiteX28" fmla="*/ 167721 w 185853"/>
                        <a:gd name="connsiteY28" fmla="*/ 100620 h 359358"/>
                        <a:gd name="connsiteX29" fmla="*/ 179053 w 185853"/>
                        <a:gd name="connsiteY29" fmla="*/ 107429 h 359358"/>
                        <a:gd name="connsiteX30" fmla="*/ 183586 w 185853"/>
                        <a:gd name="connsiteY30" fmla="*/ 114238 h 359358"/>
                        <a:gd name="connsiteX31" fmla="*/ 183586 w 185853"/>
                        <a:gd name="connsiteY31" fmla="*/ 123316 h 359358"/>
                        <a:gd name="connsiteX32" fmla="*/ 183586 w 185853"/>
                        <a:gd name="connsiteY32" fmla="*/ 130125 h 359358"/>
                        <a:gd name="connsiteX33" fmla="*/ 185853 w 185853"/>
                        <a:gd name="connsiteY33" fmla="*/ 134664 h 359358"/>
                        <a:gd name="connsiteX34" fmla="*/ 181320 w 185853"/>
                        <a:gd name="connsiteY34" fmla="*/ 146013 h 359358"/>
                        <a:gd name="connsiteX35" fmla="*/ 174520 w 185853"/>
                        <a:gd name="connsiteY35" fmla="*/ 148282 h 359358"/>
                        <a:gd name="connsiteX36" fmla="*/ 160921 w 185853"/>
                        <a:gd name="connsiteY36" fmla="*/ 148282 h 359358"/>
                        <a:gd name="connsiteX37" fmla="*/ 151855 w 185853"/>
                        <a:gd name="connsiteY37" fmla="*/ 148282 h 359358"/>
                        <a:gd name="connsiteX38" fmla="*/ 147322 w 185853"/>
                        <a:gd name="connsiteY38" fmla="*/ 146013 h 359358"/>
                        <a:gd name="connsiteX39" fmla="*/ 135990 w 185853"/>
                        <a:gd name="connsiteY39" fmla="*/ 148282 h 359358"/>
                        <a:gd name="connsiteX40" fmla="*/ 129190 w 185853"/>
                        <a:gd name="connsiteY40" fmla="*/ 159630 h 359358"/>
                        <a:gd name="connsiteX41" fmla="*/ 124657 w 185853"/>
                        <a:gd name="connsiteY41" fmla="*/ 166439 h 359358"/>
                        <a:gd name="connsiteX42" fmla="*/ 120124 w 185853"/>
                        <a:gd name="connsiteY42" fmla="*/ 166439 h 359358"/>
                        <a:gd name="connsiteX43" fmla="*/ 122391 w 185853"/>
                        <a:gd name="connsiteY43" fmla="*/ 180057 h 359358"/>
                        <a:gd name="connsiteX44" fmla="*/ 129190 w 185853"/>
                        <a:gd name="connsiteY44" fmla="*/ 191405 h 359358"/>
                        <a:gd name="connsiteX45" fmla="*/ 131457 w 185853"/>
                        <a:gd name="connsiteY45" fmla="*/ 200484 h 359358"/>
                        <a:gd name="connsiteX46" fmla="*/ 135990 w 185853"/>
                        <a:gd name="connsiteY46" fmla="*/ 214101 h 359358"/>
                        <a:gd name="connsiteX47" fmla="*/ 133723 w 185853"/>
                        <a:gd name="connsiteY47" fmla="*/ 209562 h 359358"/>
                        <a:gd name="connsiteX48" fmla="*/ 126924 w 185853"/>
                        <a:gd name="connsiteY48" fmla="*/ 200484 h 359358"/>
                        <a:gd name="connsiteX49" fmla="*/ 126924 w 185853"/>
                        <a:gd name="connsiteY49" fmla="*/ 205023 h 359358"/>
                        <a:gd name="connsiteX50" fmla="*/ 122391 w 185853"/>
                        <a:gd name="connsiteY50" fmla="*/ 195944 h 359358"/>
                        <a:gd name="connsiteX51" fmla="*/ 120124 w 185853"/>
                        <a:gd name="connsiteY51" fmla="*/ 195944 h 359358"/>
                        <a:gd name="connsiteX52" fmla="*/ 113325 w 185853"/>
                        <a:gd name="connsiteY52" fmla="*/ 191405 h 359358"/>
                        <a:gd name="connsiteX53" fmla="*/ 106525 w 185853"/>
                        <a:gd name="connsiteY53" fmla="*/ 189136 h 359358"/>
                        <a:gd name="connsiteX54" fmla="*/ 101992 w 185853"/>
                        <a:gd name="connsiteY54" fmla="*/ 191405 h 359358"/>
                        <a:gd name="connsiteX55" fmla="*/ 92926 w 185853"/>
                        <a:gd name="connsiteY55" fmla="*/ 189136 h 359358"/>
                        <a:gd name="connsiteX56" fmla="*/ 90660 w 185853"/>
                        <a:gd name="connsiteY56" fmla="*/ 182327 h 359358"/>
                        <a:gd name="connsiteX57" fmla="*/ 90660 w 185853"/>
                        <a:gd name="connsiteY57" fmla="*/ 175518 h 359358"/>
                        <a:gd name="connsiteX58" fmla="*/ 90660 w 185853"/>
                        <a:gd name="connsiteY58" fmla="*/ 168709 h 359358"/>
                        <a:gd name="connsiteX59" fmla="*/ 81594 w 185853"/>
                        <a:gd name="connsiteY59" fmla="*/ 166439 h 359358"/>
                        <a:gd name="connsiteX60" fmla="*/ 70261 w 185853"/>
                        <a:gd name="connsiteY60" fmla="*/ 175518 h 359358"/>
                        <a:gd name="connsiteX61" fmla="*/ 70261 w 185853"/>
                        <a:gd name="connsiteY61" fmla="*/ 186866 h 359358"/>
                        <a:gd name="connsiteX62" fmla="*/ 72528 w 185853"/>
                        <a:gd name="connsiteY62" fmla="*/ 200484 h 359358"/>
                        <a:gd name="connsiteX63" fmla="*/ 70261 w 185853"/>
                        <a:gd name="connsiteY63" fmla="*/ 207293 h 359358"/>
                        <a:gd name="connsiteX64" fmla="*/ 67995 w 185853"/>
                        <a:gd name="connsiteY64" fmla="*/ 211832 h 359358"/>
                        <a:gd name="connsiteX65" fmla="*/ 63462 w 185853"/>
                        <a:gd name="connsiteY65" fmla="*/ 225450 h 359358"/>
                        <a:gd name="connsiteX66" fmla="*/ 61195 w 185853"/>
                        <a:gd name="connsiteY66" fmla="*/ 239067 h 359358"/>
                        <a:gd name="connsiteX67" fmla="*/ 58929 w 185853"/>
                        <a:gd name="connsiteY67" fmla="*/ 245876 h 359358"/>
                        <a:gd name="connsiteX68" fmla="*/ 61195 w 185853"/>
                        <a:gd name="connsiteY68" fmla="*/ 264033 h 359358"/>
                        <a:gd name="connsiteX69" fmla="*/ 61195 w 185853"/>
                        <a:gd name="connsiteY69" fmla="*/ 270842 h 359358"/>
                        <a:gd name="connsiteX70" fmla="*/ 67995 w 185853"/>
                        <a:gd name="connsiteY70" fmla="*/ 273112 h 359358"/>
                        <a:gd name="connsiteX71" fmla="*/ 77061 w 185853"/>
                        <a:gd name="connsiteY71" fmla="*/ 277651 h 359358"/>
                        <a:gd name="connsiteX72" fmla="*/ 83861 w 185853"/>
                        <a:gd name="connsiteY72" fmla="*/ 291269 h 359358"/>
                        <a:gd name="connsiteX73" fmla="*/ 88394 w 185853"/>
                        <a:gd name="connsiteY73" fmla="*/ 307156 h 359358"/>
                        <a:gd name="connsiteX74" fmla="*/ 90660 w 185853"/>
                        <a:gd name="connsiteY74" fmla="*/ 320774 h 359358"/>
                        <a:gd name="connsiteX75" fmla="*/ 83861 w 185853"/>
                        <a:gd name="connsiteY75" fmla="*/ 309426 h 359358"/>
                        <a:gd name="connsiteX76" fmla="*/ 86127 w 185853"/>
                        <a:gd name="connsiteY76" fmla="*/ 318504 h 359358"/>
                        <a:gd name="connsiteX77" fmla="*/ 90660 w 185853"/>
                        <a:gd name="connsiteY77" fmla="*/ 323044 h 359358"/>
                        <a:gd name="connsiteX78" fmla="*/ 95193 w 185853"/>
                        <a:gd name="connsiteY78" fmla="*/ 325313 h 359358"/>
                        <a:gd name="connsiteX79" fmla="*/ 104259 w 185853"/>
                        <a:gd name="connsiteY79" fmla="*/ 329853 h 359358"/>
                        <a:gd name="connsiteX80" fmla="*/ 113325 w 185853"/>
                        <a:gd name="connsiteY80" fmla="*/ 332122 h 359358"/>
                        <a:gd name="connsiteX81" fmla="*/ 122391 w 185853"/>
                        <a:gd name="connsiteY81" fmla="*/ 341201 h 359358"/>
                        <a:gd name="connsiteX82" fmla="*/ 124657 w 185853"/>
                        <a:gd name="connsiteY82" fmla="*/ 350280 h 359358"/>
                        <a:gd name="connsiteX83" fmla="*/ 120124 w 185853"/>
                        <a:gd name="connsiteY83" fmla="*/ 357089 h 359358"/>
                        <a:gd name="connsiteX84" fmla="*/ 115591 w 185853"/>
                        <a:gd name="connsiteY84" fmla="*/ 354819 h 359358"/>
                        <a:gd name="connsiteX85" fmla="*/ 108792 w 185853"/>
                        <a:gd name="connsiteY85" fmla="*/ 359358 h 359358"/>
                        <a:gd name="connsiteX86" fmla="*/ 106525 w 185853"/>
                        <a:gd name="connsiteY86" fmla="*/ 352549 h 359358"/>
                        <a:gd name="connsiteX87" fmla="*/ 101992 w 185853"/>
                        <a:gd name="connsiteY87" fmla="*/ 345740 h 359358"/>
                        <a:gd name="connsiteX88" fmla="*/ 95193 w 185853"/>
                        <a:gd name="connsiteY88" fmla="*/ 338931 h 359358"/>
                        <a:gd name="connsiteX89" fmla="*/ 88394 w 185853"/>
                        <a:gd name="connsiteY89" fmla="*/ 336662 h 359358"/>
                        <a:gd name="connsiteX90" fmla="*/ 83861 w 185853"/>
                        <a:gd name="connsiteY90" fmla="*/ 341201 h 359358"/>
                        <a:gd name="connsiteX91" fmla="*/ 74794 w 185853"/>
                        <a:gd name="connsiteY91" fmla="*/ 323044 h 359358"/>
                        <a:gd name="connsiteX92" fmla="*/ 70261 w 185853"/>
                        <a:gd name="connsiteY92" fmla="*/ 318504 h 359358"/>
                        <a:gd name="connsiteX93" fmla="*/ 65728 w 185853"/>
                        <a:gd name="connsiteY93" fmla="*/ 318504 h 359358"/>
                        <a:gd name="connsiteX94" fmla="*/ 63462 w 185853"/>
                        <a:gd name="connsiteY94" fmla="*/ 311696 h 359358"/>
                        <a:gd name="connsiteX95" fmla="*/ 58929 w 185853"/>
                        <a:gd name="connsiteY95" fmla="*/ 309426 h 359358"/>
                        <a:gd name="connsiteX96" fmla="*/ 58929 w 185853"/>
                        <a:gd name="connsiteY96" fmla="*/ 304887 h 359358"/>
                        <a:gd name="connsiteX97" fmla="*/ 54396 w 185853"/>
                        <a:gd name="connsiteY97" fmla="*/ 302617 h 359358"/>
                        <a:gd name="connsiteX98" fmla="*/ 52129 w 185853"/>
                        <a:gd name="connsiteY98" fmla="*/ 298078 h 359358"/>
                        <a:gd name="connsiteX99" fmla="*/ 47596 w 185853"/>
                        <a:gd name="connsiteY99" fmla="*/ 293539 h 359358"/>
                        <a:gd name="connsiteX100" fmla="*/ 45330 w 185853"/>
                        <a:gd name="connsiteY100" fmla="*/ 298078 h 359358"/>
                        <a:gd name="connsiteX101" fmla="*/ 40797 w 185853"/>
                        <a:gd name="connsiteY101" fmla="*/ 282190 h 359358"/>
                        <a:gd name="connsiteX102" fmla="*/ 47596 w 185853"/>
                        <a:gd name="connsiteY102" fmla="*/ 252685 h 359358"/>
                        <a:gd name="connsiteX103" fmla="*/ 49863 w 185853"/>
                        <a:gd name="connsiteY103" fmla="*/ 241337 h 359358"/>
                        <a:gd name="connsiteX104" fmla="*/ 54396 w 185853"/>
                        <a:gd name="connsiteY104" fmla="*/ 232259 h 359358"/>
                        <a:gd name="connsiteX105" fmla="*/ 65728 w 185853"/>
                        <a:gd name="connsiteY105" fmla="*/ 209562 h 359358"/>
                        <a:gd name="connsiteX106" fmla="*/ 61195 w 185853"/>
                        <a:gd name="connsiteY106" fmla="*/ 198214 h 359358"/>
                        <a:gd name="connsiteX107" fmla="*/ 56662 w 185853"/>
                        <a:gd name="connsiteY107" fmla="*/ 186866 h 359358"/>
                        <a:gd name="connsiteX108" fmla="*/ 52129 w 185853"/>
                        <a:gd name="connsiteY108" fmla="*/ 177787 h 359358"/>
                        <a:gd name="connsiteX109" fmla="*/ 52129 w 185853"/>
                        <a:gd name="connsiteY109" fmla="*/ 161900 h 359358"/>
                        <a:gd name="connsiteX110" fmla="*/ 33997 w 185853"/>
                        <a:gd name="connsiteY110" fmla="*/ 141473 h 359358"/>
                        <a:gd name="connsiteX111" fmla="*/ 27198 w 185853"/>
                        <a:gd name="connsiteY111" fmla="*/ 130125 h 359358"/>
                        <a:gd name="connsiteX112" fmla="*/ 31731 w 185853"/>
                        <a:gd name="connsiteY112" fmla="*/ 125586 h 359358"/>
                        <a:gd name="connsiteX113" fmla="*/ 36264 w 185853"/>
                        <a:gd name="connsiteY113" fmla="*/ 121047 h 359358"/>
                        <a:gd name="connsiteX114" fmla="*/ 33997 w 185853"/>
                        <a:gd name="connsiteY114" fmla="*/ 109698 h 359358"/>
                        <a:gd name="connsiteX115" fmla="*/ 38530 w 185853"/>
                        <a:gd name="connsiteY115" fmla="*/ 102890 h 359358"/>
                        <a:gd name="connsiteX116" fmla="*/ 38530 w 185853"/>
                        <a:gd name="connsiteY116" fmla="*/ 96081 h 359358"/>
                        <a:gd name="connsiteX117" fmla="*/ 36264 w 185853"/>
                        <a:gd name="connsiteY117" fmla="*/ 100620 h 359358"/>
                        <a:gd name="connsiteX118" fmla="*/ 29464 w 185853"/>
                        <a:gd name="connsiteY118" fmla="*/ 87002 h 359358"/>
                        <a:gd name="connsiteX119" fmla="*/ 22665 w 185853"/>
                        <a:gd name="connsiteY119" fmla="*/ 77924 h 359358"/>
                        <a:gd name="connsiteX120" fmla="*/ 11332 w 185853"/>
                        <a:gd name="connsiteY120" fmla="*/ 66575 h 359358"/>
                        <a:gd name="connsiteX121" fmla="*/ 9066 w 185853"/>
                        <a:gd name="connsiteY121" fmla="*/ 59767 h 359358"/>
                        <a:gd name="connsiteX122" fmla="*/ 6799 w 185853"/>
                        <a:gd name="connsiteY122" fmla="*/ 52958 h 359358"/>
                        <a:gd name="connsiteX123" fmla="*/ 0 w 185853"/>
                        <a:gd name="connsiteY123" fmla="*/ 46149 h 359358"/>
                        <a:gd name="connsiteX124" fmla="*/ 9066 w 185853"/>
                        <a:gd name="connsiteY124" fmla="*/ 46149 h 359358"/>
                        <a:gd name="connsiteX125" fmla="*/ 6799 w 185853"/>
                        <a:gd name="connsiteY125" fmla="*/ 34801 h 359358"/>
                        <a:gd name="connsiteX126" fmla="*/ 9066 w 185853"/>
                        <a:gd name="connsiteY126" fmla="*/ 30261 h 359358"/>
                        <a:gd name="connsiteX127" fmla="*/ 6799 w 185853"/>
                        <a:gd name="connsiteY127" fmla="*/ 23452 h 359358"/>
                        <a:gd name="connsiteX128" fmla="*/ 11332 w 185853"/>
                        <a:gd name="connsiteY128" fmla="*/ 16644 h 359358"/>
                        <a:gd name="connsiteX129" fmla="*/ 22665 w 185853"/>
                        <a:gd name="connsiteY129" fmla="*/ 18913 h 359358"/>
                        <a:gd name="connsiteX130" fmla="*/ 27198 w 185853"/>
                        <a:gd name="connsiteY130" fmla="*/ 16644 h 359358"/>
                        <a:gd name="connsiteX131" fmla="*/ 31731 w 185853"/>
                        <a:gd name="connsiteY131" fmla="*/ 14374 h 359358"/>
                        <a:gd name="connsiteX132" fmla="*/ 33997 w 185853"/>
                        <a:gd name="connsiteY132" fmla="*/ 7565 h 359358"/>
                        <a:gd name="connsiteX133" fmla="*/ 40797 w 185853"/>
                        <a:gd name="connsiteY133" fmla="*/ 3026 h 359358"/>
                        <a:gd name="connsiteX134" fmla="*/ 47313 w 185853"/>
                        <a:gd name="connsiteY134" fmla="*/ 473 h 359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85853" h="359358">
                          <a:moveTo>
                            <a:pt x="79772" y="341498"/>
                          </a:moveTo>
                          <a:cubicBezTo>
                            <a:pt x="82153" y="343879"/>
                            <a:pt x="77391" y="348642"/>
                            <a:pt x="75009" y="343879"/>
                          </a:cubicBezTo>
                          <a:cubicBezTo>
                            <a:pt x="77391" y="341498"/>
                            <a:pt x="77391" y="341498"/>
                            <a:pt x="79772" y="341498"/>
                          </a:cubicBezTo>
                          <a:close/>
                          <a:moveTo>
                            <a:pt x="47313" y="473"/>
                          </a:moveTo>
                          <a:cubicBezTo>
                            <a:pt x="49863" y="-379"/>
                            <a:pt x="52129" y="-379"/>
                            <a:pt x="52129" y="3026"/>
                          </a:cubicBezTo>
                          <a:cubicBezTo>
                            <a:pt x="54396" y="3026"/>
                            <a:pt x="54396" y="756"/>
                            <a:pt x="56662" y="756"/>
                          </a:cubicBezTo>
                          <a:cubicBezTo>
                            <a:pt x="58929" y="756"/>
                            <a:pt x="61195" y="5295"/>
                            <a:pt x="63462" y="7565"/>
                          </a:cubicBezTo>
                          <a:cubicBezTo>
                            <a:pt x="63462" y="9835"/>
                            <a:pt x="61195" y="12104"/>
                            <a:pt x="61195" y="14374"/>
                          </a:cubicBezTo>
                          <a:cubicBezTo>
                            <a:pt x="61195" y="18913"/>
                            <a:pt x="61195" y="21183"/>
                            <a:pt x="63462" y="21183"/>
                          </a:cubicBezTo>
                          <a:cubicBezTo>
                            <a:pt x="65728" y="23452"/>
                            <a:pt x="67995" y="21183"/>
                            <a:pt x="67995" y="23452"/>
                          </a:cubicBezTo>
                          <a:cubicBezTo>
                            <a:pt x="70261" y="23452"/>
                            <a:pt x="70261" y="21183"/>
                            <a:pt x="70261" y="21183"/>
                          </a:cubicBezTo>
                          <a:cubicBezTo>
                            <a:pt x="72528" y="21183"/>
                            <a:pt x="72528" y="21183"/>
                            <a:pt x="72528" y="21183"/>
                          </a:cubicBezTo>
                          <a:cubicBezTo>
                            <a:pt x="74794" y="21183"/>
                            <a:pt x="74794" y="18913"/>
                            <a:pt x="77061" y="21183"/>
                          </a:cubicBezTo>
                          <a:cubicBezTo>
                            <a:pt x="81594" y="21183"/>
                            <a:pt x="79328" y="27992"/>
                            <a:pt x="81594" y="34801"/>
                          </a:cubicBezTo>
                          <a:cubicBezTo>
                            <a:pt x="83861" y="37070"/>
                            <a:pt x="81594" y="39340"/>
                            <a:pt x="81594" y="41609"/>
                          </a:cubicBezTo>
                          <a:cubicBezTo>
                            <a:pt x="83861" y="46149"/>
                            <a:pt x="81594" y="43879"/>
                            <a:pt x="79328" y="48418"/>
                          </a:cubicBezTo>
                          <a:cubicBezTo>
                            <a:pt x="79328" y="48418"/>
                            <a:pt x="81594" y="50688"/>
                            <a:pt x="81594" y="52958"/>
                          </a:cubicBezTo>
                          <a:cubicBezTo>
                            <a:pt x="81594" y="55227"/>
                            <a:pt x="81594" y="57497"/>
                            <a:pt x="81594" y="59767"/>
                          </a:cubicBezTo>
                          <a:cubicBezTo>
                            <a:pt x="79328" y="66575"/>
                            <a:pt x="77061" y="71115"/>
                            <a:pt x="83861" y="71115"/>
                          </a:cubicBezTo>
                          <a:cubicBezTo>
                            <a:pt x="83861" y="71115"/>
                            <a:pt x="92926" y="62036"/>
                            <a:pt x="95193" y="57497"/>
                          </a:cubicBezTo>
                          <a:cubicBezTo>
                            <a:pt x="99726" y="59767"/>
                            <a:pt x="99726" y="55227"/>
                            <a:pt x="101992" y="55227"/>
                          </a:cubicBezTo>
                          <a:cubicBezTo>
                            <a:pt x="104259" y="55227"/>
                            <a:pt x="106525" y="57497"/>
                            <a:pt x="106525" y="57497"/>
                          </a:cubicBezTo>
                          <a:cubicBezTo>
                            <a:pt x="108792" y="59767"/>
                            <a:pt x="111058" y="59767"/>
                            <a:pt x="113325" y="59767"/>
                          </a:cubicBezTo>
                          <a:cubicBezTo>
                            <a:pt x="115591" y="64306"/>
                            <a:pt x="117858" y="59767"/>
                            <a:pt x="122391" y="59767"/>
                          </a:cubicBezTo>
                          <a:cubicBezTo>
                            <a:pt x="122391" y="59767"/>
                            <a:pt x="124657" y="52958"/>
                            <a:pt x="126924" y="52958"/>
                          </a:cubicBezTo>
                          <a:cubicBezTo>
                            <a:pt x="122391" y="48418"/>
                            <a:pt x="135990" y="50688"/>
                            <a:pt x="138256" y="50688"/>
                          </a:cubicBezTo>
                          <a:cubicBezTo>
                            <a:pt x="147322" y="52958"/>
                            <a:pt x="149589" y="64306"/>
                            <a:pt x="158655" y="68845"/>
                          </a:cubicBezTo>
                          <a:cubicBezTo>
                            <a:pt x="165454" y="73384"/>
                            <a:pt x="160921" y="87002"/>
                            <a:pt x="163188" y="91541"/>
                          </a:cubicBezTo>
                          <a:cubicBezTo>
                            <a:pt x="163188" y="96081"/>
                            <a:pt x="165454" y="98350"/>
                            <a:pt x="167721" y="100620"/>
                          </a:cubicBezTo>
                          <a:cubicBezTo>
                            <a:pt x="172254" y="105159"/>
                            <a:pt x="174520" y="105159"/>
                            <a:pt x="179053" y="107429"/>
                          </a:cubicBezTo>
                          <a:cubicBezTo>
                            <a:pt x="174520" y="111968"/>
                            <a:pt x="181320" y="114238"/>
                            <a:pt x="183586" y="114238"/>
                          </a:cubicBezTo>
                          <a:cubicBezTo>
                            <a:pt x="188119" y="118777"/>
                            <a:pt x="179053" y="125586"/>
                            <a:pt x="183586" y="123316"/>
                          </a:cubicBezTo>
                          <a:cubicBezTo>
                            <a:pt x="183586" y="125586"/>
                            <a:pt x="181320" y="127855"/>
                            <a:pt x="183586" y="130125"/>
                          </a:cubicBezTo>
                          <a:cubicBezTo>
                            <a:pt x="183586" y="132395"/>
                            <a:pt x="185853" y="132395"/>
                            <a:pt x="185853" y="134664"/>
                          </a:cubicBezTo>
                          <a:cubicBezTo>
                            <a:pt x="183586" y="139204"/>
                            <a:pt x="185853" y="143743"/>
                            <a:pt x="181320" y="146013"/>
                          </a:cubicBezTo>
                          <a:cubicBezTo>
                            <a:pt x="179053" y="148282"/>
                            <a:pt x="176787" y="152821"/>
                            <a:pt x="174520" y="148282"/>
                          </a:cubicBezTo>
                          <a:cubicBezTo>
                            <a:pt x="172254" y="143743"/>
                            <a:pt x="165454" y="148282"/>
                            <a:pt x="160921" y="148282"/>
                          </a:cubicBezTo>
                          <a:cubicBezTo>
                            <a:pt x="158655" y="146013"/>
                            <a:pt x="156388" y="148282"/>
                            <a:pt x="151855" y="148282"/>
                          </a:cubicBezTo>
                          <a:cubicBezTo>
                            <a:pt x="149589" y="148282"/>
                            <a:pt x="149589" y="146013"/>
                            <a:pt x="147322" y="146013"/>
                          </a:cubicBezTo>
                          <a:cubicBezTo>
                            <a:pt x="142789" y="146013"/>
                            <a:pt x="138256" y="148282"/>
                            <a:pt x="135990" y="148282"/>
                          </a:cubicBezTo>
                          <a:cubicBezTo>
                            <a:pt x="131457" y="150552"/>
                            <a:pt x="129190" y="155091"/>
                            <a:pt x="129190" y="159630"/>
                          </a:cubicBezTo>
                          <a:cubicBezTo>
                            <a:pt x="126924" y="161900"/>
                            <a:pt x="126924" y="164170"/>
                            <a:pt x="124657" y="166439"/>
                          </a:cubicBezTo>
                          <a:cubicBezTo>
                            <a:pt x="122391" y="166439"/>
                            <a:pt x="120124" y="166439"/>
                            <a:pt x="120124" y="166439"/>
                          </a:cubicBezTo>
                          <a:cubicBezTo>
                            <a:pt x="122391" y="170978"/>
                            <a:pt x="120124" y="175518"/>
                            <a:pt x="122391" y="180057"/>
                          </a:cubicBezTo>
                          <a:cubicBezTo>
                            <a:pt x="124657" y="182327"/>
                            <a:pt x="126924" y="186866"/>
                            <a:pt x="129190" y="191405"/>
                          </a:cubicBezTo>
                          <a:cubicBezTo>
                            <a:pt x="131457" y="193675"/>
                            <a:pt x="131457" y="195944"/>
                            <a:pt x="131457" y="200484"/>
                          </a:cubicBezTo>
                          <a:cubicBezTo>
                            <a:pt x="131457" y="207293"/>
                            <a:pt x="135990" y="209562"/>
                            <a:pt x="135990" y="214101"/>
                          </a:cubicBezTo>
                          <a:cubicBezTo>
                            <a:pt x="135990" y="211832"/>
                            <a:pt x="133723" y="209562"/>
                            <a:pt x="133723" y="209562"/>
                          </a:cubicBezTo>
                          <a:cubicBezTo>
                            <a:pt x="131457" y="205023"/>
                            <a:pt x="131457" y="202753"/>
                            <a:pt x="126924" y="200484"/>
                          </a:cubicBezTo>
                          <a:cubicBezTo>
                            <a:pt x="126924" y="202753"/>
                            <a:pt x="126924" y="202753"/>
                            <a:pt x="126924" y="205023"/>
                          </a:cubicBezTo>
                          <a:cubicBezTo>
                            <a:pt x="126924" y="200484"/>
                            <a:pt x="117858" y="200484"/>
                            <a:pt x="122391" y="195944"/>
                          </a:cubicBezTo>
                          <a:cubicBezTo>
                            <a:pt x="120124" y="198214"/>
                            <a:pt x="120124" y="195944"/>
                            <a:pt x="120124" y="195944"/>
                          </a:cubicBezTo>
                          <a:cubicBezTo>
                            <a:pt x="120124" y="200484"/>
                            <a:pt x="115591" y="193675"/>
                            <a:pt x="113325" y="191405"/>
                          </a:cubicBezTo>
                          <a:cubicBezTo>
                            <a:pt x="113325" y="193675"/>
                            <a:pt x="111058" y="186866"/>
                            <a:pt x="106525" y="189136"/>
                          </a:cubicBezTo>
                          <a:cubicBezTo>
                            <a:pt x="104259" y="189136"/>
                            <a:pt x="104259" y="191405"/>
                            <a:pt x="101992" y="191405"/>
                          </a:cubicBezTo>
                          <a:cubicBezTo>
                            <a:pt x="99726" y="189136"/>
                            <a:pt x="95193" y="189136"/>
                            <a:pt x="92926" y="189136"/>
                          </a:cubicBezTo>
                          <a:cubicBezTo>
                            <a:pt x="88394" y="191405"/>
                            <a:pt x="90660" y="184596"/>
                            <a:pt x="90660" y="182327"/>
                          </a:cubicBezTo>
                          <a:cubicBezTo>
                            <a:pt x="90660" y="180057"/>
                            <a:pt x="90660" y="177787"/>
                            <a:pt x="90660" y="175518"/>
                          </a:cubicBezTo>
                          <a:cubicBezTo>
                            <a:pt x="90660" y="173248"/>
                            <a:pt x="90660" y="170978"/>
                            <a:pt x="90660" y="168709"/>
                          </a:cubicBezTo>
                          <a:cubicBezTo>
                            <a:pt x="88394" y="170978"/>
                            <a:pt x="83861" y="168709"/>
                            <a:pt x="81594" y="166439"/>
                          </a:cubicBezTo>
                          <a:cubicBezTo>
                            <a:pt x="83861" y="170978"/>
                            <a:pt x="65728" y="166439"/>
                            <a:pt x="70261" y="175518"/>
                          </a:cubicBezTo>
                          <a:cubicBezTo>
                            <a:pt x="72528" y="180057"/>
                            <a:pt x="72528" y="182327"/>
                            <a:pt x="70261" y="186866"/>
                          </a:cubicBezTo>
                          <a:cubicBezTo>
                            <a:pt x="70261" y="191405"/>
                            <a:pt x="74794" y="195944"/>
                            <a:pt x="72528" y="200484"/>
                          </a:cubicBezTo>
                          <a:cubicBezTo>
                            <a:pt x="72528" y="202753"/>
                            <a:pt x="70261" y="205023"/>
                            <a:pt x="70261" y="207293"/>
                          </a:cubicBezTo>
                          <a:cubicBezTo>
                            <a:pt x="67995" y="207293"/>
                            <a:pt x="70261" y="209562"/>
                            <a:pt x="67995" y="211832"/>
                          </a:cubicBezTo>
                          <a:cubicBezTo>
                            <a:pt x="65728" y="216371"/>
                            <a:pt x="65728" y="220910"/>
                            <a:pt x="63462" y="225450"/>
                          </a:cubicBezTo>
                          <a:cubicBezTo>
                            <a:pt x="63462" y="232259"/>
                            <a:pt x="63462" y="234528"/>
                            <a:pt x="61195" y="239067"/>
                          </a:cubicBezTo>
                          <a:cubicBezTo>
                            <a:pt x="58929" y="241337"/>
                            <a:pt x="61195" y="245876"/>
                            <a:pt x="58929" y="245876"/>
                          </a:cubicBezTo>
                          <a:cubicBezTo>
                            <a:pt x="61195" y="250416"/>
                            <a:pt x="58929" y="257224"/>
                            <a:pt x="61195" y="264033"/>
                          </a:cubicBezTo>
                          <a:cubicBezTo>
                            <a:pt x="61195" y="266303"/>
                            <a:pt x="63462" y="268573"/>
                            <a:pt x="61195" y="270842"/>
                          </a:cubicBezTo>
                          <a:cubicBezTo>
                            <a:pt x="61195" y="273112"/>
                            <a:pt x="65728" y="273112"/>
                            <a:pt x="67995" y="273112"/>
                          </a:cubicBezTo>
                          <a:cubicBezTo>
                            <a:pt x="72528" y="270842"/>
                            <a:pt x="74794" y="270842"/>
                            <a:pt x="77061" y="277651"/>
                          </a:cubicBezTo>
                          <a:cubicBezTo>
                            <a:pt x="77061" y="279921"/>
                            <a:pt x="79328" y="298078"/>
                            <a:pt x="83861" y="291269"/>
                          </a:cubicBezTo>
                          <a:cubicBezTo>
                            <a:pt x="86127" y="295808"/>
                            <a:pt x="86127" y="302617"/>
                            <a:pt x="88394" y="307156"/>
                          </a:cubicBezTo>
                          <a:cubicBezTo>
                            <a:pt x="88394" y="311696"/>
                            <a:pt x="90660" y="316235"/>
                            <a:pt x="90660" y="320774"/>
                          </a:cubicBezTo>
                          <a:cubicBezTo>
                            <a:pt x="88394" y="320774"/>
                            <a:pt x="88394" y="307156"/>
                            <a:pt x="83861" y="309426"/>
                          </a:cubicBezTo>
                          <a:cubicBezTo>
                            <a:pt x="81594" y="311696"/>
                            <a:pt x="86127" y="316235"/>
                            <a:pt x="86127" y="318504"/>
                          </a:cubicBezTo>
                          <a:cubicBezTo>
                            <a:pt x="88394" y="320774"/>
                            <a:pt x="88394" y="320774"/>
                            <a:pt x="90660" y="323044"/>
                          </a:cubicBezTo>
                          <a:cubicBezTo>
                            <a:pt x="92926" y="323044"/>
                            <a:pt x="92926" y="323044"/>
                            <a:pt x="95193" y="325313"/>
                          </a:cubicBezTo>
                          <a:cubicBezTo>
                            <a:pt x="97459" y="327583"/>
                            <a:pt x="97459" y="329853"/>
                            <a:pt x="104259" y="329853"/>
                          </a:cubicBezTo>
                          <a:cubicBezTo>
                            <a:pt x="106525" y="329853"/>
                            <a:pt x="111058" y="329853"/>
                            <a:pt x="113325" y="332122"/>
                          </a:cubicBezTo>
                          <a:cubicBezTo>
                            <a:pt x="117858" y="334392"/>
                            <a:pt x="117858" y="338931"/>
                            <a:pt x="122391" y="341201"/>
                          </a:cubicBezTo>
                          <a:cubicBezTo>
                            <a:pt x="124657" y="343471"/>
                            <a:pt x="126924" y="345740"/>
                            <a:pt x="124657" y="350280"/>
                          </a:cubicBezTo>
                          <a:cubicBezTo>
                            <a:pt x="124657" y="352549"/>
                            <a:pt x="122391" y="357089"/>
                            <a:pt x="120124" y="357089"/>
                          </a:cubicBezTo>
                          <a:cubicBezTo>
                            <a:pt x="117858" y="357089"/>
                            <a:pt x="117858" y="354819"/>
                            <a:pt x="115591" y="354819"/>
                          </a:cubicBezTo>
                          <a:cubicBezTo>
                            <a:pt x="113325" y="352549"/>
                            <a:pt x="111058" y="359358"/>
                            <a:pt x="108792" y="359358"/>
                          </a:cubicBezTo>
                          <a:cubicBezTo>
                            <a:pt x="101992" y="359358"/>
                            <a:pt x="104259" y="354819"/>
                            <a:pt x="106525" y="352549"/>
                          </a:cubicBezTo>
                          <a:cubicBezTo>
                            <a:pt x="106525" y="348010"/>
                            <a:pt x="104259" y="345740"/>
                            <a:pt x="101992" y="345740"/>
                          </a:cubicBezTo>
                          <a:cubicBezTo>
                            <a:pt x="97459" y="345740"/>
                            <a:pt x="99726" y="341201"/>
                            <a:pt x="95193" y="338931"/>
                          </a:cubicBezTo>
                          <a:cubicBezTo>
                            <a:pt x="92926" y="338931"/>
                            <a:pt x="90660" y="338931"/>
                            <a:pt x="88394" y="336662"/>
                          </a:cubicBezTo>
                          <a:cubicBezTo>
                            <a:pt x="83861" y="332122"/>
                            <a:pt x="86127" y="338931"/>
                            <a:pt x="83861" y="341201"/>
                          </a:cubicBezTo>
                          <a:cubicBezTo>
                            <a:pt x="83861" y="334392"/>
                            <a:pt x="70261" y="329853"/>
                            <a:pt x="74794" y="323044"/>
                          </a:cubicBezTo>
                          <a:cubicBezTo>
                            <a:pt x="70261" y="327583"/>
                            <a:pt x="72528" y="318504"/>
                            <a:pt x="70261" y="318504"/>
                          </a:cubicBezTo>
                          <a:cubicBezTo>
                            <a:pt x="70261" y="320774"/>
                            <a:pt x="67995" y="320774"/>
                            <a:pt x="65728" y="318504"/>
                          </a:cubicBezTo>
                          <a:cubicBezTo>
                            <a:pt x="65728" y="316235"/>
                            <a:pt x="65728" y="311696"/>
                            <a:pt x="63462" y="311696"/>
                          </a:cubicBezTo>
                          <a:cubicBezTo>
                            <a:pt x="63462" y="309426"/>
                            <a:pt x="58929" y="311696"/>
                            <a:pt x="58929" y="309426"/>
                          </a:cubicBezTo>
                          <a:cubicBezTo>
                            <a:pt x="58929" y="307156"/>
                            <a:pt x="58929" y="307156"/>
                            <a:pt x="58929" y="304887"/>
                          </a:cubicBezTo>
                          <a:cubicBezTo>
                            <a:pt x="56662" y="302617"/>
                            <a:pt x="56662" y="302617"/>
                            <a:pt x="54396" y="302617"/>
                          </a:cubicBezTo>
                          <a:cubicBezTo>
                            <a:pt x="52129" y="302617"/>
                            <a:pt x="52129" y="298078"/>
                            <a:pt x="52129" y="298078"/>
                          </a:cubicBezTo>
                          <a:cubicBezTo>
                            <a:pt x="52129" y="295808"/>
                            <a:pt x="49863" y="293539"/>
                            <a:pt x="47596" y="293539"/>
                          </a:cubicBezTo>
                          <a:cubicBezTo>
                            <a:pt x="45330" y="295808"/>
                            <a:pt x="47596" y="298078"/>
                            <a:pt x="45330" y="298078"/>
                          </a:cubicBezTo>
                          <a:cubicBezTo>
                            <a:pt x="38530" y="298078"/>
                            <a:pt x="40797" y="286730"/>
                            <a:pt x="40797" y="282190"/>
                          </a:cubicBezTo>
                          <a:cubicBezTo>
                            <a:pt x="43063" y="273112"/>
                            <a:pt x="45330" y="264033"/>
                            <a:pt x="47596" y="252685"/>
                          </a:cubicBezTo>
                          <a:cubicBezTo>
                            <a:pt x="47596" y="250416"/>
                            <a:pt x="49863" y="243607"/>
                            <a:pt x="49863" y="241337"/>
                          </a:cubicBezTo>
                          <a:cubicBezTo>
                            <a:pt x="49863" y="236798"/>
                            <a:pt x="52129" y="236798"/>
                            <a:pt x="54396" y="232259"/>
                          </a:cubicBezTo>
                          <a:cubicBezTo>
                            <a:pt x="56662" y="227719"/>
                            <a:pt x="70261" y="214101"/>
                            <a:pt x="65728" y="209562"/>
                          </a:cubicBezTo>
                          <a:cubicBezTo>
                            <a:pt x="63462" y="207293"/>
                            <a:pt x="61195" y="200484"/>
                            <a:pt x="61195" y="198214"/>
                          </a:cubicBezTo>
                          <a:cubicBezTo>
                            <a:pt x="58929" y="193675"/>
                            <a:pt x="58929" y="191405"/>
                            <a:pt x="56662" y="186866"/>
                          </a:cubicBezTo>
                          <a:cubicBezTo>
                            <a:pt x="54396" y="184596"/>
                            <a:pt x="52129" y="180057"/>
                            <a:pt x="52129" y="177787"/>
                          </a:cubicBezTo>
                          <a:cubicBezTo>
                            <a:pt x="54396" y="170978"/>
                            <a:pt x="54396" y="168709"/>
                            <a:pt x="52129" y="161900"/>
                          </a:cubicBezTo>
                          <a:cubicBezTo>
                            <a:pt x="47596" y="155091"/>
                            <a:pt x="38530" y="148282"/>
                            <a:pt x="33997" y="141473"/>
                          </a:cubicBezTo>
                          <a:cubicBezTo>
                            <a:pt x="31731" y="139204"/>
                            <a:pt x="29464" y="134664"/>
                            <a:pt x="27198" y="130125"/>
                          </a:cubicBezTo>
                          <a:cubicBezTo>
                            <a:pt x="27198" y="127855"/>
                            <a:pt x="29464" y="123316"/>
                            <a:pt x="31731" y="125586"/>
                          </a:cubicBezTo>
                          <a:cubicBezTo>
                            <a:pt x="31731" y="123316"/>
                            <a:pt x="33997" y="123316"/>
                            <a:pt x="36264" y="121047"/>
                          </a:cubicBezTo>
                          <a:cubicBezTo>
                            <a:pt x="36264" y="118777"/>
                            <a:pt x="33997" y="111968"/>
                            <a:pt x="33997" y="109698"/>
                          </a:cubicBezTo>
                          <a:cubicBezTo>
                            <a:pt x="33997" y="105159"/>
                            <a:pt x="36264" y="107429"/>
                            <a:pt x="38530" y="102890"/>
                          </a:cubicBezTo>
                          <a:cubicBezTo>
                            <a:pt x="40797" y="102890"/>
                            <a:pt x="40797" y="98350"/>
                            <a:pt x="38530" y="96081"/>
                          </a:cubicBezTo>
                          <a:cubicBezTo>
                            <a:pt x="38530" y="98350"/>
                            <a:pt x="36264" y="100620"/>
                            <a:pt x="36264" y="100620"/>
                          </a:cubicBezTo>
                          <a:cubicBezTo>
                            <a:pt x="31731" y="96081"/>
                            <a:pt x="31731" y="91541"/>
                            <a:pt x="29464" y="87002"/>
                          </a:cubicBezTo>
                          <a:cubicBezTo>
                            <a:pt x="29464" y="84732"/>
                            <a:pt x="24931" y="80193"/>
                            <a:pt x="22665" y="77924"/>
                          </a:cubicBezTo>
                          <a:cubicBezTo>
                            <a:pt x="18132" y="73384"/>
                            <a:pt x="13599" y="71115"/>
                            <a:pt x="11332" y="66575"/>
                          </a:cubicBezTo>
                          <a:cubicBezTo>
                            <a:pt x="9066" y="64306"/>
                            <a:pt x="11332" y="62036"/>
                            <a:pt x="9066" y="59767"/>
                          </a:cubicBezTo>
                          <a:cubicBezTo>
                            <a:pt x="9066" y="57497"/>
                            <a:pt x="6799" y="55227"/>
                            <a:pt x="6799" y="52958"/>
                          </a:cubicBezTo>
                          <a:cubicBezTo>
                            <a:pt x="2266" y="52958"/>
                            <a:pt x="0" y="48418"/>
                            <a:pt x="0" y="46149"/>
                          </a:cubicBezTo>
                          <a:cubicBezTo>
                            <a:pt x="2266" y="48418"/>
                            <a:pt x="6799" y="48418"/>
                            <a:pt x="9066" y="46149"/>
                          </a:cubicBezTo>
                          <a:cubicBezTo>
                            <a:pt x="11332" y="43879"/>
                            <a:pt x="6799" y="37070"/>
                            <a:pt x="6799" y="34801"/>
                          </a:cubicBezTo>
                          <a:cubicBezTo>
                            <a:pt x="6799" y="32531"/>
                            <a:pt x="9066" y="32531"/>
                            <a:pt x="9066" y="30261"/>
                          </a:cubicBezTo>
                          <a:cubicBezTo>
                            <a:pt x="9066" y="27992"/>
                            <a:pt x="6799" y="25722"/>
                            <a:pt x="6799" y="23452"/>
                          </a:cubicBezTo>
                          <a:cubicBezTo>
                            <a:pt x="6799" y="21183"/>
                            <a:pt x="11332" y="16644"/>
                            <a:pt x="11332" y="16644"/>
                          </a:cubicBezTo>
                          <a:cubicBezTo>
                            <a:pt x="15865" y="16644"/>
                            <a:pt x="18132" y="18913"/>
                            <a:pt x="22665" y="18913"/>
                          </a:cubicBezTo>
                          <a:cubicBezTo>
                            <a:pt x="24931" y="16644"/>
                            <a:pt x="24931" y="16644"/>
                            <a:pt x="27198" y="16644"/>
                          </a:cubicBezTo>
                          <a:cubicBezTo>
                            <a:pt x="29464" y="16644"/>
                            <a:pt x="29464" y="16644"/>
                            <a:pt x="31731" y="14374"/>
                          </a:cubicBezTo>
                          <a:cubicBezTo>
                            <a:pt x="31731" y="12104"/>
                            <a:pt x="29464" y="9835"/>
                            <a:pt x="33997" y="7565"/>
                          </a:cubicBezTo>
                          <a:cubicBezTo>
                            <a:pt x="36264" y="7565"/>
                            <a:pt x="45330" y="9835"/>
                            <a:pt x="40797" y="3026"/>
                          </a:cubicBezTo>
                          <a:cubicBezTo>
                            <a:pt x="41930" y="3026"/>
                            <a:pt x="44763" y="1324"/>
                            <a:pt x="47313" y="473"/>
                          </a:cubicBezTo>
                          <a:close/>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209" name="Laos">
                      <a:extLst>
                        <a:ext uri="{FF2B5EF4-FFF2-40B4-BE49-F238E27FC236}">
                          <a16:creationId xmlns:a16="http://schemas.microsoft.com/office/drawing/2014/main" id="{CF7C94F9-1143-23D6-6D17-CD525AE04782}"/>
                        </a:ext>
                      </a:extLst>
                    </p:cNvPr>
                    <p:cNvSpPr>
                      <a:spLocks/>
                    </p:cNvSpPr>
                    <p:nvPr/>
                  </p:nvSpPr>
                  <p:spPr bwMode="auto">
                    <a:xfrm>
                      <a:off x="5956500" y="2784277"/>
                      <a:ext cx="183214" cy="215973"/>
                    </a:xfrm>
                    <a:custGeom>
                      <a:avLst/>
                      <a:gdLst/>
                      <a:ahLst/>
                      <a:cxnLst>
                        <a:cxn ang="0">
                          <a:pos x="1" y="19"/>
                        </a:cxn>
                        <a:cxn ang="0">
                          <a:pos x="4" y="15"/>
                        </a:cxn>
                        <a:cxn ang="0">
                          <a:pos x="8" y="10"/>
                        </a:cxn>
                        <a:cxn ang="0">
                          <a:pos x="14" y="15"/>
                        </a:cxn>
                        <a:cxn ang="0">
                          <a:pos x="14" y="10"/>
                        </a:cxn>
                        <a:cxn ang="0">
                          <a:pos x="11" y="4"/>
                        </a:cxn>
                        <a:cxn ang="0">
                          <a:pos x="13" y="1"/>
                        </a:cxn>
                        <a:cxn ang="0">
                          <a:pos x="17" y="3"/>
                        </a:cxn>
                        <a:cxn ang="0">
                          <a:pos x="23" y="9"/>
                        </a:cxn>
                        <a:cxn ang="0">
                          <a:pos x="25" y="10"/>
                        </a:cxn>
                        <a:cxn ang="0">
                          <a:pos x="30" y="19"/>
                        </a:cxn>
                        <a:cxn ang="0">
                          <a:pos x="35" y="17"/>
                        </a:cxn>
                        <a:cxn ang="0">
                          <a:pos x="42" y="21"/>
                        </a:cxn>
                        <a:cxn ang="0">
                          <a:pos x="43" y="24"/>
                        </a:cxn>
                        <a:cxn ang="0">
                          <a:pos x="44" y="29"/>
                        </a:cxn>
                        <a:cxn ang="0">
                          <a:pos x="38" y="31"/>
                        </a:cxn>
                        <a:cxn ang="0">
                          <a:pos x="38" y="35"/>
                        </a:cxn>
                        <a:cxn ang="0">
                          <a:pos x="45" y="40"/>
                        </a:cxn>
                        <a:cxn ang="0">
                          <a:pos x="51" y="45"/>
                        </a:cxn>
                        <a:cxn ang="0">
                          <a:pos x="55" y="49"/>
                        </a:cxn>
                        <a:cxn ang="0">
                          <a:pos x="62" y="57"/>
                        </a:cxn>
                        <a:cxn ang="0">
                          <a:pos x="66" y="64"/>
                        </a:cxn>
                        <a:cxn ang="0">
                          <a:pos x="69" y="65"/>
                        </a:cxn>
                        <a:cxn ang="0">
                          <a:pos x="75" y="70"/>
                        </a:cxn>
                        <a:cxn ang="0">
                          <a:pos x="76" y="76"/>
                        </a:cxn>
                        <a:cxn ang="0">
                          <a:pos x="77" y="81"/>
                        </a:cxn>
                        <a:cxn ang="0">
                          <a:pos x="73" y="88"/>
                        </a:cxn>
                        <a:cxn ang="0">
                          <a:pos x="67" y="87"/>
                        </a:cxn>
                        <a:cxn ang="0">
                          <a:pos x="64" y="88"/>
                        </a:cxn>
                        <a:cxn ang="0">
                          <a:pos x="65" y="92"/>
                        </a:cxn>
                        <a:cxn ang="0">
                          <a:pos x="58" y="90"/>
                        </a:cxn>
                        <a:cxn ang="0">
                          <a:pos x="59" y="85"/>
                        </a:cxn>
                        <a:cxn ang="0">
                          <a:pos x="57" y="79"/>
                        </a:cxn>
                        <a:cxn ang="0">
                          <a:pos x="57" y="77"/>
                        </a:cxn>
                        <a:cxn ang="0">
                          <a:pos x="56" y="70"/>
                        </a:cxn>
                        <a:cxn ang="0">
                          <a:pos x="46" y="53"/>
                        </a:cxn>
                        <a:cxn ang="0">
                          <a:pos x="33" y="46"/>
                        </a:cxn>
                        <a:cxn ang="0">
                          <a:pos x="29" y="50"/>
                        </a:cxn>
                        <a:cxn ang="0">
                          <a:pos x="22" y="47"/>
                        </a:cxn>
                        <a:cxn ang="0">
                          <a:pos x="15" y="54"/>
                        </a:cxn>
                        <a:cxn ang="0">
                          <a:pos x="12" y="50"/>
                        </a:cxn>
                        <a:cxn ang="0">
                          <a:pos x="12" y="44"/>
                        </a:cxn>
                        <a:cxn ang="0">
                          <a:pos x="13" y="41"/>
                        </a:cxn>
                        <a:cxn ang="0">
                          <a:pos x="9" y="32"/>
                        </a:cxn>
                        <a:cxn ang="0">
                          <a:pos x="7" y="33"/>
                        </a:cxn>
                        <a:cxn ang="0">
                          <a:pos x="5" y="26"/>
                        </a:cxn>
                        <a:cxn ang="0">
                          <a:pos x="0" y="25"/>
                        </a:cxn>
                      </a:cxnLst>
                      <a:rect l="0" t="0" r="r" b="b"/>
                      <a:pathLst>
                        <a:path w="79" h="93">
                          <a:moveTo>
                            <a:pt x="0" y="24"/>
                          </a:moveTo>
                          <a:cubicBezTo>
                            <a:pt x="0" y="22"/>
                            <a:pt x="0" y="20"/>
                            <a:pt x="1" y="19"/>
                          </a:cubicBezTo>
                          <a:cubicBezTo>
                            <a:pt x="2" y="18"/>
                            <a:pt x="4" y="19"/>
                            <a:pt x="4" y="18"/>
                          </a:cubicBezTo>
                          <a:cubicBezTo>
                            <a:pt x="2" y="19"/>
                            <a:pt x="4" y="16"/>
                            <a:pt x="4" y="15"/>
                          </a:cubicBezTo>
                          <a:cubicBezTo>
                            <a:pt x="5" y="14"/>
                            <a:pt x="4" y="14"/>
                            <a:pt x="6" y="13"/>
                          </a:cubicBezTo>
                          <a:cubicBezTo>
                            <a:pt x="6" y="13"/>
                            <a:pt x="8" y="12"/>
                            <a:pt x="8" y="10"/>
                          </a:cubicBezTo>
                          <a:cubicBezTo>
                            <a:pt x="9" y="11"/>
                            <a:pt x="9" y="15"/>
                            <a:pt x="11" y="14"/>
                          </a:cubicBezTo>
                          <a:cubicBezTo>
                            <a:pt x="13" y="13"/>
                            <a:pt x="13" y="15"/>
                            <a:pt x="14" y="15"/>
                          </a:cubicBezTo>
                          <a:cubicBezTo>
                            <a:pt x="16" y="15"/>
                            <a:pt x="14" y="12"/>
                            <a:pt x="14" y="12"/>
                          </a:cubicBezTo>
                          <a:cubicBezTo>
                            <a:pt x="13" y="11"/>
                            <a:pt x="15" y="11"/>
                            <a:pt x="14" y="10"/>
                          </a:cubicBezTo>
                          <a:cubicBezTo>
                            <a:pt x="13" y="9"/>
                            <a:pt x="13" y="8"/>
                            <a:pt x="12" y="7"/>
                          </a:cubicBezTo>
                          <a:cubicBezTo>
                            <a:pt x="11" y="6"/>
                            <a:pt x="11" y="4"/>
                            <a:pt x="11" y="4"/>
                          </a:cubicBezTo>
                          <a:cubicBezTo>
                            <a:pt x="11" y="3"/>
                            <a:pt x="11" y="0"/>
                            <a:pt x="12" y="1"/>
                          </a:cubicBezTo>
                          <a:cubicBezTo>
                            <a:pt x="13" y="1"/>
                            <a:pt x="13" y="1"/>
                            <a:pt x="13" y="1"/>
                          </a:cubicBezTo>
                          <a:cubicBezTo>
                            <a:pt x="16" y="1"/>
                            <a:pt x="14" y="1"/>
                            <a:pt x="16" y="1"/>
                          </a:cubicBezTo>
                          <a:cubicBezTo>
                            <a:pt x="16" y="2"/>
                            <a:pt x="16" y="2"/>
                            <a:pt x="17" y="3"/>
                          </a:cubicBezTo>
                          <a:cubicBezTo>
                            <a:pt x="18" y="4"/>
                            <a:pt x="19" y="5"/>
                            <a:pt x="20" y="6"/>
                          </a:cubicBezTo>
                          <a:cubicBezTo>
                            <a:pt x="21" y="7"/>
                            <a:pt x="21" y="9"/>
                            <a:pt x="23" y="9"/>
                          </a:cubicBezTo>
                          <a:cubicBezTo>
                            <a:pt x="24" y="9"/>
                            <a:pt x="23" y="7"/>
                            <a:pt x="23" y="8"/>
                          </a:cubicBezTo>
                          <a:cubicBezTo>
                            <a:pt x="24" y="9"/>
                            <a:pt x="24" y="9"/>
                            <a:pt x="25" y="10"/>
                          </a:cubicBezTo>
                          <a:cubicBezTo>
                            <a:pt x="25" y="11"/>
                            <a:pt x="24" y="12"/>
                            <a:pt x="25" y="14"/>
                          </a:cubicBezTo>
                          <a:cubicBezTo>
                            <a:pt x="25" y="16"/>
                            <a:pt x="28" y="19"/>
                            <a:pt x="30" y="19"/>
                          </a:cubicBezTo>
                          <a:cubicBezTo>
                            <a:pt x="31" y="19"/>
                            <a:pt x="32" y="19"/>
                            <a:pt x="33" y="20"/>
                          </a:cubicBezTo>
                          <a:cubicBezTo>
                            <a:pt x="34" y="19"/>
                            <a:pt x="34" y="18"/>
                            <a:pt x="35" y="17"/>
                          </a:cubicBezTo>
                          <a:cubicBezTo>
                            <a:pt x="37" y="17"/>
                            <a:pt x="38" y="18"/>
                            <a:pt x="39" y="19"/>
                          </a:cubicBezTo>
                          <a:cubicBezTo>
                            <a:pt x="40" y="19"/>
                            <a:pt x="41" y="20"/>
                            <a:pt x="42" y="21"/>
                          </a:cubicBezTo>
                          <a:cubicBezTo>
                            <a:pt x="42" y="22"/>
                            <a:pt x="40" y="22"/>
                            <a:pt x="40" y="23"/>
                          </a:cubicBezTo>
                          <a:cubicBezTo>
                            <a:pt x="41" y="23"/>
                            <a:pt x="42" y="23"/>
                            <a:pt x="43" y="24"/>
                          </a:cubicBezTo>
                          <a:cubicBezTo>
                            <a:pt x="43" y="25"/>
                            <a:pt x="43" y="25"/>
                            <a:pt x="44" y="25"/>
                          </a:cubicBezTo>
                          <a:cubicBezTo>
                            <a:pt x="47" y="25"/>
                            <a:pt x="46" y="28"/>
                            <a:pt x="44" y="29"/>
                          </a:cubicBezTo>
                          <a:cubicBezTo>
                            <a:pt x="46" y="29"/>
                            <a:pt x="43" y="31"/>
                            <a:pt x="41" y="31"/>
                          </a:cubicBezTo>
                          <a:cubicBezTo>
                            <a:pt x="41" y="31"/>
                            <a:pt x="38" y="30"/>
                            <a:pt x="38" y="31"/>
                          </a:cubicBezTo>
                          <a:cubicBezTo>
                            <a:pt x="37" y="32"/>
                            <a:pt x="39" y="33"/>
                            <a:pt x="39" y="33"/>
                          </a:cubicBezTo>
                          <a:cubicBezTo>
                            <a:pt x="38" y="34"/>
                            <a:pt x="36" y="34"/>
                            <a:pt x="38" y="35"/>
                          </a:cubicBezTo>
                          <a:cubicBezTo>
                            <a:pt x="39" y="36"/>
                            <a:pt x="39" y="35"/>
                            <a:pt x="40" y="36"/>
                          </a:cubicBezTo>
                          <a:cubicBezTo>
                            <a:pt x="41" y="37"/>
                            <a:pt x="44" y="39"/>
                            <a:pt x="45" y="40"/>
                          </a:cubicBezTo>
                          <a:cubicBezTo>
                            <a:pt x="46" y="41"/>
                            <a:pt x="51" y="41"/>
                            <a:pt x="50" y="42"/>
                          </a:cubicBezTo>
                          <a:cubicBezTo>
                            <a:pt x="50" y="42"/>
                            <a:pt x="49" y="43"/>
                            <a:pt x="51" y="45"/>
                          </a:cubicBezTo>
                          <a:cubicBezTo>
                            <a:pt x="51" y="46"/>
                            <a:pt x="52" y="47"/>
                            <a:pt x="53" y="47"/>
                          </a:cubicBezTo>
                          <a:cubicBezTo>
                            <a:pt x="54" y="47"/>
                            <a:pt x="55" y="49"/>
                            <a:pt x="55" y="49"/>
                          </a:cubicBezTo>
                          <a:cubicBezTo>
                            <a:pt x="56" y="51"/>
                            <a:pt x="57" y="52"/>
                            <a:pt x="58" y="53"/>
                          </a:cubicBezTo>
                          <a:cubicBezTo>
                            <a:pt x="59" y="54"/>
                            <a:pt x="62" y="56"/>
                            <a:pt x="62" y="57"/>
                          </a:cubicBezTo>
                          <a:cubicBezTo>
                            <a:pt x="63" y="57"/>
                            <a:pt x="65" y="60"/>
                            <a:pt x="65" y="60"/>
                          </a:cubicBezTo>
                          <a:cubicBezTo>
                            <a:pt x="66" y="61"/>
                            <a:pt x="66" y="63"/>
                            <a:pt x="66" y="64"/>
                          </a:cubicBezTo>
                          <a:cubicBezTo>
                            <a:pt x="66" y="64"/>
                            <a:pt x="67" y="65"/>
                            <a:pt x="67" y="65"/>
                          </a:cubicBezTo>
                          <a:cubicBezTo>
                            <a:pt x="68" y="66"/>
                            <a:pt x="68" y="65"/>
                            <a:pt x="69" y="65"/>
                          </a:cubicBezTo>
                          <a:cubicBezTo>
                            <a:pt x="70" y="66"/>
                            <a:pt x="70" y="67"/>
                            <a:pt x="71" y="67"/>
                          </a:cubicBezTo>
                          <a:cubicBezTo>
                            <a:pt x="71" y="67"/>
                            <a:pt x="73" y="69"/>
                            <a:pt x="75" y="70"/>
                          </a:cubicBezTo>
                          <a:cubicBezTo>
                            <a:pt x="75" y="71"/>
                            <a:pt x="73" y="71"/>
                            <a:pt x="73" y="72"/>
                          </a:cubicBezTo>
                          <a:cubicBezTo>
                            <a:pt x="72" y="74"/>
                            <a:pt x="76" y="75"/>
                            <a:pt x="76" y="76"/>
                          </a:cubicBezTo>
                          <a:cubicBezTo>
                            <a:pt x="77" y="77"/>
                            <a:pt x="79" y="78"/>
                            <a:pt x="78" y="80"/>
                          </a:cubicBezTo>
                          <a:cubicBezTo>
                            <a:pt x="78" y="80"/>
                            <a:pt x="77" y="81"/>
                            <a:pt x="77" y="81"/>
                          </a:cubicBezTo>
                          <a:cubicBezTo>
                            <a:pt x="77" y="82"/>
                            <a:pt x="77" y="82"/>
                            <a:pt x="78" y="83"/>
                          </a:cubicBezTo>
                          <a:cubicBezTo>
                            <a:pt x="78" y="85"/>
                            <a:pt x="76" y="87"/>
                            <a:pt x="73" y="88"/>
                          </a:cubicBezTo>
                          <a:cubicBezTo>
                            <a:pt x="70" y="88"/>
                            <a:pt x="69" y="86"/>
                            <a:pt x="68" y="86"/>
                          </a:cubicBezTo>
                          <a:cubicBezTo>
                            <a:pt x="67" y="85"/>
                            <a:pt x="68" y="86"/>
                            <a:pt x="67" y="87"/>
                          </a:cubicBezTo>
                          <a:cubicBezTo>
                            <a:pt x="67" y="87"/>
                            <a:pt x="66" y="86"/>
                            <a:pt x="66" y="87"/>
                          </a:cubicBezTo>
                          <a:cubicBezTo>
                            <a:pt x="66" y="88"/>
                            <a:pt x="65" y="88"/>
                            <a:pt x="64" y="88"/>
                          </a:cubicBezTo>
                          <a:cubicBezTo>
                            <a:pt x="64" y="88"/>
                            <a:pt x="63" y="88"/>
                            <a:pt x="64" y="89"/>
                          </a:cubicBezTo>
                          <a:cubicBezTo>
                            <a:pt x="64" y="90"/>
                            <a:pt x="66" y="91"/>
                            <a:pt x="65" y="92"/>
                          </a:cubicBezTo>
                          <a:cubicBezTo>
                            <a:pt x="64" y="93"/>
                            <a:pt x="63" y="92"/>
                            <a:pt x="62" y="91"/>
                          </a:cubicBezTo>
                          <a:cubicBezTo>
                            <a:pt x="61" y="91"/>
                            <a:pt x="59" y="90"/>
                            <a:pt x="58" y="90"/>
                          </a:cubicBezTo>
                          <a:cubicBezTo>
                            <a:pt x="57" y="90"/>
                            <a:pt x="55" y="89"/>
                            <a:pt x="56" y="88"/>
                          </a:cubicBezTo>
                          <a:cubicBezTo>
                            <a:pt x="57" y="87"/>
                            <a:pt x="59" y="86"/>
                            <a:pt x="59" y="85"/>
                          </a:cubicBezTo>
                          <a:cubicBezTo>
                            <a:pt x="58" y="84"/>
                            <a:pt x="59" y="82"/>
                            <a:pt x="58" y="81"/>
                          </a:cubicBezTo>
                          <a:cubicBezTo>
                            <a:pt x="58" y="81"/>
                            <a:pt x="57" y="80"/>
                            <a:pt x="57" y="79"/>
                          </a:cubicBezTo>
                          <a:cubicBezTo>
                            <a:pt x="58" y="79"/>
                            <a:pt x="58" y="78"/>
                            <a:pt x="58" y="77"/>
                          </a:cubicBezTo>
                          <a:cubicBezTo>
                            <a:pt x="57" y="77"/>
                            <a:pt x="57" y="77"/>
                            <a:pt x="57" y="77"/>
                          </a:cubicBezTo>
                          <a:cubicBezTo>
                            <a:pt x="57" y="76"/>
                            <a:pt x="60" y="75"/>
                            <a:pt x="58" y="74"/>
                          </a:cubicBezTo>
                          <a:cubicBezTo>
                            <a:pt x="57" y="73"/>
                            <a:pt x="54" y="72"/>
                            <a:pt x="56" y="70"/>
                          </a:cubicBezTo>
                          <a:cubicBezTo>
                            <a:pt x="53" y="69"/>
                            <a:pt x="49" y="67"/>
                            <a:pt x="48" y="63"/>
                          </a:cubicBezTo>
                          <a:cubicBezTo>
                            <a:pt x="48" y="59"/>
                            <a:pt x="49" y="55"/>
                            <a:pt x="46" y="53"/>
                          </a:cubicBezTo>
                          <a:cubicBezTo>
                            <a:pt x="43" y="51"/>
                            <a:pt x="42" y="46"/>
                            <a:pt x="38" y="45"/>
                          </a:cubicBezTo>
                          <a:cubicBezTo>
                            <a:pt x="37" y="45"/>
                            <a:pt x="31" y="43"/>
                            <a:pt x="33" y="46"/>
                          </a:cubicBezTo>
                          <a:cubicBezTo>
                            <a:pt x="32" y="46"/>
                            <a:pt x="32" y="49"/>
                            <a:pt x="31" y="49"/>
                          </a:cubicBezTo>
                          <a:cubicBezTo>
                            <a:pt x="30" y="49"/>
                            <a:pt x="29" y="49"/>
                            <a:pt x="29" y="50"/>
                          </a:cubicBezTo>
                          <a:cubicBezTo>
                            <a:pt x="27" y="51"/>
                            <a:pt x="27" y="49"/>
                            <a:pt x="26" y="49"/>
                          </a:cubicBezTo>
                          <a:cubicBezTo>
                            <a:pt x="24" y="49"/>
                            <a:pt x="23" y="48"/>
                            <a:pt x="22" y="47"/>
                          </a:cubicBezTo>
                          <a:cubicBezTo>
                            <a:pt x="21" y="46"/>
                            <a:pt x="21" y="49"/>
                            <a:pt x="19" y="48"/>
                          </a:cubicBezTo>
                          <a:cubicBezTo>
                            <a:pt x="19" y="51"/>
                            <a:pt x="16" y="52"/>
                            <a:pt x="15" y="54"/>
                          </a:cubicBezTo>
                          <a:cubicBezTo>
                            <a:pt x="14" y="55"/>
                            <a:pt x="13" y="54"/>
                            <a:pt x="12" y="54"/>
                          </a:cubicBezTo>
                          <a:cubicBezTo>
                            <a:pt x="12" y="53"/>
                            <a:pt x="12" y="51"/>
                            <a:pt x="12" y="50"/>
                          </a:cubicBezTo>
                          <a:cubicBezTo>
                            <a:pt x="13" y="49"/>
                            <a:pt x="13" y="48"/>
                            <a:pt x="13" y="47"/>
                          </a:cubicBezTo>
                          <a:cubicBezTo>
                            <a:pt x="13" y="46"/>
                            <a:pt x="12" y="44"/>
                            <a:pt x="12" y="44"/>
                          </a:cubicBezTo>
                          <a:cubicBezTo>
                            <a:pt x="12" y="43"/>
                            <a:pt x="13" y="43"/>
                            <a:pt x="13" y="42"/>
                          </a:cubicBezTo>
                          <a:cubicBezTo>
                            <a:pt x="13" y="42"/>
                            <a:pt x="13" y="42"/>
                            <a:pt x="13" y="41"/>
                          </a:cubicBezTo>
                          <a:cubicBezTo>
                            <a:pt x="13" y="39"/>
                            <a:pt x="14" y="38"/>
                            <a:pt x="13" y="36"/>
                          </a:cubicBezTo>
                          <a:cubicBezTo>
                            <a:pt x="12" y="34"/>
                            <a:pt x="13" y="31"/>
                            <a:pt x="9" y="32"/>
                          </a:cubicBezTo>
                          <a:cubicBezTo>
                            <a:pt x="9" y="32"/>
                            <a:pt x="8" y="32"/>
                            <a:pt x="8" y="32"/>
                          </a:cubicBezTo>
                          <a:cubicBezTo>
                            <a:pt x="8" y="33"/>
                            <a:pt x="8" y="32"/>
                            <a:pt x="7" y="33"/>
                          </a:cubicBezTo>
                          <a:cubicBezTo>
                            <a:pt x="5" y="33"/>
                            <a:pt x="5" y="32"/>
                            <a:pt x="4" y="31"/>
                          </a:cubicBezTo>
                          <a:cubicBezTo>
                            <a:pt x="3" y="29"/>
                            <a:pt x="6" y="27"/>
                            <a:pt x="5" y="26"/>
                          </a:cubicBezTo>
                          <a:cubicBezTo>
                            <a:pt x="4" y="25"/>
                            <a:pt x="3" y="24"/>
                            <a:pt x="2" y="23"/>
                          </a:cubicBezTo>
                          <a:cubicBezTo>
                            <a:pt x="1" y="23"/>
                            <a:pt x="1" y="24"/>
                            <a:pt x="0" y="25"/>
                          </a:cubicBezTo>
                          <a:cubicBezTo>
                            <a:pt x="0" y="24"/>
                            <a:pt x="0" y="24"/>
                            <a:pt x="0" y="24"/>
                          </a:cubicBezTo>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grpSp>
                  <p:nvGrpSpPr>
                    <p:cNvPr id="210" name="Group 200">
                      <a:extLst>
                        <a:ext uri="{FF2B5EF4-FFF2-40B4-BE49-F238E27FC236}">
                          <a16:creationId xmlns:a16="http://schemas.microsoft.com/office/drawing/2014/main" id="{CCD01145-69C4-4FAB-E98B-1976EB0D9A22}"/>
                        </a:ext>
                      </a:extLst>
                    </p:cNvPr>
                    <p:cNvGrpSpPr/>
                    <p:nvPr/>
                  </p:nvGrpSpPr>
                  <p:grpSpPr>
                    <a:xfrm>
                      <a:off x="5781779" y="2636248"/>
                      <a:ext cx="1679895" cy="1880554"/>
                      <a:chOff x="5781779" y="2636248"/>
                      <a:chExt cx="1679895" cy="1880554"/>
                    </a:xfrm>
                    <a:grpFill/>
                  </p:grpSpPr>
                  <p:sp>
                    <p:nvSpPr>
                      <p:cNvPr id="211" name="Vietnam">
                        <a:extLst>
                          <a:ext uri="{FF2B5EF4-FFF2-40B4-BE49-F238E27FC236}">
                            <a16:creationId xmlns:a16="http://schemas.microsoft.com/office/drawing/2014/main" id="{EE83A22F-A2A5-614B-6136-2732EBA7DD47}"/>
                          </a:ext>
                        </a:extLst>
                      </p:cNvPr>
                      <p:cNvSpPr>
                        <a:spLocks/>
                      </p:cNvSpPr>
                      <p:nvPr/>
                    </p:nvSpPr>
                    <p:spPr bwMode="auto">
                      <a:xfrm>
                        <a:off x="5992900" y="2763649"/>
                        <a:ext cx="188068" cy="369592"/>
                      </a:xfrm>
                      <a:custGeom>
                        <a:avLst/>
                        <a:gdLst>
                          <a:gd name="connsiteX0" fmla="*/ 182270 w 184548"/>
                          <a:gd name="connsiteY0" fmla="*/ 275525 h 362674"/>
                          <a:gd name="connsiteX1" fmla="*/ 182270 w 184548"/>
                          <a:gd name="connsiteY1" fmla="*/ 280080 h 362674"/>
                          <a:gd name="connsiteX2" fmla="*/ 181700 w 184548"/>
                          <a:gd name="connsiteY2" fmla="*/ 277233 h 362674"/>
                          <a:gd name="connsiteX3" fmla="*/ 63795 w 184548"/>
                          <a:gd name="connsiteY3" fmla="*/ 0 h 362674"/>
                          <a:gd name="connsiteX4" fmla="*/ 75186 w 184548"/>
                          <a:gd name="connsiteY4" fmla="*/ 9108 h 362674"/>
                          <a:gd name="connsiteX5" fmla="*/ 84300 w 184548"/>
                          <a:gd name="connsiteY5" fmla="*/ 11385 h 362674"/>
                          <a:gd name="connsiteX6" fmla="*/ 93413 w 184548"/>
                          <a:gd name="connsiteY6" fmla="*/ 13663 h 362674"/>
                          <a:gd name="connsiteX7" fmla="*/ 93413 w 184548"/>
                          <a:gd name="connsiteY7" fmla="*/ 20494 h 362674"/>
                          <a:gd name="connsiteX8" fmla="*/ 97970 w 184548"/>
                          <a:gd name="connsiteY8" fmla="*/ 34156 h 362674"/>
                          <a:gd name="connsiteX9" fmla="*/ 104805 w 184548"/>
                          <a:gd name="connsiteY9" fmla="*/ 36433 h 362674"/>
                          <a:gd name="connsiteX10" fmla="*/ 113919 w 184548"/>
                          <a:gd name="connsiteY10" fmla="*/ 43264 h 362674"/>
                          <a:gd name="connsiteX11" fmla="*/ 116197 w 184548"/>
                          <a:gd name="connsiteY11" fmla="*/ 43264 h 362674"/>
                          <a:gd name="connsiteX12" fmla="*/ 120754 w 184548"/>
                          <a:gd name="connsiteY12" fmla="*/ 43264 h 362674"/>
                          <a:gd name="connsiteX13" fmla="*/ 129867 w 184548"/>
                          <a:gd name="connsiteY13" fmla="*/ 47819 h 362674"/>
                          <a:gd name="connsiteX14" fmla="*/ 123032 w 184548"/>
                          <a:gd name="connsiteY14" fmla="*/ 45542 h 362674"/>
                          <a:gd name="connsiteX15" fmla="*/ 116197 w 184548"/>
                          <a:gd name="connsiteY15" fmla="*/ 52373 h 362674"/>
                          <a:gd name="connsiteX16" fmla="*/ 113919 w 184548"/>
                          <a:gd name="connsiteY16" fmla="*/ 56927 h 362674"/>
                          <a:gd name="connsiteX17" fmla="*/ 109362 w 184548"/>
                          <a:gd name="connsiteY17" fmla="*/ 56927 h 362674"/>
                          <a:gd name="connsiteX18" fmla="*/ 104805 w 184548"/>
                          <a:gd name="connsiteY18" fmla="*/ 61481 h 362674"/>
                          <a:gd name="connsiteX19" fmla="*/ 100249 w 184548"/>
                          <a:gd name="connsiteY19" fmla="*/ 56927 h 362674"/>
                          <a:gd name="connsiteX20" fmla="*/ 102527 w 184548"/>
                          <a:gd name="connsiteY20" fmla="*/ 59204 h 362674"/>
                          <a:gd name="connsiteX21" fmla="*/ 104805 w 184548"/>
                          <a:gd name="connsiteY21" fmla="*/ 66035 h 362674"/>
                          <a:gd name="connsiteX22" fmla="*/ 100249 w 184548"/>
                          <a:gd name="connsiteY22" fmla="*/ 66035 h 362674"/>
                          <a:gd name="connsiteX23" fmla="*/ 100249 w 184548"/>
                          <a:gd name="connsiteY23" fmla="*/ 75143 h 362674"/>
                          <a:gd name="connsiteX24" fmla="*/ 93413 w 184548"/>
                          <a:gd name="connsiteY24" fmla="*/ 81975 h 362674"/>
                          <a:gd name="connsiteX25" fmla="*/ 86578 w 184548"/>
                          <a:gd name="connsiteY25" fmla="*/ 93360 h 362674"/>
                          <a:gd name="connsiteX26" fmla="*/ 86578 w 184548"/>
                          <a:gd name="connsiteY26" fmla="*/ 104745 h 362674"/>
                          <a:gd name="connsiteX27" fmla="*/ 88857 w 184548"/>
                          <a:gd name="connsiteY27" fmla="*/ 116131 h 362674"/>
                          <a:gd name="connsiteX28" fmla="*/ 93413 w 184548"/>
                          <a:gd name="connsiteY28" fmla="*/ 118408 h 362674"/>
                          <a:gd name="connsiteX29" fmla="*/ 97970 w 184548"/>
                          <a:gd name="connsiteY29" fmla="*/ 125239 h 362674"/>
                          <a:gd name="connsiteX30" fmla="*/ 104805 w 184548"/>
                          <a:gd name="connsiteY30" fmla="*/ 129793 h 362674"/>
                          <a:gd name="connsiteX31" fmla="*/ 107653 w 184548"/>
                          <a:gd name="connsiteY31" fmla="*/ 133493 h 362674"/>
                          <a:gd name="connsiteX32" fmla="*/ 107084 w 184548"/>
                          <a:gd name="connsiteY32" fmla="*/ 138901 h 362674"/>
                          <a:gd name="connsiteX33" fmla="*/ 116197 w 184548"/>
                          <a:gd name="connsiteY33" fmla="*/ 148010 h 362674"/>
                          <a:gd name="connsiteX34" fmla="*/ 125311 w 184548"/>
                          <a:gd name="connsiteY34" fmla="*/ 159395 h 362674"/>
                          <a:gd name="connsiteX35" fmla="*/ 134424 w 184548"/>
                          <a:gd name="connsiteY35" fmla="*/ 166226 h 362674"/>
                          <a:gd name="connsiteX36" fmla="*/ 141259 w 184548"/>
                          <a:gd name="connsiteY36" fmla="*/ 173057 h 362674"/>
                          <a:gd name="connsiteX37" fmla="*/ 150373 w 184548"/>
                          <a:gd name="connsiteY37" fmla="*/ 179889 h 362674"/>
                          <a:gd name="connsiteX38" fmla="*/ 152651 w 184548"/>
                          <a:gd name="connsiteY38" fmla="*/ 177611 h 362674"/>
                          <a:gd name="connsiteX39" fmla="*/ 164043 w 184548"/>
                          <a:gd name="connsiteY39" fmla="*/ 198105 h 362674"/>
                          <a:gd name="connsiteX40" fmla="*/ 168600 w 184548"/>
                          <a:gd name="connsiteY40" fmla="*/ 198105 h 362674"/>
                          <a:gd name="connsiteX41" fmla="*/ 166321 w 184548"/>
                          <a:gd name="connsiteY41" fmla="*/ 200382 h 362674"/>
                          <a:gd name="connsiteX42" fmla="*/ 173156 w 184548"/>
                          <a:gd name="connsiteY42" fmla="*/ 211768 h 362674"/>
                          <a:gd name="connsiteX43" fmla="*/ 177713 w 184548"/>
                          <a:gd name="connsiteY43" fmla="*/ 225430 h 362674"/>
                          <a:gd name="connsiteX44" fmla="*/ 179992 w 184548"/>
                          <a:gd name="connsiteY44" fmla="*/ 232261 h 362674"/>
                          <a:gd name="connsiteX45" fmla="*/ 177713 w 184548"/>
                          <a:gd name="connsiteY45" fmla="*/ 232261 h 362674"/>
                          <a:gd name="connsiteX46" fmla="*/ 177713 w 184548"/>
                          <a:gd name="connsiteY46" fmla="*/ 239092 h 362674"/>
                          <a:gd name="connsiteX47" fmla="*/ 182270 w 184548"/>
                          <a:gd name="connsiteY47" fmla="*/ 243646 h 362674"/>
                          <a:gd name="connsiteX48" fmla="*/ 182270 w 184548"/>
                          <a:gd name="connsiteY48" fmla="*/ 248201 h 362674"/>
                          <a:gd name="connsiteX49" fmla="*/ 184548 w 184548"/>
                          <a:gd name="connsiteY49" fmla="*/ 255032 h 362674"/>
                          <a:gd name="connsiteX50" fmla="*/ 184548 w 184548"/>
                          <a:gd name="connsiteY50" fmla="*/ 264140 h 362674"/>
                          <a:gd name="connsiteX51" fmla="*/ 184547 w 184548"/>
                          <a:gd name="connsiteY51" fmla="*/ 264138 h 362674"/>
                          <a:gd name="connsiteX52" fmla="*/ 182270 w 184548"/>
                          <a:gd name="connsiteY52" fmla="*/ 259586 h 362674"/>
                          <a:gd name="connsiteX53" fmla="*/ 184548 w 184548"/>
                          <a:gd name="connsiteY53" fmla="*/ 268694 h 362674"/>
                          <a:gd name="connsiteX54" fmla="*/ 179992 w 184548"/>
                          <a:gd name="connsiteY54" fmla="*/ 268694 h 362674"/>
                          <a:gd name="connsiteX55" fmla="*/ 181700 w 184548"/>
                          <a:gd name="connsiteY55" fmla="*/ 277233 h 362674"/>
                          <a:gd name="connsiteX56" fmla="*/ 179992 w 184548"/>
                          <a:gd name="connsiteY56" fmla="*/ 282357 h 362674"/>
                          <a:gd name="connsiteX57" fmla="*/ 182270 w 184548"/>
                          <a:gd name="connsiteY57" fmla="*/ 286911 h 362674"/>
                          <a:gd name="connsiteX58" fmla="*/ 179992 w 184548"/>
                          <a:gd name="connsiteY58" fmla="*/ 289188 h 362674"/>
                          <a:gd name="connsiteX59" fmla="*/ 175435 w 184548"/>
                          <a:gd name="connsiteY59" fmla="*/ 296019 h 362674"/>
                          <a:gd name="connsiteX60" fmla="*/ 170878 w 184548"/>
                          <a:gd name="connsiteY60" fmla="*/ 298296 h 362674"/>
                          <a:gd name="connsiteX61" fmla="*/ 168600 w 184548"/>
                          <a:gd name="connsiteY61" fmla="*/ 300573 h 362674"/>
                          <a:gd name="connsiteX62" fmla="*/ 161765 w 184548"/>
                          <a:gd name="connsiteY62" fmla="*/ 305127 h 362674"/>
                          <a:gd name="connsiteX63" fmla="*/ 157208 w 184548"/>
                          <a:gd name="connsiteY63" fmla="*/ 309681 h 362674"/>
                          <a:gd name="connsiteX64" fmla="*/ 150373 w 184548"/>
                          <a:gd name="connsiteY64" fmla="*/ 311959 h 362674"/>
                          <a:gd name="connsiteX65" fmla="*/ 143538 w 184548"/>
                          <a:gd name="connsiteY65" fmla="*/ 316513 h 362674"/>
                          <a:gd name="connsiteX66" fmla="*/ 138981 w 184548"/>
                          <a:gd name="connsiteY66" fmla="*/ 311959 h 362674"/>
                          <a:gd name="connsiteX67" fmla="*/ 136922 w 184548"/>
                          <a:gd name="connsiteY67" fmla="*/ 316073 h 362674"/>
                          <a:gd name="connsiteX68" fmla="*/ 136702 w 184548"/>
                          <a:gd name="connsiteY68" fmla="*/ 316513 h 362674"/>
                          <a:gd name="connsiteX69" fmla="*/ 136702 w 184548"/>
                          <a:gd name="connsiteY69" fmla="*/ 311959 h 362674"/>
                          <a:gd name="connsiteX70" fmla="*/ 134424 w 184548"/>
                          <a:gd name="connsiteY70" fmla="*/ 311959 h 362674"/>
                          <a:gd name="connsiteX71" fmla="*/ 132146 w 184548"/>
                          <a:gd name="connsiteY71" fmla="*/ 309681 h 362674"/>
                          <a:gd name="connsiteX72" fmla="*/ 129867 w 184548"/>
                          <a:gd name="connsiteY72" fmla="*/ 314236 h 362674"/>
                          <a:gd name="connsiteX73" fmla="*/ 134424 w 184548"/>
                          <a:gd name="connsiteY73" fmla="*/ 316513 h 362674"/>
                          <a:gd name="connsiteX74" fmla="*/ 125311 w 184548"/>
                          <a:gd name="connsiteY74" fmla="*/ 318790 h 362674"/>
                          <a:gd name="connsiteX75" fmla="*/ 134424 w 184548"/>
                          <a:gd name="connsiteY75" fmla="*/ 323344 h 362674"/>
                          <a:gd name="connsiteX76" fmla="*/ 129867 w 184548"/>
                          <a:gd name="connsiteY76" fmla="*/ 325621 h 362674"/>
                          <a:gd name="connsiteX77" fmla="*/ 123032 w 184548"/>
                          <a:gd name="connsiteY77" fmla="*/ 321067 h 362674"/>
                          <a:gd name="connsiteX78" fmla="*/ 132146 w 184548"/>
                          <a:gd name="connsiteY78" fmla="*/ 332452 h 362674"/>
                          <a:gd name="connsiteX79" fmla="*/ 118476 w 184548"/>
                          <a:gd name="connsiteY79" fmla="*/ 321067 h 362674"/>
                          <a:gd name="connsiteX80" fmla="*/ 127589 w 184548"/>
                          <a:gd name="connsiteY80" fmla="*/ 339283 h 362674"/>
                          <a:gd name="connsiteX81" fmla="*/ 123572 w 184548"/>
                          <a:gd name="connsiteY81" fmla="*/ 336440 h 362674"/>
                          <a:gd name="connsiteX82" fmla="*/ 120754 w 184548"/>
                          <a:gd name="connsiteY82" fmla="*/ 334445 h 362674"/>
                          <a:gd name="connsiteX83" fmla="*/ 113919 w 184548"/>
                          <a:gd name="connsiteY83" fmla="*/ 327898 h 362674"/>
                          <a:gd name="connsiteX84" fmla="*/ 123032 w 184548"/>
                          <a:gd name="connsiteY84" fmla="*/ 341560 h 362674"/>
                          <a:gd name="connsiteX85" fmla="*/ 111640 w 184548"/>
                          <a:gd name="connsiteY85" fmla="*/ 346115 h 362674"/>
                          <a:gd name="connsiteX86" fmla="*/ 104805 w 184548"/>
                          <a:gd name="connsiteY86" fmla="*/ 357500 h 362674"/>
                          <a:gd name="connsiteX87" fmla="*/ 93413 w 184548"/>
                          <a:gd name="connsiteY87" fmla="*/ 362054 h 362674"/>
                          <a:gd name="connsiteX88" fmla="*/ 97970 w 184548"/>
                          <a:gd name="connsiteY88" fmla="*/ 359777 h 362674"/>
                          <a:gd name="connsiteX89" fmla="*/ 95692 w 184548"/>
                          <a:gd name="connsiteY89" fmla="*/ 355223 h 362674"/>
                          <a:gd name="connsiteX90" fmla="*/ 93413 w 184548"/>
                          <a:gd name="connsiteY90" fmla="*/ 357500 h 362674"/>
                          <a:gd name="connsiteX91" fmla="*/ 93413 w 184548"/>
                          <a:gd name="connsiteY91" fmla="*/ 341560 h 362674"/>
                          <a:gd name="connsiteX92" fmla="*/ 93413 w 184548"/>
                          <a:gd name="connsiteY92" fmla="*/ 334729 h 362674"/>
                          <a:gd name="connsiteX93" fmla="*/ 97970 w 184548"/>
                          <a:gd name="connsiteY93" fmla="*/ 330175 h 362674"/>
                          <a:gd name="connsiteX94" fmla="*/ 84300 w 184548"/>
                          <a:gd name="connsiteY94" fmla="*/ 316513 h 362674"/>
                          <a:gd name="connsiteX95" fmla="*/ 82022 w 184548"/>
                          <a:gd name="connsiteY95" fmla="*/ 316513 h 362674"/>
                          <a:gd name="connsiteX96" fmla="*/ 86578 w 184548"/>
                          <a:gd name="connsiteY96" fmla="*/ 314236 h 362674"/>
                          <a:gd name="connsiteX97" fmla="*/ 95692 w 184548"/>
                          <a:gd name="connsiteY97" fmla="*/ 302850 h 362674"/>
                          <a:gd name="connsiteX98" fmla="*/ 109362 w 184548"/>
                          <a:gd name="connsiteY98" fmla="*/ 302850 h 362674"/>
                          <a:gd name="connsiteX99" fmla="*/ 111640 w 184548"/>
                          <a:gd name="connsiteY99" fmla="*/ 305127 h 362674"/>
                          <a:gd name="connsiteX100" fmla="*/ 120754 w 184548"/>
                          <a:gd name="connsiteY100" fmla="*/ 307404 h 362674"/>
                          <a:gd name="connsiteX101" fmla="*/ 120754 w 184548"/>
                          <a:gd name="connsiteY101" fmla="*/ 302850 h 362674"/>
                          <a:gd name="connsiteX102" fmla="*/ 113919 w 184548"/>
                          <a:gd name="connsiteY102" fmla="*/ 296019 h 362674"/>
                          <a:gd name="connsiteX103" fmla="*/ 111640 w 184548"/>
                          <a:gd name="connsiteY103" fmla="*/ 289188 h 362674"/>
                          <a:gd name="connsiteX104" fmla="*/ 113919 w 184548"/>
                          <a:gd name="connsiteY104" fmla="*/ 284634 h 362674"/>
                          <a:gd name="connsiteX105" fmla="*/ 123032 w 184548"/>
                          <a:gd name="connsiteY105" fmla="*/ 286911 h 362674"/>
                          <a:gd name="connsiteX106" fmla="*/ 123032 w 184548"/>
                          <a:gd name="connsiteY106" fmla="*/ 280080 h 362674"/>
                          <a:gd name="connsiteX107" fmla="*/ 127589 w 184548"/>
                          <a:gd name="connsiteY107" fmla="*/ 277803 h 362674"/>
                          <a:gd name="connsiteX108" fmla="*/ 134424 w 184548"/>
                          <a:gd name="connsiteY108" fmla="*/ 275525 h 362674"/>
                          <a:gd name="connsiteX109" fmla="*/ 138981 w 184548"/>
                          <a:gd name="connsiteY109" fmla="*/ 270971 h 362674"/>
                          <a:gd name="connsiteX110" fmla="*/ 145816 w 184548"/>
                          <a:gd name="connsiteY110" fmla="*/ 268694 h 362674"/>
                          <a:gd name="connsiteX111" fmla="*/ 143538 w 184548"/>
                          <a:gd name="connsiteY111" fmla="*/ 250478 h 362674"/>
                          <a:gd name="connsiteX112" fmla="*/ 143538 w 184548"/>
                          <a:gd name="connsiteY112" fmla="*/ 239092 h 362674"/>
                          <a:gd name="connsiteX113" fmla="*/ 141259 w 184548"/>
                          <a:gd name="connsiteY113" fmla="*/ 236815 h 362674"/>
                          <a:gd name="connsiteX114" fmla="*/ 141259 w 184548"/>
                          <a:gd name="connsiteY114" fmla="*/ 229984 h 362674"/>
                          <a:gd name="connsiteX115" fmla="*/ 136702 w 184548"/>
                          <a:gd name="connsiteY115" fmla="*/ 225430 h 362674"/>
                          <a:gd name="connsiteX116" fmla="*/ 141259 w 184548"/>
                          <a:gd name="connsiteY116" fmla="*/ 214045 h 362674"/>
                          <a:gd name="connsiteX117" fmla="*/ 138981 w 184548"/>
                          <a:gd name="connsiteY117" fmla="*/ 207213 h 362674"/>
                          <a:gd name="connsiteX118" fmla="*/ 141259 w 184548"/>
                          <a:gd name="connsiteY118" fmla="*/ 202659 h 362674"/>
                          <a:gd name="connsiteX119" fmla="*/ 134424 w 184548"/>
                          <a:gd name="connsiteY119" fmla="*/ 191274 h 362674"/>
                          <a:gd name="connsiteX120" fmla="*/ 129867 w 184548"/>
                          <a:gd name="connsiteY120" fmla="*/ 186720 h 362674"/>
                          <a:gd name="connsiteX121" fmla="*/ 134424 w 184548"/>
                          <a:gd name="connsiteY121" fmla="*/ 179889 h 362674"/>
                          <a:gd name="connsiteX122" fmla="*/ 127589 w 184548"/>
                          <a:gd name="connsiteY122" fmla="*/ 173057 h 362674"/>
                          <a:gd name="connsiteX123" fmla="*/ 123032 w 184548"/>
                          <a:gd name="connsiteY123" fmla="*/ 170780 h 362674"/>
                          <a:gd name="connsiteX124" fmla="*/ 116197 w 184548"/>
                          <a:gd name="connsiteY124" fmla="*/ 168503 h 362674"/>
                          <a:gd name="connsiteX125" fmla="*/ 113919 w 184548"/>
                          <a:gd name="connsiteY125" fmla="*/ 163949 h 362674"/>
                          <a:gd name="connsiteX126" fmla="*/ 107084 w 184548"/>
                          <a:gd name="connsiteY126" fmla="*/ 150287 h 362674"/>
                          <a:gd name="connsiteX127" fmla="*/ 100249 w 184548"/>
                          <a:gd name="connsiteY127" fmla="*/ 145733 h 362674"/>
                          <a:gd name="connsiteX128" fmla="*/ 91135 w 184548"/>
                          <a:gd name="connsiteY128" fmla="*/ 136624 h 362674"/>
                          <a:gd name="connsiteX129" fmla="*/ 86578 w 184548"/>
                          <a:gd name="connsiteY129" fmla="*/ 129793 h 362674"/>
                          <a:gd name="connsiteX130" fmla="*/ 84300 w 184548"/>
                          <a:gd name="connsiteY130" fmla="*/ 127516 h 362674"/>
                          <a:gd name="connsiteX131" fmla="*/ 79743 w 184548"/>
                          <a:gd name="connsiteY131" fmla="*/ 122962 h 362674"/>
                          <a:gd name="connsiteX132" fmla="*/ 77465 w 184548"/>
                          <a:gd name="connsiteY132" fmla="*/ 116131 h 362674"/>
                          <a:gd name="connsiteX133" fmla="*/ 68351 w 184548"/>
                          <a:gd name="connsiteY133" fmla="*/ 111576 h 362674"/>
                          <a:gd name="connsiteX134" fmla="*/ 52403 w 184548"/>
                          <a:gd name="connsiteY134" fmla="*/ 102468 h 362674"/>
                          <a:gd name="connsiteX135" fmla="*/ 50124 w 184548"/>
                          <a:gd name="connsiteY135" fmla="*/ 97914 h 362674"/>
                          <a:gd name="connsiteX136" fmla="*/ 50124 w 184548"/>
                          <a:gd name="connsiteY136" fmla="*/ 91083 h 362674"/>
                          <a:gd name="connsiteX137" fmla="*/ 56960 w 184548"/>
                          <a:gd name="connsiteY137" fmla="*/ 91083 h 362674"/>
                          <a:gd name="connsiteX138" fmla="*/ 63795 w 184548"/>
                          <a:gd name="connsiteY138" fmla="*/ 86529 h 362674"/>
                          <a:gd name="connsiteX139" fmla="*/ 68351 w 184548"/>
                          <a:gd name="connsiteY139" fmla="*/ 81975 h 362674"/>
                          <a:gd name="connsiteX140" fmla="*/ 63795 w 184548"/>
                          <a:gd name="connsiteY140" fmla="*/ 77420 h 362674"/>
                          <a:gd name="connsiteX141" fmla="*/ 61516 w 184548"/>
                          <a:gd name="connsiteY141" fmla="*/ 75143 h 362674"/>
                          <a:gd name="connsiteX142" fmla="*/ 54681 w 184548"/>
                          <a:gd name="connsiteY142" fmla="*/ 72866 h 362674"/>
                          <a:gd name="connsiteX143" fmla="*/ 59238 w 184548"/>
                          <a:gd name="connsiteY143" fmla="*/ 68312 h 362674"/>
                          <a:gd name="connsiteX144" fmla="*/ 52403 w 184548"/>
                          <a:gd name="connsiteY144" fmla="*/ 63758 h 362674"/>
                          <a:gd name="connsiteX145" fmla="*/ 45568 w 184548"/>
                          <a:gd name="connsiteY145" fmla="*/ 59204 h 362674"/>
                          <a:gd name="connsiteX146" fmla="*/ 38733 w 184548"/>
                          <a:gd name="connsiteY146" fmla="*/ 66035 h 362674"/>
                          <a:gd name="connsiteX147" fmla="*/ 31897 w 184548"/>
                          <a:gd name="connsiteY147" fmla="*/ 63758 h 362674"/>
                          <a:gd name="connsiteX148" fmla="*/ 22784 w 184548"/>
                          <a:gd name="connsiteY148" fmla="*/ 56927 h 362674"/>
                          <a:gd name="connsiteX149" fmla="*/ 20506 w 184548"/>
                          <a:gd name="connsiteY149" fmla="*/ 45542 h 362674"/>
                          <a:gd name="connsiteX150" fmla="*/ 15949 w 184548"/>
                          <a:gd name="connsiteY150" fmla="*/ 38710 h 362674"/>
                          <a:gd name="connsiteX151" fmla="*/ 15949 w 184548"/>
                          <a:gd name="connsiteY151" fmla="*/ 40987 h 362674"/>
                          <a:gd name="connsiteX152" fmla="*/ 9114 w 184548"/>
                          <a:gd name="connsiteY152" fmla="*/ 34156 h 362674"/>
                          <a:gd name="connsiteX153" fmla="*/ 0 w 184548"/>
                          <a:gd name="connsiteY153" fmla="*/ 25048 h 362674"/>
                          <a:gd name="connsiteX154" fmla="*/ 4557 w 184548"/>
                          <a:gd name="connsiteY154" fmla="*/ 15940 h 362674"/>
                          <a:gd name="connsiteX155" fmla="*/ 13670 w 184548"/>
                          <a:gd name="connsiteY155" fmla="*/ 20494 h 362674"/>
                          <a:gd name="connsiteX156" fmla="*/ 22784 w 184548"/>
                          <a:gd name="connsiteY156" fmla="*/ 18217 h 362674"/>
                          <a:gd name="connsiteX157" fmla="*/ 27341 w 184548"/>
                          <a:gd name="connsiteY157" fmla="*/ 20494 h 362674"/>
                          <a:gd name="connsiteX158" fmla="*/ 31897 w 184548"/>
                          <a:gd name="connsiteY158" fmla="*/ 15940 h 362674"/>
                          <a:gd name="connsiteX159" fmla="*/ 36454 w 184548"/>
                          <a:gd name="connsiteY159" fmla="*/ 20494 h 362674"/>
                          <a:gd name="connsiteX160" fmla="*/ 43289 w 184548"/>
                          <a:gd name="connsiteY160" fmla="*/ 13663 h 362674"/>
                          <a:gd name="connsiteX161" fmla="*/ 54681 w 184548"/>
                          <a:gd name="connsiteY161" fmla="*/ 11385 h 362674"/>
                          <a:gd name="connsiteX162" fmla="*/ 54681 w 184548"/>
                          <a:gd name="connsiteY162" fmla="*/ 6831 h 362674"/>
                          <a:gd name="connsiteX163" fmla="*/ 63795 w 184548"/>
                          <a:gd name="connsiteY163" fmla="*/ 0 h 362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184548" h="362674">
                            <a:moveTo>
                              <a:pt x="182270" y="275525"/>
                            </a:moveTo>
                            <a:cubicBezTo>
                              <a:pt x="182270" y="277803"/>
                              <a:pt x="182270" y="277803"/>
                              <a:pt x="182270" y="280080"/>
                            </a:cubicBezTo>
                            <a:lnTo>
                              <a:pt x="181700" y="277233"/>
                            </a:lnTo>
                            <a:close/>
                            <a:moveTo>
                              <a:pt x="63795" y="0"/>
                            </a:moveTo>
                            <a:cubicBezTo>
                              <a:pt x="66073" y="4554"/>
                              <a:pt x="70630" y="6831"/>
                              <a:pt x="75186" y="9108"/>
                            </a:cubicBezTo>
                            <a:cubicBezTo>
                              <a:pt x="77465" y="11385"/>
                              <a:pt x="82022" y="9108"/>
                              <a:pt x="84300" y="11385"/>
                            </a:cubicBezTo>
                            <a:cubicBezTo>
                              <a:pt x="86578" y="13663"/>
                              <a:pt x="91135" y="9108"/>
                              <a:pt x="93413" y="13663"/>
                            </a:cubicBezTo>
                            <a:cubicBezTo>
                              <a:pt x="95692" y="13663"/>
                              <a:pt x="97970" y="20494"/>
                              <a:pt x="93413" y="20494"/>
                            </a:cubicBezTo>
                            <a:cubicBezTo>
                              <a:pt x="93413" y="25048"/>
                              <a:pt x="95692" y="29602"/>
                              <a:pt x="97970" y="34156"/>
                            </a:cubicBezTo>
                            <a:cubicBezTo>
                              <a:pt x="100249" y="34156"/>
                              <a:pt x="104805" y="34156"/>
                              <a:pt x="104805" y="36433"/>
                            </a:cubicBezTo>
                            <a:cubicBezTo>
                              <a:pt x="104805" y="40987"/>
                              <a:pt x="111640" y="40987"/>
                              <a:pt x="113919" y="43264"/>
                            </a:cubicBezTo>
                            <a:cubicBezTo>
                              <a:pt x="116197" y="43264"/>
                              <a:pt x="116197" y="43264"/>
                              <a:pt x="116197" y="43264"/>
                            </a:cubicBezTo>
                            <a:cubicBezTo>
                              <a:pt x="116197" y="45542"/>
                              <a:pt x="118476" y="43264"/>
                              <a:pt x="120754" y="43264"/>
                            </a:cubicBezTo>
                            <a:cubicBezTo>
                              <a:pt x="123032" y="40987"/>
                              <a:pt x="134424" y="45542"/>
                              <a:pt x="129867" y="47819"/>
                            </a:cubicBezTo>
                            <a:cubicBezTo>
                              <a:pt x="127589" y="50096"/>
                              <a:pt x="125311" y="45542"/>
                              <a:pt x="123032" y="45542"/>
                            </a:cubicBezTo>
                            <a:cubicBezTo>
                              <a:pt x="120754" y="47819"/>
                              <a:pt x="120754" y="50096"/>
                              <a:pt x="116197" y="52373"/>
                            </a:cubicBezTo>
                            <a:cubicBezTo>
                              <a:pt x="113919" y="52373"/>
                              <a:pt x="116197" y="54650"/>
                              <a:pt x="113919" y="56927"/>
                            </a:cubicBezTo>
                            <a:cubicBezTo>
                              <a:pt x="113919" y="59204"/>
                              <a:pt x="107084" y="61481"/>
                              <a:pt x="109362" y="56927"/>
                            </a:cubicBezTo>
                            <a:cubicBezTo>
                              <a:pt x="107084" y="56927"/>
                              <a:pt x="104805" y="59204"/>
                              <a:pt x="104805" y="61481"/>
                            </a:cubicBezTo>
                            <a:cubicBezTo>
                              <a:pt x="102527" y="61481"/>
                              <a:pt x="102527" y="56927"/>
                              <a:pt x="100249" y="56927"/>
                            </a:cubicBezTo>
                            <a:cubicBezTo>
                              <a:pt x="100249" y="59204"/>
                              <a:pt x="102527" y="59204"/>
                              <a:pt x="102527" y="59204"/>
                            </a:cubicBezTo>
                            <a:cubicBezTo>
                              <a:pt x="100249" y="61481"/>
                              <a:pt x="102527" y="63758"/>
                              <a:pt x="104805" y="66035"/>
                            </a:cubicBezTo>
                            <a:cubicBezTo>
                              <a:pt x="104805" y="68312"/>
                              <a:pt x="100249" y="66035"/>
                              <a:pt x="100249" y="66035"/>
                            </a:cubicBezTo>
                            <a:cubicBezTo>
                              <a:pt x="100249" y="68312"/>
                              <a:pt x="102527" y="75143"/>
                              <a:pt x="100249" y="75143"/>
                            </a:cubicBezTo>
                            <a:cubicBezTo>
                              <a:pt x="100249" y="77420"/>
                              <a:pt x="93413" y="84252"/>
                              <a:pt x="93413" y="81975"/>
                            </a:cubicBezTo>
                            <a:cubicBezTo>
                              <a:pt x="88857" y="84252"/>
                              <a:pt x="88857" y="88806"/>
                              <a:pt x="86578" y="93360"/>
                            </a:cubicBezTo>
                            <a:cubicBezTo>
                              <a:pt x="86578" y="97914"/>
                              <a:pt x="88857" y="100191"/>
                              <a:pt x="86578" y="104745"/>
                            </a:cubicBezTo>
                            <a:cubicBezTo>
                              <a:pt x="84300" y="109299"/>
                              <a:pt x="88857" y="111576"/>
                              <a:pt x="88857" y="116131"/>
                            </a:cubicBezTo>
                            <a:cubicBezTo>
                              <a:pt x="91135" y="111576"/>
                              <a:pt x="91135" y="116131"/>
                              <a:pt x="93413" y="118408"/>
                            </a:cubicBezTo>
                            <a:cubicBezTo>
                              <a:pt x="93413" y="120685"/>
                              <a:pt x="95692" y="122962"/>
                              <a:pt x="97970" y="125239"/>
                            </a:cubicBezTo>
                            <a:cubicBezTo>
                              <a:pt x="100249" y="125239"/>
                              <a:pt x="102527" y="127516"/>
                              <a:pt x="104805" y="129793"/>
                            </a:cubicBezTo>
                            <a:cubicBezTo>
                              <a:pt x="107084" y="130932"/>
                              <a:pt x="107653" y="132070"/>
                              <a:pt x="107653" y="133493"/>
                            </a:cubicBezTo>
                            <a:lnTo>
                              <a:pt x="107084" y="138901"/>
                            </a:lnTo>
                            <a:lnTo>
                              <a:pt x="116197" y="148010"/>
                            </a:lnTo>
                            <a:cubicBezTo>
                              <a:pt x="118476" y="150287"/>
                              <a:pt x="127589" y="154841"/>
                              <a:pt x="125311" y="159395"/>
                            </a:cubicBezTo>
                            <a:lnTo>
                              <a:pt x="134424" y="166226"/>
                            </a:lnTo>
                            <a:lnTo>
                              <a:pt x="141259" y="173057"/>
                            </a:lnTo>
                            <a:cubicBezTo>
                              <a:pt x="145816" y="168503"/>
                              <a:pt x="152651" y="177611"/>
                              <a:pt x="150373" y="179889"/>
                            </a:cubicBezTo>
                            <a:cubicBezTo>
                              <a:pt x="152651" y="179889"/>
                              <a:pt x="150373" y="175334"/>
                              <a:pt x="152651" y="177611"/>
                            </a:cubicBezTo>
                            <a:cubicBezTo>
                              <a:pt x="148094" y="182166"/>
                              <a:pt x="164043" y="193551"/>
                              <a:pt x="164043" y="198105"/>
                            </a:cubicBezTo>
                            <a:cubicBezTo>
                              <a:pt x="166321" y="193551"/>
                              <a:pt x="166321" y="195828"/>
                              <a:pt x="168600" y="198105"/>
                            </a:cubicBezTo>
                            <a:cubicBezTo>
                              <a:pt x="168600" y="200382"/>
                              <a:pt x="166321" y="200382"/>
                              <a:pt x="166321" y="200382"/>
                            </a:cubicBezTo>
                            <a:cubicBezTo>
                              <a:pt x="168600" y="204936"/>
                              <a:pt x="170878" y="207213"/>
                              <a:pt x="173156" y="211768"/>
                            </a:cubicBezTo>
                            <a:cubicBezTo>
                              <a:pt x="173156" y="216322"/>
                              <a:pt x="175435" y="220876"/>
                              <a:pt x="177713" y="225430"/>
                            </a:cubicBezTo>
                            <a:cubicBezTo>
                              <a:pt x="177713" y="227707"/>
                              <a:pt x="179992" y="229984"/>
                              <a:pt x="179992" y="232261"/>
                            </a:cubicBezTo>
                            <a:cubicBezTo>
                              <a:pt x="179992" y="232261"/>
                              <a:pt x="179992" y="236815"/>
                              <a:pt x="177713" y="232261"/>
                            </a:cubicBezTo>
                            <a:cubicBezTo>
                              <a:pt x="177713" y="234538"/>
                              <a:pt x="182270" y="243646"/>
                              <a:pt x="177713" y="239092"/>
                            </a:cubicBezTo>
                            <a:cubicBezTo>
                              <a:pt x="179992" y="239092"/>
                              <a:pt x="179992" y="241369"/>
                              <a:pt x="182270" y="243646"/>
                            </a:cubicBezTo>
                            <a:cubicBezTo>
                              <a:pt x="177713" y="243646"/>
                              <a:pt x="179992" y="245924"/>
                              <a:pt x="182270" y="248201"/>
                            </a:cubicBezTo>
                            <a:cubicBezTo>
                              <a:pt x="182270" y="250478"/>
                              <a:pt x="182270" y="252755"/>
                              <a:pt x="184548" y="255032"/>
                            </a:cubicBezTo>
                            <a:cubicBezTo>
                              <a:pt x="184548" y="257309"/>
                              <a:pt x="184548" y="261863"/>
                              <a:pt x="184548" y="264140"/>
                            </a:cubicBezTo>
                            <a:lnTo>
                              <a:pt x="184547" y="264138"/>
                            </a:lnTo>
                            <a:lnTo>
                              <a:pt x="182270" y="259586"/>
                            </a:lnTo>
                            <a:cubicBezTo>
                              <a:pt x="179992" y="261863"/>
                              <a:pt x="182270" y="266417"/>
                              <a:pt x="184548" y="268694"/>
                            </a:cubicBezTo>
                            <a:cubicBezTo>
                              <a:pt x="182270" y="268694"/>
                              <a:pt x="182270" y="268694"/>
                              <a:pt x="179992" y="268694"/>
                            </a:cubicBezTo>
                            <a:lnTo>
                              <a:pt x="181700" y="277233"/>
                            </a:lnTo>
                            <a:lnTo>
                              <a:pt x="179992" y="282357"/>
                            </a:lnTo>
                            <a:cubicBezTo>
                              <a:pt x="182270" y="282357"/>
                              <a:pt x="182270" y="284634"/>
                              <a:pt x="182270" y="286911"/>
                            </a:cubicBezTo>
                            <a:cubicBezTo>
                              <a:pt x="182270" y="286911"/>
                              <a:pt x="179992" y="289188"/>
                              <a:pt x="179992" y="289188"/>
                            </a:cubicBezTo>
                            <a:cubicBezTo>
                              <a:pt x="177713" y="293742"/>
                              <a:pt x="179992" y="293742"/>
                              <a:pt x="175435" y="296019"/>
                            </a:cubicBezTo>
                            <a:cubicBezTo>
                              <a:pt x="175435" y="296019"/>
                              <a:pt x="173156" y="296019"/>
                              <a:pt x="170878" y="298296"/>
                            </a:cubicBezTo>
                            <a:cubicBezTo>
                              <a:pt x="170878" y="298296"/>
                              <a:pt x="168600" y="300573"/>
                              <a:pt x="168600" y="300573"/>
                            </a:cubicBezTo>
                            <a:cubicBezTo>
                              <a:pt x="166321" y="302850"/>
                              <a:pt x="164043" y="302850"/>
                              <a:pt x="161765" y="305127"/>
                            </a:cubicBezTo>
                            <a:cubicBezTo>
                              <a:pt x="159486" y="305127"/>
                              <a:pt x="159486" y="309681"/>
                              <a:pt x="157208" y="309681"/>
                            </a:cubicBezTo>
                            <a:cubicBezTo>
                              <a:pt x="157208" y="309681"/>
                              <a:pt x="152651" y="311959"/>
                              <a:pt x="150373" y="311959"/>
                            </a:cubicBezTo>
                            <a:cubicBezTo>
                              <a:pt x="148094" y="314236"/>
                              <a:pt x="145816" y="316513"/>
                              <a:pt x="143538" y="316513"/>
                            </a:cubicBezTo>
                            <a:cubicBezTo>
                              <a:pt x="141259" y="314236"/>
                              <a:pt x="138981" y="314236"/>
                              <a:pt x="138981" y="311959"/>
                            </a:cubicBezTo>
                            <a:lnTo>
                              <a:pt x="136922" y="316073"/>
                            </a:lnTo>
                            <a:lnTo>
                              <a:pt x="136702" y="316513"/>
                            </a:lnTo>
                            <a:cubicBezTo>
                              <a:pt x="136702" y="314236"/>
                              <a:pt x="136702" y="314236"/>
                              <a:pt x="136702" y="311959"/>
                            </a:cubicBezTo>
                            <a:cubicBezTo>
                              <a:pt x="136702" y="314236"/>
                              <a:pt x="136702" y="314236"/>
                              <a:pt x="134424" y="311959"/>
                            </a:cubicBezTo>
                            <a:cubicBezTo>
                              <a:pt x="136702" y="311959"/>
                              <a:pt x="132146" y="309681"/>
                              <a:pt x="132146" y="309681"/>
                            </a:cubicBezTo>
                            <a:cubicBezTo>
                              <a:pt x="132146" y="311959"/>
                              <a:pt x="132146" y="316513"/>
                              <a:pt x="129867" y="314236"/>
                            </a:cubicBezTo>
                            <a:cubicBezTo>
                              <a:pt x="129867" y="316513"/>
                              <a:pt x="132146" y="314236"/>
                              <a:pt x="134424" y="316513"/>
                            </a:cubicBezTo>
                            <a:cubicBezTo>
                              <a:pt x="134424" y="321067"/>
                              <a:pt x="127589" y="318790"/>
                              <a:pt x="125311" y="318790"/>
                            </a:cubicBezTo>
                            <a:cubicBezTo>
                              <a:pt x="127589" y="321067"/>
                              <a:pt x="132146" y="321067"/>
                              <a:pt x="134424" y="323344"/>
                            </a:cubicBezTo>
                            <a:cubicBezTo>
                              <a:pt x="132146" y="325621"/>
                              <a:pt x="132146" y="327898"/>
                              <a:pt x="129867" y="325621"/>
                            </a:cubicBezTo>
                            <a:cubicBezTo>
                              <a:pt x="127589" y="325621"/>
                              <a:pt x="125311" y="321067"/>
                              <a:pt x="123032" y="321067"/>
                            </a:cubicBezTo>
                            <a:cubicBezTo>
                              <a:pt x="125311" y="323344"/>
                              <a:pt x="132146" y="330175"/>
                              <a:pt x="132146" y="332452"/>
                            </a:cubicBezTo>
                            <a:cubicBezTo>
                              <a:pt x="125311" y="330175"/>
                              <a:pt x="123032" y="323344"/>
                              <a:pt x="118476" y="321067"/>
                            </a:cubicBezTo>
                            <a:cubicBezTo>
                              <a:pt x="120754" y="325621"/>
                              <a:pt x="134424" y="334729"/>
                              <a:pt x="127589" y="339283"/>
                            </a:cubicBezTo>
                            <a:lnTo>
                              <a:pt x="123572" y="336440"/>
                            </a:lnTo>
                            <a:lnTo>
                              <a:pt x="120754" y="334445"/>
                            </a:lnTo>
                            <a:cubicBezTo>
                              <a:pt x="117906" y="331314"/>
                              <a:pt x="115058" y="327898"/>
                              <a:pt x="113919" y="327898"/>
                            </a:cubicBezTo>
                            <a:cubicBezTo>
                              <a:pt x="116197" y="330175"/>
                              <a:pt x="123032" y="337006"/>
                              <a:pt x="123032" y="341560"/>
                            </a:cubicBezTo>
                            <a:cubicBezTo>
                              <a:pt x="120754" y="343838"/>
                              <a:pt x="116197" y="346115"/>
                              <a:pt x="111640" y="346115"/>
                            </a:cubicBezTo>
                            <a:cubicBezTo>
                              <a:pt x="107084" y="348392"/>
                              <a:pt x="107084" y="352946"/>
                              <a:pt x="104805" y="357500"/>
                            </a:cubicBezTo>
                            <a:cubicBezTo>
                              <a:pt x="102527" y="359777"/>
                              <a:pt x="95692" y="364331"/>
                              <a:pt x="93413" y="362054"/>
                            </a:cubicBezTo>
                            <a:cubicBezTo>
                              <a:pt x="93413" y="359777"/>
                              <a:pt x="95692" y="359777"/>
                              <a:pt x="97970" y="359777"/>
                            </a:cubicBezTo>
                            <a:cubicBezTo>
                              <a:pt x="95692" y="357500"/>
                              <a:pt x="95692" y="357500"/>
                              <a:pt x="95692" y="355223"/>
                            </a:cubicBezTo>
                            <a:cubicBezTo>
                              <a:pt x="95692" y="357500"/>
                              <a:pt x="95692" y="357500"/>
                              <a:pt x="93413" y="357500"/>
                            </a:cubicBezTo>
                            <a:cubicBezTo>
                              <a:pt x="93413" y="352946"/>
                              <a:pt x="93413" y="346115"/>
                              <a:pt x="93413" y="341560"/>
                            </a:cubicBezTo>
                            <a:cubicBezTo>
                              <a:pt x="93413" y="339283"/>
                              <a:pt x="93413" y="337006"/>
                              <a:pt x="93413" y="334729"/>
                            </a:cubicBezTo>
                            <a:cubicBezTo>
                              <a:pt x="93413" y="332452"/>
                              <a:pt x="97970" y="325621"/>
                              <a:pt x="97970" y="330175"/>
                            </a:cubicBezTo>
                            <a:cubicBezTo>
                              <a:pt x="97970" y="323344"/>
                              <a:pt x="84300" y="323344"/>
                              <a:pt x="84300" y="316513"/>
                            </a:cubicBezTo>
                            <a:cubicBezTo>
                              <a:pt x="84300" y="318790"/>
                              <a:pt x="82022" y="316513"/>
                              <a:pt x="82022" y="316513"/>
                            </a:cubicBezTo>
                            <a:cubicBezTo>
                              <a:pt x="84300" y="316513"/>
                              <a:pt x="86578" y="314236"/>
                              <a:pt x="86578" y="314236"/>
                            </a:cubicBezTo>
                            <a:cubicBezTo>
                              <a:pt x="97970" y="311959"/>
                              <a:pt x="93413" y="307404"/>
                              <a:pt x="95692" y="302850"/>
                            </a:cubicBezTo>
                            <a:cubicBezTo>
                              <a:pt x="100249" y="307404"/>
                              <a:pt x="104805" y="302850"/>
                              <a:pt x="109362" y="302850"/>
                            </a:cubicBezTo>
                            <a:cubicBezTo>
                              <a:pt x="111640" y="302850"/>
                              <a:pt x="111640" y="302850"/>
                              <a:pt x="111640" y="305127"/>
                            </a:cubicBezTo>
                            <a:cubicBezTo>
                              <a:pt x="113919" y="307404"/>
                              <a:pt x="116197" y="307404"/>
                              <a:pt x="120754" y="307404"/>
                            </a:cubicBezTo>
                            <a:cubicBezTo>
                              <a:pt x="120754" y="305127"/>
                              <a:pt x="118476" y="302850"/>
                              <a:pt x="120754" y="302850"/>
                            </a:cubicBezTo>
                            <a:cubicBezTo>
                              <a:pt x="120754" y="300573"/>
                              <a:pt x="113919" y="300573"/>
                              <a:pt x="113919" y="296019"/>
                            </a:cubicBezTo>
                            <a:cubicBezTo>
                              <a:pt x="111640" y="293742"/>
                              <a:pt x="111640" y="291465"/>
                              <a:pt x="111640" y="289188"/>
                            </a:cubicBezTo>
                            <a:cubicBezTo>
                              <a:pt x="109362" y="286911"/>
                              <a:pt x="111640" y="286911"/>
                              <a:pt x="113919" y="284634"/>
                            </a:cubicBezTo>
                            <a:cubicBezTo>
                              <a:pt x="116197" y="282357"/>
                              <a:pt x="120754" y="286911"/>
                              <a:pt x="123032" y="286911"/>
                            </a:cubicBezTo>
                            <a:cubicBezTo>
                              <a:pt x="123032" y="284634"/>
                              <a:pt x="125311" y="282357"/>
                              <a:pt x="123032" y="280080"/>
                            </a:cubicBezTo>
                            <a:cubicBezTo>
                              <a:pt x="125311" y="277803"/>
                              <a:pt x="127589" y="280080"/>
                              <a:pt x="127589" y="277803"/>
                            </a:cubicBezTo>
                            <a:cubicBezTo>
                              <a:pt x="129867" y="277803"/>
                              <a:pt x="134424" y="275525"/>
                              <a:pt x="134424" y="275525"/>
                            </a:cubicBezTo>
                            <a:cubicBezTo>
                              <a:pt x="136702" y="273248"/>
                              <a:pt x="136702" y="270971"/>
                              <a:pt x="138981" y="270971"/>
                            </a:cubicBezTo>
                            <a:cubicBezTo>
                              <a:pt x="141259" y="270971"/>
                              <a:pt x="143538" y="270971"/>
                              <a:pt x="145816" y="268694"/>
                            </a:cubicBezTo>
                            <a:cubicBezTo>
                              <a:pt x="150373" y="266417"/>
                              <a:pt x="143538" y="255032"/>
                              <a:pt x="143538" y="250478"/>
                            </a:cubicBezTo>
                            <a:cubicBezTo>
                              <a:pt x="143538" y="245924"/>
                              <a:pt x="145816" y="243646"/>
                              <a:pt x="143538" y="239092"/>
                            </a:cubicBezTo>
                            <a:cubicBezTo>
                              <a:pt x="143538" y="239092"/>
                              <a:pt x="143538" y="236815"/>
                              <a:pt x="141259" y="236815"/>
                            </a:cubicBezTo>
                            <a:cubicBezTo>
                              <a:pt x="141259" y="234538"/>
                              <a:pt x="141259" y="232261"/>
                              <a:pt x="141259" y="229984"/>
                            </a:cubicBezTo>
                            <a:cubicBezTo>
                              <a:pt x="138981" y="227707"/>
                              <a:pt x="136702" y="227707"/>
                              <a:pt x="136702" y="225430"/>
                            </a:cubicBezTo>
                            <a:cubicBezTo>
                              <a:pt x="136702" y="220876"/>
                              <a:pt x="138981" y="218599"/>
                              <a:pt x="141259" y="214045"/>
                            </a:cubicBezTo>
                            <a:cubicBezTo>
                              <a:pt x="141259" y="211768"/>
                              <a:pt x="141259" y="207213"/>
                              <a:pt x="138981" y="207213"/>
                            </a:cubicBezTo>
                            <a:cubicBezTo>
                              <a:pt x="136702" y="204936"/>
                              <a:pt x="138981" y="204936"/>
                              <a:pt x="141259" y="202659"/>
                            </a:cubicBezTo>
                            <a:cubicBezTo>
                              <a:pt x="143538" y="198105"/>
                              <a:pt x="136702" y="193551"/>
                              <a:pt x="134424" y="191274"/>
                            </a:cubicBezTo>
                            <a:cubicBezTo>
                              <a:pt x="132146" y="188997"/>
                              <a:pt x="129867" y="188997"/>
                              <a:pt x="129867" y="186720"/>
                            </a:cubicBezTo>
                            <a:cubicBezTo>
                              <a:pt x="129867" y="182166"/>
                              <a:pt x="134424" y="182166"/>
                              <a:pt x="134424" y="179889"/>
                            </a:cubicBezTo>
                            <a:cubicBezTo>
                              <a:pt x="132146" y="177611"/>
                              <a:pt x="127589" y="175334"/>
                              <a:pt x="127589" y="173057"/>
                            </a:cubicBezTo>
                            <a:cubicBezTo>
                              <a:pt x="125311" y="173057"/>
                              <a:pt x="123032" y="173057"/>
                              <a:pt x="123032" y="170780"/>
                            </a:cubicBezTo>
                            <a:cubicBezTo>
                              <a:pt x="120754" y="168503"/>
                              <a:pt x="118476" y="170780"/>
                              <a:pt x="116197" y="168503"/>
                            </a:cubicBezTo>
                            <a:cubicBezTo>
                              <a:pt x="116197" y="168503"/>
                              <a:pt x="113919" y="163949"/>
                              <a:pt x="113919" y="163949"/>
                            </a:cubicBezTo>
                            <a:cubicBezTo>
                              <a:pt x="111640" y="157118"/>
                              <a:pt x="109362" y="152564"/>
                              <a:pt x="107084" y="150287"/>
                            </a:cubicBezTo>
                            <a:cubicBezTo>
                              <a:pt x="104805" y="148010"/>
                              <a:pt x="102527" y="148010"/>
                              <a:pt x="100249" y="145733"/>
                            </a:cubicBezTo>
                            <a:cubicBezTo>
                              <a:pt x="97970" y="143455"/>
                              <a:pt x="93413" y="138901"/>
                              <a:pt x="91135" y="136624"/>
                            </a:cubicBezTo>
                            <a:cubicBezTo>
                              <a:pt x="88857" y="134347"/>
                              <a:pt x="88857" y="132070"/>
                              <a:pt x="86578" y="129793"/>
                            </a:cubicBezTo>
                            <a:cubicBezTo>
                              <a:pt x="86578" y="127516"/>
                              <a:pt x="84300" y="127516"/>
                              <a:pt x="84300" y="127516"/>
                            </a:cubicBezTo>
                            <a:cubicBezTo>
                              <a:pt x="82022" y="125239"/>
                              <a:pt x="79743" y="125239"/>
                              <a:pt x="79743" y="122962"/>
                            </a:cubicBezTo>
                            <a:cubicBezTo>
                              <a:pt x="77465" y="120685"/>
                              <a:pt x="75186" y="118408"/>
                              <a:pt x="77465" y="116131"/>
                            </a:cubicBezTo>
                            <a:cubicBezTo>
                              <a:pt x="79743" y="113854"/>
                              <a:pt x="70630" y="111576"/>
                              <a:pt x="68351" y="111576"/>
                            </a:cubicBezTo>
                            <a:cubicBezTo>
                              <a:pt x="63795" y="111576"/>
                              <a:pt x="59238" y="104745"/>
                              <a:pt x="52403" y="102468"/>
                            </a:cubicBezTo>
                            <a:cubicBezTo>
                              <a:pt x="50124" y="102468"/>
                              <a:pt x="45568" y="100191"/>
                              <a:pt x="50124" y="97914"/>
                            </a:cubicBezTo>
                            <a:cubicBezTo>
                              <a:pt x="54681" y="95637"/>
                              <a:pt x="47846" y="93360"/>
                              <a:pt x="50124" y="91083"/>
                            </a:cubicBezTo>
                            <a:cubicBezTo>
                              <a:pt x="50124" y="88806"/>
                              <a:pt x="56960" y="91083"/>
                              <a:pt x="56960" y="91083"/>
                            </a:cubicBezTo>
                            <a:cubicBezTo>
                              <a:pt x="61516" y="91083"/>
                              <a:pt x="68351" y="86529"/>
                              <a:pt x="63795" y="86529"/>
                            </a:cubicBezTo>
                            <a:cubicBezTo>
                              <a:pt x="66073" y="84252"/>
                              <a:pt x="68351" y="84252"/>
                              <a:pt x="68351" y="81975"/>
                            </a:cubicBezTo>
                            <a:cubicBezTo>
                              <a:pt x="68351" y="79698"/>
                              <a:pt x="66073" y="77420"/>
                              <a:pt x="63795" y="77420"/>
                            </a:cubicBezTo>
                            <a:cubicBezTo>
                              <a:pt x="61516" y="77420"/>
                              <a:pt x="61516" y="77420"/>
                              <a:pt x="61516" y="75143"/>
                            </a:cubicBezTo>
                            <a:cubicBezTo>
                              <a:pt x="59238" y="72866"/>
                              <a:pt x="56960" y="72866"/>
                              <a:pt x="54681" y="72866"/>
                            </a:cubicBezTo>
                            <a:cubicBezTo>
                              <a:pt x="54681" y="70589"/>
                              <a:pt x="56960" y="70589"/>
                              <a:pt x="59238" y="68312"/>
                            </a:cubicBezTo>
                            <a:cubicBezTo>
                              <a:pt x="59238" y="66035"/>
                              <a:pt x="54681" y="63758"/>
                              <a:pt x="52403" y="63758"/>
                            </a:cubicBezTo>
                            <a:cubicBezTo>
                              <a:pt x="50124" y="61481"/>
                              <a:pt x="50124" y="59204"/>
                              <a:pt x="45568" y="59204"/>
                            </a:cubicBezTo>
                            <a:cubicBezTo>
                              <a:pt x="41011" y="61481"/>
                              <a:pt x="41011" y="63758"/>
                              <a:pt x="38733" y="66035"/>
                            </a:cubicBezTo>
                            <a:cubicBezTo>
                              <a:pt x="36454" y="66035"/>
                              <a:pt x="34176" y="61481"/>
                              <a:pt x="31897" y="63758"/>
                            </a:cubicBezTo>
                            <a:cubicBezTo>
                              <a:pt x="29619" y="63758"/>
                              <a:pt x="22784" y="59204"/>
                              <a:pt x="22784" y="56927"/>
                            </a:cubicBezTo>
                            <a:cubicBezTo>
                              <a:pt x="20506" y="54650"/>
                              <a:pt x="18227" y="47819"/>
                              <a:pt x="20506" y="45542"/>
                            </a:cubicBezTo>
                            <a:cubicBezTo>
                              <a:pt x="20506" y="40987"/>
                              <a:pt x="15949" y="40987"/>
                              <a:pt x="15949" y="38710"/>
                            </a:cubicBezTo>
                            <a:cubicBezTo>
                              <a:pt x="15949" y="38710"/>
                              <a:pt x="15949" y="40987"/>
                              <a:pt x="15949" y="40987"/>
                            </a:cubicBezTo>
                            <a:cubicBezTo>
                              <a:pt x="11392" y="40987"/>
                              <a:pt x="11392" y="36433"/>
                              <a:pt x="9114" y="34156"/>
                            </a:cubicBezTo>
                            <a:cubicBezTo>
                              <a:pt x="6835" y="31879"/>
                              <a:pt x="2279" y="27325"/>
                              <a:pt x="0" y="25048"/>
                            </a:cubicBezTo>
                            <a:cubicBezTo>
                              <a:pt x="2279" y="25048"/>
                              <a:pt x="2279" y="18217"/>
                              <a:pt x="4557" y="15940"/>
                            </a:cubicBezTo>
                            <a:cubicBezTo>
                              <a:pt x="9114" y="13663"/>
                              <a:pt x="13670" y="18217"/>
                              <a:pt x="13670" y="20494"/>
                            </a:cubicBezTo>
                            <a:cubicBezTo>
                              <a:pt x="18227" y="22771"/>
                              <a:pt x="20506" y="20494"/>
                              <a:pt x="22784" y="18217"/>
                            </a:cubicBezTo>
                            <a:cubicBezTo>
                              <a:pt x="25062" y="13663"/>
                              <a:pt x="25062" y="18217"/>
                              <a:pt x="27341" y="20494"/>
                            </a:cubicBezTo>
                            <a:cubicBezTo>
                              <a:pt x="29619" y="18217"/>
                              <a:pt x="29619" y="13663"/>
                              <a:pt x="31897" y="15940"/>
                            </a:cubicBezTo>
                            <a:cubicBezTo>
                              <a:pt x="34176" y="18217"/>
                              <a:pt x="34176" y="20494"/>
                              <a:pt x="36454" y="20494"/>
                            </a:cubicBezTo>
                            <a:cubicBezTo>
                              <a:pt x="38733" y="22771"/>
                              <a:pt x="38733" y="13663"/>
                              <a:pt x="43289" y="13663"/>
                            </a:cubicBezTo>
                            <a:cubicBezTo>
                              <a:pt x="41011" y="18217"/>
                              <a:pt x="52403" y="13663"/>
                              <a:pt x="54681" y="11385"/>
                            </a:cubicBezTo>
                            <a:cubicBezTo>
                              <a:pt x="56960" y="11385"/>
                              <a:pt x="54681" y="9108"/>
                              <a:pt x="54681" y="6831"/>
                            </a:cubicBezTo>
                            <a:cubicBezTo>
                              <a:pt x="54681" y="4554"/>
                              <a:pt x="61516" y="4554"/>
                              <a:pt x="63795" y="0"/>
                            </a:cubicBezTo>
                            <a:close/>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212" name="Myanmar">
                        <a:extLst>
                          <a:ext uri="{FF2B5EF4-FFF2-40B4-BE49-F238E27FC236}">
                            <a16:creationId xmlns:a16="http://schemas.microsoft.com/office/drawing/2014/main" id="{8D1A70F9-80C3-75D8-F6BA-076E156BC121}"/>
                          </a:ext>
                        </a:extLst>
                      </p:cNvPr>
                      <p:cNvSpPr>
                        <a:spLocks/>
                      </p:cNvSpPr>
                      <p:nvPr/>
                    </p:nvSpPr>
                    <p:spPr bwMode="auto">
                      <a:xfrm>
                        <a:off x="5781779" y="2636248"/>
                        <a:ext cx="193382" cy="463495"/>
                      </a:xfrm>
                      <a:custGeom>
                        <a:avLst/>
                        <a:gdLst>
                          <a:gd name="connsiteX0" fmla="*/ 159544 w 189762"/>
                          <a:gd name="connsiteY0" fmla="*/ 450056 h 454819"/>
                          <a:gd name="connsiteX1" fmla="*/ 157163 w 189762"/>
                          <a:gd name="connsiteY1" fmla="*/ 454819 h 454819"/>
                          <a:gd name="connsiteX2" fmla="*/ 157163 w 189762"/>
                          <a:gd name="connsiteY2" fmla="*/ 452438 h 454819"/>
                          <a:gd name="connsiteX3" fmla="*/ 159544 w 189762"/>
                          <a:gd name="connsiteY3" fmla="*/ 450056 h 454819"/>
                          <a:gd name="connsiteX4" fmla="*/ 154782 w 189762"/>
                          <a:gd name="connsiteY4" fmla="*/ 427435 h 454819"/>
                          <a:gd name="connsiteX5" fmla="*/ 157163 w 189762"/>
                          <a:gd name="connsiteY5" fmla="*/ 434579 h 454819"/>
                          <a:gd name="connsiteX6" fmla="*/ 152400 w 189762"/>
                          <a:gd name="connsiteY6" fmla="*/ 429816 h 454819"/>
                          <a:gd name="connsiteX7" fmla="*/ 154782 w 189762"/>
                          <a:gd name="connsiteY7" fmla="*/ 427435 h 454819"/>
                          <a:gd name="connsiteX8" fmla="*/ 158949 w 189762"/>
                          <a:gd name="connsiteY8" fmla="*/ 408682 h 454819"/>
                          <a:gd name="connsiteX9" fmla="*/ 161925 w 189762"/>
                          <a:gd name="connsiteY9" fmla="*/ 414338 h 454819"/>
                          <a:gd name="connsiteX10" fmla="*/ 159544 w 189762"/>
                          <a:gd name="connsiteY10" fmla="*/ 411957 h 454819"/>
                          <a:gd name="connsiteX11" fmla="*/ 158949 w 189762"/>
                          <a:gd name="connsiteY11" fmla="*/ 408682 h 454819"/>
                          <a:gd name="connsiteX12" fmla="*/ 157163 w 189762"/>
                          <a:gd name="connsiteY12" fmla="*/ 400050 h 454819"/>
                          <a:gd name="connsiteX13" fmla="*/ 161926 w 189762"/>
                          <a:gd name="connsiteY13" fmla="*/ 404813 h 454819"/>
                          <a:gd name="connsiteX14" fmla="*/ 159545 w 189762"/>
                          <a:gd name="connsiteY14" fmla="*/ 404813 h 454819"/>
                          <a:gd name="connsiteX15" fmla="*/ 159545 w 189762"/>
                          <a:gd name="connsiteY15" fmla="*/ 402432 h 454819"/>
                          <a:gd name="connsiteX16" fmla="*/ 157163 w 189762"/>
                          <a:gd name="connsiteY16" fmla="*/ 400050 h 454819"/>
                          <a:gd name="connsiteX17" fmla="*/ 154781 w 189762"/>
                          <a:gd name="connsiteY17" fmla="*/ 386954 h 454819"/>
                          <a:gd name="connsiteX18" fmla="*/ 154781 w 189762"/>
                          <a:gd name="connsiteY18" fmla="*/ 394098 h 454819"/>
                          <a:gd name="connsiteX19" fmla="*/ 154781 w 189762"/>
                          <a:gd name="connsiteY19" fmla="*/ 386954 h 454819"/>
                          <a:gd name="connsiteX20" fmla="*/ 127397 w 189762"/>
                          <a:gd name="connsiteY20" fmla="*/ 294085 h 454819"/>
                          <a:gd name="connsiteX21" fmla="*/ 127397 w 189762"/>
                          <a:gd name="connsiteY21" fmla="*/ 297657 h 454819"/>
                          <a:gd name="connsiteX22" fmla="*/ 127397 w 189762"/>
                          <a:gd name="connsiteY22" fmla="*/ 294085 h 454819"/>
                          <a:gd name="connsiteX23" fmla="*/ 39291 w 189762"/>
                          <a:gd name="connsiteY23" fmla="*/ 234554 h 454819"/>
                          <a:gd name="connsiteX24" fmla="*/ 36909 w 189762"/>
                          <a:gd name="connsiteY24" fmla="*/ 236935 h 454819"/>
                          <a:gd name="connsiteX25" fmla="*/ 39291 w 189762"/>
                          <a:gd name="connsiteY25" fmla="*/ 234554 h 454819"/>
                          <a:gd name="connsiteX26" fmla="*/ 21431 w 189762"/>
                          <a:gd name="connsiteY26" fmla="*/ 204788 h 454819"/>
                          <a:gd name="connsiteX27" fmla="*/ 23812 w 189762"/>
                          <a:gd name="connsiteY27" fmla="*/ 211932 h 454819"/>
                          <a:gd name="connsiteX28" fmla="*/ 21431 w 189762"/>
                          <a:gd name="connsiteY28" fmla="*/ 207169 h 454819"/>
                          <a:gd name="connsiteX29" fmla="*/ 21431 w 189762"/>
                          <a:gd name="connsiteY29" fmla="*/ 204788 h 454819"/>
                          <a:gd name="connsiteX30" fmla="*/ 84436 w 189762"/>
                          <a:gd name="connsiteY30" fmla="*/ 0 h 454819"/>
                          <a:gd name="connsiteX31" fmla="*/ 98128 w 189762"/>
                          <a:gd name="connsiteY31" fmla="*/ 9094 h 454819"/>
                          <a:gd name="connsiteX32" fmla="*/ 100410 w 189762"/>
                          <a:gd name="connsiteY32" fmla="*/ 15915 h 454819"/>
                          <a:gd name="connsiteX33" fmla="*/ 104974 w 189762"/>
                          <a:gd name="connsiteY33" fmla="*/ 22736 h 454819"/>
                          <a:gd name="connsiteX34" fmla="*/ 107256 w 189762"/>
                          <a:gd name="connsiteY34" fmla="*/ 20462 h 454819"/>
                          <a:gd name="connsiteX35" fmla="*/ 118666 w 189762"/>
                          <a:gd name="connsiteY35" fmla="*/ 40924 h 454819"/>
                          <a:gd name="connsiteX36" fmla="*/ 120948 w 189762"/>
                          <a:gd name="connsiteY36" fmla="*/ 52292 h 454819"/>
                          <a:gd name="connsiteX37" fmla="*/ 118666 w 189762"/>
                          <a:gd name="connsiteY37" fmla="*/ 59113 h 454819"/>
                          <a:gd name="connsiteX38" fmla="*/ 118666 w 189762"/>
                          <a:gd name="connsiteY38" fmla="*/ 65933 h 454819"/>
                          <a:gd name="connsiteX39" fmla="*/ 116384 w 189762"/>
                          <a:gd name="connsiteY39" fmla="*/ 68207 h 454819"/>
                          <a:gd name="connsiteX40" fmla="*/ 111820 w 189762"/>
                          <a:gd name="connsiteY40" fmla="*/ 70480 h 454819"/>
                          <a:gd name="connsiteX41" fmla="*/ 104974 w 189762"/>
                          <a:gd name="connsiteY41" fmla="*/ 79575 h 454819"/>
                          <a:gd name="connsiteX42" fmla="*/ 107256 w 189762"/>
                          <a:gd name="connsiteY42" fmla="*/ 88669 h 454819"/>
                          <a:gd name="connsiteX43" fmla="*/ 102692 w 189762"/>
                          <a:gd name="connsiteY43" fmla="*/ 95490 h 454819"/>
                          <a:gd name="connsiteX44" fmla="*/ 107256 w 189762"/>
                          <a:gd name="connsiteY44" fmla="*/ 100037 h 454819"/>
                          <a:gd name="connsiteX45" fmla="*/ 107256 w 189762"/>
                          <a:gd name="connsiteY45" fmla="*/ 106857 h 454819"/>
                          <a:gd name="connsiteX46" fmla="*/ 107256 w 189762"/>
                          <a:gd name="connsiteY46" fmla="*/ 113678 h 454819"/>
                          <a:gd name="connsiteX47" fmla="*/ 116384 w 189762"/>
                          <a:gd name="connsiteY47" fmla="*/ 109131 h 454819"/>
                          <a:gd name="connsiteX48" fmla="*/ 132358 w 189762"/>
                          <a:gd name="connsiteY48" fmla="*/ 106857 h 454819"/>
                          <a:gd name="connsiteX49" fmla="*/ 130076 w 189762"/>
                          <a:gd name="connsiteY49" fmla="*/ 113678 h 454819"/>
                          <a:gd name="connsiteX50" fmla="*/ 132358 w 189762"/>
                          <a:gd name="connsiteY50" fmla="*/ 118225 h 454819"/>
                          <a:gd name="connsiteX51" fmla="*/ 134640 w 189762"/>
                          <a:gd name="connsiteY51" fmla="*/ 122772 h 454819"/>
                          <a:gd name="connsiteX52" fmla="*/ 139204 w 189762"/>
                          <a:gd name="connsiteY52" fmla="*/ 131866 h 454819"/>
                          <a:gd name="connsiteX53" fmla="*/ 150615 w 189762"/>
                          <a:gd name="connsiteY53" fmla="*/ 136414 h 454819"/>
                          <a:gd name="connsiteX54" fmla="*/ 148333 w 189762"/>
                          <a:gd name="connsiteY54" fmla="*/ 145508 h 454819"/>
                          <a:gd name="connsiteX55" fmla="*/ 148333 w 189762"/>
                          <a:gd name="connsiteY55" fmla="*/ 156876 h 454819"/>
                          <a:gd name="connsiteX56" fmla="*/ 162025 w 189762"/>
                          <a:gd name="connsiteY56" fmla="*/ 159149 h 454819"/>
                          <a:gd name="connsiteX57" fmla="*/ 168871 w 189762"/>
                          <a:gd name="connsiteY57" fmla="*/ 165970 h 454819"/>
                          <a:gd name="connsiteX58" fmla="*/ 168871 w 189762"/>
                          <a:gd name="connsiteY58" fmla="*/ 172791 h 454819"/>
                          <a:gd name="connsiteX59" fmla="*/ 173435 w 189762"/>
                          <a:gd name="connsiteY59" fmla="*/ 170517 h 454819"/>
                          <a:gd name="connsiteX60" fmla="*/ 187127 w 189762"/>
                          <a:gd name="connsiteY60" fmla="*/ 163696 h 454819"/>
                          <a:gd name="connsiteX61" fmla="*/ 187127 w 189762"/>
                          <a:gd name="connsiteY61" fmla="*/ 172791 h 454819"/>
                          <a:gd name="connsiteX62" fmla="*/ 182563 w 189762"/>
                          <a:gd name="connsiteY62" fmla="*/ 177338 h 454819"/>
                          <a:gd name="connsiteX63" fmla="*/ 180281 w 189762"/>
                          <a:gd name="connsiteY63" fmla="*/ 186432 h 454819"/>
                          <a:gd name="connsiteX64" fmla="*/ 173435 w 189762"/>
                          <a:gd name="connsiteY64" fmla="*/ 188705 h 454819"/>
                          <a:gd name="connsiteX65" fmla="*/ 171153 w 189762"/>
                          <a:gd name="connsiteY65" fmla="*/ 200073 h 454819"/>
                          <a:gd name="connsiteX66" fmla="*/ 159743 w 189762"/>
                          <a:gd name="connsiteY66" fmla="*/ 200073 h 454819"/>
                          <a:gd name="connsiteX67" fmla="*/ 159743 w 189762"/>
                          <a:gd name="connsiteY67" fmla="*/ 204620 h 454819"/>
                          <a:gd name="connsiteX68" fmla="*/ 152897 w 189762"/>
                          <a:gd name="connsiteY68" fmla="*/ 204620 h 454819"/>
                          <a:gd name="connsiteX69" fmla="*/ 150615 w 189762"/>
                          <a:gd name="connsiteY69" fmla="*/ 211441 h 454819"/>
                          <a:gd name="connsiteX70" fmla="*/ 146051 w 189762"/>
                          <a:gd name="connsiteY70" fmla="*/ 213715 h 454819"/>
                          <a:gd name="connsiteX71" fmla="*/ 139204 w 189762"/>
                          <a:gd name="connsiteY71" fmla="*/ 215988 h 454819"/>
                          <a:gd name="connsiteX72" fmla="*/ 130076 w 189762"/>
                          <a:gd name="connsiteY72" fmla="*/ 213715 h 454819"/>
                          <a:gd name="connsiteX73" fmla="*/ 125512 w 189762"/>
                          <a:gd name="connsiteY73" fmla="*/ 222809 h 454819"/>
                          <a:gd name="connsiteX74" fmla="*/ 127794 w 189762"/>
                          <a:gd name="connsiteY74" fmla="*/ 227356 h 454819"/>
                          <a:gd name="connsiteX75" fmla="*/ 125512 w 189762"/>
                          <a:gd name="connsiteY75" fmla="*/ 234177 h 454819"/>
                          <a:gd name="connsiteX76" fmla="*/ 127794 w 189762"/>
                          <a:gd name="connsiteY76" fmla="*/ 243271 h 454819"/>
                          <a:gd name="connsiteX77" fmla="*/ 118666 w 189762"/>
                          <a:gd name="connsiteY77" fmla="*/ 243271 h 454819"/>
                          <a:gd name="connsiteX78" fmla="*/ 125512 w 189762"/>
                          <a:gd name="connsiteY78" fmla="*/ 250091 h 454819"/>
                          <a:gd name="connsiteX79" fmla="*/ 127794 w 189762"/>
                          <a:gd name="connsiteY79" fmla="*/ 254639 h 454819"/>
                          <a:gd name="connsiteX80" fmla="*/ 130076 w 189762"/>
                          <a:gd name="connsiteY80" fmla="*/ 261459 h 454819"/>
                          <a:gd name="connsiteX81" fmla="*/ 139204 w 189762"/>
                          <a:gd name="connsiteY81" fmla="*/ 272827 h 454819"/>
                          <a:gd name="connsiteX82" fmla="*/ 148333 w 189762"/>
                          <a:gd name="connsiteY82" fmla="*/ 284195 h 454819"/>
                          <a:gd name="connsiteX83" fmla="*/ 155179 w 189762"/>
                          <a:gd name="connsiteY83" fmla="*/ 297836 h 454819"/>
                          <a:gd name="connsiteX84" fmla="*/ 157461 w 189762"/>
                          <a:gd name="connsiteY84" fmla="*/ 293289 h 454819"/>
                          <a:gd name="connsiteX85" fmla="*/ 157461 w 189762"/>
                          <a:gd name="connsiteY85" fmla="*/ 302383 h 454819"/>
                          <a:gd name="connsiteX86" fmla="*/ 152897 w 189762"/>
                          <a:gd name="connsiteY86" fmla="*/ 306930 h 454819"/>
                          <a:gd name="connsiteX87" fmla="*/ 155179 w 189762"/>
                          <a:gd name="connsiteY87" fmla="*/ 318298 h 454819"/>
                          <a:gd name="connsiteX88" fmla="*/ 150615 w 189762"/>
                          <a:gd name="connsiteY88" fmla="*/ 322845 h 454819"/>
                          <a:gd name="connsiteX89" fmla="*/ 146051 w 189762"/>
                          <a:gd name="connsiteY89" fmla="*/ 325119 h 454819"/>
                          <a:gd name="connsiteX90" fmla="*/ 150615 w 189762"/>
                          <a:gd name="connsiteY90" fmla="*/ 334213 h 454819"/>
                          <a:gd name="connsiteX91" fmla="*/ 166589 w 189762"/>
                          <a:gd name="connsiteY91" fmla="*/ 352402 h 454819"/>
                          <a:gd name="connsiteX92" fmla="*/ 171153 w 189762"/>
                          <a:gd name="connsiteY92" fmla="*/ 372864 h 454819"/>
                          <a:gd name="connsiteX93" fmla="*/ 173435 w 189762"/>
                          <a:gd name="connsiteY93" fmla="*/ 379684 h 454819"/>
                          <a:gd name="connsiteX94" fmla="*/ 175717 w 189762"/>
                          <a:gd name="connsiteY94" fmla="*/ 386505 h 454819"/>
                          <a:gd name="connsiteX95" fmla="*/ 180281 w 189762"/>
                          <a:gd name="connsiteY95" fmla="*/ 395599 h 454819"/>
                          <a:gd name="connsiteX96" fmla="*/ 184845 w 189762"/>
                          <a:gd name="connsiteY96" fmla="*/ 406967 h 454819"/>
                          <a:gd name="connsiteX97" fmla="*/ 180281 w 189762"/>
                          <a:gd name="connsiteY97" fmla="*/ 420608 h 454819"/>
                          <a:gd name="connsiteX98" fmla="*/ 171153 w 189762"/>
                          <a:gd name="connsiteY98" fmla="*/ 434250 h 454819"/>
                          <a:gd name="connsiteX99" fmla="*/ 168871 w 189762"/>
                          <a:gd name="connsiteY99" fmla="*/ 441070 h 454819"/>
                          <a:gd name="connsiteX100" fmla="*/ 166589 w 189762"/>
                          <a:gd name="connsiteY100" fmla="*/ 452438 h 454819"/>
                          <a:gd name="connsiteX101" fmla="*/ 162025 w 189762"/>
                          <a:gd name="connsiteY101" fmla="*/ 438797 h 454819"/>
                          <a:gd name="connsiteX102" fmla="*/ 162025 w 189762"/>
                          <a:gd name="connsiteY102" fmla="*/ 434250 h 454819"/>
                          <a:gd name="connsiteX103" fmla="*/ 164307 w 189762"/>
                          <a:gd name="connsiteY103" fmla="*/ 429703 h 454819"/>
                          <a:gd name="connsiteX104" fmla="*/ 166589 w 189762"/>
                          <a:gd name="connsiteY104" fmla="*/ 418335 h 454819"/>
                          <a:gd name="connsiteX105" fmla="*/ 168871 w 189762"/>
                          <a:gd name="connsiteY105" fmla="*/ 409241 h 454819"/>
                          <a:gd name="connsiteX106" fmla="*/ 166589 w 189762"/>
                          <a:gd name="connsiteY106" fmla="*/ 406967 h 454819"/>
                          <a:gd name="connsiteX107" fmla="*/ 164307 w 189762"/>
                          <a:gd name="connsiteY107" fmla="*/ 409241 h 454819"/>
                          <a:gd name="connsiteX108" fmla="*/ 162025 w 189762"/>
                          <a:gd name="connsiteY108" fmla="*/ 404693 h 454819"/>
                          <a:gd name="connsiteX109" fmla="*/ 164307 w 189762"/>
                          <a:gd name="connsiteY109" fmla="*/ 397873 h 454819"/>
                          <a:gd name="connsiteX110" fmla="*/ 159743 w 189762"/>
                          <a:gd name="connsiteY110" fmla="*/ 395599 h 454819"/>
                          <a:gd name="connsiteX111" fmla="*/ 164307 w 189762"/>
                          <a:gd name="connsiteY111" fmla="*/ 395599 h 454819"/>
                          <a:gd name="connsiteX112" fmla="*/ 164307 w 189762"/>
                          <a:gd name="connsiteY112" fmla="*/ 391052 h 454819"/>
                          <a:gd name="connsiteX113" fmla="*/ 162025 w 189762"/>
                          <a:gd name="connsiteY113" fmla="*/ 384231 h 454819"/>
                          <a:gd name="connsiteX114" fmla="*/ 159743 w 189762"/>
                          <a:gd name="connsiteY114" fmla="*/ 375137 h 454819"/>
                          <a:gd name="connsiteX115" fmla="*/ 152897 w 189762"/>
                          <a:gd name="connsiteY115" fmla="*/ 363769 h 454819"/>
                          <a:gd name="connsiteX116" fmla="*/ 148333 w 189762"/>
                          <a:gd name="connsiteY116" fmla="*/ 352402 h 454819"/>
                          <a:gd name="connsiteX117" fmla="*/ 148333 w 189762"/>
                          <a:gd name="connsiteY117" fmla="*/ 356949 h 454819"/>
                          <a:gd name="connsiteX118" fmla="*/ 146051 w 189762"/>
                          <a:gd name="connsiteY118" fmla="*/ 350128 h 454819"/>
                          <a:gd name="connsiteX119" fmla="*/ 143768 w 189762"/>
                          <a:gd name="connsiteY119" fmla="*/ 336487 h 454819"/>
                          <a:gd name="connsiteX120" fmla="*/ 141486 w 189762"/>
                          <a:gd name="connsiteY120" fmla="*/ 336487 h 454819"/>
                          <a:gd name="connsiteX121" fmla="*/ 134640 w 189762"/>
                          <a:gd name="connsiteY121" fmla="*/ 309204 h 454819"/>
                          <a:gd name="connsiteX122" fmla="*/ 132358 w 189762"/>
                          <a:gd name="connsiteY122" fmla="*/ 304657 h 454819"/>
                          <a:gd name="connsiteX123" fmla="*/ 132358 w 189762"/>
                          <a:gd name="connsiteY123" fmla="*/ 300110 h 454819"/>
                          <a:gd name="connsiteX124" fmla="*/ 132358 w 189762"/>
                          <a:gd name="connsiteY124" fmla="*/ 291016 h 454819"/>
                          <a:gd name="connsiteX125" fmla="*/ 125512 w 189762"/>
                          <a:gd name="connsiteY125" fmla="*/ 291016 h 454819"/>
                          <a:gd name="connsiteX126" fmla="*/ 118666 w 189762"/>
                          <a:gd name="connsiteY126" fmla="*/ 277374 h 454819"/>
                          <a:gd name="connsiteX127" fmla="*/ 116384 w 189762"/>
                          <a:gd name="connsiteY127" fmla="*/ 275101 h 454819"/>
                          <a:gd name="connsiteX128" fmla="*/ 111820 w 189762"/>
                          <a:gd name="connsiteY128" fmla="*/ 270554 h 454819"/>
                          <a:gd name="connsiteX129" fmla="*/ 111820 w 189762"/>
                          <a:gd name="connsiteY129" fmla="*/ 275101 h 454819"/>
                          <a:gd name="connsiteX130" fmla="*/ 111820 w 189762"/>
                          <a:gd name="connsiteY130" fmla="*/ 286468 h 454819"/>
                          <a:gd name="connsiteX131" fmla="*/ 107256 w 189762"/>
                          <a:gd name="connsiteY131" fmla="*/ 293289 h 454819"/>
                          <a:gd name="connsiteX132" fmla="*/ 102394 w 189762"/>
                          <a:gd name="connsiteY132" fmla="*/ 291213 h 454819"/>
                          <a:gd name="connsiteX133" fmla="*/ 102692 w 189762"/>
                          <a:gd name="connsiteY133" fmla="*/ 291016 h 454819"/>
                          <a:gd name="connsiteX134" fmla="*/ 100410 w 189762"/>
                          <a:gd name="connsiteY134" fmla="*/ 286468 h 454819"/>
                          <a:gd name="connsiteX135" fmla="*/ 101265 w 189762"/>
                          <a:gd name="connsiteY135" fmla="*/ 290731 h 454819"/>
                          <a:gd name="connsiteX136" fmla="*/ 102394 w 189762"/>
                          <a:gd name="connsiteY136" fmla="*/ 291213 h 454819"/>
                          <a:gd name="connsiteX137" fmla="*/ 95846 w 189762"/>
                          <a:gd name="connsiteY137" fmla="*/ 295563 h 454819"/>
                          <a:gd name="connsiteX138" fmla="*/ 91282 w 189762"/>
                          <a:gd name="connsiteY138" fmla="*/ 300110 h 454819"/>
                          <a:gd name="connsiteX139" fmla="*/ 84436 w 189762"/>
                          <a:gd name="connsiteY139" fmla="*/ 311478 h 454819"/>
                          <a:gd name="connsiteX140" fmla="*/ 84436 w 189762"/>
                          <a:gd name="connsiteY140" fmla="*/ 302383 h 454819"/>
                          <a:gd name="connsiteX141" fmla="*/ 81751 w 189762"/>
                          <a:gd name="connsiteY141" fmla="*/ 305860 h 454819"/>
                          <a:gd name="connsiteX142" fmla="*/ 82154 w 189762"/>
                          <a:gd name="connsiteY142" fmla="*/ 304657 h 454819"/>
                          <a:gd name="connsiteX143" fmla="*/ 81583 w 189762"/>
                          <a:gd name="connsiteY143" fmla="*/ 306078 h 454819"/>
                          <a:gd name="connsiteX144" fmla="*/ 81751 w 189762"/>
                          <a:gd name="connsiteY144" fmla="*/ 305860 h 454819"/>
                          <a:gd name="connsiteX145" fmla="*/ 79871 w 189762"/>
                          <a:gd name="connsiteY145" fmla="*/ 311478 h 454819"/>
                          <a:gd name="connsiteX146" fmla="*/ 79871 w 189762"/>
                          <a:gd name="connsiteY146" fmla="*/ 302383 h 454819"/>
                          <a:gd name="connsiteX147" fmla="*/ 73025 w 189762"/>
                          <a:gd name="connsiteY147" fmla="*/ 311478 h 454819"/>
                          <a:gd name="connsiteX148" fmla="*/ 73819 w 189762"/>
                          <a:gd name="connsiteY148" fmla="*/ 307522 h 454819"/>
                          <a:gd name="connsiteX149" fmla="*/ 75307 w 189762"/>
                          <a:gd name="connsiteY149" fmla="*/ 300110 h 454819"/>
                          <a:gd name="connsiteX150" fmla="*/ 70743 w 189762"/>
                          <a:gd name="connsiteY150" fmla="*/ 309204 h 454819"/>
                          <a:gd name="connsiteX151" fmla="*/ 68461 w 189762"/>
                          <a:gd name="connsiteY151" fmla="*/ 306930 h 454819"/>
                          <a:gd name="connsiteX152" fmla="*/ 70743 w 189762"/>
                          <a:gd name="connsiteY152" fmla="*/ 302383 h 454819"/>
                          <a:gd name="connsiteX153" fmla="*/ 66179 w 189762"/>
                          <a:gd name="connsiteY153" fmla="*/ 306930 h 454819"/>
                          <a:gd name="connsiteX154" fmla="*/ 69032 w 189762"/>
                          <a:gd name="connsiteY154" fmla="*/ 300110 h 454819"/>
                          <a:gd name="connsiteX155" fmla="*/ 69029 w 189762"/>
                          <a:gd name="connsiteY155" fmla="*/ 300080 h 454819"/>
                          <a:gd name="connsiteX156" fmla="*/ 64295 w 189762"/>
                          <a:gd name="connsiteY156" fmla="*/ 307182 h 454819"/>
                          <a:gd name="connsiteX157" fmla="*/ 64890 w 189762"/>
                          <a:gd name="connsiteY157" fmla="*/ 302717 h 454819"/>
                          <a:gd name="connsiteX158" fmla="*/ 69027 w 189762"/>
                          <a:gd name="connsiteY158" fmla="*/ 300057 h 454819"/>
                          <a:gd name="connsiteX159" fmla="*/ 68461 w 189762"/>
                          <a:gd name="connsiteY159" fmla="*/ 293289 h 454819"/>
                          <a:gd name="connsiteX160" fmla="*/ 61615 w 189762"/>
                          <a:gd name="connsiteY160" fmla="*/ 304657 h 454819"/>
                          <a:gd name="connsiteX161" fmla="*/ 61615 w 189762"/>
                          <a:gd name="connsiteY161" fmla="*/ 284195 h 454819"/>
                          <a:gd name="connsiteX162" fmla="*/ 61615 w 189762"/>
                          <a:gd name="connsiteY162" fmla="*/ 275101 h 454819"/>
                          <a:gd name="connsiteX163" fmla="*/ 61615 w 189762"/>
                          <a:gd name="connsiteY163" fmla="*/ 261459 h 454819"/>
                          <a:gd name="connsiteX164" fmla="*/ 57051 w 189762"/>
                          <a:gd name="connsiteY164" fmla="*/ 247818 h 454819"/>
                          <a:gd name="connsiteX165" fmla="*/ 52487 w 189762"/>
                          <a:gd name="connsiteY165" fmla="*/ 243271 h 454819"/>
                          <a:gd name="connsiteX166" fmla="*/ 52487 w 189762"/>
                          <a:gd name="connsiteY166" fmla="*/ 238724 h 454819"/>
                          <a:gd name="connsiteX167" fmla="*/ 47923 w 189762"/>
                          <a:gd name="connsiteY167" fmla="*/ 231903 h 454819"/>
                          <a:gd name="connsiteX168" fmla="*/ 45641 w 189762"/>
                          <a:gd name="connsiteY168" fmla="*/ 222809 h 454819"/>
                          <a:gd name="connsiteX169" fmla="*/ 43359 w 189762"/>
                          <a:gd name="connsiteY169" fmla="*/ 227356 h 454819"/>
                          <a:gd name="connsiteX170" fmla="*/ 45641 w 189762"/>
                          <a:gd name="connsiteY170" fmla="*/ 236450 h 454819"/>
                          <a:gd name="connsiteX171" fmla="*/ 34231 w 189762"/>
                          <a:gd name="connsiteY171" fmla="*/ 225082 h 454819"/>
                          <a:gd name="connsiteX172" fmla="*/ 36513 w 189762"/>
                          <a:gd name="connsiteY172" fmla="*/ 222809 h 454819"/>
                          <a:gd name="connsiteX173" fmla="*/ 41077 w 189762"/>
                          <a:gd name="connsiteY173" fmla="*/ 225082 h 454819"/>
                          <a:gd name="connsiteX174" fmla="*/ 41934 w 189762"/>
                          <a:gd name="connsiteY174" fmla="*/ 223375 h 454819"/>
                          <a:gd name="connsiteX175" fmla="*/ 39886 w 189762"/>
                          <a:gd name="connsiteY175" fmla="*/ 223503 h 454819"/>
                          <a:gd name="connsiteX176" fmla="*/ 39291 w 189762"/>
                          <a:gd name="connsiteY176" fmla="*/ 219075 h 454819"/>
                          <a:gd name="connsiteX177" fmla="*/ 42627 w 189762"/>
                          <a:gd name="connsiteY177" fmla="*/ 221994 h 454819"/>
                          <a:gd name="connsiteX178" fmla="*/ 43359 w 189762"/>
                          <a:gd name="connsiteY178" fmla="*/ 220535 h 454819"/>
                          <a:gd name="connsiteX179" fmla="*/ 41077 w 189762"/>
                          <a:gd name="connsiteY179" fmla="*/ 213715 h 454819"/>
                          <a:gd name="connsiteX180" fmla="*/ 34231 w 189762"/>
                          <a:gd name="connsiteY180" fmla="*/ 213715 h 454819"/>
                          <a:gd name="connsiteX181" fmla="*/ 36513 w 189762"/>
                          <a:gd name="connsiteY181" fmla="*/ 209167 h 454819"/>
                          <a:gd name="connsiteX182" fmla="*/ 29667 w 189762"/>
                          <a:gd name="connsiteY182" fmla="*/ 206894 h 454819"/>
                          <a:gd name="connsiteX183" fmla="*/ 25103 w 189762"/>
                          <a:gd name="connsiteY183" fmla="*/ 204620 h 454819"/>
                          <a:gd name="connsiteX184" fmla="*/ 27385 w 189762"/>
                          <a:gd name="connsiteY184" fmla="*/ 211441 h 454819"/>
                          <a:gd name="connsiteX185" fmla="*/ 25103 w 189762"/>
                          <a:gd name="connsiteY185" fmla="*/ 206894 h 454819"/>
                          <a:gd name="connsiteX186" fmla="*/ 25103 w 189762"/>
                          <a:gd name="connsiteY186" fmla="*/ 211441 h 454819"/>
                          <a:gd name="connsiteX187" fmla="*/ 22821 w 189762"/>
                          <a:gd name="connsiteY187" fmla="*/ 202347 h 454819"/>
                          <a:gd name="connsiteX188" fmla="*/ 20539 w 189762"/>
                          <a:gd name="connsiteY188" fmla="*/ 202347 h 454819"/>
                          <a:gd name="connsiteX189" fmla="*/ 22821 w 189762"/>
                          <a:gd name="connsiteY189" fmla="*/ 197800 h 454819"/>
                          <a:gd name="connsiteX190" fmla="*/ 20539 w 189762"/>
                          <a:gd name="connsiteY190" fmla="*/ 197800 h 454819"/>
                          <a:gd name="connsiteX191" fmla="*/ 20539 w 189762"/>
                          <a:gd name="connsiteY191" fmla="*/ 193253 h 454819"/>
                          <a:gd name="connsiteX192" fmla="*/ 18257 w 189762"/>
                          <a:gd name="connsiteY192" fmla="*/ 204620 h 454819"/>
                          <a:gd name="connsiteX193" fmla="*/ 18257 w 189762"/>
                          <a:gd name="connsiteY193" fmla="*/ 200073 h 454819"/>
                          <a:gd name="connsiteX194" fmla="*/ 13692 w 189762"/>
                          <a:gd name="connsiteY194" fmla="*/ 193253 h 454819"/>
                          <a:gd name="connsiteX195" fmla="*/ 13692 w 189762"/>
                          <a:gd name="connsiteY195" fmla="*/ 200073 h 454819"/>
                          <a:gd name="connsiteX196" fmla="*/ 6846 w 189762"/>
                          <a:gd name="connsiteY196" fmla="*/ 190979 h 454819"/>
                          <a:gd name="connsiteX197" fmla="*/ 0 w 189762"/>
                          <a:gd name="connsiteY197" fmla="*/ 179611 h 454819"/>
                          <a:gd name="connsiteX198" fmla="*/ 2282 w 189762"/>
                          <a:gd name="connsiteY198" fmla="*/ 172791 h 454819"/>
                          <a:gd name="connsiteX199" fmla="*/ 11410 w 189762"/>
                          <a:gd name="connsiteY199" fmla="*/ 175064 h 454819"/>
                          <a:gd name="connsiteX200" fmla="*/ 6846 w 189762"/>
                          <a:gd name="connsiteY200" fmla="*/ 159149 h 454819"/>
                          <a:gd name="connsiteX201" fmla="*/ 9128 w 189762"/>
                          <a:gd name="connsiteY201" fmla="*/ 154602 h 454819"/>
                          <a:gd name="connsiteX202" fmla="*/ 13692 w 189762"/>
                          <a:gd name="connsiteY202" fmla="*/ 159149 h 454819"/>
                          <a:gd name="connsiteX203" fmla="*/ 15974 w 189762"/>
                          <a:gd name="connsiteY203" fmla="*/ 154602 h 454819"/>
                          <a:gd name="connsiteX204" fmla="*/ 18257 w 189762"/>
                          <a:gd name="connsiteY204" fmla="*/ 147781 h 454819"/>
                          <a:gd name="connsiteX205" fmla="*/ 13692 w 189762"/>
                          <a:gd name="connsiteY205" fmla="*/ 134140 h 454819"/>
                          <a:gd name="connsiteX206" fmla="*/ 18257 w 189762"/>
                          <a:gd name="connsiteY206" fmla="*/ 127319 h 454819"/>
                          <a:gd name="connsiteX207" fmla="*/ 15974 w 189762"/>
                          <a:gd name="connsiteY207" fmla="*/ 109131 h 454819"/>
                          <a:gd name="connsiteX208" fmla="*/ 18257 w 189762"/>
                          <a:gd name="connsiteY208" fmla="*/ 109131 h 454819"/>
                          <a:gd name="connsiteX209" fmla="*/ 22821 w 189762"/>
                          <a:gd name="connsiteY209" fmla="*/ 109131 h 454819"/>
                          <a:gd name="connsiteX210" fmla="*/ 34231 w 189762"/>
                          <a:gd name="connsiteY210" fmla="*/ 113678 h 454819"/>
                          <a:gd name="connsiteX211" fmla="*/ 38795 w 189762"/>
                          <a:gd name="connsiteY211" fmla="*/ 81848 h 454819"/>
                          <a:gd name="connsiteX212" fmla="*/ 43359 w 189762"/>
                          <a:gd name="connsiteY212" fmla="*/ 68207 h 454819"/>
                          <a:gd name="connsiteX213" fmla="*/ 43359 w 189762"/>
                          <a:gd name="connsiteY213" fmla="*/ 56839 h 454819"/>
                          <a:gd name="connsiteX214" fmla="*/ 45641 w 189762"/>
                          <a:gd name="connsiteY214" fmla="*/ 45471 h 454819"/>
                          <a:gd name="connsiteX215" fmla="*/ 50205 w 189762"/>
                          <a:gd name="connsiteY215" fmla="*/ 43198 h 454819"/>
                          <a:gd name="connsiteX216" fmla="*/ 54769 w 189762"/>
                          <a:gd name="connsiteY216" fmla="*/ 38651 h 454819"/>
                          <a:gd name="connsiteX217" fmla="*/ 59333 w 189762"/>
                          <a:gd name="connsiteY217" fmla="*/ 34103 h 454819"/>
                          <a:gd name="connsiteX218" fmla="*/ 70743 w 189762"/>
                          <a:gd name="connsiteY218" fmla="*/ 29556 h 454819"/>
                          <a:gd name="connsiteX219" fmla="*/ 75307 w 189762"/>
                          <a:gd name="connsiteY219" fmla="*/ 29556 h 454819"/>
                          <a:gd name="connsiteX220" fmla="*/ 82154 w 189762"/>
                          <a:gd name="connsiteY220" fmla="*/ 34103 h 454819"/>
                          <a:gd name="connsiteX221" fmla="*/ 77589 w 189762"/>
                          <a:gd name="connsiteY221" fmla="*/ 27283 h 454819"/>
                          <a:gd name="connsiteX222" fmla="*/ 79871 w 189762"/>
                          <a:gd name="connsiteY222" fmla="*/ 18189 h 454819"/>
                          <a:gd name="connsiteX223" fmla="*/ 82154 w 189762"/>
                          <a:gd name="connsiteY223" fmla="*/ 9094 h 454819"/>
                          <a:gd name="connsiteX224" fmla="*/ 82154 w 189762"/>
                          <a:gd name="connsiteY224" fmla="*/ 6821 h 454819"/>
                          <a:gd name="connsiteX225" fmla="*/ 84436 w 189762"/>
                          <a:gd name="connsiteY225" fmla="*/ 0 h 454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Lst>
                        <a:rect l="l" t="t" r="r" b="b"/>
                        <a:pathLst>
                          <a:path w="189762" h="454819">
                            <a:moveTo>
                              <a:pt x="159544" y="450056"/>
                            </a:moveTo>
                            <a:cubicBezTo>
                              <a:pt x="159544" y="452438"/>
                              <a:pt x="157163" y="452438"/>
                              <a:pt x="157163" y="454819"/>
                            </a:cubicBezTo>
                            <a:cubicBezTo>
                              <a:pt x="157163" y="454819"/>
                              <a:pt x="157163" y="454819"/>
                              <a:pt x="157163" y="452438"/>
                            </a:cubicBezTo>
                            <a:cubicBezTo>
                              <a:pt x="157163" y="452438"/>
                              <a:pt x="157163" y="452438"/>
                              <a:pt x="159544" y="450056"/>
                            </a:cubicBezTo>
                            <a:close/>
                            <a:moveTo>
                              <a:pt x="154782" y="427435"/>
                            </a:moveTo>
                            <a:cubicBezTo>
                              <a:pt x="157163" y="429816"/>
                              <a:pt x="157163" y="432198"/>
                              <a:pt x="157163" y="434579"/>
                            </a:cubicBezTo>
                            <a:cubicBezTo>
                              <a:pt x="157163" y="432198"/>
                              <a:pt x="154782" y="429816"/>
                              <a:pt x="152400" y="429816"/>
                            </a:cubicBezTo>
                            <a:cubicBezTo>
                              <a:pt x="152400" y="429816"/>
                              <a:pt x="152400" y="429816"/>
                              <a:pt x="154782" y="427435"/>
                            </a:cubicBezTo>
                            <a:close/>
                            <a:moveTo>
                              <a:pt x="158949" y="408682"/>
                            </a:moveTo>
                            <a:cubicBezTo>
                              <a:pt x="160139" y="408980"/>
                              <a:pt x="161925" y="410766"/>
                              <a:pt x="161925" y="414338"/>
                            </a:cubicBezTo>
                            <a:cubicBezTo>
                              <a:pt x="159544" y="414338"/>
                              <a:pt x="159544" y="414338"/>
                              <a:pt x="159544" y="411957"/>
                            </a:cubicBezTo>
                            <a:cubicBezTo>
                              <a:pt x="157163" y="409575"/>
                              <a:pt x="157758" y="408385"/>
                              <a:pt x="158949" y="408682"/>
                            </a:cubicBezTo>
                            <a:close/>
                            <a:moveTo>
                              <a:pt x="157163" y="400050"/>
                            </a:moveTo>
                            <a:cubicBezTo>
                              <a:pt x="159545" y="402432"/>
                              <a:pt x="161926" y="402432"/>
                              <a:pt x="161926" y="404813"/>
                            </a:cubicBezTo>
                            <a:cubicBezTo>
                              <a:pt x="161926" y="404813"/>
                              <a:pt x="161926" y="404813"/>
                              <a:pt x="159545" y="404813"/>
                            </a:cubicBezTo>
                            <a:cubicBezTo>
                              <a:pt x="159545" y="404813"/>
                              <a:pt x="159545" y="404813"/>
                              <a:pt x="159545" y="402432"/>
                            </a:cubicBezTo>
                            <a:cubicBezTo>
                              <a:pt x="159545" y="402432"/>
                              <a:pt x="159545" y="402432"/>
                              <a:pt x="157163" y="400050"/>
                            </a:cubicBezTo>
                            <a:close/>
                            <a:moveTo>
                              <a:pt x="154781" y="386954"/>
                            </a:moveTo>
                            <a:cubicBezTo>
                              <a:pt x="161925" y="386954"/>
                              <a:pt x="157163" y="396479"/>
                              <a:pt x="154781" y="394098"/>
                            </a:cubicBezTo>
                            <a:cubicBezTo>
                              <a:pt x="154781" y="391717"/>
                              <a:pt x="154781" y="389335"/>
                              <a:pt x="154781" y="386954"/>
                            </a:cubicBezTo>
                            <a:close/>
                            <a:moveTo>
                              <a:pt x="127397" y="294085"/>
                            </a:moveTo>
                            <a:cubicBezTo>
                              <a:pt x="129779" y="294085"/>
                              <a:pt x="132160" y="297657"/>
                              <a:pt x="127397" y="297657"/>
                            </a:cubicBezTo>
                            <a:cubicBezTo>
                              <a:pt x="127397" y="297657"/>
                              <a:pt x="127397" y="294085"/>
                              <a:pt x="127397" y="294085"/>
                            </a:cubicBezTo>
                            <a:close/>
                            <a:moveTo>
                              <a:pt x="39291" y="234554"/>
                            </a:moveTo>
                            <a:cubicBezTo>
                              <a:pt x="44053" y="234554"/>
                              <a:pt x="41672" y="244079"/>
                              <a:pt x="36909" y="236935"/>
                            </a:cubicBezTo>
                            <a:cubicBezTo>
                              <a:pt x="36909" y="234554"/>
                              <a:pt x="36909" y="234554"/>
                              <a:pt x="39291" y="234554"/>
                            </a:cubicBezTo>
                            <a:close/>
                            <a:moveTo>
                              <a:pt x="21431" y="204788"/>
                            </a:moveTo>
                            <a:cubicBezTo>
                              <a:pt x="21431" y="207169"/>
                              <a:pt x="23812" y="209551"/>
                              <a:pt x="23812" y="211932"/>
                            </a:cubicBezTo>
                            <a:cubicBezTo>
                              <a:pt x="23812" y="211932"/>
                              <a:pt x="21431" y="209551"/>
                              <a:pt x="21431" y="207169"/>
                            </a:cubicBezTo>
                            <a:cubicBezTo>
                              <a:pt x="21431" y="207169"/>
                              <a:pt x="21431" y="207169"/>
                              <a:pt x="21431" y="204788"/>
                            </a:cubicBezTo>
                            <a:close/>
                            <a:moveTo>
                              <a:pt x="84436" y="0"/>
                            </a:moveTo>
                            <a:cubicBezTo>
                              <a:pt x="89000" y="4547"/>
                              <a:pt x="95846" y="4547"/>
                              <a:pt x="98128" y="9094"/>
                            </a:cubicBezTo>
                            <a:cubicBezTo>
                              <a:pt x="100410" y="11368"/>
                              <a:pt x="100410" y="13641"/>
                              <a:pt x="100410" y="15915"/>
                            </a:cubicBezTo>
                            <a:cubicBezTo>
                              <a:pt x="102692" y="18189"/>
                              <a:pt x="104974" y="20462"/>
                              <a:pt x="104974" y="22736"/>
                            </a:cubicBezTo>
                            <a:cubicBezTo>
                              <a:pt x="107256" y="22736"/>
                              <a:pt x="107256" y="22736"/>
                              <a:pt x="107256" y="20462"/>
                            </a:cubicBezTo>
                            <a:cubicBezTo>
                              <a:pt x="116384" y="25009"/>
                              <a:pt x="116384" y="31830"/>
                              <a:pt x="118666" y="40924"/>
                            </a:cubicBezTo>
                            <a:cubicBezTo>
                              <a:pt x="118666" y="45471"/>
                              <a:pt x="120948" y="47745"/>
                              <a:pt x="120948" y="52292"/>
                            </a:cubicBezTo>
                            <a:cubicBezTo>
                              <a:pt x="120948" y="54566"/>
                              <a:pt x="120948" y="61386"/>
                              <a:pt x="118666" y="59113"/>
                            </a:cubicBezTo>
                            <a:cubicBezTo>
                              <a:pt x="118666" y="61386"/>
                              <a:pt x="125512" y="68207"/>
                              <a:pt x="118666" y="65933"/>
                            </a:cubicBezTo>
                            <a:cubicBezTo>
                              <a:pt x="116384" y="65933"/>
                              <a:pt x="116384" y="68207"/>
                              <a:pt x="116384" y="68207"/>
                            </a:cubicBezTo>
                            <a:cubicBezTo>
                              <a:pt x="116384" y="72754"/>
                              <a:pt x="111820" y="70480"/>
                              <a:pt x="111820" y="70480"/>
                            </a:cubicBezTo>
                            <a:cubicBezTo>
                              <a:pt x="111820" y="72754"/>
                              <a:pt x="109538" y="84122"/>
                              <a:pt x="104974" y="79575"/>
                            </a:cubicBezTo>
                            <a:cubicBezTo>
                              <a:pt x="104974" y="84122"/>
                              <a:pt x="104974" y="86395"/>
                              <a:pt x="107256" y="88669"/>
                            </a:cubicBezTo>
                            <a:cubicBezTo>
                              <a:pt x="102692" y="90942"/>
                              <a:pt x="102692" y="93216"/>
                              <a:pt x="102692" y="95490"/>
                            </a:cubicBezTo>
                            <a:cubicBezTo>
                              <a:pt x="102692" y="97763"/>
                              <a:pt x="104974" y="97763"/>
                              <a:pt x="107256" y="100037"/>
                            </a:cubicBezTo>
                            <a:cubicBezTo>
                              <a:pt x="107256" y="102310"/>
                              <a:pt x="109538" y="104584"/>
                              <a:pt x="107256" y="106857"/>
                            </a:cubicBezTo>
                            <a:cubicBezTo>
                              <a:pt x="107256" y="109131"/>
                              <a:pt x="104974" y="111404"/>
                              <a:pt x="107256" y="113678"/>
                            </a:cubicBezTo>
                            <a:cubicBezTo>
                              <a:pt x="107256" y="113678"/>
                              <a:pt x="114102" y="109131"/>
                              <a:pt x="116384" y="109131"/>
                            </a:cubicBezTo>
                            <a:cubicBezTo>
                              <a:pt x="120948" y="104584"/>
                              <a:pt x="127794" y="109131"/>
                              <a:pt x="132358" y="106857"/>
                            </a:cubicBezTo>
                            <a:cubicBezTo>
                              <a:pt x="132358" y="109131"/>
                              <a:pt x="127794" y="111404"/>
                              <a:pt x="130076" y="113678"/>
                            </a:cubicBezTo>
                            <a:cubicBezTo>
                              <a:pt x="130076" y="115952"/>
                              <a:pt x="132358" y="115952"/>
                              <a:pt x="132358" y="118225"/>
                            </a:cubicBezTo>
                            <a:cubicBezTo>
                              <a:pt x="134640" y="120499"/>
                              <a:pt x="132358" y="120499"/>
                              <a:pt x="134640" y="122772"/>
                            </a:cubicBezTo>
                            <a:cubicBezTo>
                              <a:pt x="136922" y="125046"/>
                              <a:pt x="136922" y="129593"/>
                              <a:pt x="139204" y="131866"/>
                            </a:cubicBezTo>
                            <a:cubicBezTo>
                              <a:pt x="143768" y="134140"/>
                              <a:pt x="148333" y="129593"/>
                              <a:pt x="150615" y="136414"/>
                            </a:cubicBezTo>
                            <a:cubicBezTo>
                              <a:pt x="146051" y="136414"/>
                              <a:pt x="148333" y="143234"/>
                              <a:pt x="148333" y="145508"/>
                            </a:cubicBezTo>
                            <a:cubicBezTo>
                              <a:pt x="148333" y="150055"/>
                              <a:pt x="143768" y="156876"/>
                              <a:pt x="148333" y="156876"/>
                            </a:cubicBezTo>
                            <a:cubicBezTo>
                              <a:pt x="150615" y="156876"/>
                              <a:pt x="159743" y="154602"/>
                              <a:pt x="162025" y="159149"/>
                            </a:cubicBezTo>
                            <a:cubicBezTo>
                              <a:pt x="166589" y="161423"/>
                              <a:pt x="162025" y="165970"/>
                              <a:pt x="168871" y="165970"/>
                            </a:cubicBezTo>
                            <a:cubicBezTo>
                              <a:pt x="166589" y="168243"/>
                              <a:pt x="168871" y="170517"/>
                              <a:pt x="168871" y="172791"/>
                            </a:cubicBezTo>
                            <a:cubicBezTo>
                              <a:pt x="171153" y="175064"/>
                              <a:pt x="171153" y="170517"/>
                              <a:pt x="173435" y="170517"/>
                            </a:cubicBezTo>
                            <a:cubicBezTo>
                              <a:pt x="177999" y="175064"/>
                              <a:pt x="184845" y="165970"/>
                              <a:pt x="187127" y="163696"/>
                            </a:cubicBezTo>
                            <a:cubicBezTo>
                              <a:pt x="189409" y="168243"/>
                              <a:pt x="191691" y="170517"/>
                              <a:pt x="187127" y="172791"/>
                            </a:cubicBezTo>
                            <a:cubicBezTo>
                              <a:pt x="187127" y="175064"/>
                              <a:pt x="182563" y="175064"/>
                              <a:pt x="182563" y="177338"/>
                            </a:cubicBezTo>
                            <a:cubicBezTo>
                              <a:pt x="180281" y="177338"/>
                              <a:pt x="175717" y="188705"/>
                              <a:pt x="180281" y="186432"/>
                            </a:cubicBezTo>
                            <a:cubicBezTo>
                              <a:pt x="180281" y="188705"/>
                              <a:pt x="175717" y="186432"/>
                              <a:pt x="173435" y="188705"/>
                            </a:cubicBezTo>
                            <a:cubicBezTo>
                              <a:pt x="171153" y="190979"/>
                              <a:pt x="171153" y="195526"/>
                              <a:pt x="171153" y="200073"/>
                            </a:cubicBezTo>
                            <a:cubicBezTo>
                              <a:pt x="168871" y="195526"/>
                              <a:pt x="164307" y="200073"/>
                              <a:pt x="159743" y="200073"/>
                            </a:cubicBezTo>
                            <a:cubicBezTo>
                              <a:pt x="159743" y="202347"/>
                              <a:pt x="162025" y="202347"/>
                              <a:pt x="159743" y="204620"/>
                            </a:cubicBezTo>
                            <a:cubicBezTo>
                              <a:pt x="157461" y="204620"/>
                              <a:pt x="155179" y="204620"/>
                              <a:pt x="152897" y="204620"/>
                            </a:cubicBezTo>
                            <a:cubicBezTo>
                              <a:pt x="148333" y="204620"/>
                              <a:pt x="150615" y="209167"/>
                              <a:pt x="150615" y="211441"/>
                            </a:cubicBezTo>
                            <a:cubicBezTo>
                              <a:pt x="150615" y="213715"/>
                              <a:pt x="148333" y="213715"/>
                              <a:pt x="146051" y="213715"/>
                            </a:cubicBezTo>
                            <a:cubicBezTo>
                              <a:pt x="146051" y="211441"/>
                              <a:pt x="141486" y="215988"/>
                              <a:pt x="139204" y="215988"/>
                            </a:cubicBezTo>
                            <a:cubicBezTo>
                              <a:pt x="139204" y="215988"/>
                              <a:pt x="130076" y="213715"/>
                              <a:pt x="130076" y="213715"/>
                            </a:cubicBezTo>
                            <a:cubicBezTo>
                              <a:pt x="132358" y="213715"/>
                              <a:pt x="125512" y="220535"/>
                              <a:pt x="125512" y="222809"/>
                            </a:cubicBezTo>
                            <a:cubicBezTo>
                              <a:pt x="125512" y="225082"/>
                              <a:pt x="127794" y="225082"/>
                              <a:pt x="127794" y="227356"/>
                            </a:cubicBezTo>
                            <a:cubicBezTo>
                              <a:pt x="127794" y="229629"/>
                              <a:pt x="125512" y="231903"/>
                              <a:pt x="125512" y="234177"/>
                            </a:cubicBezTo>
                            <a:cubicBezTo>
                              <a:pt x="125512" y="236450"/>
                              <a:pt x="130076" y="238724"/>
                              <a:pt x="127794" y="243271"/>
                            </a:cubicBezTo>
                            <a:cubicBezTo>
                              <a:pt x="125512" y="245544"/>
                              <a:pt x="120948" y="245544"/>
                              <a:pt x="118666" y="243271"/>
                            </a:cubicBezTo>
                            <a:cubicBezTo>
                              <a:pt x="120948" y="245544"/>
                              <a:pt x="120948" y="250091"/>
                              <a:pt x="125512" y="250091"/>
                            </a:cubicBezTo>
                            <a:cubicBezTo>
                              <a:pt x="125512" y="252365"/>
                              <a:pt x="127794" y="252365"/>
                              <a:pt x="127794" y="254639"/>
                            </a:cubicBezTo>
                            <a:cubicBezTo>
                              <a:pt x="130076" y="256912"/>
                              <a:pt x="127794" y="259186"/>
                              <a:pt x="130076" y="261459"/>
                            </a:cubicBezTo>
                            <a:cubicBezTo>
                              <a:pt x="130076" y="266006"/>
                              <a:pt x="136922" y="270554"/>
                              <a:pt x="139204" y="272827"/>
                            </a:cubicBezTo>
                            <a:cubicBezTo>
                              <a:pt x="141486" y="277374"/>
                              <a:pt x="146051" y="277374"/>
                              <a:pt x="148333" y="284195"/>
                            </a:cubicBezTo>
                            <a:cubicBezTo>
                              <a:pt x="150615" y="288742"/>
                              <a:pt x="150615" y="293289"/>
                              <a:pt x="155179" y="297836"/>
                            </a:cubicBezTo>
                            <a:cubicBezTo>
                              <a:pt x="155179" y="297836"/>
                              <a:pt x="157461" y="295563"/>
                              <a:pt x="157461" y="293289"/>
                            </a:cubicBezTo>
                            <a:cubicBezTo>
                              <a:pt x="159743" y="295563"/>
                              <a:pt x="159743" y="300110"/>
                              <a:pt x="157461" y="302383"/>
                            </a:cubicBezTo>
                            <a:cubicBezTo>
                              <a:pt x="155179" y="304657"/>
                              <a:pt x="152897" y="302383"/>
                              <a:pt x="152897" y="306930"/>
                            </a:cubicBezTo>
                            <a:cubicBezTo>
                              <a:pt x="152897" y="309204"/>
                              <a:pt x="155179" y="316025"/>
                              <a:pt x="155179" y="318298"/>
                            </a:cubicBezTo>
                            <a:cubicBezTo>
                              <a:pt x="155179" y="320572"/>
                              <a:pt x="150615" y="320572"/>
                              <a:pt x="150615" y="322845"/>
                            </a:cubicBezTo>
                            <a:cubicBezTo>
                              <a:pt x="148333" y="320572"/>
                              <a:pt x="148333" y="322845"/>
                              <a:pt x="146051" y="325119"/>
                            </a:cubicBezTo>
                            <a:cubicBezTo>
                              <a:pt x="146051" y="327392"/>
                              <a:pt x="148333" y="331940"/>
                              <a:pt x="150615" y="334213"/>
                            </a:cubicBezTo>
                            <a:cubicBezTo>
                              <a:pt x="152897" y="341034"/>
                              <a:pt x="162025" y="347854"/>
                              <a:pt x="166589" y="352402"/>
                            </a:cubicBezTo>
                            <a:cubicBezTo>
                              <a:pt x="171153" y="359222"/>
                              <a:pt x="173435" y="366043"/>
                              <a:pt x="171153" y="372864"/>
                            </a:cubicBezTo>
                            <a:cubicBezTo>
                              <a:pt x="171153" y="375137"/>
                              <a:pt x="171153" y="375137"/>
                              <a:pt x="173435" y="379684"/>
                            </a:cubicBezTo>
                            <a:cubicBezTo>
                              <a:pt x="173435" y="381958"/>
                              <a:pt x="173435" y="384231"/>
                              <a:pt x="175717" y="386505"/>
                            </a:cubicBezTo>
                            <a:cubicBezTo>
                              <a:pt x="177999" y="391052"/>
                              <a:pt x="180281" y="393326"/>
                              <a:pt x="180281" y="395599"/>
                            </a:cubicBezTo>
                            <a:cubicBezTo>
                              <a:pt x="180281" y="400146"/>
                              <a:pt x="184845" y="404693"/>
                              <a:pt x="184845" y="406967"/>
                            </a:cubicBezTo>
                            <a:cubicBezTo>
                              <a:pt x="187127" y="411514"/>
                              <a:pt x="182563" y="416061"/>
                              <a:pt x="180281" y="420608"/>
                            </a:cubicBezTo>
                            <a:cubicBezTo>
                              <a:pt x="177999" y="425155"/>
                              <a:pt x="173435" y="427429"/>
                              <a:pt x="171153" y="434250"/>
                            </a:cubicBezTo>
                            <a:cubicBezTo>
                              <a:pt x="168871" y="436523"/>
                              <a:pt x="171153" y="438797"/>
                              <a:pt x="168871" y="441070"/>
                            </a:cubicBezTo>
                            <a:cubicBezTo>
                              <a:pt x="168871" y="445617"/>
                              <a:pt x="168871" y="447891"/>
                              <a:pt x="166589" y="452438"/>
                            </a:cubicBezTo>
                            <a:cubicBezTo>
                              <a:pt x="164307" y="447891"/>
                              <a:pt x="164307" y="443344"/>
                              <a:pt x="162025" y="438797"/>
                            </a:cubicBezTo>
                            <a:cubicBezTo>
                              <a:pt x="162025" y="436523"/>
                              <a:pt x="162025" y="434250"/>
                              <a:pt x="162025" y="434250"/>
                            </a:cubicBezTo>
                            <a:cubicBezTo>
                              <a:pt x="164307" y="431976"/>
                              <a:pt x="164307" y="431976"/>
                              <a:pt x="164307" y="429703"/>
                            </a:cubicBezTo>
                            <a:cubicBezTo>
                              <a:pt x="166589" y="427429"/>
                              <a:pt x="166589" y="422882"/>
                              <a:pt x="166589" y="418335"/>
                            </a:cubicBezTo>
                            <a:cubicBezTo>
                              <a:pt x="166589" y="416061"/>
                              <a:pt x="164307" y="409241"/>
                              <a:pt x="168871" y="409241"/>
                            </a:cubicBezTo>
                            <a:cubicBezTo>
                              <a:pt x="166589" y="409241"/>
                              <a:pt x="166589" y="409241"/>
                              <a:pt x="166589" y="406967"/>
                            </a:cubicBezTo>
                            <a:cubicBezTo>
                              <a:pt x="166589" y="409241"/>
                              <a:pt x="164307" y="409241"/>
                              <a:pt x="164307" y="409241"/>
                            </a:cubicBezTo>
                            <a:cubicBezTo>
                              <a:pt x="162025" y="406967"/>
                              <a:pt x="166589" y="404693"/>
                              <a:pt x="162025" y="404693"/>
                            </a:cubicBezTo>
                            <a:cubicBezTo>
                              <a:pt x="166589" y="404693"/>
                              <a:pt x="159743" y="400146"/>
                              <a:pt x="164307" y="397873"/>
                            </a:cubicBezTo>
                            <a:cubicBezTo>
                              <a:pt x="162025" y="397873"/>
                              <a:pt x="162025" y="397873"/>
                              <a:pt x="159743" y="395599"/>
                            </a:cubicBezTo>
                            <a:cubicBezTo>
                              <a:pt x="162025" y="395599"/>
                              <a:pt x="162025" y="395599"/>
                              <a:pt x="164307" y="395599"/>
                            </a:cubicBezTo>
                            <a:cubicBezTo>
                              <a:pt x="162025" y="393326"/>
                              <a:pt x="159743" y="391052"/>
                              <a:pt x="164307" y="391052"/>
                            </a:cubicBezTo>
                            <a:cubicBezTo>
                              <a:pt x="162025" y="391052"/>
                              <a:pt x="162025" y="386505"/>
                              <a:pt x="162025" y="384231"/>
                            </a:cubicBezTo>
                            <a:cubicBezTo>
                              <a:pt x="162025" y="381958"/>
                              <a:pt x="159743" y="377411"/>
                              <a:pt x="159743" y="375137"/>
                            </a:cubicBezTo>
                            <a:cubicBezTo>
                              <a:pt x="157461" y="370590"/>
                              <a:pt x="155179" y="366043"/>
                              <a:pt x="152897" y="363769"/>
                            </a:cubicBezTo>
                            <a:cubicBezTo>
                              <a:pt x="150615" y="359222"/>
                              <a:pt x="150615" y="354675"/>
                              <a:pt x="148333" y="352402"/>
                            </a:cubicBezTo>
                            <a:lnTo>
                              <a:pt x="148333" y="356949"/>
                            </a:lnTo>
                            <a:cubicBezTo>
                              <a:pt x="148333" y="354675"/>
                              <a:pt x="148333" y="352402"/>
                              <a:pt x="146051" y="350128"/>
                            </a:cubicBezTo>
                            <a:cubicBezTo>
                              <a:pt x="146051" y="347854"/>
                              <a:pt x="139204" y="334213"/>
                              <a:pt x="143768" y="336487"/>
                            </a:cubicBezTo>
                            <a:cubicBezTo>
                              <a:pt x="141486" y="336487"/>
                              <a:pt x="141486" y="336487"/>
                              <a:pt x="141486" y="336487"/>
                            </a:cubicBezTo>
                            <a:cubicBezTo>
                              <a:pt x="136922" y="327392"/>
                              <a:pt x="136922" y="318298"/>
                              <a:pt x="134640" y="309204"/>
                            </a:cubicBezTo>
                            <a:cubicBezTo>
                              <a:pt x="134640" y="306930"/>
                              <a:pt x="132358" y="306930"/>
                              <a:pt x="132358" y="304657"/>
                            </a:cubicBezTo>
                            <a:cubicBezTo>
                              <a:pt x="130076" y="304657"/>
                              <a:pt x="132358" y="302383"/>
                              <a:pt x="132358" y="300110"/>
                            </a:cubicBezTo>
                            <a:cubicBezTo>
                              <a:pt x="132358" y="297836"/>
                              <a:pt x="130076" y="293289"/>
                              <a:pt x="132358" y="291016"/>
                            </a:cubicBezTo>
                            <a:cubicBezTo>
                              <a:pt x="130076" y="291016"/>
                              <a:pt x="127794" y="293289"/>
                              <a:pt x="125512" y="291016"/>
                            </a:cubicBezTo>
                            <a:cubicBezTo>
                              <a:pt x="120948" y="286468"/>
                              <a:pt x="118666" y="281921"/>
                              <a:pt x="118666" y="277374"/>
                            </a:cubicBezTo>
                            <a:cubicBezTo>
                              <a:pt x="116384" y="279648"/>
                              <a:pt x="118666" y="275101"/>
                              <a:pt x="116384" y="275101"/>
                            </a:cubicBezTo>
                            <a:cubicBezTo>
                              <a:pt x="114102" y="272827"/>
                              <a:pt x="111820" y="272827"/>
                              <a:pt x="111820" y="270554"/>
                            </a:cubicBezTo>
                            <a:cubicBezTo>
                              <a:pt x="111820" y="270554"/>
                              <a:pt x="111820" y="275101"/>
                              <a:pt x="111820" y="275101"/>
                            </a:cubicBezTo>
                            <a:cubicBezTo>
                              <a:pt x="111820" y="279648"/>
                              <a:pt x="114102" y="281921"/>
                              <a:pt x="111820" y="286468"/>
                            </a:cubicBezTo>
                            <a:cubicBezTo>
                              <a:pt x="111820" y="288742"/>
                              <a:pt x="109538" y="293289"/>
                              <a:pt x="107256" y="293289"/>
                            </a:cubicBezTo>
                            <a:lnTo>
                              <a:pt x="102394" y="291213"/>
                            </a:lnTo>
                            <a:lnTo>
                              <a:pt x="102692" y="291016"/>
                            </a:lnTo>
                            <a:cubicBezTo>
                              <a:pt x="100410" y="288742"/>
                              <a:pt x="98128" y="286468"/>
                              <a:pt x="100410" y="286468"/>
                            </a:cubicBezTo>
                            <a:cubicBezTo>
                              <a:pt x="99269" y="287605"/>
                              <a:pt x="99839" y="289310"/>
                              <a:pt x="101265" y="290731"/>
                            </a:cubicBezTo>
                            <a:lnTo>
                              <a:pt x="102394" y="291213"/>
                            </a:lnTo>
                            <a:lnTo>
                              <a:pt x="95846" y="295563"/>
                            </a:lnTo>
                            <a:cubicBezTo>
                              <a:pt x="100410" y="297836"/>
                              <a:pt x="93564" y="302383"/>
                              <a:pt x="91282" y="300110"/>
                            </a:cubicBezTo>
                            <a:cubicBezTo>
                              <a:pt x="91282" y="302383"/>
                              <a:pt x="89000" y="313751"/>
                              <a:pt x="84436" y="311478"/>
                            </a:cubicBezTo>
                            <a:cubicBezTo>
                              <a:pt x="82154" y="311478"/>
                              <a:pt x="84436" y="304657"/>
                              <a:pt x="84436" y="302383"/>
                            </a:cubicBezTo>
                            <a:lnTo>
                              <a:pt x="81751" y="305860"/>
                            </a:lnTo>
                            <a:lnTo>
                              <a:pt x="82154" y="304657"/>
                            </a:lnTo>
                            <a:cubicBezTo>
                              <a:pt x="81013" y="308067"/>
                              <a:pt x="81013" y="307499"/>
                              <a:pt x="81583" y="306078"/>
                            </a:cubicBezTo>
                            <a:lnTo>
                              <a:pt x="81751" y="305860"/>
                            </a:lnTo>
                            <a:lnTo>
                              <a:pt x="79871" y="311478"/>
                            </a:lnTo>
                            <a:cubicBezTo>
                              <a:pt x="77589" y="309204"/>
                              <a:pt x="77589" y="304657"/>
                              <a:pt x="79871" y="302383"/>
                            </a:cubicBezTo>
                            <a:cubicBezTo>
                              <a:pt x="77589" y="300110"/>
                              <a:pt x="77589" y="313751"/>
                              <a:pt x="73025" y="311478"/>
                            </a:cubicBezTo>
                            <a:lnTo>
                              <a:pt x="73819" y="307522"/>
                            </a:lnTo>
                            <a:lnTo>
                              <a:pt x="75307" y="300110"/>
                            </a:lnTo>
                            <a:cubicBezTo>
                              <a:pt x="73025" y="300110"/>
                              <a:pt x="70743" y="306930"/>
                              <a:pt x="70743" y="309204"/>
                            </a:cubicBezTo>
                            <a:cubicBezTo>
                              <a:pt x="68461" y="309204"/>
                              <a:pt x="68461" y="306930"/>
                              <a:pt x="68461" y="306930"/>
                            </a:cubicBezTo>
                            <a:cubicBezTo>
                              <a:pt x="70743" y="306930"/>
                              <a:pt x="70743" y="304657"/>
                              <a:pt x="70743" y="302383"/>
                            </a:cubicBezTo>
                            <a:cubicBezTo>
                              <a:pt x="70743" y="302383"/>
                              <a:pt x="68461" y="306930"/>
                              <a:pt x="66179" y="306930"/>
                            </a:cubicBezTo>
                            <a:cubicBezTo>
                              <a:pt x="68461" y="304657"/>
                              <a:pt x="69032" y="302383"/>
                              <a:pt x="69032" y="300110"/>
                            </a:cubicBezTo>
                            <a:lnTo>
                              <a:pt x="69029" y="300080"/>
                            </a:lnTo>
                            <a:lnTo>
                              <a:pt x="64295" y="307182"/>
                            </a:lnTo>
                            <a:cubicBezTo>
                              <a:pt x="63104" y="305991"/>
                              <a:pt x="63699" y="304205"/>
                              <a:pt x="64890" y="302717"/>
                            </a:cubicBezTo>
                            <a:lnTo>
                              <a:pt x="69027" y="300057"/>
                            </a:lnTo>
                            <a:lnTo>
                              <a:pt x="68461" y="293289"/>
                            </a:lnTo>
                            <a:cubicBezTo>
                              <a:pt x="68461" y="295563"/>
                              <a:pt x="63897" y="302383"/>
                              <a:pt x="61615" y="304657"/>
                            </a:cubicBezTo>
                            <a:cubicBezTo>
                              <a:pt x="57051" y="306930"/>
                              <a:pt x="61615" y="286468"/>
                              <a:pt x="61615" y="284195"/>
                            </a:cubicBezTo>
                            <a:cubicBezTo>
                              <a:pt x="61615" y="281921"/>
                              <a:pt x="61615" y="277374"/>
                              <a:pt x="61615" y="275101"/>
                            </a:cubicBezTo>
                            <a:cubicBezTo>
                              <a:pt x="66179" y="272827"/>
                              <a:pt x="61615" y="263733"/>
                              <a:pt x="61615" y="261459"/>
                            </a:cubicBezTo>
                            <a:cubicBezTo>
                              <a:pt x="59333" y="256912"/>
                              <a:pt x="59333" y="252365"/>
                              <a:pt x="57051" y="247818"/>
                            </a:cubicBezTo>
                            <a:cubicBezTo>
                              <a:pt x="54769" y="245544"/>
                              <a:pt x="54769" y="245544"/>
                              <a:pt x="52487" y="243271"/>
                            </a:cubicBezTo>
                            <a:cubicBezTo>
                              <a:pt x="52487" y="240997"/>
                              <a:pt x="47923" y="238724"/>
                              <a:pt x="52487" y="238724"/>
                            </a:cubicBezTo>
                            <a:cubicBezTo>
                              <a:pt x="50205" y="236450"/>
                              <a:pt x="47923" y="236450"/>
                              <a:pt x="47923" y="231903"/>
                            </a:cubicBezTo>
                            <a:cubicBezTo>
                              <a:pt x="47923" y="229629"/>
                              <a:pt x="47923" y="225082"/>
                              <a:pt x="45641" y="222809"/>
                            </a:cubicBezTo>
                            <a:cubicBezTo>
                              <a:pt x="45641" y="225082"/>
                              <a:pt x="47923" y="229629"/>
                              <a:pt x="43359" y="227356"/>
                            </a:cubicBezTo>
                            <a:cubicBezTo>
                              <a:pt x="45641" y="229629"/>
                              <a:pt x="45641" y="234177"/>
                              <a:pt x="45641" y="236450"/>
                            </a:cubicBezTo>
                            <a:cubicBezTo>
                              <a:pt x="41077" y="234177"/>
                              <a:pt x="36513" y="227356"/>
                              <a:pt x="34231" y="225082"/>
                            </a:cubicBezTo>
                            <a:cubicBezTo>
                              <a:pt x="34231" y="222809"/>
                              <a:pt x="36513" y="222809"/>
                              <a:pt x="36513" y="222809"/>
                            </a:cubicBezTo>
                            <a:cubicBezTo>
                              <a:pt x="36513" y="225082"/>
                              <a:pt x="38795" y="225082"/>
                              <a:pt x="41077" y="225082"/>
                            </a:cubicBezTo>
                            <a:lnTo>
                              <a:pt x="41934" y="223375"/>
                            </a:lnTo>
                            <a:lnTo>
                              <a:pt x="39886" y="223503"/>
                            </a:lnTo>
                            <a:cubicBezTo>
                              <a:pt x="38695" y="222201"/>
                              <a:pt x="38100" y="220117"/>
                              <a:pt x="39291" y="219075"/>
                            </a:cubicBezTo>
                            <a:lnTo>
                              <a:pt x="42627" y="221994"/>
                            </a:lnTo>
                            <a:lnTo>
                              <a:pt x="43359" y="220535"/>
                            </a:lnTo>
                            <a:cubicBezTo>
                              <a:pt x="43359" y="220535"/>
                              <a:pt x="36513" y="218262"/>
                              <a:pt x="41077" y="213715"/>
                            </a:cubicBezTo>
                            <a:cubicBezTo>
                              <a:pt x="38795" y="213715"/>
                              <a:pt x="36513" y="213715"/>
                              <a:pt x="34231" y="213715"/>
                            </a:cubicBezTo>
                            <a:cubicBezTo>
                              <a:pt x="36513" y="213715"/>
                              <a:pt x="36513" y="211441"/>
                              <a:pt x="36513" y="209167"/>
                            </a:cubicBezTo>
                            <a:cubicBezTo>
                              <a:pt x="34231" y="211441"/>
                              <a:pt x="31949" y="209167"/>
                              <a:pt x="29667" y="206894"/>
                            </a:cubicBezTo>
                            <a:cubicBezTo>
                              <a:pt x="27385" y="204620"/>
                              <a:pt x="27385" y="206894"/>
                              <a:pt x="25103" y="204620"/>
                            </a:cubicBezTo>
                            <a:cubicBezTo>
                              <a:pt x="25103" y="206894"/>
                              <a:pt x="25103" y="209167"/>
                              <a:pt x="27385" y="211441"/>
                            </a:cubicBezTo>
                            <a:cubicBezTo>
                              <a:pt x="25103" y="211441"/>
                              <a:pt x="25103" y="209167"/>
                              <a:pt x="25103" y="206894"/>
                            </a:cubicBezTo>
                            <a:cubicBezTo>
                              <a:pt x="25103" y="209167"/>
                              <a:pt x="25103" y="211441"/>
                              <a:pt x="25103" y="211441"/>
                            </a:cubicBezTo>
                            <a:cubicBezTo>
                              <a:pt x="22821" y="209167"/>
                              <a:pt x="20539" y="206894"/>
                              <a:pt x="22821" y="202347"/>
                            </a:cubicBezTo>
                            <a:cubicBezTo>
                              <a:pt x="22821" y="202347"/>
                              <a:pt x="22821" y="202347"/>
                              <a:pt x="20539" y="202347"/>
                            </a:cubicBezTo>
                            <a:cubicBezTo>
                              <a:pt x="20539" y="200073"/>
                              <a:pt x="22821" y="200073"/>
                              <a:pt x="22821" y="197800"/>
                            </a:cubicBezTo>
                            <a:cubicBezTo>
                              <a:pt x="20539" y="197800"/>
                              <a:pt x="20539" y="197800"/>
                              <a:pt x="20539" y="197800"/>
                            </a:cubicBezTo>
                            <a:cubicBezTo>
                              <a:pt x="20539" y="197800"/>
                              <a:pt x="20539" y="195526"/>
                              <a:pt x="20539" y="193253"/>
                            </a:cubicBezTo>
                            <a:cubicBezTo>
                              <a:pt x="20539" y="197800"/>
                              <a:pt x="20539" y="202347"/>
                              <a:pt x="18257" y="204620"/>
                            </a:cubicBezTo>
                            <a:cubicBezTo>
                              <a:pt x="15974" y="204620"/>
                              <a:pt x="18257" y="202347"/>
                              <a:pt x="18257" y="200073"/>
                            </a:cubicBezTo>
                            <a:cubicBezTo>
                              <a:pt x="18257" y="197800"/>
                              <a:pt x="15974" y="195526"/>
                              <a:pt x="13692" y="193253"/>
                            </a:cubicBezTo>
                            <a:cubicBezTo>
                              <a:pt x="13692" y="195526"/>
                              <a:pt x="15974" y="197800"/>
                              <a:pt x="13692" y="200073"/>
                            </a:cubicBezTo>
                            <a:cubicBezTo>
                              <a:pt x="13692" y="195526"/>
                              <a:pt x="9128" y="193253"/>
                              <a:pt x="6846" y="190979"/>
                            </a:cubicBezTo>
                            <a:cubicBezTo>
                              <a:pt x="2282" y="188705"/>
                              <a:pt x="2282" y="181885"/>
                              <a:pt x="0" y="179611"/>
                            </a:cubicBezTo>
                            <a:cubicBezTo>
                              <a:pt x="0" y="177338"/>
                              <a:pt x="0" y="172791"/>
                              <a:pt x="2282" y="172791"/>
                            </a:cubicBezTo>
                            <a:cubicBezTo>
                              <a:pt x="4564" y="172791"/>
                              <a:pt x="6846" y="175064"/>
                              <a:pt x="11410" y="175064"/>
                            </a:cubicBezTo>
                            <a:cubicBezTo>
                              <a:pt x="9128" y="170517"/>
                              <a:pt x="6846" y="165970"/>
                              <a:pt x="6846" y="159149"/>
                            </a:cubicBezTo>
                            <a:cubicBezTo>
                              <a:pt x="6846" y="159149"/>
                              <a:pt x="9128" y="156876"/>
                              <a:pt x="9128" y="154602"/>
                            </a:cubicBezTo>
                            <a:cubicBezTo>
                              <a:pt x="11410" y="156876"/>
                              <a:pt x="11410" y="159149"/>
                              <a:pt x="13692" y="159149"/>
                            </a:cubicBezTo>
                            <a:cubicBezTo>
                              <a:pt x="15974" y="159149"/>
                              <a:pt x="15974" y="154602"/>
                              <a:pt x="15974" y="154602"/>
                            </a:cubicBezTo>
                            <a:cubicBezTo>
                              <a:pt x="20539" y="156876"/>
                              <a:pt x="18257" y="150055"/>
                              <a:pt x="18257" y="147781"/>
                            </a:cubicBezTo>
                            <a:cubicBezTo>
                              <a:pt x="15974" y="143234"/>
                              <a:pt x="15974" y="138687"/>
                              <a:pt x="13692" y="134140"/>
                            </a:cubicBezTo>
                            <a:cubicBezTo>
                              <a:pt x="18257" y="136414"/>
                              <a:pt x="18257" y="129593"/>
                              <a:pt x="18257" y="127319"/>
                            </a:cubicBezTo>
                            <a:cubicBezTo>
                              <a:pt x="18257" y="120499"/>
                              <a:pt x="18257" y="115952"/>
                              <a:pt x="15974" y="109131"/>
                            </a:cubicBezTo>
                            <a:cubicBezTo>
                              <a:pt x="15974" y="109131"/>
                              <a:pt x="18257" y="109131"/>
                              <a:pt x="18257" y="109131"/>
                            </a:cubicBezTo>
                            <a:cubicBezTo>
                              <a:pt x="20539" y="111404"/>
                              <a:pt x="20539" y="111404"/>
                              <a:pt x="22821" y="109131"/>
                            </a:cubicBezTo>
                            <a:cubicBezTo>
                              <a:pt x="25103" y="109131"/>
                              <a:pt x="31949" y="111404"/>
                              <a:pt x="34231" y="113678"/>
                            </a:cubicBezTo>
                            <a:cubicBezTo>
                              <a:pt x="34231" y="104584"/>
                              <a:pt x="45641" y="88669"/>
                              <a:pt x="38795" y="81848"/>
                            </a:cubicBezTo>
                            <a:cubicBezTo>
                              <a:pt x="34231" y="77301"/>
                              <a:pt x="43359" y="70480"/>
                              <a:pt x="43359" y="68207"/>
                            </a:cubicBezTo>
                            <a:cubicBezTo>
                              <a:pt x="45641" y="63660"/>
                              <a:pt x="45641" y="61386"/>
                              <a:pt x="43359" y="56839"/>
                            </a:cubicBezTo>
                            <a:cubicBezTo>
                              <a:pt x="41077" y="52292"/>
                              <a:pt x="41077" y="47745"/>
                              <a:pt x="45641" y="45471"/>
                            </a:cubicBezTo>
                            <a:cubicBezTo>
                              <a:pt x="45641" y="43198"/>
                              <a:pt x="50205" y="45471"/>
                              <a:pt x="50205" y="43198"/>
                            </a:cubicBezTo>
                            <a:cubicBezTo>
                              <a:pt x="50205" y="40924"/>
                              <a:pt x="54769" y="40924"/>
                              <a:pt x="54769" y="38651"/>
                            </a:cubicBezTo>
                            <a:cubicBezTo>
                              <a:pt x="57051" y="36377"/>
                              <a:pt x="57051" y="34103"/>
                              <a:pt x="59333" y="34103"/>
                            </a:cubicBezTo>
                            <a:cubicBezTo>
                              <a:pt x="61615" y="29556"/>
                              <a:pt x="66179" y="29556"/>
                              <a:pt x="70743" y="29556"/>
                            </a:cubicBezTo>
                            <a:cubicBezTo>
                              <a:pt x="70743" y="29556"/>
                              <a:pt x="73025" y="27283"/>
                              <a:pt x="75307" y="29556"/>
                            </a:cubicBezTo>
                            <a:cubicBezTo>
                              <a:pt x="77589" y="31830"/>
                              <a:pt x="79871" y="36377"/>
                              <a:pt x="82154" y="34103"/>
                            </a:cubicBezTo>
                            <a:cubicBezTo>
                              <a:pt x="82154" y="31830"/>
                              <a:pt x="79871" y="29556"/>
                              <a:pt x="77589" y="27283"/>
                            </a:cubicBezTo>
                            <a:cubicBezTo>
                              <a:pt x="73025" y="22736"/>
                              <a:pt x="75307" y="20462"/>
                              <a:pt x="79871" y="18189"/>
                            </a:cubicBezTo>
                            <a:cubicBezTo>
                              <a:pt x="84436" y="13641"/>
                              <a:pt x="82154" y="13641"/>
                              <a:pt x="82154" y="9094"/>
                            </a:cubicBezTo>
                            <a:cubicBezTo>
                              <a:pt x="82154" y="6821"/>
                              <a:pt x="82154" y="6821"/>
                              <a:pt x="82154" y="6821"/>
                            </a:cubicBezTo>
                            <a:cubicBezTo>
                              <a:pt x="82154" y="4547"/>
                              <a:pt x="84436" y="2274"/>
                              <a:pt x="84436" y="0"/>
                            </a:cubicBezTo>
                            <a:close/>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grpSp>
                    <p:nvGrpSpPr>
                      <p:cNvPr id="213" name="Group 199">
                        <a:extLst>
                          <a:ext uri="{FF2B5EF4-FFF2-40B4-BE49-F238E27FC236}">
                            <a16:creationId xmlns:a16="http://schemas.microsoft.com/office/drawing/2014/main" id="{29A64AF5-BA4E-526F-4FB7-6ADAFEF6ACB4}"/>
                          </a:ext>
                        </a:extLst>
                      </p:cNvPr>
                      <p:cNvGrpSpPr/>
                      <p:nvPr/>
                    </p:nvGrpSpPr>
                    <p:grpSpPr>
                      <a:xfrm>
                        <a:off x="5812110" y="2863143"/>
                        <a:ext cx="1649564" cy="1653659"/>
                        <a:chOff x="5812110" y="2863143"/>
                        <a:chExt cx="1649564" cy="1653659"/>
                      </a:xfrm>
                      <a:grpFill/>
                    </p:grpSpPr>
                    <p:sp>
                      <p:nvSpPr>
                        <p:cNvPr id="214" name="Philippines">
                          <a:extLst>
                            <a:ext uri="{FF2B5EF4-FFF2-40B4-BE49-F238E27FC236}">
                              <a16:creationId xmlns:a16="http://schemas.microsoft.com/office/drawing/2014/main" id="{296CBACB-62E2-D695-923E-413D6D8F1C45}"/>
                            </a:ext>
                          </a:extLst>
                        </p:cNvPr>
                        <p:cNvSpPr>
                          <a:spLocks/>
                        </p:cNvSpPr>
                        <p:nvPr/>
                      </p:nvSpPr>
                      <p:spPr bwMode="auto">
                        <a:xfrm>
                          <a:off x="6359327" y="2863143"/>
                          <a:ext cx="208114" cy="344416"/>
                        </a:xfrm>
                        <a:custGeom>
                          <a:avLst/>
                          <a:gdLst>
                            <a:gd name="connsiteX0" fmla="*/ 86717 w 204218"/>
                            <a:gd name="connsiteY0" fmla="*/ 326231 h 337969"/>
                            <a:gd name="connsiteX1" fmla="*/ 93265 w 204218"/>
                            <a:gd name="connsiteY1" fmla="*/ 329803 h 337969"/>
                            <a:gd name="connsiteX2" fmla="*/ 84534 w 204218"/>
                            <a:gd name="connsiteY2" fmla="*/ 329803 h 337969"/>
                            <a:gd name="connsiteX3" fmla="*/ 86717 w 204218"/>
                            <a:gd name="connsiteY3" fmla="*/ 326231 h 337969"/>
                            <a:gd name="connsiteX4" fmla="*/ 107155 w 204218"/>
                            <a:gd name="connsiteY4" fmla="*/ 309563 h 337969"/>
                            <a:gd name="connsiteX5" fmla="*/ 114299 w 204218"/>
                            <a:gd name="connsiteY5" fmla="*/ 311944 h 337969"/>
                            <a:gd name="connsiteX6" fmla="*/ 109536 w 204218"/>
                            <a:gd name="connsiteY6" fmla="*/ 316707 h 337969"/>
                            <a:gd name="connsiteX7" fmla="*/ 104774 w 204218"/>
                            <a:gd name="connsiteY7" fmla="*/ 314326 h 337969"/>
                            <a:gd name="connsiteX8" fmla="*/ 102393 w 204218"/>
                            <a:gd name="connsiteY8" fmla="*/ 311944 h 337969"/>
                            <a:gd name="connsiteX9" fmla="*/ 107155 w 204218"/>
                            <a:gd name="connsiteY9" fmla="*/ 309563 h 337969"/>
                            <a:gd name="connsiteX10" fmla="*/ 136922 w 204218"/>
                            <a:gd name="connsiteY10" fmla="*/ 246459 h 337969"/>
                            <a:gd name="connsiteX11" fmla="*/ 136922 w 204218"/>
                            <a:gd name="connsiteY11" fmla="*/ 250031 h 337969"/>
                            <a:gd name="connsiteX12" fmla="*/ 136922 w 204218"/>
                            <a:gd name="connsiteY12" fmla="*/ 246459 h 337969"/>
                            <a:gd name="connsiteX13" fmla="*/ 175207 w 204218"/>
                            <a:gd name="connsiteY13" fmla="*/ 234554 h 337969"/>
                            <a:gd name="connsiteX14" fmla="*/ 184308 w 204218"/>
                            <a:gd name="connsiteY14" fmla="*/ 239114 h 337969"/>
                            <a:gd name="connsiteX15" fmla="*/ 186584 w 204218"/>
                            <a:gd name="connsiteY15" fmla="*/ 245954 h 337969"/>
                            <a:gd name="connsiteX16" fmla="*/ 191135 w 204218"/>
                            <a:gd name="connsiteY16" fmla="*/ 245954 h 337969"/>
                            <a:gd name="connsiteX17" fmla="*/ 193410 w 204218"/>
                            <a:gd name="connsiteY17" fmla="*/ 252793 h 337969"/>
                            <a:gd name="connsiteX18" fmla="*/ 195686 w 204218"/>
                            <a:gd name="connsiteY18" fmla="*/ 257353 h 337969"/>
                            <a:gd name="connsiteX19" fmla="*/ 191135 w 204218"/>
                            <a:gd name="connsiteY19" fmla="*/ 261913 h 337969"/>
                            <a:gd name="connsiteX20" fmla="*/ 197961 w 204218"/>
                            <a:gd name="connsiteY20" fmla="*/ 273313 h 337969"/>
                            <a:gd name="connsiteX21" fmla="*/ 200236 w 204218"/>
                            <a:gd name="connsiteY21" fmla="*/ 277873 h 337969"/>
                            <a:gd name="connsiteX22" fmla="*/ 202512 w 204218"/>
                            <a:gd name="connsiteY22" fmla="*/ 286992 h 337969"/>
                            <a:gd name="connsiteX23" fmla="*/ 202512 w 204218"/>
                            <a:gd name="connsiteY23" fmla="*/ 300672 h 337969"/>
                            <a:gd name="connsiteX24" fmla="*/ 200236 w 204218"/>
                            <a:gd name="connsiteY24" fmla="*/ 307511 h 337969"/>
                            <a:gd name="connsiteX25" fmla="*/ 195686 w 204218"/>
                            <a:gd name="connsiteY25" fmla="*/ 305231 h 337969"/>
                            <a:gd name="connsiteX26" fmla="*/ 197961 w 204218"/>
                            <a:gd name="connsiteY26" fmla="*/ 321191 h 337969"/>
                            <a:gd name="connsiteX27" fmla="*/ 195686 w 204218"/>
                            <a:gd name="connsiteY27" fmla="*/ 312071 h 337969"/>
                            <a:gd name="connsiteX28" fmla="*/ 193410 w 204218"/>
                            <a:gd name="connsiteY28" fmla="*/ 305231 h 337969"/>
                            <a:gd name="connsiteX29" fmla="*/ 186584 w 204218"/>
                            <a:gd name="connsiteY29" fmla="*/ 296112 h 337969"/>
                            <a:gd name="connsiteX30" fmla="*/ 179758 w 204218"/>
                            <a:gd name="connsiteY30" fmla="*/ 312071 h 337969"/>
                            <a:gd name="connsiteX31" fmla="*/ 186584 w 204218"/>
                            <a:gd name="connsiteY31" fmla="*/ 323471 h 337969"/>
                            <a:gd name="connsiteX32" fmla="*/ 182033 w 204218"/>
                            <a:gd name="connsiteY32" fmla="*/ 337150 h 337969"/>
                            <a:gd name="connsiteX33" fmla="*/ 177482 w 204218"/>
                            <a:gd name="connsiteY33" fmla="*/ 325751 h 337969"/>
                            <a:gd name="connsiteX34" fmla="*/ 172931 w 204218"/>
                            <a:gd name="connsiteY34" fmla="*/ 330311 h 337969"/>
                            <a:gd name="connsiteX35" fmla="*/ 161554 w 204218"/>
                            <a:gd name="connsiteY35" fmla="*/ 325751 h 337969"/>
                            <a:gd name="connsiteX36" fmla="*/ 150177 w 204218"/>
                            <a:gd name="connsiteY36" fmla="*/ 316631 h 337969"/>
                            <a:gd name="connsiteX37" fmla="*/ 150177 w 204218"/>
                            <a:gd name="connsiteY37" fmla="*/ 302952 h 337969"/>
                            <a:gd name="connsiteX38" fmla="*/ 152453 w 204218"/>
                            <a:gd name="connsiteY38" fmla="*/ 293832 h 337969"/>
                            <a:gd name="connsiteX39" fmla="*/ 143351 w 204218"/>
                            <a:gd name="connsiteY39" fmla="*/ 284712 h 337969"/>
                            <a:gd name="connsiteX40" fmla="*/ 138800 w 204218"/>
                            <a:gd name="connsiteY40" fmla="*/ 282432 h 337969"/>
                            <a:gd name="connsiteX41" fmla="*/ 136525 w 204218"/>
                            <a:gd name="connsiteY41" fmla="*/ 286992 h 337969"/>
                            <a:gd name="connsiteX42" fmla="*/ 134249 w 204218"/>
                            <a:gd name="connsiteY42" fmla="*/ 289272 h 337969"/>
                            <a:gd name="connsiteX43" fmla="*/ 136525 w 204218"/>
                            <a:gd name="connsiteY43" fmla="*/ 293832 h 337969"/>
                            <a:gd name="connsiteX44" fmla="*/ 129698 w 204218"/>
                            <a:gd name="connsiteY44" fmla="*/ 289272 h 337969"/>
                            <a:gd name="connsiteX45" fmla="*/ 129698 w 204218"/>
                            <a:gd name="connsiteY45" fmla="*/ 284712 h 337969"/>
                            <a:gd name="connsiteX46" fmla="*/ 127422 w 204218"/>
                            <a:gd name="connsiteY46" fmla="*/ 291552 h 337969"/>
                            <a:gd name="connsiteX47" fmla="*/ 125147 w 204218"/>
                            <a:gd name="connsiteY47" fmla="*/ 291552 h 337969"/>
                            <a:gd name="connsiteX48" fmla="*/ 120596 w 204218"/>
                            <a:gd name="connsiteY48" fmla="*/ 282432 h 337969"/>
                            <a:gd name="connsiteX49" fmla="*/ 113770 w 204218"/>
                            <a:gd name="connsiteY49" fmla="*/ 289272 h 337969"/>
                            <a:gd name="connsiteX50" fmla="*/ 111494 w 204218"/>
                            <a:gd name="connsiteY50" fmla="*/ 300672 h 337969"/>
                            <a:gd name="connsiteX51" fmla="*/ 104668 w 204218"/>
                            <a:gd name="connsiteY51" fmla="*/ 298392 h 337969"/>
                            <a:gd name="connsiteX52" fmla="*/ 106944 w 204218"/>
                            <a:gd name="connsiteY52" fmla="*/ 289272 h 337969"/>
                            <a:gd name="connsiteX53" fmla="*/ 109219 w 204218"/>
                            <a:gd name="connsiteY53" fmla="*/ 280152 h 337969"/>
                            <a:gd name="connsiteX54" fmla="*/ 120596 w 204218"/>
                            <a:gd name="connsiteY54" fmla="*/ 275593 h 337969"/>
                            <a:gd name="connsiteX55" fmla="*/ 127422 w 204218"/>
                            <a:gd name="connsiteY55" fmla="*/ 266473 h 337969"/>
                            <a:gd name="connsiteX56" fmla="*/ 134249 w 204218"/>
                            <a:gd name="connsiteY56" fmla="*/ 259633 h 337969"/>
                            <a:gd name="connsiteX57" fmla="*/ 136525 w 204218"/>
                            <a:gd name="connsiteY57" fmla="*/ 264193 h 337969"/>
                            <a:gd name="connsiteX58" fmla="*/ 143351 w 204218"/>
                            <a:gd name="connsiteY58" fmla="*/ 271033 h 337969"/>
                            <a:gd name="connsiteX59" fmla="*/ 143351 w 204218"/>
                            <a:gd name="connsiteY59" fmla="*/ 275593 h 337969"/>
                            <a:gd name="connsiteX60" fmla="*/ 141075 w 204218"/>
                            <a:gd name="connsiteY60" fmla="*/ 277873 h 337969"/>
                            <a:gd name="connsiteX61" fmla="*/ 145626 w 204218"/>
                            <a:gd name="connsiteY61" fmla="*/ 275593 h 337969"/>
                            <a:gd name="connsiteX62" fmla="*/ 152453 w 204218"/>
                            <a:gd name="connsiteY62" fmla="*/ 271033 h 337969"/>
                            <a:gd name="connsiteX63" fmla="*/ 154728 w 204218"/>
                            <a:gd name="connsiteY63" fmla="*/ 264193 h 337969"/>
                            <a:gd name="connsiteX64" fmla="*/ 161554 w 204218"/>
                            <a:gd name="connsiteY64" fmla="*/ 266473 h 337969"/>
                            <a:gd name="connsiteX65" fmla="*/ 166105 w 204218"/>
                            <a:gd name="connsiteY65" fmla="*/ 255073 h 337969"/>
                            <a:gd name="connsiteX66" fmla="*/ 170656 w 204218"/>
                            <a:gd name="connsiteY66" fmla="*/ 250514 h 337969"/>
                            <a:gd name="connsiteX67" fmla="*/ 177482 w 204218"/>
                            <a:gd name="connsiteY67" fmla="*/ 252793 h 337969"/>
                            <a:gd name="connsiteX68" fmla="*/ 177482 w 204218"/>
                            <a:gd name="connsiteY68" fmla="*/ 248234 h 337969"/>
                            <a:gd name="connsiteX69" fmla="*/ 175207 w 204218"/>
                            <a:gd name="connsiteY69" fmla="*/ 234554 h 337969"/>
                            <a:gd name="connsiteX70" fmla="*/ 188913 w 204218"/>
                            <a:gd name="connsiteY70" fmla="*/ 229791 h 337969"/>
                            <a:gd name="connsiteX71" fmla="*/ 188913 w 204218"/>
                            <a:gd name="connsiteY71" fmla="*/ 234554 h 337969"/>
                            <a:gd name="connsiteX72" fmla="*/ 188913 w 204218"/>
                            <a:gd name="connsiteY72" fmla="*/ 229791 h 337969"/>
                            <a:gd name="connsiteX73" fmla="*/ 167878 w 204218"/>
                            <a:gd name="connsiteY73" fmla="*/ 227410 h 337969"/>
                            <a:gd name="connsiteX74" fmla="*/ 172641 w 204218"/>
                            <a:gd name="connsiteY74" fmla="*/ 232173 h 337969"/>
                            <a:gd name="connsiteX75" fmla="*/ 170260 w 204218"/>
                            <a:gd name="connsiteY75" fmla="*/ 229792 h 337969"/>
                            <a:gd name="connsiteX76" fmla="*/ 167878 w 204218"/>
                            <a:gd name="connsiteY76" fmla="*/ 227410 h 337969"/>
                            <a:gd name="connsiteX77" fmla="*/ 148233 w 204218"/>
                            <a:gd name="connsiteY77" fmla="*/ 226087 h 337969"/>
                            <a:gd name="connsiteX78" fmla="*/ 157163 w 204218"/>
                            <a:gd name="connsiteY78" fmla="*/ 237332 h 337969"/>
                            <a:gd name="connsiteX79" fmla="*/ 141536 w 204218"/>
                            <a:gd name="connsiteY79" fmla="*/ 237332 h 337969"/>
                            <a:gd name="connsiteX80" fmla="*/ 148233 w 204218"/>
                            <a:gd name="connsiteY80" fmla="*/ 226087 h 337969"/>
                            <a:gd name="connsiteX81" fmla="*/ 179785 w 204218"/>
                            <a:gd name="connsiteY81" fmla="*/ 219075 h 337969"/>
                            <a:gd name="connsiteX82" fmla="*/ 179785 w 204218"/>
                            <a:gd name="connsiteY82" fmla="*/ 223498 h 337969"/>
                            <a:gd name="connsiteX83" fmla="*/ 179785 w 204218"/>
                            <a:gd name="connsiteY83" fmla="*/ 227920 h 337969"/>
                            <a:gd name="connsiteX84" fmla="*/ 177404 w 204218"/>
                            <a:gd name="connsiteY84" fmla="*/ 234554 h 337969"/>
                            <a:gd name="connsiteX85" fmla="*/ 177404 w 204218"/>
                            <a:gd name="connsiteY85" fmla="*/ 230132 h 337969"/>
                            <a:gd name="connsiteX86" fmla="*/ 175022 w 204218"/>
                            <a:gd name="connsiteY86" fmla="*/ 225709 h 337969"/>
                            <a:gd name="connsiteX87" fmla="*/ 179785 w 204218"/>
                            <a:gd name="connsiteY87" fmla="*/ 219075 h 337969"/>
                            <a:gd name="connsiteX88" fmla="*/ 54768 w 204218"/>
                            <a:gd name="connsiteY88" fmla="*/ 215206 h 337969"/>
                            <a:gd name="connsiteX89" fmla="*/ 57150 w 204218"/>
                            <a:gd name="connsiteY89" fmla="*/ 216694 h 337969"/>
                            <a:gd name="connsiteX90" fmla="*/ 52387 w 204218"/>
                            <a:gd name="connsiteY90" fmla="*/ 219075 h 337969"/>
                            <a:gd name="connsiteX91" fmla="*/ 54768 w 204218"/>
                            <a:gd name="connsiteY91" fmla="*/ 215206 h 337969"/>
                            <a:gd name="connsiteX92" fmla="*/ 113902 w 204218"/>
                            <a:gd name="connsiteY92" fmla="*/ 211931 h 337969"/>
                            <a:gd name="connsiteX93" fmla="*/ 111918 w 204218"/>
                            <a:gd name="connsiteY93" fmla="*/ 219075 h 337969"/>
                            <a:gd name="connsiteX94" fmla="*/ 113902 w 204218"/>
                            <a:gd name="connsiteY94" fmla="*/ 211931 h 337969"/>
                            <a:gd name="connsiteX95" fmla="*/ 123229 w 204218"/>
                            <a:gd name="connsiteY95" fmla="*/ 204788 h 337969"/>
                            <a:gd name="connsiteX96" fmla="*/ 130076 w 204218"/>
                            <a:gd name="connsiteY96" fmla="*/ 207061 h 337969"/>
                            <a:gd name="connsiteX97" fmla="*/ 130076 w 204218"/>
                            <a:gd name="connsiteY97" fmla="*/ 218426 h 337969"/>
                            <a:gd name="connsiteX98" fmla="*/ 127793 w 204218"/>
                            <a:gd name="connsiteY98" fmla="*/ 238883 h 337969"/>
                            <a:gd name="connsiteX99" fmla="*/ 130076 w 204218"/>
                            <a:gd name="connsiteY99" fmla="*/ 250248 h 337969"/>
                            <a:gd name="connsiteX100" fmla="*/ 123229 w 204218"/>
                            <a:gd name="connsiteY100" fmla="*/ 252521 h 337969"/>
                            <a:gd name="connsiteX101" fmla="*/ 120947 w 204218"/>
                            <a:gd name="connsiteY101" fmla="*/ 245702 h 337969"/>
                            <a:gd name="connsiteX102" fmla="*/ 116383 w 204218"/>
                            <a:gd name="connsiteY102" fmla="*/ 243429 h 337969"/>
                            <a:gd name="connsiteX103" fmla="*/ 109537 w 204218"/>
                            <a:gd name="connsiteY103" fmla="*/ 232064 h 337969"/>
                            <a:gd name="connsiteX104" fmla="*/ 118665 w 204218"/>
                            <a:gd name="connsiteY104" fmla="*/ 225245 h 337969"/>
                            <a:gd name="connsiteX105" fmla="*/ 118665 w 204218"/>
                            <a:gd name="connsiteY105" fmla="*/ 218426 h 337969"/>
                            <a:gd name="connsiteX106" fmla="*/ 120947 w 204218"/>
                            <a:gd name="connsiteY106" fmla="*/ 213880 h 337969"/>
                            <a:gd name="connsiteX107" fmla="*/ 123229 w 204218"/>
                            <a:gd name="connsiteY107" fmla="*/ 204788 h 337969"/>
                            <a:gd name="connsiteX108" fmla="*/ 142875 w 204218"/>
                            <a:gd name="connsiteY108" fmla="*/ 198835 h 337969"/>
                            <a:gd name="connsiteX109" fmla="*/ 142875 w 204218"/>
                            <a:gd name="connsiteY109" fmla="*/ 216933 h 337969"/>
                            <a:gd name="connsiteX110" fmla="*/ 136327 w 204218"/>
                            <a:gd name="connsiteY110" fmla="*/ 228244 h 337969"/>
                            <a:gd name="connsiteX111" fmla="*/ 129778 w 204218"/>
                            <a:gd name="connsiteY111" fmla="*/ 241817 h 337969"/>
                            <a:gd name="connsiteX112" fmla="*/ 131961 w 204218"/>
                            <a:gd name="connsiteY112" fmla="*/ 230506 h 337969"/>
                            <a:gd name="connsiteX113" fmla="*/ 138510 w 204218"/>
                            <a:gd name="connsiteY113" fmla="*/ 212408 h 337969"/>
                            <a:gd name="connsiteX114" fmla="*/ 142875 w 204218"/>
                            <a:gd name="connsiteY114" fmla="*/ 198835 h 337969"/>
                            <a:gd name="connsiteX115" fmla="*/ 45555 w 204218"/>
                            <a:gd name="connsiteY115" fmla="*/ 196453 h 337969"/>
                            <a:gd name="connsiteX116" fmla="*/ 47832 w 204218"/>
                            <a:gd name="connsiteY116" fmla="*/ 210091 h 337969"/>
                            <a:gd name="connsiteX117" fmla="*/ 47832 w 204218"/>
                            <a:gd name="connsiteY117" fmla="*/ 221456 h 337969"/>
                            <a:gd name="connsiteX118" fmla="*/ 40999 w 204218"/>
                            <a:gd name="connsiteY118" fmla="*/ 226003 h 337969"/>
                            <a:gd name="connsiteX119" fmla="*/ 38721 w 204218"/>
                            <a:gd name="connsiteY119" fmla="*/ 230549 h 337969"/>
                            <a:gd name="connsiteX120" fmla="*/ 31888 w 204218"/>
                            <a:gd name="connsiteY120" fmla="*/ 232822 h 337969"/>
                            <a:gd name="connsiteX121" fmla="*/ 29610 w 204218"/>
                            <a:gd name="connsiteY121" fmla="*/ 235095 h 337969"/>
                            <a:gd name="connsiteX122" fmla="*/ 18222 w 204218"/>
                            <a:gd name="connsiteY122" fmla="*/ 253279 h 337969"/>
                            <a:gd name="connsiteX123" fmla="*/ 0 w 204218"/>
                            <a:gd name="connsiteY123" fmla="*/ 271463 h 337969"/>
                            <a:gd name="connsiteX124" fmla="*/ 2277 w 204218"/>
                            <a:gd name="connsiteY124" fmla="*/ 264644 h 337969"/>
                            <a:gd name="connsiteX125" fmla="*/ 11388 w 204218"/>
                            <a:gd name="connsiteY125" fmla="*/ 253279 h 337969"/>
                            <a:gd name="connsiteX126" fmla="*/ 13666 w 204218"/>
                            <a:gd name="connsiteY126" fmla="*/ 248733 h 337969"/>
                            <a:gd name="connsiteX127" fmla="*/ 18222 w 204218"/>
                            <a:gd name="connsiteY127" fmla="*/ 246460 h 337969"/>
                            <a:gd name="connsiteX128" fmla="*/ 25055 w 204218"/>
                            <a:gd name="connsiteY128" fmla="*/ 237368 h 337969"/>
                            <a:gd name="connsiteX129" fmla="*/ 29610 w 204218"/>
                            <a:gd name="connsiteY129" fmla="*/ 230549 h 337969"/>
                            <a:gd name="connsiteX130" fmla="*/ 31888 w 204218"/>
                            <a:gd name="connsiteY130" fmla="*/ 228276 h 337969"/>
                            <a:gd name="connsiteX131" fmla="*/ 31888 w 204218"/>
                            <a:gd name="connsiteY131" fmla="*/ 226003 h 337969"/>
                            <a:gd name="connsiteX132" fmla="*/ 34166 w 204218"/>
                            <a:gd name="connsiteY132" fmla="*/ 223729 h 337969"/>
                            <a:gd name="connsiteX133" fmla="*/ 36444 w 204218"/>
                            <a:gd name="connsiteY133" fmla="*/ 221456 h 337969"/>
                            <a:gd name="connsiteX134" fmla="*/ 38721 w 204218"/>
                            <a:gd name="connsiteY134" fmla="*/ 216910 h 337969"/>
                            <a:gd name="connsiteX135" fmla="*/ 40999 w 204218"/>
                            <a:gd name="connsiteY135" fmla="*/ 212364 h 337969"/>
                            <a:gd name="connsiteX136" fmla="*/ 38721 w 204218"/>
                            <a:gd name="connsiteY136" fmla="*/ 205545 h 337969"/>
                            <a:gd name="connsiteX137" fmla="*/ 45555 w 204218"/>
                            <a:gd name="connsiteY137" fmla="*/ 212364 h 337969"/>
                            <a:gd name="connsiteX138" fmla="*/ 40999 w 204218"/>
                            <a:gd name="connsiteY138" fmla="*/ 203272 h 337969"/>
                            <a:gd name="connsiteX139" fmla="*/ 45555 w 204218"/>
                            <a:gd name="connsiteY139" fmla="*/ 196453 h 337969"/>
                            <a:gd name="connsiteX140" fmla="*/ 147637 w 204218"/>
                            <a:gd name="connsiteY140" fmla="*/ 189310 h 337969"/>
                            <a:gd name="connsiteX141" fmla="*/ 152400 w 204218"/>
                            <a:gd name="connsiteY141" fmla="*/ 194073 h 337969"/>
                            <a:gd name="connsiteX142" fmla="*/ 147637 w 204218"/>
                            <a:gd name="connsiteY142" fmla="*/ 189310 h 337969"/>
                            <a:gd name="connsiteX143" fmla="*/ 95157 w 204218"/>
                            <a:gd name="connsiteY143" fmla="*/ 182166 h 337969"/>
                            <a:gd name="connsiteX144" fmla="*/ 102027 w 204218"/>
                            <a:gd name="connsiteY144" fmla="*/ 186780 h 337969"/>
                            <a:gd name="connsiteX145" fmla="*/ 108896 w 204218"/>
                            <a:gd name="connsiteY145" fmla="*/ 191393 h 337969"/>
                            <a:gd name="connsiteX146" fmla="*/ 113475 w 204218"/>
                            <a:gd name="connsiteY146" fmla="*/ 191393 h 337969"/>
                            <a:gd name="connsiteX147" fmla="*/ 115765 w 204218"/>
                            <a:gd name="connsiteY147" fmla="*/ 193700 h 337969"/>
                            <a:gd name="connsiteX148" fmla="*/ 122634 w 204218"/>
                            <a:gd name="connsiteY148" fmla="*/ 200621 h 337969"/>
                            <a:gd name="connsiteX149" fmla="*/ 115765 w 204218"/>
                            <a:gd name="connsiteY149" fmla="*/ 207542 h 337969"/>
                            <a:gd name="connsiteX150" fmla="*/ 108896 w 204218"/>
                            <a:gd name="connsiteY150" fmla="*/ 212156 h 337969"/>
                            <a:gd name="connsiteX151" fmla="*/ 97447 w 204218"/>
                            <a:gd name="connsiteY151" fmla="*/ 219076 h 337969"/>
                            <a:gd name="connsiteX152" fmla="*/ 97447 w 204218"/>
                            <a:gd name="connsiteY152" fmla="*/ 207542 h 337969"/>
                            <a:gd name="connsiteX153" fmla="*/ 97447 w 204218"/>
                            <a:gd name="connsiteY153" fmla="*/ 198314 h 337969"/>
                            <a:gd name="connsiteX154" fmla="*/ 92868 w 204218"/>
                            <a:gd name="connsiteY154" fmla="*/ 186780 h 337969"/>
                            <a:gd name="connsiteX155" fmla="*/ 95157 w 204218"/>
                            <a:gd name="connsiteY155" fmla="*/ 182166 h 337969"/>
                            <a:gd name="connsiteX156" fmla="*/ 52387 w 204218"/>
                            <a:gd name="connsiteY156" fmla="*/ 182165 h 337969"/>
                            <a:gd name="connsiteX157" fmla="*/ 54768 w 204218"/>
                            <a:gd name="connsiteY157" fmla="*/ 182165 h 337969"/>
                            <a:gd name="connsiteX158" fmla="*/ 54768 w 204218"/>
                            <a:gd name="connsiteY158" fmla="*/ 189309 h 337969"/>
                            <a:gd name="connsiteX159" fmla="*/ 52387 w 204218"/>
                            <a:gd name="connsiteY159" fmla="*/ 182165 h 337969"/>
                            <a:gd name="connsiteX160" fmla="*/ 50006 w 204218"/>
                            <a:gd name="connsiteY160" fmla="*/ 173831 h 337969"/>
                            <a:gd name="connsiteX161" fmla="*/ 52387 w 204218"/>
                            <a:gd name="connsiteY161" fmla="*/ 173831 h 337969"/>
                            <a:gd name="connsiteX162" fmla="*/ 59531 w 204218"/>
                            <a:gd name="connsiteY162" fmla="*/ 177800 h 337969"/>
                            <a:gd name="connsiteX163" fmla="*/ 61913 w 204218"/>
                            <a:gd name="connsiteY163" fmla="*/ 179785 h 337969"/>
                            <a:gd name="connsiteX164" fmla="*/ 50006 w 204218"/>
                            <a:gd name="connsiteY164" fmla="*/ 173831 h 337969"/>
                            <a:gd name="connsiteX165" fmla="*/ 107156 w 204218"/>
                            <a:gd name="connsiteY165" fmla="*/ 169069 h 337969"/>
                            <a:gd name="connsiteX166" fmla="*/ 109537 w 204218"/>
                            <a:gd name="connsiteY166" fmla="*/ 173832 h 337969"/>
                            <a:gd name="connsiteX167" fmla="*/ 104775 w 204218"/>
                            <a:gd name="connsiteY167" fmla="*/ 171450 h 337969"/>
                            <a:gd name="connsiteX168" fmla="*/ 107156 w 204218"/>
                            <a:gd name="connsiteY168" fmla="*/ 169069 h 337969"/>
                            <a:gd name="connsiteX169" fmla="*/ 161330 w 204218"/>
                            <a:gd name="connsiteY169" fmla="*/ 166688 h 337969"/>
                            <a:gd name="connsiteX170" fmla="*/ 165944 w 204218"/>
                            <a:gd name="connsiteY170" fmla="*/ 171186 h 337969"/>
                            <a:gd name="connsiteX171" fmla="*/ 170558 w 204218"/>
                            <a:gd name="connsiteY171" fmla="*/ 175684 h 337969"/>
                            <a:gd name="connsiteX172" fmla="*/ 170558 w 204218"/>
                            <a:gd name="connsiteY172" fmla="*/ 177933 h 337969"/>
                            <a:gd name="connsiteX173" fmla="*/ 170558 w 204218"/>
                            <a:gd name="connsiteY173" fmla="*/ 186929 h 337969"/>
                            <a:gd name="connsiteX174" fmla="*/ 175171 w 204218"/>
                            <a:gd name="connsiteY174" fmla="*/ 198174 h 337969"/>
                            <a:gd name="connsiteX175" fmla="*/ 179785 w 204218"/>
                            <a:gd name="connsiteY175" fmla="*/ 204920 h 337969"/>
                            <a:gd name="connsiteX176" fmla="*/ 168251 w 204218"/>
                            <a:gd name="connsiteY176" fmla="*/ 202672 h 337969"/>
                            <a:gd name="connsiteX177" fmla="*/ 161925 w 204218"/>
                            <a:gd name="connsiteY177" fmla="*/ 198560 h 337969"/>
                            <a:gd name="connsiteX178" fmla="*/ 161330 w 204218"/>
                            <a:gd name="connsiteY178" fmla="*/ 198174 h 337969"/>
                            <a:gd name="connsiteX179" fmla="*/ 163637 w 204218"/>
                            <a:gd name="connsiteY179" fmla="*/ 207169 h 337969"/>
                            <a:gd name="connsiteX180" fmla="*/ 165944 w 204218"/>
                            <a:gd name="connsiteY180" fmla="*/ 211667 h 337969"/>
                            <a:gd name="connsiteX181" fmla="*/ 170558 w 204218"/>
                            <a:gd name="connsiteY181" fmla="*/ 220663 h 337969"/>
                            <a:gd name="connsiteX182" fmla="*/ 163637 w 204218"/>
                            <a:gd name="connsiteY182" fmla="*/ 220663 h 337969"/>
                            <a:gd name="connsiteX183" fmla="*/ 165944 w 204218"/>
                            <a:gd name="connsiteY183" fmla="*/ 227410 h 337969"/>
                            <a:gd name="connsiteX184" fmla="*/ 159023 w 204218"/>
                            <a:gd name="connsiteY184" fmla="*/ 211667 h 337969"/>
                            <a:gd name="connsiteX185" fmla="*/ 152103 w 204218"/>
                            <a:gd name="connsiteY185" fmla="*/ 207169 h 337969"/>
                            <a:gd name="connsiteX186" fmla="*/ 147489 w 204218"/>
                            <a:gd name="connsiteY186" fmla="*/ 191426 h 337969"/>
                            <a:gd name="connsiteX187" fmla="*/ 156716 w 204218"/>
                            <a:gd name="connsiteY187" fmla="*/ 198174 h 337969"/>
                            <a:gd name="connsiteX188" fmla="*/ 161330 w 204218"/>
                            <a:gd name="connsiteY188" fmla="*/ 195924 h 337969"/>
                            <a:gd name="connsiteX189" fmla="*/ 159023 w 204218"/>
                            <a:gd name="connsiteY189" fmla="*/ 191426 h 337969"/>
                            <a:gd name="connsiteX190" fmla="*/ 161330 w 204218"/>
                            <a:gd name="connsiteY190" fmla="*/ 186929 h 337969"/>
                            <a:gd name="connsiteX191" fmla="*/ 152103 w 204218"/>
                            <a:gd name="connsiteY191" fmla="*/ 180182 h 337969"/>
                            <a:gd name="connsiteX192" fmla="*/ 142875 w 204218"/>
                            <a:gd name="connsiteY192" fmla="*/ 168937 h 337969"/>
                            <a:gd name="connsiteX193" fmla="*/ 154410 w 204218"/>
                            <a:gd name="connsiteY193" fmla="*/ 168937 h 337969"/>
                            <a:gd name="connsiteX194" fmla="*/ 161330 w 204218"/>
                            <a:gd name="connsiteY194" fmla="*/ 166688 h 337969"/>
                            <a:gd name="connsiteX195" fmla="*/ 120253 w 204218"/>
                            <a:gd name="connsiteY195" fmla="*/ 166688 h 337969"/>
                            <a:gd name="connsiteX196" fmla="*/ 127039 w 204218"/>
                            <a:gd name="connsiteY196" fmla="*/ 168937 h 337969"/>
                            <a:gd name="connsiteX197" fmla="*/ 131564 w 204218"/>
                            <a:gd name="connsiteY197" fmla="*/ 173435 h 337969"/>
                            <a:gd name="connsiteX198" fmla="*/ 140613 w 204218"/>
                            <a:gd name="connsiteY198" fmla="*/ 186929 h 337969"/>
                            <a:gd name="connsiteX199" fmla="*/ 133826 w 204218"/>
                            <a:gd name="connsiteY199" fmla="*/ 182431 h 337969"/>
                            <a:gd name="connsiteX200" fmla="*/ 129302 w 204218"/>
                            <a:gd name="connsiteY200" fmla="*/ 177933 h 337969"/>
                            <a:gd name="connsiteX201" fmla="*/ 120253 w 204218"/>
                            <a:gd name="connsiteY201" fmla="*/ 182431 h 337969"/>
                            <a:gd name="connsiteX202" fmla="*/ 122515 w 204218"/>
                            <a:gd name="connsiteY202" fmla="*/ 180182 h 337969"/>
                            <a:gd name="connsiteX203" fmla="*/ 122515 w 204218"/>
                            <a:gd name="connsiteY203" fmla="*/ 175684 h 337969"/>
                            <a:gd name="connsiteX204" fmla="*/ 120253 w 204218"/>
                            <a:gd name="connsiteY204" fmla="*/ 166688 h 337969"/>
                            <a:gd name="connsiteX205" fmla="*/ 95547 w 204218"/>
                            <a:gd name="connsiteY205" fmla="*/ 165124 h 337969"/>
                            <a:gd name="connsiteX206" fmla="*/ 97631 w 204218"/>
                            <a:gd name="connsiteY206" fmla="*/ 166489 h 337969"/>
                            <a:gd name="connsiteX207" fmla="*/ 97631 w 204218"/>
                            <a:gd name="connsiteY207" fmla="*/ 177403 h 337969"/>
                            <a:gd name="connsiteX208" fmla="*/ 95249 w 204218"/>
                            <a:gd name="connsiteY208" fmla="*/ 168672 h 337969"/>
                            <a:gd name="connsiteX209" fmla="*/ 95547 w 204218"/>
                            <a:gd name="connsiteY209" fmla="*/ 165124 h 337969"/>
                            <a:gd name="connsiteX210" fmla="*/ 129778 w 204218"/>
                            <a:gd name="connsiteY210" fmla="*/ 164306 h 337969"/>
                            <a:gd name="connsiteX211" fmla="*/ 134541 w 204218"/>
                            <a:gd name="connsiteY211" fmla="*/ 171450 h 337969"/>
                            <a:gd name="connsiteX212" fmla="*/ 132160 w 204218"/>
                            <a:gd name="connsiteY212" fmla="*/ 169069 h 337969"/>
                            <a:gd name="connsiteX213" fmla="*/ 129778 w 204218"/>
                            <a:gd name="connsiteY213" fmla="*/ 164306 h 337969"/>
                            <a:gd name="connsiteX214" fmla="*/ 114300 w 204218"/>
                            <a:gd name="connsiteY214" fmla="*/ 152400 h 337969"/>
                            <a:gd name="connsiteX215" fmla="*/ 125016 w 204218"/>
                            <a:gd name="connsiteY215" fmla="*/ 164306 h 337969"/>
                            <a:gd name="connsiteX216" fmla="*/ 114300 w 204218"/>
                            <a:gd name="connsiteY216" fmla="*/ 152400 h 337969"/>
                            <a:gd name="connsiteX217" fmla="*/ 89297 w 204218"/>
                            <a:gd name="connsiteY217" fmla="*/ 145971 h 337969"/>
                            <a:gd name="connsiteX218" fmla="*/ 95251 w 204218"/>
                            <a:gd name="connsiteY218" fmla="*/ 145971 h 337969"/>
                            <a:gd name="connsiteX219" fmla="*/ 89297 w 204218"/>
                            <a:gd name="connsiteY219" fmla="*/ 145971 h 337969"/>
                            <a:gd name="connsiteX220" fmla="*/ 67453 w 204218"/>
                            <a:gd name="connsiteY220" fmla="*/ 143652 h 337969"/>
                            <a:gd name="connsiteX221" fmla="*/ 77757 w 204218"/>
                            <a:gd name="connsiteY221" fmla="*/ 146182 h 337969"/>
                            <a:gd name="connsiteX222" fmla="*/ 84626 w 204218"/>
                            <a:gd name="connsiteY222" fmla="*/ 159675 h 337969"/>
                            <a:gd name="connsiteX223" fmla="*/ 84626 w 204218"/>
                            <a:gd name="connsiteY223" fmla="*/ 166422 h 337969"/>
                            <a:gd name="connsiteX224" fmla="*/ 82336 w 204218"/>
                            <a:gd name="connsiteY224" fmla="*/ 170920 h 337969"/>
                            <a:gd name="connsiteX225" fmla="*/ 70888 w 204218"/>
                            <a:gd name="connsiteY225" fmla="*/ 161924 h 337969"/>
                            <a:gd name="connsiteX226" fmla="*/ 64019 w 204218"/>
                            <a:gd name="connsiteY226" fmla="*/ 150680 h 337969"/>
                            <a:gd name="connsiteX227" fmla="*/ 57150 w 204218"/>
                            <a:gd name="connsiteY227" fmla="*/ 146182 h 337969"/>
                            <a:gd name="connsiteX228" fmla="*/ 67453 w 204218"/>
                            <a:gd name="connsiteY228" fmla="*/ 143652 h 337969"/>
                            <a:gd name="connsiteX229" fmla="*/ 136684 w 204218"/>
                            <a:gd name="connsiteY229" fmla="*/ 129779 h 337969"/>
                            <a:gd name="connsiteX230" fmla="*/ 138828 w 204218"/>
                            <a:gd name="connsiteY230" fmla="*/ 144067 h 337969"/>
                            <a:gd name="connsiteX231" fmla="*/ 136684 w 204218"/>
                            <a:gd name="connsiteY231" fmla="*/ 129779 h 337969"/>
                            <a:gd name="connsiteX232" fmla="*/ 84534 w 204218"/>
                            <a:gd name="connsiteY232" fmla="*/ 107157 h 337969"/>
                            <a:gd name="connsiteX233" fmla="*/ 88503 w 204218"/>
                            <a:gd name="connsiteY233" fmla="*/ 116682 h 337969"/>
                            <a:gd name="connsiteX234" fmla="*/ 84534 w 204218"/>
                            <a:gd name="connsiteY234" fmla="*/ 107157 h 337969"/>
                            <a:gd name="connsiteX235" fmla="*/ 50575 w 204218"/>
                            <a:gd name="connsiteY235" fmla="*/ 19050 h 337969"/>
                            <a:gd name="connsiteX236" fmla="*/ 55130 w 204218"/>
                            <a:gd name="connsiteY236" fmla="*/ 19050 h 337969"/>
                            <a:gd name="connsiteX237" fmla="*/ 66519 w 204218"/>
                            <a:gd name="connsiteY237" fmla="*/ 23596 h 337969"/>
                            <a:gd name="connsiteX238" fmla="*/ 68797 w 204218"/>
                            <a:gd name="connsiteY238" fmla="*/ 28142 h 337969"/>
                            <a:gd name="connsiteX239" fmla="*/ 75630 w 204218"/>
                            <a:gd name="connsiteY239" fmla="*/ 28142 h 337969"/>
                            <a:gd name="connsiteX240" fmla="*/ 80185 w 204218"/>
                            <a:gd name="connsiteY240" fmla="*/ 23596 h 337969"/>
                            <a:gd name="connsiteX241" fmla="*/ 82463 w 204218"/>
                            <a:gd name="connsiteY241" fmla="*/ 30415 h 337969"/>
                            <a:gd name="connsiteX242" fmla="*/ 82463 w 204218"/>
                            <a:gd name="connsiteY242" fmla="*/ 44053 h 337969"/>
                            <a:gd name="connsiteX243" fmla="*/ 89296 w 204218"/>
                            <a:gd name="connsiteY243" fmla="*/ 50872 h 337969"/>
                            <a:gd name="connsiteX244" fmla="*/ 91574 w 204218"/>
                            <a:gd name="connsiteY244" fmla="*/ 55418 h 337969"/>
                            <a:gd name="connsiteX245" fmla="*/ 89296 w 204218"/>
                            <a:gd name="connsiteY245" fmla="*/ 71329 h 337969"/>
                            <a:gd name="connsiteX246" fmla="*/ 87019 w 204218"/>
                            <a:gd name="connsiteY246" fmla="*/ 80421 h 337969"/>
                            <a:gd name="connsiteX247" fmla="*/ 87019 w 204218"/>
                            <a:gd name="connsiteY247" fmla="*/ 78148 h 337969"/>
                            <a:gd name="connsiteX248" fmla="*/ 77908 w 204218"/>
                            <a:gd name="connsiteY248" fmla="*/ 84967 h 337969"/>
                            <a:gd name="connsiteX249" fmla="*/ 75630 w 204218"/>
                            <a:gd name="connsiteY249" fmla="*/ 96332 h 337969"/>
                            <a:gd name="connsiteX250" fmla="*/ 84741 w 204218"/>
                            <a:gd name="connsiteY250" fmla="*/ 114517 h 337969"/>
                            <a:gd name="connsiteX251" fmla="*/ 87019 w 204218"/>
                            <a:gd name="connsiteY251" fmla="*/ 130428 h 337969"/>
                            <a:gd name="connsiteX252" fmla="*/ 95102 w 204218"/>
                            <a:gd name="connsiteY252" fmla="*/ 132041 h 337969"/>
                            <a:gd name="connsiteX253" fmla="*/ 98407 w 204218"/>
                            <a:gd name="connsiteY253" fmla="*/ 132701 h 337969"/>
                            <a:gd name="connsiteX254" fmla="*/ 96129 w 204218"/>
                            <a:gd name="connsiteY254" fmla="*/ 128155 h 337969"/>
                            <a:gd name="connsiteX255" fmla="*/ 98407 w 204218"/>
                            <a:gd name="connsiteY255" fmla="*/ 130428 h 337969"/>
                            <a:gd name="connsiteX256" fmla="*/ 112073 w 204218"/>
                            <a:gd name="connsiteY256" fmla="*/ 130428 h 337969"/>
                            <a:gd name="connsiteX257" fmla="*/ 118907 w 204218"/>
                            <a:gd name="connsiteY257" fmla="*/ 139520 h 337969"/>
                            <a:gd name="connsiteX258" fmla="*/ 118907 w 204218"/>
                            <a:gd name="connsiteY258" fmla="*/ 130428 h 337969"/>
                            <a:gd name="connsiteX259" fmla="*/ 128017 w 204218"/>
                            <a:gd name="connsiteY259" fmla="*/ 134974 h 337969"/>
                            <a:gd name="connsiteX260" fmla="*/ 134851 w 204218"/>
                            <a:gd name="connsiteY260" fmla="*/ 139520 h 337969"/>
                            <a:gd name="connsiteX261" fmla="*/ 125740 w 204218"/>
                            <a:gd name="connsiteY261" fmla="*/ 144066 h 337969"/>
                            <a:gd name="connsiteX262" fmla="*/ 132573 w 204218"/>
                            <a:gd name="connsiteY262" fmla="*/ 148612 h 337969"/>
                            <a:gd name="connsiteX263" fmla="*/ 132573 w 204218"/>
                            <a:gd name="connsiteY263" fmla="*/ 153158 h 337969"/>
                            <a:gd name="connsiteX264" fmla="*/ 139407 w 204218"/>
                            <a:gd name="connsiteY264" fmla="*/ 166796 h 337969"/>
                            <a:gd name="connsiteX265" fmla="*/ 134851 w 204218"/>
                            <a:gd name="connsiteY265" fmla="*/ 164523 h 337969"/>
                            <a:gd name="connsiteX266" fmla="*/ 137129 w 204218"/>
                            <a:gd name="connsiteY266" fmla="*/ 157704 h 337969"/>
                            <a:gd name="connsiteX267" fmla="*/ 132573 w 204218"/>
                            <a:gd name="connsiteY267" fmla="*/ 159977 h 337969"/>
                            <a:gd name="connsiteX268" fmla="*/ 128017 w 204218"/>
                            <a:gd name="connsiteY268" fmla="*/ 157704 h 337969"/>
                            <a:gd name="connsiteX269" fmla="*/ 123462 w 204218"/>
                            <a:gd name="connsiteY269" fmla="*/ 155431 h 337969"/>
                            <a:gd name="connsiteX270" fmla="*/ 121184 w 204218"/>
                            <a:gd name="connsiteY270" fmla="*/ 150885 h 337969"/>
                            <a:gd name="connsiteX271" fmla="*/ 112073 w 204218"/>
                            <a:gd name="connsiteY271" fmla="*/ 141793 h 337969"/>
                            <a:gd name="connsiteX272" fmla="*/ 100685 w 204218"/>
                            <a:gd name="connsiteY272" fmla="*/ 132701 h 337969"/>
                            <a:gd name="connsiteX273" fmla="*/ 105240 w 204218"/>
                            <a:gd name="connsiteY273" fmla="*/ 141793 h 337969"/>
                            <a:gd name="connsiteX274" fmla="*/ 107518 w 204218"/>
                            <a:gd name="connsiteY274" fmla="*/ 146339 h 337969"/>
                            <a:gd name="connsiteX275" fmla="*/ 109796 w 204218"/>
                            <a:gd name="connsiteY275" fmla="*/ 150885 h 337969"/>
                            <a:gd name="connsiteX276" fmla="*/ 105240 w 204218"/>
                            <a:gd name="connsiteY276" fmla="*/ 150885 h 337969"/>
                            <a:gd name="connsiteX277" fmla="*/ 96129 w 204218"/>
                            <a:gd name="connsiteY277" fmla="*/ 139520 h 337969"/>
                            <a:gd name="connsiteX278" fmla="*/ 87019 w 204218"/>
                            <a:gd name="connsiteY278" fmla="*/ 132701 h 337969"/>
                            <a:gd name="connsiteX279" fmla="*/ 82463 w 204218"/>
                            <a:gd name="connsiteY279" fmla="*/ 134974 h 337969"/>
                            <a:gd name="connsiteX280" fmla="*/ 80185 w 204218"/>
                            <a:gd name="connsiteY280" fmla="*/ 139520 h 337969"/>
                            <a:gd name="connsiteX281" fmla="*/ 73352 w 204218"/>
                            <a:gd name="connsiteY281" fmla="*/ 141793 h 337969"/>
                            <a:gd name="connsiteX282" fmla="*/ 68797 w 204218"/>
                            <a:gd name="connsiteY282" fmla="*/ 139520 h 337969"/>
                            <a:gd name="connsiteX283" fmla="*/ 64241 w 204218"/>
                            <a:gd name="connsiteY283" fmla="*/ 134974 h 337969"/>
                            <a:gd name="connsiteX284" fmla="*/ 61964 w 204218"/>
                            <a:gd name="connsiteY284" fmla="*/ 137247 h 337969"/>
                            <a:gd name="connsiteX285" fmla="*/ 61964 w 204218"/>
                            <a:gd name="connsiteY285" fmla="*/ 125882 h 337969"/>
                            <a:gd name="connsiteX286" fmla="*/ 68797 w 204218"/>
                            <a:gd name="connsiteY286" fmla="*/ 121336 h 337969"/>
                            <a:gd name="connsiteX287" fmla="*/ 57408 w 204218"/>
                            <a:gd name="connsiteY287" fmla="*/ 112243 h 337969"/>
                            <a:gd name="connsiteX288" fmla="*/ 57408 w 204218"/>
                            <a:gd name="connsiteY288" fmla="*/ 121336 h 337969"/>
                            <a:gd name="connsiteX289" fmla="*/ 50575 w 204218"/>
                            <a:gd name="connsiteY289" fmla="*/ 109970 h 337969"/>
                            <a:gd name="connsiteX290" fmla="*/ 48297 w 204218"/>
                            <a:gd name="connsiteY290" fmla="*/ 109970 h 337969"/>
                            <a:gd name="connsiteX291" fmla="*/ 43742 w 204218"/>
                            <a:gd name="connsiteY291" fmla="*/ 98605 h 337969"/>
                            <a:gd name="connsiteX292" fmla="*/ 41464 w 204218"/>
                            <a:gd name="connsiteY292" fmla="*/ 87240 h 337969"/>
                            <a:gd name="connsiteX293" fmla="*/ 36909 w 204218"/>
                            <a:gd name="connsiteY293" fmla="*/ 80421 h 337969"/>
                            <a:gd name="connsiteX294" fmla="*/ 39186 w 204218"/>
                            <a:gd name="connsiteY294" fmla="*/ 73602 h 337969"/>
                            <a:gd name="connsiteX295" fmla="*/ 50575 w 204218"/>
                            <a:gd name="connsiteY295" fmla="*/ 80421 h 337969"/>
                            <a:gd name="connsiteX296" fmla="*/ 48297 w 204218"/>
                            <a:gd name="connsiteY296" fmla="*/ 62237 h 337969"/>
                            <a:gd name="connsiteX297" fmla="*/ 46020 w 204218"/>
                            <a:gd name="connsiteY297" fmla="*/ 39507 h 337969"/>
                            <a:gd name="connsiteX298" fmla="*/ 46020 w 204218"/>
                            <a:gd name="connsiteY298" fmla="*/ 25869 h 337969"/>
                            <a:gd name="connsiteX299" fmla="*/ 48297 w 204218"/>
                            <a:gd name="connsiteY299" fmla="*/ 21323 h 337969"/>
                            <a:gd name="connsiteX300" fmla="*/ 50575 w 204218"/>
                            <a:gd name="connsiteY300" fmla="*/ 19050 h 337969"/>
                            <a:gd name="connsiteX301" fmla="*/ 59531 w 204218"/>
                            <a:gd name="connsiteY301" fmla="*/ 0 h 337969"/>
                            <a:gd name="connsiteX302" fmla="*/ 61912 w 204218"/>
                            <a:gd name="connsiteY302" fmla="*/ 2381 h 337969"/>
                            <a:gd name="connsiteX303" fmla="*/ 59531 w 204218"/>
                            <a:gd name="connsiteY303" fmla="*/ 0 h 33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Lst>
                          <a:rect l="l" t="t" r="r" b="b"/>
                          <a:pathLst>
                            <a:path w="204218" h="337969">
                              <a:moveTo>
                                <a:pt x="86717" y="326231"/>
                              </a:moveTo>
                              <a:cubicBezTo>
                                <a:pt x="88899" y="326231"/>
                                <a:pt x="97631" y="328017"/>
                                <a:pt x="93265" y="329803"/>
                              </a:cubicBezTo>
                              <a:cubicBezTo>
                                <a:pt x="91082" y="328017"/>
                                <a:pt x="86717" y="328017"/>
                                <a:pt x="84534" y="329803"/>
                              </a:cubicBezTo>
                              <a:cubicBezTo>
                                <a:pt x="84534" y="329803"/>
                                <a:pt x="84534" y="326231"/>
                                <a:pt x="86717" y="326231"/>
                              </a:cubicBezTo>
                              <a:close/>
                              <a:moveTo>
                                <a:pt x="107155" y="309563"/>
                              </a:moveTo>
                              <a:cubicBezTo>
                                <a:pt x="109536" y="309563"/>
                                <a:pt x="111918" y="311944"/>
                                <a:pt x="114299" y="311944"/>
                              </a:cubicBezTo>
                              <a:cubicBezTo>
                                <a:pt x="111918" y="311944"/>
                                <a:pt x="111918" y="314326"/>
                                <a:pt x="109536" y="316707"/>
                              </a:cubicBezTo>
                              <a:cubicBezTo>
                                <a:pt x="107155" y="316707"/>
                                <a:pt x="104774" y="316707"/>
                                <a:pt x="104774" y="314326"/>
                              </a:cubicBezTo>
                              <a:cubicBezTo>
                                <a:pt x="104774" y="314326"/>
                                <a:pt x="104774" y="314326"/>
                                <a:pt x="102393" y="311944"/>
                              </a:cubicBezTo>
                              <a:cubicBezTo>
                                <a:pt x="104774" y="311944"/>
                                <a:pt x="104774" y="309563"/>
                                <a:pt x="107155" y="309563"/>
                              </a:cubicBezTo>
                              <a:close/>
                              <a:moveTo>
                                <a:pt x="136922" y="246459"/>
                              </a:moveTo>
                              <a:cubicBezTo>
                                <a:pt x="139303" y="248245"/>
                                <a:pt x="141684" y="250031"/>
                                <a:pt x="136922" y="250031"/>
                              </a:cubicBezTo>
                              <a:cubicBezTo>
                                <a:pt x="134540" y="250031"/>
                                <a:pt x="136922" y="248245"/>
                                <a:pt x="136922" y="246459"/>
                              </a:cubicBezTo>
                              <a:close/>
                              <a:moveTo>
                                <a:pt x="175207" y="234554"/>
                              </a:moveTo>
                              <a:cubicBezTo>
                                <a:pt x="179758" y="234554"/>
                                <a:pt x="179758" y="239114"/>
                                <a:pt x="184308" y="239114"/>
                              </a:cubicBezTo>
                              <a:cubicBezTo>
                                <a:pt x="186584" y="241394"/>
                                <a:pt x="186584" y="243674"/>
                                <a:pt x="186584" y="245954"/>
                              </a:cubicBezTo>
                              <a:cubicBezTo>
                                <a:pt x="188859" y="245954"/>
                                <a:pt x="188859" y="248234"/>
                                <a:pt x="191135" y="245954"/>
                              </a:cubicBezTo>
                              <a:cubicBezTo>
                                <a:pt x="193410" y="245954"/>
                                <a:pt x="193410" y="250514"/>
                                <a:pt x="193410" y="252793"/>
                              </a:cubicBezTo>
                              <a:cubicBezTo>
                                <a:pt x="193410" y="255073"/>
                                <a:pt x="197961" y="255073"/>
                                <a:pt x="195686" y="257353"/>
                              </a:cubicBezTo>
                              <a:cubicBezTo>
                                <a:pt x="195686" y="259633"/>
                                <a:pt x="191135" y="261913"/>
                                <a:pt x="191135" y="261913"/>
                              </a:cubicBezTo>
                              <a:cubicBezTo>
                                <a:pt x="191135" y="266473"/>
                                <a:pt x="202512" y="266473"/>
                                <a:pt x="197961" y="273313"/>
                              </a:cubicBezTo>
                              <a:cubicBezTo>
                                <a:pt x="200236" y="271033"/>
                                <a:pt x="200236" y="277873"/>
                                <a:pt x="200236" y="277873"/>
                              </a:cubicBezTo>
                              <a:cubicBezTo>
                                <a:pt x="197961" y="282432"/>
                                <a:pt x="202512" y="282432"/>
                                <a:pt x="202512" y="286992"/>
                              </a:cubicBezTo>
                              <a:cubicBezTo>
                                <a:pt x="204787" y="289272"/>
                                <a:pt x="204787" y="296112"/>
                                <a:pt x="202512" y="300672"/>
                              </a:cubicBezTo>
                              <a:cubicBezTo>
                                <a:pt x="202512" y="302952"/>
                                <a:pt x="197961" y="305231"/>
                                <a:pt x="200236" y="307511"/>
                              </a:cubicBezTo>
                              <a:cubicBezTo>
                                <a:pt x="200236" y="305231"/>
                                <a:pt x="197961" y="305231"/>
                                <a:pt x="195686" y="305231"/>
                              </a:cubicBezTo>
                              <a:cubicBezTo>
                                <a:pt x="200236" y="309791"/>
                                <a:pt x="197961" y="316631"/>
                                <a:pt x="197961" y="321191"/>
                              </a:cubicBezTo>
                              <a:cubicBezTo>
                                <a:pt x="197961" y="316631"/>
                                <a:pt x="195686" y="314351"/>
                                <a:pt x="195686" y="312071"/>
                              </a:cubicBezTo>
                              <a:cubicBezTo>
                                <a:pt x="193410" y="309791"/>
                                <a:pt x="195686" y="307511"/>
                                <a:pt x="193410" y="305231"/>
                              </a:cubicBezTo>
                              <a:cubicBezTo>
                                <a:pt x="193410" y="305231"/>
                                <a:pt x="188859" y="296112"/>
                                <a:pt x="186584" y="296112"/>
                              </a:cubicBezTo>
                              <a:cubicBezTo>
                                <a:pt x="184308" y="293832"/>
                                <a:pt x="179758" y="309791"/>
                                <a:pt x="179758" y="312071"/>
                              </a:cubicBezTo>
                              <a:cubicBezTo>
                                <a:pt x="182033" y="316631"/>
                                <a:pt x="186584" y="318911"/>
                                <a:pt x="186584" y="323471"/>
                              </a:cubicBezTo>
                              <a:cubicBezTo>
                                <a:pt x="186584" y="328031"/>
                                <a:pt x="184308" y="334870"/>
                                <a:pt x="182033" y="337150"/>
                              </a:cubicBezTo>
                              <a:cubicBezTo>
                                <a:pt x="177482" y="341710"/>
                                <a:pt x="177482" y="325751"/>
                                <a:pt x="177482" y="325751"/>
                              </a:cubicBezTo>
                              <a:cubicBezTo>
                                <a:pt x="172931" y="325751"/>
                                <a:pt x="175207" y="328031"/>
                                <a:pt x="172931" y="330311"/>
                              </a:cubicBezTo>
                              <a:cubicBezTo>
                                <a:pt x="170656" y="332590"/>
                                <a:pt x="163830" y="328031"/>
                                <a:pt x="161554" y="325751"/>
                              </a:cubicBezTo>
                              <a:cubicBezTo>
                                <a:pt x="157003" y="323471"/>
                                <a:pt x="152453" y="321191"/>
                                <a:pt x="150177" y="316631"/>
                              </a:cubicBezTo>
                              <a:cubicBezTo>
                                <a:pt x="150177" y="312071"/>
                                <a:pt x="147902" y="307511"/>
                                <a:pt x="150177" y="302952"/>
                              </a:cubicBezTo>
                              <a:cubicBezTo>
                                <a:pt x="150177" y="300672"/>
                                <a:pt x="154728" y="298392"/>
                                <a:pt x="152453" y="293832"/>
                              </a:cubicBezTo>
                              <a:cubicBezTo>
                                <a:pt x="152453" y="289272"/>
                                <a:pt x="147902" y="286992"/>
                                <a:pt x="143351" y="284712"/>
                              </a:cubicBezTo>
                              <a:cubicBezTo>
                                <a:pt x="141075" y="284712"/>
                                <a:pt x="138800" y="282432"/>
                                <a:pt x="138800" y="282432"/>
                              </a:cubicBezTo>
                              <a:cubicBezTo>
                                <a:pt x="134249" y="284712"/>
                                <a:pt x="138800" y="284712"/>
                                <a:pt x="136525" y="286992"/>
                              </a:cubicBezTo>
                              <a:cubicBezTo>
                                <a:pt x="136525" y="286992"/>
                                <a:pt x="134249" y="286992"/>
                                <a:pt x="134249" y="289272"/>
                              </a:cubicBezTo>
                              <a:cubicBezTo>
                                <a:pt x="134249" y="289272"/>
                                <a:pt x="136525" y="291552"/>
                                <a:pt x="136525" y="293832"/>
                              </a:cubicBezTo>
                              <a:cubicBezTo>
                                <a:pt x="134249" y="293832"/>
                                <a:pt x="131973" y="289272"/>
                                <a:pt x="129698" y="289272"/>
                              </a:cubicBezTo>
                              <a:cubicBezTo>
                                <a:pt x="129698" y="289272"/>
                                <a:pt x="131973" y="286992"/>
                                <a:pt x="129698" y="284712"/>
                              </a:cubicBezTo>
                              <a:cubicBezTo>
                                <a:pt x="127422" y="286992"/>
                                <a:pt x="127422" y="289272"/>
                                <a:pt x="127422" y="291552"/>
                              </a:cubicBezTo>
                              <a:cubicBezTo>
                                <a:pt x="125147" y="289272"/>
                                <a:pt x="125147" y="286992"/>
                                <a:pt x="125147" y="291552"/>
                              </a:cubicBezTo>
                              <a:cubicBezTo>
                                <a:pt x="122872" y="289272"/>
                                <a:pt x="122872" y="284712"/>
                                <a:pt x="120596" y="282432"/>
                              </a:cubicBezTo>
                              <a:cubicBezTo>
                                <a:pt x="118321" y="280152"/>
                                <a:pt x="116045" y="289272"/>
                                <a:pt x="113770" y="289272"/>
                              </a:cubicBezTo>
                              <a:cubicBezTo>
                                <a:pt x="113770" y="291552"/>
                                <a:pt x="111494" y="298392"/>
                                <a:pt x="111494" y="300672"/>
                              </a:cubicBezTo>
                              <a:cubicBezTo>
                                <a:pt x="111494" y="307511"/>
                                <a:pt x="102393" y="305231"/>
                                <a:pt x="104668" y="298392"/>
                              </a:cubicBezTo>
                              <a:cubicBezTo>
                                <a:pt x="104668" y="296112"/>
                                <a:pt x="106944" y="291552"/>
                                <a:pt x="106944" y="289272"/>
                              </a:cubicBezTo>
                              <a:cubicBezTo>
                                <a:pt x="106944" y="286992"/>
                                <a:pt x="106944" y="284712"/>
                                <a:pt x="109219" y="280152"/>
                              </a:cubicBezTo>
                              <a:cubicBezTo>
                                <a:pt x="111494" y="275593"/>
                                <a:pt x="118321" y="277873"/>
                                <a:pt x="120596" y="275593"/>
                              </a:cubicBezTo>
                              <a:cubicBezTo>
                                <a:pt x="125147" y="273313"/>
                                <a:pt x="125147" y="271033"/>
                                <a:pt x="127422" y="266473"/>
                              </a:cubicBezTo>
                              <a:cubicBezTo>
                                <a:pt x="127422" y="264193"/>
                                <a:pt x="134249" y="266473"/>
                                <a:pt x="134249" y="259633"/>
                              </a:cubicBezTo>
                              <a:cubicBezTo>
                                <a:pt x="136525" y="259633"/>
                                <a:pt x="136525" y="261913"/>
                                <a:pt x="136525" y="264193"/>
                              </a:cubicBezTo>
                              <a:cubicBezTo>
                                <a:pt x="141075" y="259633"/>
                                <a:pt x="143351" y="268753"/>
                                <a:pt x="143351" y="271033"/>
                              </a:cubicBezTo>
                              <a:cubicBezTo>
                                <a:pt x="145626" y="273313"/>
                                <a:pt x="143351" y="275593"/>
                                <a:pt x="143351" y="275593"/>
                              </a:cubicBezTo>
                              <a:cubicBezTo>
                                <a:pt x="143351" y="275593"/>
                                <a:pt x="138800" y="277873"/>
                                <a:pt x="141075" y="277873"/>
                              </a:cubicBezTo>
                              <a:cubicBezTo>
                                <a:pt x="141075" y="277873"/>
                                <a:pt x="143351" y="275593"/>
                                <a:pt x="145626" y="275593"/>
                              </a:cubicBezTo>
                              <a:cubicBezTo>
                                <a:pt x="147902" y="273313"/>
                                <a:pt x="152453" y="275593"/>
                                <a:pt x="152453" y="271033"/>
                              </a:cubicBezTo>
                              <a:cubicBezTo>
                                <a:pt x="152453" y="268753"/>
                                <a:pt x="152453" y="264193"/>
                                <a:pt x="154728" y="264193"/>
                              </a:cubicBezTo>
                              <a:cubicBezTo>
                                <a:pt x="157003" y="261913"/>
                                <a:pt x="159279" y="266473"/>
                                <a:pt x="161554" y="266473"/>
                              </a:cubicBezTo>
                              <a:cubicBezTo>
                                <a:pt x="166105" y="264193"/>
                                <a:pt x="161554" y="250514"/>
                                <a:pt x="166105" y="255073"/>
                              </a:cubicBezTo>
                              <a:cubicBezTo>
                                <a:pt x="172931" y="257353"/>
                                <a:pt x="170656" y="257353"/>
                                <a:pt x="170656" y="250514"/>
                              </a:cubicBezTo>
                              <a:cubicBezTo>
                                <a:pt x="172931" y="255073"/>
                                <a:pt x="175207" y="255073"/>
                                <a:pt x="177482" y="252793"/>
                              </a:cubicBezTo>
                              <a:cubicBezTo>
                                <a:pt x="179758" y="252793"/>
                                <a:pt x="179758" y="250514"/>
                                <a:pt x="177482" y="248234"/>
                              </a:cubicBezTo>
                              <a:cubicBezTo>
                                <a:pt x="177482" y="243674"/>
                                <a:pt x="172931" y="239114"/>
                                <a:pt x="175207" y="234554"/>
                              </a:cubicBezTo>
                              <a:close/>
                              <a:moveTo>
                                <a:pt x="188913" y="229791"/>
                              </a:moveTo>
                              <a:cubicBezTo>
                                <a:pt x="190898" y="229791"/>
                                <a:pt x="192882" y="234554"/>
                                <a:pt x="188913" y="234554"/>
                              </a:cubicBezTo>
                              <a:cubicBezTo>
                                <a:pt x="186928" y="236935"/>
                                <a:pt x="186928" y="229791"/>
                                <a:pt x="188913" y="229791"/>
                              </a:cubicBezTo>
                              <a:close/>
                              <a:moveTo>
                                <a:pt x="167878" y="227410"/>
                              </a:moveTo>
                              <a:cubicBezTo>
                                <a:pt x="170260" y="225029"/>
                                <a:pt x="170260" y="229792"/>
                                <a:pt x="172641" y="232173"/>
                              </a:cubicBezTo>
                              <a:cubicBezTo>
                                <a:pt x="172641" y="232173"/>
                                <a:pt x="172641" y="232173"/>
                                <a:pt x="170260" y="229792"/>
                              </a:cubicBezTo>
                              <a:cubicBezTo>
                                <a:pt x="170260" y="229792"/>
                                <a:pt x="170260" y="229792"/>
                                <a:pt x="167878" y="227410"/>
                              </a:cubicBezTo>
                              <a:close/>
                              <a:moveTo>
                                <a:pt x="148233" y="226087"/>
                              </a:moveTo>
                              <a:cubicBezTo>
                                <a:pt x="154931" y="223838"/>
                                <a:pt x="157163" y="232834"/>
                                <a:pt x="157163" y="237332"/>
                              </a:cubicBezTo>
                              <a:cubicBezTo>
                                <a:pt x="154931" y="235083"/>
                                <a:pt x="141536" y="244079"/>
                                <a:pt x="141536" y="237332"/>
                              </a:cubicBezTo>
                              <a:cubicBezTo>
                                <a:pt x="139303" y="235083"/>
                                <a:pt x="146001" y="226087"/>
                                <a:pt x="148233" y="226087"/>
                              </a:cubicBezTo>
                              <a:close/>
                              <a:moveTo>
                                <a:pt x="179785" y="219075"/>
                              </a:moveTo>
                              <a:cubicBezTo>
                                <a:pt x="179785" y="221286"/>
                                <a:pt x="177404" y="221286"/>
                                <a:pt x="179785" y="223498"/>
                              </a:cubicBezTo>
                              <a:cubicBezTo>
                                <a:pt x="179785" y="225709"/>
                                <a:pt x="179785" y="225709"/>
                                <a:pt x="179785" y="227920"/>
                              </a:cubicBezTo>
                              <a:cubicBezTo>
                                <a:pt x="179785" y="230132"/>
                                <a:pt x="182166" y="234554"/>
                                <a:pt x="177404" y="234554"/>
                              </a:cubicBezTo>
                              <a:cubicBezTo>
                                <a:pt x="179785" y="232343"/>
                                <a:pt x="179785" y="230132"/>
                                <a:pt x="177404" y="230132"/>
                              </a:cubicBezTo>
                              <a:cubicBezTo>
                                <a:pt x="177404" y="227920"/>
                                <a:pt x="177404" y="225709"/>
                                <a:pt x="175022" y="225709"/>
                              </a:cubicBezTo>
                              <a:cubicBezTo>
                                <a:pt x="177404" y="223498"/>
                                <a:pt x="175022" y="221286"/>
                                <a:pt x="179785" y="219075"/>
                              </a:cubicBezTo>
                              <a:close/>
                              <a:moveTo>
                                <a:pt x="54768" y="215206"/>
                              </a:moveTo>
                              <a:cubicBezTo>
                                <a:pt x="55959" y="214313"/>
                                <a:pt x="57150" y="214313"/>
                                <a:pt x="57150" y="216694"/>
                              </a:cubicBezTo>
                              <a:cubicBezTo>
                                <a:pt x="54768" y="216694"/>
                                <a:pt x="54768" y="219075"/>
                                <a:pt x="52387" y="219075"/>
                              </a:cubicBezTo>
                              <a:cubicBezTo>
                                <a:pt x="52387" y="217885"/>
                                <a:pt x="53578" y="216099"/>
                                <a:pt x="54768" y="215206"/>
                              </a:cubicBezTo>
                              <a:close/>
                              <a:moveTo>
                                <a:pt x="113902" y="211931"/>
                              </a:moveTo>
                              <a:cubicBezTo>
                                <a:pt x="117872" y="211931"/>
                                <a:pt x="113902" y="219075"/>
                                <a:pt x="111918" y="219075"/>
                              </a:cubicBezTo>
                              <a:cubicBezTo>
                                <a:pt x="111918" y="219075"/>
                                <a:pt x="111918" y="211931"/>
                                <a:pt x="113902" y="211931"/>
                              </a:cubicBezTo>
                              <a:close/>
                              <a:moveTo>
                                <a:pt x="123229" y="204788"/>
                              </a:moveTo>
                              <a:cubicBezTo>
                                <a:pt x="125511" y="204788"/>
                                <a:pt x="127793" y="204788"/>
                                <a:pt x="130076" y="207061"/>
                              </a:cubicBezTo>
                              <a:cubicBezTo>
                                <a:pt x="136922" y="209334"/>
                                <a:pt x="132358" y="216153"/>
                                <a:pt x="130076" y="218426"/>
                              </a:cubicBezTo>
                              <a:cubicBezTo>
                                <a:pt x="127793" y="225245"/>
                                <a:pt x="125511" y="234337"/>
                                <a:pt x="127793" y="238883"/>
                              </a:cubicBezTo>
                              <a:cubicBezTo>
                                <a:pt x="127793" y="243429"/>
                                <a:pt x="132358" y="245702"/>
                                <a:pt x="130076" y="250248"/>
                              </a:cubicBezTo>
                              <a:cubicBezTo>
                                <a:pt x="130076" y="250248"/>
                                <a:pt x="125511" y="254794"/>
                                <a:pt x="123229" y="252521"/>
                              </a:cubicBezTo>
                              <a:cubicBezTo>
                                <a:pt x="123229" y="250248"/>
                                <a:pt x="123229" y="247975"/>
                                <a:pt x="120947" y="245702"/>
                              </a:cubicBezTo>
                              <a:cubicBezTo>
                                <a:pt x="120947" y="243429"/>
                                <a:pt x="116383" y="243429"/>
                                <a:pt x="116383" y="243429"/>
                              </a:cubicBezTo>
                              <a:cubicBezTo>
                                <a:pt x="114101" y="238883"/>
                                <a:pt x="109537" y="236610"/>
                                <a:pt x="109537" y="232064"/>
                              </a:cubicBezTo>
                              <a:cubicBezTo>
                                <a:pt x="109537" y="227518"/>
                                <a:pt x="118665" y="229791"/>
                                <a:pt x="118665" y="225245"/>
                              </a:cubicBezTo>
                              <a:cubicBezTo>
                                <a:pt x="120947" y="222972"/>
                                <a:pt x="118665" y="220699"/>
                                <a:pt x="118665" y="218426"/>
                              </a:cubicBezTo>
                              <a:cubicBezTo>
                                <a:pt x="118665" y="216153"/>
                                <a:pt x="118665" y="216153"/>
                                <a:pt x="120947" y="213880"/>
                              </a:cubicBezTo>
                              <a:cubicBezTo>
                                <a:pt x="120947" y="209334"/>
                                <a:pt x="118665" y="207061"/>
                                <a:pt x="123229" y="204788"/>
                              </a:cubicBezTo>
                              <a:close/>
                              <a:moveTo>
                                <a:pt x="142875" y="198835"/>
                              </a:moveTo>
                              <a:cubicBezTo>
                                <a:pt x="142875" y="205622"/>
                                <a:pt x="142875" y="210146"/>
                                <a:pt x="142875" y="216933"/>
                              </a:cubicBezTo>
                              <a:cubicBezTo>
                                <a:pt x="142875" y="221457"/>
                                <a:pt x="138510" y="223719"/>
                                <a:pt x="136327" y="228244"/>
                              </a:cubicBezTo>
                              <a:cubicBezTo>
                                <a:pt x="134144" y="230506"/>
                                <a:pt x="136327" y="244079"/>
                                <a:pt x="129778" y="241817"/>
                              </a:cubicBezTo>
                              <a:cubicBezTo>
                                <a:pt x="129778" y="237293"/>
                                <a:pt x="131961" y="235030"/>
                                <a:pt x="131961" y="230506"/>
                              </a:cubicBezTo>
                              <a:cubicBezTo>
                                <a:pt x="131961" y="223719"/>
                                <a:pt x="136327" y="216933"/>
                                <a:pt x="138510" y="212408"/>
                              </a:cubicBezTo>
                              <a:cubicBezTo>
                                <a:pt x="138510" y="210146"/>
                                <a:pt x="138510" y="201097"/>
                                <a:pt x="142875" y="198835"/>
                              </a:cubicBezTo>
                              <a:close/>
                              <a:moveTo>
                                <a:pt x="45555" y="196453"/>
                              </a:moveTo>
                              <a:cubicBezTo>
                                <a:pt x="47832" y="198726"/>
                                <a:pt x="43277" y="205545"/>
                                <a:pt x="47832" y="210091"/>
                              </a:cubicBezTo>
                              <a:cubicBezTo>
                                <a:pt x="50110" y="214637"/>
                                <a:pt x="52388" y="216910"/>
                                <a:pt x="47832" y="221456"/>
                              </a:cubicBezTo>
                              <a:cubicBezTo>
                                <a:pt x="45555" y="223729"/>
                                <a:pt x="43277" y="221456"/>
                                <a:pt x="40999" y="226003"/>
                              </a:cubicBezTo>
                              <a:cubicBezTo>
                                <a:pt x="40999" y="228276"/>
                                <a:pt x="40999" y="228276"/>
                                <a:pt x="38721" y="230549"/>
                              </a:cubicBezTo>
                              <a:cubicBezTo>
                                <a:pt x="36444" y="230549"/>
                                <a:pt x="31888" y="230549"/>
                                <a:pt x="31888" y="232822"/>
                              </a:cubicBezTo>
                              <a:cubicBezTo>
                                <a:pt x="31888" y="235095"/>
                                <a:pt x="34166" y="237368"/>
                                <a:pt x="29610" y="235095"/>
                              </a:cubicBezTo>
                              <a:cubicBezTo>
                                <a:pt x="36444" y="239641"/>
                                <a:pt x="20499" y="251006"/>
                                <a:pt x="18222" y="253279"/>
                              </a:cubicBezTo>
                              <a:cubicBezTo>
                                <a:pt x="13666" y="262371"/>
                                <a:pt x="6833" y="264644"/>
                                <a:pt x="0" y="271463"/>
                              </a:cubicBezTo>
                              <a:cubicBezTo>
                                <a:pt x="0" y="269190"/>
                                <a:pt x="0" y="266917"/>
                                <a:pt x="2277" y="264644"/>
                              </a:cubicBezTo>
                              <a:cubicBezTo>
                                <a:pt x="4555" y="260098"/>
                                <a:pt x="6833" y="255552"/>
                                <a:pt x="11388" y="253279"/>
                              </a:cubicBezTo>
                              <a:cubicBezTo>
                                <a:pt x="11388" y="251006"/>
                                <a:pt x="13666" y="248733"/>
                                <a:pt x="13666" y="248733"/>
                              </a:cubicBezTo>
                              <a:cubicBezTo>
                                <a:pt x="15944" y="246460"/>
                                <a:pt x="15944" y="248733"/>
                                <a:pt x="18222" y="246460"/>
                              </a:cubicBezTo>
                              <a:cubicBezTo>
                                <a:pt x="20499" y="244187"/>
                                <a:pt x="22777" y="239641"/>
                                <a:pt x="25055" y="237368"/>
                              </a:cubicBezTo>
                              <a:cubicBezTo>
                                <a:pt x="27333" y="235095"/>
                                <a:pt x="27333" y="232822"/>
                                <a:pt x="29610" y="230549"/>
                              </a:cubicBezTo>
                              <a:cubicBezTo>
                                <a:pt x="29610" y="230549"/>
                                <a:pt x="31888" y="223729"/>
                                <a:pt x="31888" y="228276"/>
                              </a:cubicBezTo>
                              <a:cubicBezTo>
                                <a:pt x="34166" y="228276"/>
                                <a:pt x="31888" y="226003"/>
                                <a:pt x="31888" y="226003"/>
                              </a:cubicBezTo>
                              <a:cubicBezTo>
                                <a:pt x="31888" y="223729"/>
                                <a:pt x="34166" y="226003"/>
                                <a:pt x="34166" y="223729"/>
                              </a:cubicBezTo>
                              <a:cubicBezTo>
                                <a:pt x="34166" y="223729"/>
                                <a:pt x="34166" y="221456"/>
                                <a:pt x="36444" y="221456"/>
                              </a:cubicBezTo>
                              <a:cubicBezTo>
                                <a:pt x="36444" y="219183"/>
                                <a:pt x="38721" y="219183"/>
                                <a:pt x="38721" y="216910"/>
                              </a:cubicBezTo>
                              <a:cubicBezTo>
                                <a:pt x="38721" y="223729"/>
                                <a:pt x="43277" y="216910"/>
                                <a:pt x="40999" y="212364"/>
                              </a:cubicBezTo>
                              <a:cubicBezTo>
                                <a:pt x="40999" y="210091"/>
                                <a:pt x="38721" y="210091"/>
                                <a:pt x="38721" y="205545"/>
                              </a:cubicBezTo>
                              <a:cubicBezTo>
                                <a:pt x="40999" y="207818"/>
                                <a:pt x="43277" y="210091"/>
                                <a:pt x="45555" y="212364"/>
                              </a:cubicBezTo>
                              <a:cubicBezTo>
                                <a:pt x="45555" y="210091"/>
                                <a:pt x="43277" y="205545"/>
                                <a:pt x="40999" y="203272"/>
                              </a:cubicBezTo>
                              <a:cubicBezTo>
                                <a:pt x="45555" y="205545"/>
                                <a:pt x="40999" y="198726"/>
                                <a:pt x="45555" y="196453"/>
                              </a:cubicBezTo>
                              <a:close/>
                              <a:moveTo>
                                <a:pt x="147637" y="189310"/>
                              </a:moveTo>
                              <a:cubicBezTo>
                                <a:pt x="152400" y="186929"/>
                                <a:pt x="154781" y="194073"/>
                                <a:pt x="152400" y="194073"/>
                              </a:cubicBezTo>
                              <a:cubicBezTo>
                                <a:pt x="150019" y="191692"/>
                                <a:pt x="147637" y="189310"/>
                                <a:pt x="147637" y="189310"/>
                              </a:cubicBezTo>
                              <a:close/>
                              <a:moveTo>
                                <a:pt x="95157" y="182166"/>
                              </a:moveTo>
                              <a:cubicBezTo>
                                <a:pt x="97447" y="184473"/>
                                <a:pt x="99737" y="184473"/>
                                <a:pt x="102027" y="186780"/>
                              </a:cubicBezTo>
                              <a:cubicBezTo>
                                <a:pt x="106606" y="186780"/>
                                <a:pt x="106606" y="189086"/>
                                <a:pt x="108896" y="191393"/>
                              </a:cubicBezTo>
                              <a:cubicBezTo>
                                <a:pt x="111185" y="193700"/>
                                <a:pt x="111185" y="191393"/>
                                <a:pt x="113475" y="191393"/>
                              </a:cubicBezTo>
                              <a:cubicBezTo>
                                <a:pt x="115765" y="189086"/>
                                <a:pt x="118054" y="191393"/>
                                <a:pt x="115765" y="193700"/>
                              </a:cubicBezTo>
                              <a:cubicBezTo>
                                <a:pt x="122634" y="189086"/>
                                <a:pt x="120344" y="196007"/>
                                <a:pt x="122634" y="200621"/>
                              </a:cubicBezTo>
                              <a:cubicBezTo>
                                <a:pt x="122634" y="202928"/>
                                <a:pt x="113475" y="205235"/>
                                <a:pt x="115765" y="207542"/>
                              </a:cubicBezTo>
                              <a:cubicBezTo>
                                <a:pt x="115765" y="209849"/>
                                <a:pt x="111185" y="212156"/>
                                <a:pt x="108896" y="212156"/>
                              </a:cubicBezTo>
                              <a:cubicBezTo>
                                <a:pt x="104316" y="212156"/>
                                <a:pt x="102027" y="219076"/>
                                <a:pt x="97447" y="219076"/>
                              </a:cubicBezTo>
                              <a:cubicBezTo>
                                <a:pt x="99737" y="214462"/>
                                <a:pt x="97447" y="212156"/>
                                <a:pt x="97447" y="207542"/>
                              </a:cubicBezTo>
                              <a:cubicBezTo>
                                <a:pt x="99737" y="202928"/>
                                <a:pt x="97447" y="200621"/>
                                <a:pt x="97447" y="198314"/>
                              </a:cubicBezTo>
                              <a:cubicBezTo>
                                <a:pt x="99737" y="191393"/>
                                <a:pt x="99737" y="186780"/>
                                <a:pt x="92868" y="186780"/>
                              </a:cubicBezTo>
                              <a:cubicBezTo>
                                <a:pt x="92868" y="184473"/>
                                <a:pt x="95157" y="182166"/>
                                <a:pt x="95157" y="182166"/>
                              </a:cubicBezTo>
                              <a:close/>
                              <a:moveTo>
                                <a:pt x="52387" y="182165"/>
                              </a:moveTo>
                              <a:cubicBezTo>
                                <a:pt x="52387" y="182165"/>
                                <a:pt x="52387" y="182165"/>
                                <a:pt x="54768" y="182165"/>
                              </a:cubicBezTo>
                              <a:cubicBezTo>
                                <a:pt x="54768" y="184546"/>
                                <a:pt x="57150" y="186928"/>
                                <a:pt x="54768" y="189309"/>
                              </a:cubicBezTo>
                              <a:cubicBezTo>
                                <a:pt x="54768" y="184546"/>
                                <a:pt x="52387" y="184546"/>
                                <a:pt x="52387" y="182165"/>
                              </a:cubicBezTo>
                              <a:close/>
                              <a:moveTo>
                                <a:pt x="50006" y="173831"/>
                              </a:moveTo>
                              <a:cubicBezTo>
                                <a:pt x="50006" y="173831"/>
                                <a:pt x="50006" y="173831"/>
                                <a:pt x="52387" y="173831"/>
                              </a:cubicBezTo>
                              <a:cubicBezTo>
                                <a:pt x="54769" y="175816"/>
                                <a:pt x="57150" y="175816"/>
                                <a:pt x="59531" y="177800"/>
                              </a:cubicBezTo>
                              <a:cubicBezTo>
                                <a:pt x="61913" y="177800"/>
                                <a:pt x="61913" y="179785"/>
                                <a:pt x="61913" y="179785"/>
                              </a:cubicBezTo>
                              <a:cubicBezTo>
                                <a:pt x="57150" y="179785"/>
                                <a:pt x="47625" y="179785"/>
                                <a:pt x="50006" y="173831"/>
                              </a:cubicBezTo>
                              <a:close/>
                              <a:moveTo>
                                <a:pt x="107156" y="169069"/>
                              </a:moveTo>
                              <a:cubicBezTo>
                                <a:pt x="109537" y="169069"/>
                                <a:pt x="111919" y="171450"/>
                                <a:pt x="109537" y="173832"/>
                              </a:cubicBezTo>
                              <a:cubicBezTo>
                                <a:pt x="109537" y="173832"/>
                                <a:pt x="107156" y="171450"/>
                                <a:pt x="104775" y="171450"/>
                              </a:cubicBezTo>
                              <a:cubicBezTo>
                                <a:pt x="104775" y="171450"/>
                                <a:pt x="104775" y="171450"/>
                                <a:pt x="107156" y="169069"/>
                              </a:cubicBezTo>
                              <a:close/>
                              <a:moveTo>
                                <a:pt x="161330" y="166688"/>
                              </a:moveTo>
                              <a:cubicBezTo>
                                <a:pt x="163637" y="168937"/>
                                <a:pt x="165944" y="168937"/>
                                <a:pt x="165944" y="171186"/>
                              </a:cubicBezTo>
                              <a:cubicBezTo>
                                <a:pt x="165944" y="175684"/>
                                <a:pt x="168251" y="173435"/>
                                <a:pt x="170558" y="175684"/>
                              </a:cubicBezTo>
                              <a:cubicBezTo>
                                <a:pt x="172865" y="177933"/>
                                <a:pt x="168251" y="175684"/>
                                <a:pt x="170558" y="177933"/>
                              </a:cubicBezTo>
                              <a:cubicBezTo>
                                <a:pt x="172865" y="180182"/>
                                <a:pt x="170558" y="182431"/>
                                <a:pt x="170558" y="186929"/>
                              </a:cubicBezTo>
                              <a:cubicBezTo>
                                <a:pt x="170558" y="189178"/>
                                <a:pt x="177478" y="195924"/>
                                <a:pt x="175171" y="198174"/>
                              </a:cubicBezTo>
                              <a:cubicBezTo>
                                <a:pt x="177478" y="200423"/>
                                <a:pt x="177478" y="202672"/>
                                <a:pt x="179785" y="204920"/>
                              </a:cubicBezTo>
                              <a:cubicBezTo>
                                <a:pt x="177478" y="202672"/>
                                <a:pt x="170558" y="200423"/>
                                <a:pt x="168251" y="202672"/>
                              </a:cubicBezTo>
                              <a:lnTo>
                                <a:pt x="161925" y="198560"/>
                              </a:lnTo>
                              <a:lnTo>
                                <a:pt x="161330" y="198174"/>
                              </a:lnTo>
                              <a:cubicBezTo>
                                <a:pt x="163637" y="200423"/>
                                <a:pt x="163637" y="202672"/>
                                <a:pt x="163637" y="207169"/>
                              </a:cubicBezTo>
                              <a:cubicBezTo>
                                <a:pt x="163637" y="209418"/>
                                <a:pt x="165944" y="209418"/>
                                <a:pt x="165944" y="211667"/>
                              </a:cubicBezTo>
                              <a:cubicBezTo>
                                <a:pt x="168251" y="213916"/>
                                <a:pt x="170558" y="220663"/>
                                <a:pt x="170558" y="220663"/>
                              </a:cubicBezTo>
                              <a:cubicBezTo>
                                <a:pt x="170558" y="222912"/>
                                <a:pt x="165944" y="222912"/>
                                <a:pt x="163637" y="220663"/>
                              </a:cubicBezTo>
                              <a:cubicBezTo>
                                <a:pt x="163637" y="222912"/>
                                <a:pt x="165944" y="225161"/>
                                <a:pt x="165944" y="227410"/>
                              </a:cubicBezTo>
                              <a:cubicBezTo>
                                <a:pt x="159023" y="225161"/>
                                <a:pt x="159023" y="218414"/>
                                <a:pt x="159023" y="211667"/>
                              </a:cubicBezTo>
                              <a:cubicBezTo>
                                <a:pt x="159023" y="209418"/>
                                <a:pt x="152103" y="202672"/>
                                <a:pt x="152103" y="207169"/>
                              </a:cubicBezTo>
                              <a:cubicBezTo>
                                <a:pt x="149796" y="207169"/>
                                <a:pt x="145182" y="193675"/>
                                <a:pt x="147489" y="191426"/>
                              </a:cubicBezTo>
                              <a:cubicBezTo>
                                <a:pt x="149796" y="193675"/>
                                <a:pt x="154410" y="198174"/>
                                <a:pt x="156716" y="198174"/>
                              </a:cubicBezTo>
                              <a:cubicBezTo>
                                <a:pt x="159023" y="195924"/>
                                <a:pt x="159023" y="193675"/>
                                <a:pt x="161330" y="195924"/>
                              </a:cubicBezTo>
                              <a:cubicBezTo>
                                <a:pt x="161330" y="193675"/>
                                <a:pt x="159023" y="193675"/>
                                <a:pt x="159023" y="191426"/>
                              </a:cubicBezTo>
                              <a:cubicBezTo>
                                <a:pt x="161330" y="191426"/>
                                <a:pt x="161330" y="189178"/>
                                <a:pt x="161330" y="186929"/>
                              </a:cubicBezTo>
                              <a:cubicBezTo>
                                <a:pt x="159023" y="186929"/>
                                <a:pt x="152103" y="180182"/>
                                <a:pt x="152103" y="180182"/>
                              </a:cubicBezTo>
                              <a:cubicBezTo>
                                <a:pt x="147489" y="175684"/>
                                <a:pt x="145182" y="173435"/>
                                <a:pt x="142875" y="168937"/>
                              </a:cubicBezTo>
                              <a:cubicBezTo>
                                <a:pt x="147489" y="166688"/>
                                <a:pt x="149796" y="168937"/>
                                <a:pt x="154410" y="168937"/>
                              </a:cubicBezTo>
                              <a:cubicBezTo>
                                <a:pt x="156716" y="166688"/>
                                <a:pt x="159023" y="166688"/>
                                <a:pt x="161330" y="166688"/>
                              </a:cubicBezTo>
                              <a:close/>
                              <a:moveTo>
                                <a:pt x="120253" y="166688"/>
                              </a:moveTo>
                              <a:cubicBezTo>
                                <a:pt x="122515" y="166688"/>
                                <a:pt x="127039" y="168937"/>
                                <a:pt x="127039" y="168937"/>
                              </a:cubicBezTo>
                              <a:cubicBezTo>
                                <a:pt x="129302" y="171186"/>
                                <a:pt x="131564" y="171186"/>
                                <a:pt x="131564" y="173435"/>
                              </a:cubicBezTo>
                              <a:cubicBezTo>
                                <a:pt x="136089" y="177933"/>
                                <a:pt x="142875" y="180182"/>
                                <a:pt x="140613" y="186929"/>
                              </a:cubicBezTo>
                              <a:cubicBezTo>
                                <a:pt x="138351" y="184680"/>
                                <a:pt x="136089" y="184680"/>
                                <a:pt x="133826" y="182431"/>
                              </a:cubicBezTo>
                              <a:cubicBezTo>
                                <a:pt x="131564" y="180182"/>
                                <a:pt x="131564" y="177933"/>
                                <a:pt x="129302" y="177933"/>
                              </a:cubicBezTo>
                              <a:cubicBezTo>
                                <a:pt x="127039" y="173435"/>
                                <a:pt x="124777" y="180182"/>
                                <a:pt x="120253" y="182431"/>
                              </a:cubicBezTo>
                              <a:cubicBezTo>
                                <a:pt x="120253" y="182431"/>
                                <a:pt x="120253" y="182431"/>
                                <a:pt x="122515" y="180182"/>
                              </a:cubicBezTo>
                              <a:cubicBezTo>
                                <a:pt x="122515" y="177933"/>
                                <a:pt x="124777" y="177933"/>
                                <a:pt x="122515" y="175684"/>
                              </a:cubicBezTo>
                              <a:cubicBezTo>
                                <a:pt x="120253" y="173435"/>
                                <a:pt x="122515" y="168937"/>
                                <a:pt x="120253" y="166688"/>
                              </a:cubicBezTo>
                              <a:close/>
                              <a:moveTo>
                                <a:pt x="95547" y="165124"/>
                              </a:moveTo>
                              <a:cubicBezTo>
                                <a:pt x="96440" y="164852"/>
                                <a:pt x="97631" y="165397"/>
                                <a:pt x="97631" y="166489"/>
                              </a:cubicBezTo>
                              <a:cubicBezTo>
                                <a:pt x="97631" y="170854"/>
                                <a:pt x="97631" y="173037"/>
                                <a:pt x="97631" y="177403"/>
                              </a:cubicBezTo>
                              <a:cubicBezTo>
                                <a:pt x="92868" y="175220"/>
                                <a:pt x="95249" y="170854"/>
                                <a:pt x="95249" y="168672"/>
                              </a:cubicBezTo>
                              <a:cubicBezTo>
                                <a:pt x="94059" y="166489"/>
                                <a:pt x="94654" y="165397"/>
                                <a:pt x="95547" y="165124"/>
                              </a:cubicBezTo>
                              <a:close/>
                              <a:moveTo>
                                <a:pt x="129778" y="164306"/>
                              </a:moveTo>
                              <a:cubicBezTo>
                                <a:pt x="132160" y="166687"/>
                                <a:pt x="134541" y="169069"/>
                                <a:pt x="134541" y="171450"/>
                              </a:cubicBezTo>
                              <a:cubicBezTo>
                                <a:pt x="132160" y="171450"/>
                                <a:pt x="132160" y="169069"/>
                                <a:pt x="132160" y="169069"/>
                              </a:cubicBezTo>
                              <a:cubicBezTo>
                                <a:pt x="129778" y="166687"/>
                                <a:pt x="129778" y="166687"/>
                                <a:pt x="129778" y="164306"/>
                              </a:cubicBezTo>
                              <a:close/>
                              <a:moveTo>
                                <a:pt x="114300" y="152400"/>
                              </a:moveTo>
                              <a:cubicBezTo>
                                <a:pt x="118586" y="154781"/>
                                <a:pt x="122873" y="159543"/>
                                <a:pt x="125016" y="164306"/>
                              </a:cubicBezTo>
                              <a:cubicBezTo>
                                <a:pt x="122873" y="161925"/>
                                <a:pt x="114300" y="157162"/>
                                <a:pt x="114300" y="152400"/>
                              </a:cubicBezTo>
                              <a:close/>
                              <a:moveTo>
                                <a:pt x="89297" y="145971"/>
                              </a:moveTo>
                              <a:cubicBezTo>
                                <a:pt x="91281" y="141685"/>
                                <a:pt x="95251" y="143828"/>
                                <a:pt x="95251" y="145971"/>
                              </a:cubicBezTo>
                              <a:cubicBezTo>
                                <a:pt x="95251" y="152401"/>
                                <a:pt x="89297" y="150258"/>
                                <a:pt x="89297" y="145971"/>
                              </a:cubicBezTo>
                              <a:close/>
                              <a:moveTo>
                                <a:pt x="67453" y="143652"/>
                              </a:moveTo>
                              <a:cubicBezTo>
                                <a:pt x="72033" y="143933"/>
                                <a:pt x="76612" y="145057"/>
                                <a:pt x="77757" y="146182"/>
                              </a:cubicBezTo>
                              <a:cubicBezTo>
                                <a:pt x="82336" y="150680"/>
                                <a:pt x="84626" y="152929"/>
                                <a:pt x="84626" y="159675"/>
                              </a:cubicBezTo>
                              <a:cubicBezTo>
                                <a:pt x="84626" y="161924"/>
                                <a:pt x="86916" y="164173"/>
                                <a:pt x="84626" y="166422"/>
                              </a:cubicBezTo>
                              <a:cubicBezTo>
                                <a:pt x="84626" y="168671"/>
                                <a:pt x="84626" y="168671"/>
                                <a:pt x="82336" y="170920"/>
                              </a:cubicBezTo>
                              <a:cubicBezTo>
                                <a:pt x="80047" y="182165"/>
                                <a:pt x="70888" y="164173"/>
                                <a:pt x="70888" y="161924"/>
                              </a:cubicBezTo>
                              <a:cubicBezTo>
                                <a:pt x="66309" y="159675"/>
                                <a:pt x="68598" y="155178"/>
                                <a:pt x="64019" y="150680"/>
                              </a:cubicBezTo>
                              <a:cubicBezTo>
                                <a:pt x="61729" y="150680"/>
                                <a:pt x="57150" y="146182"/>
                                <a:pt x="57150" y="146182"/>
                              </a:cubicBezTo>
                              <a:cubicBezTo>
                                <a:pt x="58295" y="143933"/>
                                <a:pt x="62874" y="143371"/>
                                <a:pt x="67453" y="143652"/>
                              </a:cubicBezTo>
                              <a:close/>
                              <a:moveTo>
                                <a:pt x="136684" y="129779"/>
                              </a:moveTo>
                              <a:cubicBezTo>
                                <a:pt x="143114" y="132160"/>
                                <a:pt x="145257" y="139304"/>
                                <a:pt x="138828" y="144067"/>
                              </a:cubicBezTo>
                              <a:cubicBezTo>
                                <a:pt x="136684" y="141686"/>
                                <a:pt x="134541" y="134542"/>
                                <a:pt x="136684" y="129779"/>
                              </a:cubicBezTo>
                              <a:close/>
                              <a:moveTo>
                                <a:pt x="84534" y="107157"/>
                              </a:moveTo>
                              <a:cubicBezTo>
                                <a:pt x="88503" y="102394"/>
                                <a:pt x="90488" y="111919"/>
                                <a:pt x="88503" y="116682"/>
                              </a:cubicBezTo>
                              <a:cubicBezTo>
                                <a:pt x="86518" y="114301"/>
                                <a:pt x="84534" y="109538"/>
                                <a:pt x="84534" y="107157"/>
                              </a:cubicBezTo>
                              <a:close/>
                              <a:moveTo>
                                <a:pt x="50575" y="19050"/>
                              </a:moveTo>
                              <a:cubicBezTo>
                                <a:pt x="52853" y="19050"/>
                                <a:pt x="52853" y="21323"/>
                                <a:pt x="55130" y="19050"/>
                              </a:cubicBezTo>
                              <a:cubicBezTo>
                                <a:pt x="59686" y="19050"/>
                                <a:pt x="61964" y="21323"/>
                                <a:pt x="66519" y="23596"/>
                              </a:cubicBezTo>
                              <a:cubicBezTo>
                                <a:pt x="66519" y="23596"/>
                                <a:pt x="68797" y="25869"/>
                                <a:pt x="68797" y="28142"/>
                              </a:cubicBezTo>
                              <a:cubicBezTo>
                                <a:pt x="71075" y="25869"/>
                                <a:pt x="73352" y="28142"/>
                                <a:pt x="75630" y="28142"/>
                              </a:cubicBezTo>
                              <a:cubicBezTo>
                                <a:pt x="77908" y="28142"/>
                                <a:pt x="77908" y="25869"/>
                                <a:pt x="80185" y="23596"/>
                              </a:cubicBezTo>
                              <a:cubicBezTo>
                                <a:pt x="82463" y="19050"/>
                                <a:pt x="84741" y="25869"/>
                                <a:pt x="82463" y="30415"/>
                              </a:cubicBezTo>
                              <a:cubicBezTo>
                                <a:pt x="82463" y="34961"/>
                                <a:pt x="82463" y="37234"/>
                                <a:pt x="82463" y="44053"/>
                              </a:cubicBezTo>
                              <a:cubicBezTo>
                                <a:pt x="84741" y="48599"/>
                                <a:pt x="87019" y="48599"/>
                                <a:pt x="89296" y="50872"/>
                              </a:cubicBezTo>
                              <a:cubicBezTo>
                                <a:pt x="91574" y="53145"/>
                                <a:pt x="89296" y="57691"/>
                                <a:pt x="91574" y="55418"/>
                              </a:cubicBezTo>
                              <a:cubicBezTo>
                                <a:pt x="93852" y="59964"/>
                                <a:pt x="91574" y="66783"/>
                                <a:pt x="89296" y="71329"/>
                              </a:cubicBezTo>
                              <a:cubicBezTo>
                                <a:pt x="89296" y="73602"/>
                                <a:pt x="89296" y="78148"/>
                                <a:pt x="87019" y="80421"/>
                              </a:cubicBezTo>
                              <a:cubicBezTo>
                                <a:pt x="87019" y="80421"/>
                                <a:pt x="87019" y="78148"/>
                                <a:pt x="87019" y="78148"/>
                              </a:cubicBezTo>
                              <a:cubicBezTo>
                                <a:pt x="84741" y="80421"/>
                                <a:pt x="77908" y="80421"/>
                                <a:pt x="77908" y="84967"/>
                              </a:cubicBezTo>
                              <a:cubicBezTo>
                                <a:pt x="75630" y="89513"/>
                                <a:pt x="77908" y="91786"/>
                                <a:pt x="75630" y="96332"/>
                              </a:cubicBezTo>
                              <a:cubicBezTo>
                                <a:pt x="73352" y="100878"/>
                                <a:pt x="80185" y="112243"/>
                                <a:pt x="84741" y="114517"/>
                              </a:cubicBezTo>
                              <a:cubicBezTo>
                                <a:pt x="77908" y="114517"/>
                                <a:pt x="87019" y="128155"/>
                                <a:pt x="87019" y="130428"/>
                              </a:cubicBezTo>
                              <a:lnTo>
                                <a:pt x="95102" y="132041"/>
                              </a:lnTo>
                              <a:lnTo>
                                <a:pt x="98407" y="132701"/>
                              </a:lnTo>
                              <a:cubicBezTo>
                                <a:pt x="98407" y="130428"/>
                                <a:pt x="93852" y="130428"/>
                                <a:pt x="96129" y="128155"/>
                              </a:cubicBezTo>
                              <a:cubicBezTo>
                                <a:pt x="96129" y="128155"/>
                                <a:pt x="98407" y="128155"/>
                                <a:pt x="98407" y="130428"/>
                              </a:cubicBezTo>
                              <a:cubicBezTo>
                                <a:pt x="98407" y="121336"/>
                                <a:pt x="109796" y="125882"/>
                                <a:pt x="112073" y="130428"/>
                              </a:cubicBezTo>
                              <a:cubicBezTo>
                                <a:pt x="114351" y="132701"/>
                                <a:pt x="114351" y="139520"/>
                                <a:pt x="118907" y="139520"/>
                              </a:cubicBezTo>
                              <a:cubicBezTo>
                                <a:pt x="123462" y="137247"/>
                                <a:pt x="118907" y="132701"/>
                                <a:pt x="118907" y="130428"/>
                              </a:cubicBezTo>
                              <a:cubicBezTo>
                                <a:pt x="121184" y="130428"/>
                                <a:pt x="123462" y="134974"/>
                                <a:pt x="128017" y="134974"/>
                              </a:cubicBezTo>
                              <a:cubicBezTo>
                                <a:pt x="130295" y="134974"/>
                                <a:pt x="134851" y="137247"/>
                                <a:pt x="134851" y="139520"/>
                              </a:cubicBezTo>
                              <a:cubicBezTo>
                                <a:pt x="132573" y="137247"/>
                                <a:pt x="121184" y="139520"/>
                                <a:pt x="125740" y="144066"/>
                              </a:cubicBezTo>
                              <a:cubicBezTo>
                                <a:pt x="128017" y="144066"/>
                                <a:pt x="132573" y="146339"/>
                                <a:pt x="132573" y="148612"/>
                              </a:cubicBezTo>
                              <a:cubicBezTo>
                                <a:pt x="132573" y="150885"/>
                                <a:pt x="132573" y="153158"/>
                                <a:pt x="132573" y="153158"/>
                              </a:cubicBezTo>
                              <a:cubicBezTo>
                                <a:pt x="139407" y="148612"/>
                                <a:pt x="141684" y="162250"/>
                                <a:pt x="139407" y="166796"/>
                              </a:cubicBezTo>
                              <a:cubicBezTo>
                                <a:pt x="139407" y="169069"/>
                                <a:pt x="134851" y="164523"/>
                                <a:pt x="134851" y="164523"/>
                              </a:cubicBezTo>
                              <a:cubicBezTo>
                                <a:pt x="132573" y="159977"/>
                                <a:pt x="137129" y="159977"/>
                                <a:pt x="137129" y="157704"/>
                              </a:cubicBezTo>
                              <a:cubicBezTo>
                                <a:pt x="137129" y="157704"/>
                                <a:pt x="134851" y="159977"/>
                                <a:pt x="132573" y="159977"/>
                              </a:cubicBezTo>
                              <a:cubicBezTo>
                                <a:pt x="132573" y="159977"/>
                                <a:pt x="130295" y="157704"/>
                                <a:pt x="128017" y="157704"/>
                              </a:cubicBezTo>
                              <a:cubicBezTo>
                                <a:pt x="128017" y="157704"/>
                                <a:pt x="125740" y="155431"/>
                                <a:pt x="123462" y="155431"/>
                              </a:cubicBezTo>
                              <a:cubicBezTo>
                                <a:pt x="121184" y="155431"/>
                                <a:pt x="123462" y="150885"/>
                                <a:pt x="121184" y="150885"/>
                              </a:cubicBezTo>
                              <a:cubicBezTo>
                                <a:pt x="118907" y="146339"/>
                                <a:pt x="114351" y="146339"/>
                                <a:pt x="112073" y="141793"/>
                              </a:cubicBezTo>
                              <a:cubicBezTo>
                                <a:pt x="109796" y="137247"/>
                                <a:pt x="105240" y="132701"/>
                                <a:pt x="100685" y="132701"/>
                              </a:cubicBezTo>
                              <a:cubicBezTo>
                                <a:pt x="102963" y="137247"/>
                                <a:pt x="102963" y="141793"/>
                                <a:pt x="105240" y="141793"/>
                              </a:cubicBezTo>
                              <a:cubicBezTo>
                                <a:pt x="105240" y="141793"/>
                                <a:pt x="107518" y="146339"/>
                                <a:pt x="107518" y="146339"/>
                              </a:cubicBezTo>
                              <a:cubicBezTo>
                                <a:pt x="107518" y="148612"/>
                                <a:pt x="107518" y="148612"/>
                                <a:pt x="109796" y="150885"/>
                              </a:cubicBezTo>
                              <a:cubicBezTo>
                                <a:pt x="107518" y="153158"/>
                                <a:pt x="105240" y="150885"/>
                                <a:pt x="105240" y="150885"/>
                              </a:cubicBezTo>
                              <a:cubicBezTo>
                                <a:pt x="105240" y="146339"/>
                                <a:pt x="98407" y="141793"/>
                                <a:pt x="96129" y="139520"/>
                              </a:cubicBezTo>
                              <a:cubicBezTo>
                                <a:pt x="93852" y="137247"/>
                                <a:pt x="89296" y="134974"/>
                                <a:pt x="87019" y="132701"/>
                              </a:cubicBezTo>
                              <a:cubicBezTo>
                                <a:pt x="87019" y="132701"/>
                                <a:pt x="87019" y="132701"/>
                                <a:pt x="82463" y="134974"/>
                              </a:cubicBezTo>
                              <a:cubicBezTo>
                                <a:pt x="80185" y="137247"/>
                                <a:pt x="80185" y="139520"/>
                                <a:pt x="80185" y="139520"/>
                              </a:cubicBezTo>
                              <a:cubicBezTo>
                                <a:pt x="77908" y="141793"/>
                                <a:pt x="73352" y="141793"/>
                                <a:pt x="73352" y="141793"/>
                              </a:cubicBezTo>
                              <a:cubicBezTo>
                                <a:pt x="73352" y="139520"/>
                                <a:pt x="71075" y="134974"/>
                                <a:pt x="68797" y="139520"/>
                              </a:cubicBezTo>
                              <a:cubicBezTo>
                                <a:pt x="68797" y="134974"/>
                                <a:pt x="68797" y="134974"/>
                                <a:pt x="64241" y="134974"/>
                              </a:cubicBezTo>
                              <a:cubicBezTo>
                                <a:pt x="64241" y="134974"/>
                                <a:pt x="64241" y="137247"/>
                                <a:pt x="61964" y="137247"/>
                              </a:cubicBezTo>
                              <a:cubicBezTo>
                                <a:pt x="61964" y="132701"/>
                                <a:pt x="59686" y="128155"/>
                                <a:pt x="61964" y="125882"/>
                              </a:cubicBezTo>
                              <a:cubicBezTo>
                                <a:pt x="64241" y="123609"/>
                                <a:pt x="66519" y="121336"/>
                                <a:pt x="68797" y="121336"/>
                              </a:cubicBezTo>
                              <a:cubicBezTo>
                                <a:pt x="73352" y="116790"/>
                                <a:pt x="59686" y="112243"/>
                                <a:pt x="57408" y="112243"/>
                              </a:cubicBezTo>
                              <a:cubicBezTo>
                                <a:pt x="57408" y="114517"/>
                                <a:pt x="64241" y="123609"/>
                                <a:pt x="57408" y="121336"/>
                              </a:cubicBezTo>
                              <a:cubicBezTo>
                                <a:pt x="52853" y="119063"/>
                                <a:pt x="55130" y="112243"/>
                                <a:pt x="50575" y="109970"/>
                              </a:cubicBezTo>
                              <a:cubicBezTo>
                                <a:pt x="50575" y="116790"/>
                                <a:pt x="48297" y="109970"/>
                                <a:pt x="48297" y="109970"/>
                              </a:cubicBezTo>
                              <a:cubicBezTo>
                                <a:pt x="46020" y="105424"/>
                                <a:pt x="46020" y="103151"/>
                                <a:pt x="43742" y="98605"/>
                              </a:cubicBezTo>
                              <a:cubicBezTo>
                                <a:pt x="41464" y="96332"/>
                                <a:pt x="41464" y="89513"/>
                                <a:pt x="41464" y="87240"/>
                              </a:cubicBezTo>
                              <a:cubicBezTo>
                                <a:pt x="41464" y="84967"/>
                                <a:pt x="36909" y="84967"/>
                                <a:pt x="36909" y="80421"/>
                              </a:cubicBezTo>
                              <a:cubicBezTo>
                                <a:pt x="36909" y="78148"/>
                                <a:pt x="36909" y="75875"/>
                                <a:pt x="39186" y="73602"/>
                              </a:cubicBezTo>
                              <a:cubicBezTo>
                                <a:pt x="39186" y="78148"/>
                                <a:pt x="50575" y="87240"/>
                                <a:pt x="50575" y="80421"/>
                              </a:cubicBezTo>
                              <a:cubicBezTo>
                                <a:pt x="50575" y="73602"/>
                                <a:pt x="46020" y="69056"/>
                                <a:pt x="48297" y="62237"/>
                              </a:cubicBezTo>
                              <a:cubicBezTo>
                                <a:pt x="50575" y="53145"/>
                                <a:pt x="43742" y="46326"/>
                                <a:pt x="46020" y="39507"/>
                              </a:cubicBezTo>
                              <a:cubicBezTo>
                                <a:pt x="46020" y="34961"/>
                                <a:pt x="46020" y="30415"/>
                                <a:pt x="46020" y="25869"/>
                              </a:cubicBezTo>
                              <a:cubicBezTo>
                                <a:pt x="46020" y="23596"/>
                                <a:pt x="43742" y="21323"/>
                                <a:pt x="48297" y="21323"/>
                              </a:cubicBezTo>
                              <a:cubicBezTo>
                                <a:pt x="50575" y="21323"/>
                                <a:pt x="48297" y="19050"/>
                                <a:pt x="50575" y="19050"/>
                              </a:cubicBezTo>
                              <a:close/>
                              <a:moveTo>
                                <a:pt x="59531" y="0"/>
                              </a:moveTo>
                              <a:cubicBezTo>
                                <a:pt x="59531" y="0"/>
                                <a:pt x="64294" y="0"/>
                                <a:pt x="61912" y="2381"/>
                              </a:cubicBezTo>
                              <a:cubicBezTo>
                                <a:pt x="61912" y="2381"/>
                                <a:pt x="59531" y="2381"/>
                                <a:pt x="59531" y="0"/>
                              </a:cubicBezTo>
                              <a:close/>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grpSp>
                      <p:nvGrpSpPr>
                        <p:cNvPr id="215" name="Group 198">
                          <a:extLst>
                            <a:ext uri="{FF2B5EF4-FFF2-40B4-BE49-F238E27FC236}">
                              <a16:creationId xmlns:a16="http://schemas.microsoft.com/office/drawing/2014/main" id="{CE3D123A-0E42-1254-E9E9-45EBCCDAA00A}"/>
                            </a:ext>
                          </a:extLst>
                        </p:cNvPr>
                        <p:cNvGrpSpPr/>
                        <p:nvPr/>
                      </p:nvGrpSpPr>
                      <p:grpSpPr>
                        <a:xfrm>
                          <a:off x="5812110" y="2979624"/>
                          <a:ext cx="1649564" cy="1537178"/>
                          <a:chOff x="5812110" y="2979624"/>
                          <a:chExt cx="1649564" cy="1537178"/>
                        </a:xfrm>
                        <a:grpFill/>
                      </p:grpSpPr>
                      <p:sp>
                        <p:nvSpPr>
                          <p:cNvPr id="216" name="Vanuatu">
                            <a:extLst>
                              <a:ext uri="{FF2B5EF4-FFF2-40B4-BE49-F238E27FC236}">
                                <a16:creationId xmlns:a16="http://schemas.microsoft.com/office/drawing/2014/main" id="{A693A4CC-0BEB-95DE-5948-4FD6070D6EB4}"/>
                              </a:ext>
                            </a:extLst>
                          </p:cNvPr>
                          <p:cNvSpPr>
                            <a:spLocks/>
                          </p:cNvSpPr>
                          <p:nvPr/>
                        </p:nvSpPr>
                        <p:spPr bwMode="auto">
                          <a:xfrm>
                            <a:off x="7418569" y="3711650"/>
                            <a:ext cx="38135" cy="123376"/>
                          </a:xfrm>
                          <a:custGeom>
                            <a:avLst/>
                            <a:gdLst>
                              <a:gd name="connsiteX0" fmla="*/ 36117 w 37421"/>
                              <a:gd name="connsiteY0" fmla="*/ 111541 h 121066"/>
                              <a:gd name="connsiteX1" fmla="*/ 36117 w 37421"/>
                              <a:gd name="connsiteY1" fmla="*/ 121066 h 121066"/>
                              <a:gd name="connsiteX2" fmla="*/ 36117 w 37421"/>
                              <a:gd name="connsiteY2" fmla="*/ 111541 h 121066"/>
                              <a:gd name="connsiteX3" fmla="*/ 34132 w 37421"/>
                              <a:gd name="connsiteY3" fmla="*/ 95825 h 121066"/>
                              <a:gd name="connsiteX4" fmla="*/ 36117 w 37421"/>
                              <a:gd name="connsiteY4" fmla="*/ 104398 h 121066"/>
                              <a:gd name="connsiteX5" fmla="*/ 32148 w 37421"/>
                              <a:gd name="connsiteY5" fmla="*/ 100111 h 121066"/>
                              <a:gd name="connsiteX6" fmla="*/ 34132 w 37421"/>
                              <a:gd name="connsiteY6" fmla="*/ 95825 h 121066"/>
                              <a:gd name="connsiteX7" fmla="*/ 27385 w 37421"/>
                              <a:gd name="connsiteY7" fmla="*/ 68678 h 121066"/>
                              <a:gd name="connsiteX8" fmla="*/ 25003 w 37421"/>
                              <a:gd name="connsiteY8" fmla="*/ 75822 h 121066"/>
                              <a:gd name="connsiteX9" fmla="*/ 20241 w 37421"/>
                              <a:gd name="connsiteY9" fmla="*/ 73441 h 121066"/>
                              <a:gd name="connsiteX10" fmla="*/ 27385 w 37421"/>
                              <a:gd name="connsiteY10" fmla="*/ 68678 h 121066"/>
                              <a:gd name="connsiteX11" fmla="*/ 25004 w 37421"/>
                              <a:gd name="connsiteY11" fmla="*/ 46057 h 121066"/>
                              <a:gd name="connsiteX12" fmla="*/ 32148 w 37421"/>
                              <a:gd name="connsiteY12" fmla="*/ 52011 h 121066"/>
                              <a:gd name="connsiteX13" fmla="*/ 25004 w 37421"/>
                              <a:gd name="connsiteY13" fmla="*/ 46057 h 121066"/>
                              <a:gd name="connsiteX14" fmla="*/ 29767 w 37421"/>
                              <a:gd name="connsiteY14" fmla="*/ 34150 h 121066"/>
                              <a:gd name="connsiteX15" fmla="*/ 32148 w 37421"/>
                              <a:gd name="connsiteY15" fmla="*/ 38913 h 121066"/>
                              <a:gd name="connsiteX16" fmla="*/ 27385 w 37421"/>
                              <a:gd name="connsiteY16" fmla="*/ 41294 h 121066"/>
                              <a:gd name="connsiteX17" fmla="*/ 22623 w 37421"/>
                              <a:gd name="connsiteY17" fmla="*/ 36531 h 121066"/>
                              <a:gd name="connsiteX18" fmla="*/ 29767 w 37421"/>
                              <a:gd name="connsiteY18" fmla="*/ 34150 h 121066"/>
                              <a:gd name="connsiteX19" fmla="*/ 8526 w 37421"/>
                              <a:gd name="connsiteY19" fmla="*/ 30998 h 121066"/>
                              <a:gd name="connsiteX20" fmla="*/ 13778 w 37421"/>
                              <a:gd name="connsiteY20" fmla="*/ 32418 h 121066"/>
                              <a:gd name="connsiteX21" fmla="*/ 20411 w 37421"/>
                              <a:gd name="connsiteY21" fmla="*/ 41511 h 121066"/>
                              <a:gd name="connsiteX22" fmla="*/ 11566 w 37421"/>
                              <a:gd name="connsiteY22" fmla="*/ 46057 h 121066"/>
                              <a:gd name="connsiteX23" fmla="*/ 11566 w 37421"/>
                              <a:gd name="connsiteY23" fmla="*/ 34691 h 121066"/>
                              <a:gd name="connsiteX24" fmla="*/ 8526 w 37421"/>
                              <a:gd name="connsiteY24" fmla="*/ 30998 h 121066"/>
                              <a:gd name="connsiteX25" fmla="*/ 9525 w 37421"/>
                              <a:gd name="connsiteY25" fmla="*/ 23434 h 121066"/>
                              <a:gd name="connsiteX26" fmla="*/ 9525 w 37421"/>
                              <a:gd name="connsiteY26" fmla="*/ 24625 h 121066"/>
                              <a:gd name="connsiteX27" fmla="*/ 7144 w 37421"/>
                              <a:gd name="connsiteY27" fmla="*/ 24625 h 121066"/>
                              <a:gd name="connsiteX28" fmla="*/ 9525 w 37421"/>
                              <a:gd name="connsiteY28" fmla="*/ 23434 h 121066"/>
                              <a:gd name="connsiteX29" fmla="*/ 29767 w 37421"/>
                              <a:gd name="connsiteY29" fmla="*/ 13909 h 121066"/>
                              <a:gd name="connsiteX30" fmla="*/ 25004 w 37421"/>
                              <a:gd name="connsiteY30" fmla="*/ 18672 h 121066"/>
                              <a:gd name="connsiteX31" fmla="*/ 22623 w 37421"/>
                              <a:gd name="connsiteY31" fmla="*/ 16290 h 121066"/>
                              <a:gd name="connsiteX32" fmla="*/ 29767 w 37421"/>
                              <a:gd name="connsiteY32" fmla="*/ 13909 h 121066"/>
                              <a:gd name="connsiteX33" fmla="*/ 2183 w 37421"/>
                              <a:gd name="connsiteY33" fmla="*/ 899 h 121066"/>
                              <a:gd name="connsiteX34" fmla="*/ 4365 w 37421"/>
                              <a:gd name="connsiteY34" fmla="*/ 7460 h 121066"/>
                              <a:gd name="connsiteX35" fmla="*/ 10914 w 37421"/>
                              <a:gd name="connsiteY35" fmla="*/ 5178 h 121066"/>
                              <a:gd name="connsiteX36" fmla="*/ 10914 w 37421"/>
                              <a:gd name="connsiteY36" fmla="*/ 9742 h 121066"/>
                              <a:gd name="connsiteX37" fmla="*/ 0 w 37421"/>
                              <a:gd name="connsiteY37" fmla="*/ 23435 h 121066"/>
                              <a:gd name="connsiteX38" fmla="*/ 0 w 37421"/>
                              <a:gd name="connsiteY38" fmla="*/ 14307 h 121066"/>
                              <a:gd name="connsiteX39" fmla="*/ 0 w 37421"/>
                              <a:gd name="connsiteY39" fmla="*/ 2896 h 121066"/>
                              <a:gd name="connsiteX40" fmla="*/ 2183 w 37421"/>
                              <a:gd name="connsiteY40" fmla="*/ 899 h 121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7421" h="121066">
                                <a:moveTo>
                                  <a:pt x="36117" y="111541"/>
                                </a:moveTo>
                                <a:cubicBezTo>
                                  <a:pt x="34132" y="116303"/>
                                  <a:pt x="38102" y="118685"/>
                                  <a:pt x="36117" y="121066"/>
                                </a:cubicBezTo>
                                <a:cubicBezTo>
                                  <a:pt x="34132" y="118685"/>
                                  <a:pt x="32148" y="111541"/>
                                  <a:pt x="36117" y="111541"/>
                                </a:cubicBezTo>
                                <a:close/>
                                <a:moveTo>
                                  <a:pt x="34132" y="95825"/>
                                </a:moveTo>
                                <a:cubicBezTo>
                                  <a:pt x="38102" y="93682"/>
                                  <a:pt x="38102" y="102255"/>
                                  <a:pt x="36117" y="104398"/>
                                </a:cubicBezTo>
                                <a:cubicBezTo>
                                  <a:pt x="36117" y="102255"/>
                                  <a:pt x="32148" y="102255"/>
                                  <a:pt x="32148" y="100111"/>
                                </a:cubicBezTo>
                                <a:cubicBezTo>
                                  <a:pt x="32148" y="100111"/>
                                  <a:pt x="32148" y="95825"/>
                                  <a:pt x="34132" y="95825"/>
                                </a:cubicBezTo>
                                <a:close/>
                                <a:moveTo>
                                  <a:pt x="27385" y="68678"/>
                                </a:moveTo>
                                <a:cubicBezTo>
                                  <a:pt x="29766" y="71059"/>
                                  <a:pt x="27385" y="75822"/>
                                  <a:pt x="25003" y="75822"/>
                                </a:cubicBezTo>
                                <a:cubicBezTo>
                                  <a:pt x="20241" y="75822"/>
                                  <a:pt x="25003" y="71059"/>
                                  <a:pt x="20241" y="73441"/>
                                </a:cubicBezTo>
                                <a:cubicBezTo>
                                  <a:pt x="20241" y="73441"/>
                                  <a:pt x="25003" y="68678"/>
                                  <a:pt x="27385" y="68678"/>
                                </a:cubicBezTo>
                                <a:close/>
                                <a:moveTo>
                                  <a:pt x="25004" y="46057"/>
                                </a:moveTo>
                                <a:cubicBezTo>
                                  <a:pt x="27385" y="48042"/>
                                  <a:pt x="32148" y="50026"/>
                                  <a:pt x="32148" y="52011"/>
                                </a:cubicBezTo>
                                <a:cubicBezTo>
                                  <a:pt x="29767" y="50026"/>
                                  <a:pt x="22623" y="52011"/>
                                  <a:pt x="25004" y="46057"/>
                                </a:cubicBezTo>
                                <a:close/>
                                <a:moveTo>
                                  <a:pt x="29767" y="34150"/>
                                </a:moveTo>
                                <a:cubicBezTo>
                                  <a:pt x="29767" y="36531"/>
                                  <a:pt x="29767" y="38913"/>
                                  <a:pt x="32148" y="38913"/>
                                </a:cubicBezTo>
                                <a:cubicBezTo>
                                  <a:pt x="29767" y="38913"/>
                                  <a:pt x="29767" y="38913"/>
                                  <a:pt x="27385" y="41294"/>
                                </a:cubicBezTo>
                                <a:cubicBezTo>
                                  <a:pt x="25004" y="38913"/>
                                  <a:pt x="22623" y="38913"/>
                                  <a:pt x="22623" y="36531"/>
                                </a:cubicBezTo>
                                <a:cubicBezTo>
                                  <a:pt x="25004" y="36531"/>
                                  <a:pt x="27385" y="34150"/>
                                  <a:pt x="29767" y="34150"/>
                                </a:cubicBezTo>
                                <a:close/>
                                <a:moveTo>
                                  <a:pt x="8526" y="30998"/>
                                </a:moveTo>
                                <a:cubicBezTo>
                                  <a:pt x="8802" y="28440"/>
                                  <a:pt x="10461" y="26736"/>
                                  <a:pt x="13778" y="32418"/>
                                </a:cubicBezTo>
                                <a:cubicBezTo>
                                  <a:pt x="15989" y="36965"/>
                                  <a:pt x="18200" y="36965"/>
                                  <a:pt x="20411" y="41511"/>
                                </a:cubicBezTo>
                                <a:cubicBezTo>
                                  <a:pt x="22623" y="43784"/>
                                  <a:pt x="13778" y="46057"/>
                                  <a:pt x="11566" y="46057"/>
                                </a:cubicBezTo>
                                <a:cubicBezTo>
                                  <a:pt x="9355" y="43784"/>
                                  <a:pt x="13778" y="36965"/>
                                  <a:pt x="11566" y="34691"/>
                                </a:cubicBezTo>
                                <a:cubicBezTo>
                                  <a:pt x="9355" y="36965"/>
                                  <a:pt x="8249" y="33555"/>
                                  <a:pt x="8526" y="30998"/>
                                </a:cubicBezTo>
                                <a:close/>
                                <a:moveTo>
                                  <a:pt x="9525" y="23434"/>
                                </a:moveTo>
                                <a:cubicBezTo>
                                  <a:pt x="11907" y="23434"/>
                                  <a:pt x="11907" y="24625"/>
                                  <a:pt x="9525" y="24625"/>
                                </a:cubicBezTo>
                                <a:cubicBezTo>
                                  <a:pt x="9525" y="24625"/>
                                  <a:pt x="9525" y="24625"/>
                                  <a:pt x="7144" y="24625"/>
                                </a:cubicBezTo>
                                <a:cubicBezTo>
                                  <a:pt x="9525" y="23434"/>
                                  <a:pt x="9525" y="23434"/>
                                  <a:pt x="9525" y="23434"/>
                                </a:cubicBezTo>
                                <a:close/>
                                <a:moveTo>
                                  <a:pt x="29767" y="13909"/>
                                </a:moveTo>
                                <a:cubicBezTo>
                                  <a:pt x="27385" y="16290"/>
                                  <a:pt x="27385" y="18672"/>
                                  <a:pt x="25004" y="18672"/>
                                </a:cubicBezTo>
                                <a:cubicBezTo>
                                  <a:pt x="22623" y="18672"/>
                                  <a:pt x="22623" y="18672"/>
                                  <a:pt x="22623" y="16290"/>
                                </a:cubicBezTo>
                                <a:cubicBezTo>
                                  <a:pt x="25004" y="13909"/>
                                  <a:pt x="27385" y="13909"/>
                                  <a:pt x="29767" y="13909"/>
                                </a:cubicBezTo>
                                <a:close/>
                                <a:moveTo>
                                  <a:pt x="2183" y="899"/>
                                </a:moveTo>
                                <a:cubicBezTo>
                                  <a:pt x="3274" y="2326"/>
                                  <a:pt x="4365" y="5178"/>
                                  <a:pt x="4365" y="7460"/>
                                </a:cubicBezTo>
                                <a:cubicBezTo>
                                  <a:pt x="4365" y="16589"/>
                                  <a:pt x="6548" y="7460"/>
                                  <a:pt x="10914" y="5178"/>
                                </a:cubicBezTo>
                                <a:cubicBezTo>
                                  <a:pt x="8731" y="7460"/>
                                  <a:pt x="8731" y="9742"/>
                                  <a:pt x="10914" y="9742"/>
                                </a:cubicBezTo>
                                <a:cubicBezTo>
                                  <a:pt x="13097" y="16589"/>
                                  <a:pt x="8731" y="23435"/>
                                  <a:pt x="0" y="23435"/>
                                </a:cubicBezTo>
                                <a:cubicBezTo>
                                  <a:pt x="0" y="18871"/>
                                  <a:pt x="0" y="16589"/>
                                  <a:pt x="0" y="14307"/>
                                </a:cubicBezTo>
                                <a:cubicBezTo>
                                  <a:pt x="2183" y="9742"/>
                                  <a:pt x="0" y="7460"/>
                                  <a:pt x="0" y="2896"/>
                                </a:cubicBezTo>
                                <a:cubicBezTo>
                                  <a:pt x="0" y="-527"/>
                                  <a:pt x="1091" y="-527"/>
                                  <a:pt x="2183" y="899"/>
                                </a:cubicBezTo>
                                <a:close/>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217" name="Solomon Islands">
                            <a:extLst>
                              <a:ext uri="{FF2B5EF4-FFF2-40B4-BE49-F238E27FC236}">
                                <a16:creationId xmlns:a16="http://schemas.microsoft.com/office/drawing/2014/main" id="{C5DF785E-BAE2-D54E-B466-0B3B6EC47560}"/>
                              </a:ext>
                            </a:extLst>
                          </p:cNvPr>
                          <p:cNvSpPr>
                            <a:spLocks/>
                          </p:cNvSpPr>
                          <p:nvPr/>
                        </p:nvSpPr>
                        <p:spPr bwMode="auto">
                          <a:xfrm>
                            <a:off x="7186823" y="3479518"/>
                            <a:ext cx="239027" cy="160161"/>
                          </a:xfrm>
                          <a:custGeom>
                            <a:avLst/>
                            <a:gdLst>
                              <a:gd name="connsiteX0" fmla="*/ 100013 w 234553"/>
                              <a:gd name="connsiteY0" fmla="*/ 150733 h 157163"/>
                              <a:gd name="connsiteX1" fmla="*/ 106561 w 234553"/>
                              <a:gd name="connsiteY1" fmla="*/ 150733 h 157163"/>
                              <a:gd name="connsiteX2" fmla="*/ 109537 w 234553"/>
                              <a:gd name="connsiteY2" fmla="*/ 157163 h 157163"/>
                              <a:gd name="connsiteX3" fmla="*/ 104775 w 234553"/>
                              <a:gd name="connsiteY3" fmla="*/ 152877 h 157163"/>
                              <a:gd name="connsiteX4" fmla="*/ 100013 w 234553"/>
                              <a:gd name="connsiteY4" fmla="*/ 150733 h 157163"/>
                              <a:gd name="connsiteX5" fmla="*/ 234553 w 234553"/>
                              <a:gd name="connsiteY5" fmla="*/ 129778 h 157163"/>
                              <a:gd name="connsiteX6" fmla="*/ 227409 w 234553"/>
                              <a:gd name="connsiteY6" fmla="*/ 134541 h 157163"/>
                              <a:gd name="connsiteX7" fmla="*/ 225028 w 234553"/>
                              <a:gd name="connsiteY7" fmla="*/ 132160 h 157163"/>
                              <a:gd name="connsiteX8" fmla="*/ 234553 w 234553"/>
                              <a:gd name="connsiteY8" fmla="*/ 129778 h 157163"/>
                              <a:gd name="connsiteX9" fmla="*/ 132159 w 234553"/>
                              <a:gd name="connsiteY9" fmla="*/ 118893 h 157163"/>
                              <a:gd name="connsiteX10" fmla="*/ 143404 w 234553"/>
                              <a:gd name="connsiteY10" fmla="*/ 123316 h 157163"/>
                              <a:gd name="connsiteX11" fmla="*/ 152400 w 234553"/>
                              <a:gd name="connsiteY11" fmla="*/ 132161 h 157163"/>
                              <a:gd name="connsiteX12" fmla="*/ 141155 w 234553"/>
                              <a:gd name="connsiteY12" fmla="*/ 129950 h 157163"/>
                              <a:gd name="connsiteX13" fmla="*/ 134408 w 234553"/>
                              <a:gd name="connsiteY13" fmla="*/ 123316 h 157163"/>
                              <a:gd name="connsiteX14" fmla="*/ 132159 w 234553"/>
                              <a:gd name="connsiteY14" fmla="*/ 118893 h 157163"/>
                              <a:gd name="connsiteX15" fmla="*/ 136922 w 234553"/>
                              <a:gd name="connsiteY15" fmla="*/ 98822 h 157163"/>
                              <a:gd name="connsiteX16" fmla="*/ 139303 w 234553"/>
                              <a:gd name="connsiteY16" fmla="*/ 107157 h 157163"/>
                              <a:gd name="connsiteX17" fmla="*/ 136922 w 234553"/>
                              <a:gd name="connsiteY17" fmla="*/ 102989 h 157163"/>
                              <a:gd name="connsiteX18" fmla="*/ 136922 w 234553"/>
                              <a:gd name="connsiteY18" fmla="*/ 98822 h 157163"/>
                              <a:gd name="connsiteX19" fmla="*/ 97532 w 234553"/>
                              <a:gd name="connsiteY19" fmla="*/ 96292 h 157163"/>
                              <a:gd name="connsiteX20" fmla="*/ 102096 w 234553"/>
                              <a:gd name="connsiteY20" fmla="*/ 96292 h 157163"/>
                              <a:gd name="connsiteX21" fmla="*/ 113506 w 234553"/>
                              <a:gd name="connsiteY21" fmla="*/ 98525 h 157163"/>
                              <a:gd name="connsiteX22" fmla="*/ 122635 w 234553"/>
                              <a:gd name="connsiteY22" fmla="*/ 109687 h 157163"/>
                              <a:gd name="connsiteX23" fmla="*/ 113506 w 234553"/>
                              <a:gd name="connsiteY23" fmla="*/ 109687 h 157163"/>
                              <a:gd name="connsiteX24" fmla="*/ 104378 w 234553"/>
                              <a:gd name="connsiteY24" fmla="*/ 107455 h 157163"/>
                              <a:gd name="connsiteX25" fmla="*/ 97532 w 234553"/>
                              <a:gd name="connsiteY25" fmla="*/ 96292 h 157163"/>
                              <a:gd name="connsiteX26" fmla="*/ 120253 w 234553"/>
                              <a:gd name="connsiteY26" fmla="*/ 73649 h 157163"/>
                              <a:gd name="connsiteX27" fmla="*/ 125015 w 234553"/>
                              <a:gd name="connsiteY27" fmla="*/ 73649 h 157163"/>
                              <a:gd name="connsiteX28" fmla="*/ 129778 w 234553"/>
                              <a:gd name="connsiteY28" fmla="*/ 78071 h 157163"/>
                              <a:gd name="connsiteX29" fmla="*/ 129778 w 234553"/>
                              <a:gd name="connsiteY29" fmla="*/ 84705 h 157163"/>
                              <a:gd name="connsiteX30" fmla="*/ 132159 w 234553"/>
                              <a:gd name="connsiteY30" fmla="*/ 89127 h 157163"/>
                              <a:gd name="connsiteX31" fmla="*/ 134540 w 234553"/>
                              <a:gd name="connsiteY31" fmla="*/ 102394 h 157163"/>
                              <a:gd name="connsiteX32" fmla="*/ 125015 w 234553"/>
                              <a:gd name="connsiteY32" fmla="*/ 91338 h 157163"/>
                              <a:gd name="connsiteX33" fmla="*/ 120253 w 234553"/>
                              <a:gd name="connsiteY33" fmla="*/ 73649 h 157163"/>
                              <a:gd name="connsiteX34" fmla="*/ 54258 w 234553"/>
                              <a:gd name="connsiteY34" fmla="*/ 64124 h 157163"/>
                              <a:gd name="connsiteX35" fmla="*/ 56469 w 234553"/>
                              <a:gd name="connsiteY35" fmla="*/ 66335 h 157163"/>
                              <a:gd name="connsiteX36" fmla="*/ 63103 w 234553"/>
                              <a:gd name="connsiteY36" fmla="*/ 75181 h 157163"/>
                              <a:gd name="connsiteX37" fmla="*/ 60892 w 234553"/>
                              <a:gd name="connsiteY37" fmla="*/ 77392 h 157163"/>
                              <a:gd name="connsiteX38" fmla="*/ 56469 w 234553"/>
                              <a:gd name="connsiteY38" fmla="*/ 72969 h 157163"/>
                              <a:gd name="connsiteX39" fmla="*/ 56469 w 234553"/>
                              <a:gd name="connsiteY39" fmla="*/ 70758 h 157163"/>
                              <a:gd name="connsiteX40" fmla="*/ 49836 w 234553"/>
                              <a:gd name="connsiteY40" fmla="*/ 70758 h 157163"/>
                              <a:gd name="connsiteX41" fmla="*/ 54258 w 234553"/>
                              <a:gd name="connsiteY41" fmla="*/ 64124 h 157163"/>
                              <a:gd name="connsiteX42" fmla="*/ 77391 w 234553"/>
                              <a:gd name="connsiteY42" fmla="*/ 52388 h 157163"/>
                              <a:gd name="connsiteX43" fmla="*/ 81970 w 234553"/>
                              <a:gd name="connsiteY43" fmla="*/ 52388 h 157163"/>
                              <a:gd name="connsiteX44" fmla="*/ 86550 w 234553"/>
                              <a:gd name="connsiteY44" fmla="*/ 56912 h 157163"/>
                              <a:gd name="connsiteX45" fmla="*/ 95708 w 234553"/>
                              <a:gd name="connsiteY45" fmla="*/ 63699 h 157163"/>
                              <a:gd name="connsiteX46" fmla="*/ 104867 w 234553"/>
                              <a:gd name="connsiteY46" fmla="*/ 75010 h 157163"/>
                              <a:gd name="connsiteX47" fmla="*/ 91129 w 234553"/>
                              <a:gd name="connsiteY47" fmla="*/ 65961 h 157163"/>
                              <a:gd name="connsiteX48" fmla="*/ 77391 w 234553"/>
                              <a:gd name="connsiteY48" fmla="*/ 52388 h 157163"/>
                              <a:gd name="connsiteX49" fmla="*/ 36314 w 234553"/>
                              <a:gd name="connsiteY49" fmla="*/ 52388 h 157163"/>
                              <a:gd name="connsiteX50" fmla="*/ 40482 w 234553"/>
                              <a:gd name="connsiteY50" fmla="*/ 57150 h 157163"/>
                              <a:gd name="connsiteX51" fmla="*/ 38398 w 234553"/>
                              <a:gd name="connsiteY51" fmla="*/ 61913 h 157163"/>
                              <a:gd name="connsiteX52" fmla="*/ 36314 w 234553"/>
                              <a:gd name="connsiteY52" fmla="*/ 52388 h 157163"/>
                              <a:gd name="connsiteX53" fmla="*/ 36791 w 234553"/>
                              <a:gd name="connsiteY53" fmla="*/ 29766 h 157163"/>
                              <a:gd name="connsiteX54" fmla="*/ 48102 w 234553"/>
                              <a:gd name="connsiteY54" fmla="*/ 36513 h 157163"/>
                              <a:gd name="connsiteX55" fmla="*/ 52626 w 234553"/>
                              <a:gd name="connsiteY55" fmla="*/ 43260 h 157163"/>
                              <a:gd name="connsiteX56" fmla="*/ 57151 w 234553"/>
                              <a:gd name="connsiteY56" fmla="*/ 47758 h 157163"/>
                              <a:gd name="connsiteX57" fmla="*/ 43578 w 234553"/>
                              <a:gd name="connsiteY57" fmla="*/ 41011 h 157163"/>
                              <a:gd name="connsiteX58" fmla="*/ 36791 w 234553"/>
                              <a:gd name="connsiteY58" fmla="*/ 29766 h 157163"/>
                              <a:gd name="connsiteX59" fmla="*/ 0 w 234553"/>
                              <a:gd name="connsiteY59" fmla="*/ 0 h 157163"/>
                              <a:gd name="connsiteX60" fmla="*/ 13692 w 234553"/>
                              <a:gd name="connsiteY60" fmla="*/ 16148 h 157163"/>
                              <a:gd name="connsiteX61" fmla="*/ 18256 w 234553"/>
                              <a:gd name="connsiteY61" fmla="*/ 18455 h 157163"/>
                              <a:gd name="connsiteX62" fmla="*/ 22821 w 234553"/>
                              <a:gd name="connsiteY62" fmla="*/ 23069 h 157163"/>
                              <a:gd name="connsiteX63" fmla="*/ 25103 w 234553"/>
                              <a:gd name="connsiteY63" fmla="*/ 29989 h 157163"/>
                              <a:gd name="connsiteX64" fmla="*/ 11410 w 234553"/>
                              <a:gd name="connsiteY64" fmla="*/ 32296 h 157163"/>
                              <a:gd name="connsiteX65" fmla="*/ 9128 w 234553"/>
                              <a:gd name="connsiteY65" fmla="*/ 25375 h 157163"/>
                              <a:gd name="connsiteX66" fmla="*/ 4564 w 234553"/>
                              <a:gd name="connsiteY66" fmla="*/ 20762 h 157163"/>
                              <a:gd name="connsiteX67" fmla="*/ 0 w 234553"/>
                              <a:gd name="connsiteY67" fmla="*/ 9227 h 157163"/>
                              <a:gd name="connsiteX68" fmla="*/ 0 w 234553"/>
                              <a:gd name="connsiteY68" fmla="*/ 0 h 157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34553" h="157163">
                                <a:moveTo>
                                  <a:pt x="100013" y="150733"/>
                                </a:moveTo>
                                <a:cubicBezTo>
                                  <a:pt x="100013" y="148590"/>
                                  <a:pt x="103585" y="149126"/>
                                  <a:pt x="106561" y="150733"/>
                                </a:cubicBezTo>
                                <a:cubicBezTo>
                                  <a:pt x="109537" y="152341"/>
                                  <a:pt x="111919" y="155020"/>
                                  <a:pt x="109537" y="157163"/>
                                </a:cubicBezTo>
                                <a:cubicBezTo>
                                  <a:pt x="107156" y="157163"/>
                                  <a:pt x="107156" y="152877"/>
                                  <a:pt x="104775" y="152877"/>
                                </a:cubicBezTo>
                                <a:cubicBezTo>
                                  <a:pt x="104775" y="152877"/>
                                  <a:pt x="102394" y="150733"/>
                                  <a:pt x="100013" y="150733"/>
                                </a:cubicBezTo>
                                <a:close/>
                                <a:moveTo>
                                  <a:pt x="234553" y="129778"/>
                                </a:moveTo>
                                <a:cubicBezTo>
                                  <a:pt x="234553" y="132160"/>
                                  <a:pt x="229790" y="132160"/>
                                  <a:pt x="227409" y="134541"/>
                                </a:cubicBezTo>
                                <a:cubicBezTo>
                                  <a:pt x="227409" y="134541"/>
                                  <a:pt x="227409" y="134541"/>
                                  <a:pt x="225028" y="132160"/>
                                </a:cubicBezTo>
                                <a:cubicBezTo>
                                  <a:pt x="227409" y="129778"/>
                                  <a:pt x="232172" y="127397"/>
                                  <a:pt x="234553" y="129778"/>
                                </a:cubicBezTo>
                                <a:close/>
                                <a:moveTo>
                                  <a:pt x="132159" y="118893"/>
                                </a:moveTo>
                                <a:cubicBezTo>
                                  <a:pt x="132159" y="116682"/>
                                  <a:pt x="141155" y="121104"/>
                                  <a:pt x="143404" y="123316"/>
                                </a:cubicBezTo>
                                <a:cubicBezTo>
                                  <a:pt x="147902" y="125527"/>
                                  <a:pt x="150151" y="125527"/>
                                  <a:pt x="152400" y="132161"/>
                                </a:cubicBezTo>
                                <a:cubicBezTo>
                                  <a:pt x="147902" y="132161"/>
                                  <a:pt x="145653" y="132161"/>
                                  <a:pt x="141155" y="129950"/>
                                </a:cubicBezTo>
                                <a:cubicBezTo>
                                  <a:pt x="138906" y="127738"/>
                                  <a:pt x="136657" y="125527"/>
                                  <a:pt x="134408" y="123316"/>
                                </a:cubicBezTo>
                                <a:cubicBezTo>
                                  <a:pt x="134408" y="121104"/>
                                  <a:pt x="132159" y="121104"/>
                                  <a:pt x="132159" y="118893"/>
                                </a:cubicBezTo>
                                <a:close/>
                                <a:moveTo>
                                  <a:pt x="136922" y="98822"/>
                                </a:moveTo>
                                <a:cubicBezTo>
                                  <a:pt x="139303" y="100906"/>
                                  <a:pt x="139303" y="105073"/>
                                  <a:pt x="139303" y="107157"/>
                                </a:cubicBezTo>
                                <a:cubicBezTo>
                                  <a:pt x="139303" y="107157"/>
                                  <a:pt x="136922" y="105073"/>
                                  <a:pt x="136922" y="102989"/>
                                </a:cubicBezTo>
                                <a:cubicBezTo>
                                  <a:pt x="136922" y="102989"/>
                                  <a:pt x="136922" y="100906"/>
                                  <a:pt x="136922" y="98822"/>
                                </a:cubicBezTo>
                                <a:close/>
                                <a:moveTo>
                                  <a:pt x="97532" y="96292"/>
                                </a:moveTo>
                                <a:cubicBezTo>
                                  <a:pt x="99814" y="94060"/>
                                  <a:pt x="99814" y="94060"/>
                                  <a:pt x="102096" y="96292"/>
                                </a:cubicBezTo>
                                <a:cubicBezTo>
                                  <a:pt x="104378" y="100757"/>
                                  <a:pt x="108942" y="98525"/>
                                  <a:pt x="113506" y="98525"/>
                                </a:cubicBezTo>
                                <a:cubicBezTo>
                                  <a:pt x="115789" y="98525"/>
                                  <a:pt x="122635" y="105222"/>
                                  <a:pt x="122635" y="109687"/>
                                </a:cubicBezTo>
                                <a:cubicBezTo>
                                  <a:pt x="120353" y="111920"/>
                                  <a:pt x="115789" y="109687"/>
                                  <a:pt x="113506" y="109687"/>
                                </a:cubicBezTo>
                                <a:cubicBezTo>
                                  <a:pt x="111224" y="107455"/>
                                  <a:pt x="108942" y="109687"/>
                                  <a:pt x="104378" y="107455"/>
                                </a:cubicBezTo>
                                <a:cubicBezTo>
                                  <a:pt x="99814" y="107455"/>
                                  <a:pt x="95250" y="100757"/>
                                  <a:pt x="97532" y="96292"/>
                                </a:cubicBezTo>
                                <a:close/>
                                <a:moveTo>
                                  <a:pt x="120253" y="73649"/>
                                </a:moveTo>
                                <a:cubicBezTo>
                                  <a:pt x="120253" y="71438"/>
                                  <a:pt x="125015" y="71438"/>
                                  <a:pt x="125015" y="73649"/>
                                </a:cubicBezTo>
                                <a:cubicBezTo>
                                  <a:pt x="127397" y="73649"/>
                                  <a:pt x="127397" y="75860"/>
                                  <a:pt x="129778" y="78071"/>
                                </a:cubicBezTo>
                                <a:cubicBezTo>
                                  <a:pt x="129778" y="80282"/>
                                  <a:pt x="127397" y="82494"/>
                                  <a:pt x="129778" y="84705"/>
                                </a:cubicBezTo>
                                <a:cubicBezTo>
                                  <a:pt x="129778" y="84705"/>
                                  <a:pt x="132159" y="86916"/>
                                  <a:pt x="132159" y="89127"/>
                                </a:cubicBezTo>
                                <a:cubicBezTo>
                                  <a:pt x="134540" y="91338"/>
                                  <a:pt x="136922" y="100183"/>
                                  <a:pt x="134540" y="102394"/>
                                </a:cubicBezTo>
                                <a:cubicBezTo>
                                  <a:pt x="132159" y="100183"/>
                                  <a:pt x="129778" y="93549"/>
                                  <a:pt x="125015" y="91338"/>
                                </a:cubicBezTo>
                                <a:cubicBezTo>
                                  <a:pt x="122634" y="86916"/>
                                  <a:pt x="122634" y="80282"/>
                                  <a:pt x="120253" y="73649"/>
                                </a:cubicBezTo>
                                <a:close/>
                                <a:moveTo>
                                  <a:pt x="54258" y="64124"/>
                                </a:moveTo>
                                <a:cubicBezTo>
                                  <a:pt x="56469" y="61913"/>
                                  <a:pt x="56469" y="66335"/>
                                  <a:pt x="56469" y="66335"/>
                                </a:cubicBezTo>
                                <a:cubicBezTo>
                                  <a:pt x="58680" y="70758"/>
                                  <a:pt x="60892" y="70758"/>
                                  <a:pt x="63103" y="75181"/>
                                </a:cubicBezTo>
                                <a:cubicBezTo>
                                  <a:pt x="63103" y="75181"/>
                                  <a:pt x="63103" y="77392"/>
                                  <a:pt x="60892" y="77392"/>
                                </a:cubicBezTo>
                                <a:cubicBezTo>
                                  <a:pt x="58680" y="77392"/>
                                  <a:pt x="56469" y="75181"/>
                                  <a:pt x="56469" y="72969"/>
                                </a:cubicBezTo>
                                <a:cubicBezTo>
                                  <a:pt x="56469" y="72969"/>
                                  <a:pt x="56469" y="72969"/>
                                  <a:pt x="56469" y="70758"/>
                                </a:cubicBezTo>
                                <a:cubicBezTo>
                                  <a:pt x="54258" y="68547"/>
                                  <a:pt x="52047" y="70758"/>
                                  <a:pt x="49836" y="70758"/>
                                </a:cubicBezTo>
                                <a:cubicBezTo>
                                  <a:pt x="47625" y="68547"/>
                                  <a:pt x="52047" y="66335"/>
                                  <a:pt x="54258" y="64124"/>
                                </a:cubicBezTo>
                                <a:close/>
                                <a:moveTo>
                                  <a:pt x="77391" y="52388"/>
                                </a:moveTo>
                                <a:cubicBezTo>
                                  <a:pt x="79680" y="52388"/>
                                  <a:pt x="79680" y="52388"/>
                                  <a:pt x="81970" y="52388"/>
                                </a:cubicBezTo>
                                <a:cubicBezTo>
                                  <a:pt x="84260" y="54650"/>
                                  <a:pt x="84260" y="54650"/>
                                  <a:pt x="86550" y="56912"/>
                                </a:cubicBezTo>
                                <a:cubicBezTo>
                                  <a:pt x="88839" y="59174"/>
                                  <a:pt x="91129" y="61437"/>
                                  <a:pt x="95708" y="63699"/>
                                </a:cubicBezTo>
                                <a:cubicBezTo>
                                  <a:pt x="100288" y="63699"/>
                                  <a:pt x="107157" y="70485"/>
                                  <a:pt x="104867" y="75010"/>
                                </a:cubicBezTo>
                                <a:cubicBezTo>
                                  <a:pt x="100288" y="72748"/>
                                  <a:pt x="93419" y="70485"/>
                                  <a:pt x="91129" y="65961"/>
                                </a:cubicBezTo>
                                <a:cubicBezTo>
                                  <a:pt x="84260" y="63699"/>
                                  <a:pt x="79680" y="56912"/>
                                  <a:pt x="77391" y="52388"/>
                                </a:cubicBezTo>
                                <a:close/>
                                <a:moveTo>
                                  <a:pt x="36314" y="52388"/>
                                </a:moveTo>
                                <a:cubicBezTo>
                                  <a:pt x="36314" y="52388"/>
                                  <a:pt x="36314" y="52388"/>
                                  <a:pt x="40482" y="57150"/>
                                </a:cubicBezTo>
                                <a:cubicBezTo>
                                  <a:pt x="40482" y="59532"/>
                                  <a:pt x="38398" y="61913"/>
                                  <a:pt x="38398" y="61913"/>
                                </a:cubicBezTo>
                                <a:cubicBezTo>
                                  <a:pt x="36314" y="61913"/>
                                  <a:pt x="32147" y="52388"/>
                                  <a:pt x="36314" y="52388"/>
                                </a:cubicBezTo>
                                <a:close/>
                                <a:moveTo>
                                  <a:pt x="36791" y="29766"/>
                                </a:moveTo>
                                <a:cubicBezTo>
                                  <a:pt x="41315" y="32015"/>
                                  <a:pt x="45840" y="34264"/>
                                  <a:pt x="48102" y="36513"/>
                                </a:cubicBezTo>
                                <a:cubicBezTo>
                                  <a:pt x="50364" y="38762"/>
                                  <a:pt x="50364" y="41011"/>
                                  <a:pt x="52626" y="43260"/>
                                </a:cubicBezTo>
                                <a:cubicBezTo>
                                  <a:pt x="52626" y="45509"/>
                                  <a:pt x="57151" y="45509"/>
                                  <a:pt x="57151" y="47758"/>
                                </a:cubicBezTo>
                                <a:cubicBezTo>
                                  <a:pt x="52626" y="50007"/>
                                  <a:pt x="45840" y="45509"/>
                                  <a:pt x="43578" y="41011"/>
                                </a:cubicBezTo>
                                <a:cubicBezTo>
                                  <a:pt x="41315" y="38762"/>
                                  <a:pt x="34529" y="34264"/>
                                  <a:pt x="36791" y="29766"/>
                                </a:cubicBezTo>
                                <a:close/>
                                <a:moveTo>
                                  <a:pt x="0" y="0"/>
                                </a:moveTo>
                                <a:cubicBezTo>
                                  <a:pt x="6846" y="2307"/>
                                  <a:pt x="11410" y="9227"/>
                                  <a:pt x="13692" y="16148"/>
                                </a:cubicBezTo>
                                <a:cubicBezTo>
                                  <a:pt x="15974" y="18455"/>
                                  <a:pt x="15974" y="18455"/>
                                  <a:pt x="18256" y="18455"/>
                                </a:cubicBezTo>
                                <a:cubicBezTo>
                                  <a:pt x="20539" y="20762"/>
                                  <a:pt x="20539" y="23069"/>
                                  <a:pt x="22821" y="23069"/>
                                </a:cubicBezTo>
                                <a:cubicBezTo>
                                  <a:pt x="22821" y="25375"/>
                                  <a:pt x="25103" y="27682"/>
                                  <a:pt x="25103" y="29989"/>
                                </a:cubicBezTo>
                                <a:cubicBezTo>
                                  <a:pt x="27385" y="36910"/>
                                  <a:pt x="15974" y="36910"/>
                                  <a:pt x="11410" y="32296"/>
                                </a:cubicBezTo>
                                <a:cubicBezTo>
                                  <a:pt x="9128" y="29989"/>
                                  <a:pt x="9128" y="27682"/>
                                  <a:pt x="9128" y="25375"/>
                                </a:cubicBezTo>
                                <a:cubicBezTo>
                                  <a:pt x="9128" y="23069"/>
                                  <a:pt x="6846" y="20762"/>
                                  <a:pt x="4564" y="20762"/>
                                </a:cubicBezTo>
                                <a:cubicBezTo>
                                  <a:pt x="4564" y="16148"/>
                                  <a:pt x="0" y="13841"/>
                                  <a:pt x="0" y="9227"/>
                                </a:cubicBezTo>
                                <a:cubicBezTo>
                                  <a:pt x="0" y="6920"/>
                                  <a:pt x="2282" y="2307"/>
                                  <a:pt x="0" y="0"/>
                                </a:cubicBezTo>
                                <a:close/>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218" name="Singapore">
                            <a:extLst>
                              <a:ext uri="{FF2B5EF4-FFF2-40B4-BE49-F238E27FC236}">
                                <a16:creationId xmlns:a16="http://schemas.microsoft.com/office/drawing/2014/main" id="{A449BA4E-E261-1DD9-E20C-F65999D2A6CE}"/>
                              </a:ext>
                            </a:extLst>
                          </p:cNvPr>
                          <p:cNvSpPr>
                            <a:spLocks/>
                          </p:cNvSpPr>
                          <p:nvPr/>
                        </p:nvSpPr>
                        <p:spPr bwMode="auto">
                          <a:xfrm>
                            <a:off x="6069340" y="3310865"/>
                            <a:ext cx="9707" cy="4854"/>
                          </a:xfrm>
                          <a:custGeom>
                            <a:avLst/>
                            <a:gdLst/>
                            <a:ahLst/>
                            <a:cxnLst>
                              <a:cxn ang="0">
                                <a:pos x="1" y="0"/>
                              </a:cxn>
                              <a:cxn ang="0">
                                <a:pos x="4" y="0"/>
                              </a:cxn>
                              <a:cxn ang="0">
                                <a:pos x="1" y="0"/>
                              </a:cxn>
                            </a:cxnLst>
                            <a:rect l="0" t="0" r="r" b="b"/>
                            <a:pathLst>
                              <a:path w="4" h="2">
                                <a:moveTo>
                                  <a:pt x="1" y="0"/>
                                </a:moveTo>
                                <a:cubicBezTo>
                                  <a:pt x="0" y="0"/>
                                  <a:pt x="2" y="2"/>
                                  <a:pt x="4" y="0"/>
                                </a:cubicBezTo>
                                <a:cubicBezTo>
                                  <a:pt x="3" y="0"/>
                                  <a:pt x="2" y="0"/>
                                  <a:pt x="1" y="0"/>
                                </a:cubicBezTo>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219" name="New Caledonia">
                            <a:extLst>
                              <a:ext uri="{FF2B5EF4-FFF2-40B4-BE49-F238E27FC236}">
                                <a16:creationId xmlns:a16="http://schemas.microsoft.com/office/drawing/2014/main" id="{2B385076-167F-4B71-D4ED-226DB6952FC7}"/>
                              </a:ext>
                            </a:extLst>
                          </p:cNvPr>
                          <p:cNvSpPr>
                            <a:spLocks/>
                          </p:cNvSpPr>
                          <p:nvPr/>
                        </p:nvSpPr>
                        <p:spPr bwMode="auto">
                          <a:xfrm>
                            <a:off x="7334850" y="3845946"/>
                            <a:ext cx="81293" cy="55813"/>
                          </a:xfrm>
                          <a:custGeom>
                            <a:avLst/>
                            <a:gdLst>
                              <a:gd name="connsiteX0" fmla="*/ 75010 w 79772"/>
                              <a:gd name="connsiteY0" fmla="*/ 29765 h 54769"/>
                              <a:gd name="connsiteX1" fmla="*/ 79772 w 79772"/>
                              <a:gd name="connsiteY1" fmla="*/ 32146 h 54769"/>
                              <a:gd name="connsiteX2" fmla="*/ 75010 w 79772"/>
                              <a:gd name="connsiteY2" fmla="*/ 36909 h 54769"/>
                              <a:gd name="connsiteX3" fmla="*/ 75010 w 79772"/>
                              <a:gd name="connsiteY3" fmla="*/ 29765 h 54769"/>
                              <a:gd name="connsiteX4" fmla="*/ 61913 w 79772"/>
                              <a:gd name="connsiteY4" fmla="*/ 14089 h 54769"/>
                              <a:gd name="connsiteX5" fmla="*/ 66676 w 79772"/>
                              <a:gd name="connsiteY5" fmla="*/ 25003 h 54769"/>
                              <a:gd name="connsiteX6" fmla="*/ 61913 w 79772"/>
                              <a:gd name="connsiteY6" fmla="*/ 18454 h 54769"/>
                              <a:gd name="connsiteX7" fmla="*/ 61913 w 79772"/>
                              <a:gd name="connsiteY7" fmla="*/ 14089 h 54769"/>
                              <a:gd name="connsiteX8" fmla="*/ 0 w 79772"/>
                              <a:gd name="connsiteY8" fmla="*/ 0 h 54769"/>
                              <a:gd name="connsiteX9" fmla="*/ 4555 w 79772"/>
                              <a:gd name="connsiteY9" fmla="*/ 4564 h 54769"/>
                              <a:gd name="connsiteX10" fmla="*/ 9111 w 79772"/>
                              <a:gd name="connsiteY10" fmla="*/ 4564 h 54769"/>
                              <a:gd name="connsiteX11" fmla="*/ 18222 w 79772"/>
                              <a:gd name="connsiteY11" fmla="*/ 13692 h 54769"/>
                              <a:gd name="connsiteX12" fmla="*/ 25055 w 79772"/>
                              <a:gd name="connsiteY12" fmla="*/ 20538 h 54769"/>
                              <a:gd name="connsiteX13" fmla="*/ 29610 w 79772"/>
                              <a:gd name="connsiteY13" fmla="*/ 29666 h 54769"/>
                              <a:gd name="connsiteX14" fmla="*/ 40999 w 79772"/>
                              <a:gd name="connsiteY14" fmla="*/ 38795 h 54769"/>
                              <a:gd name="connsiteX15" fmla="*/ 45555 w 79772"/>
                              <a:gd name="connsiteY15" fmla="*/ 45641 h 54769"/>
                              <a:gd name="connsiteX16" fmla="*/ 50110 w 79772"/>
                              <a:gd name="connsiteY16" fmla="*/ 47923 h 54769"/>
                              <a:gd name="connsiteX17" fmla="*/ 45555 w 79772"/>
                              <a:gd name="connsiteY17" fmla="*/ 54769 h 54769"/>
                              <a:gd name="connsiteX18" fmla="*/ 38721 w 79772"/>
                              <a:gd name="connsiteY18" fmla="*/ 52487 h 54769"/>
                              <a:gd name="connsiteX19" fmla="*/ 38721 w 79772"/>
                              <a:gd name="connsiteY19" fmla="*/ 50205 h 54769"/>
                              <a:gd name="connsiteX20" fmla="*/ 34166 w 79772"/>
                              <a:gd name="connsiteY20" fmla="*/ 45641 h 54769"/>
                              <a:gd name="connsiteX21" fmla="*/ 25055 w 79772"/>
                              <a:gd name="connsiteY21" fmla="*/ 38795 h 54769"/>
                              <a:gd name="connsiteX22" fmla="*/ 15944 w 79772"/>
                              <a:gd name="connsiteY22" fmla="*/ 31949 h 54769"/>
                              <a:gd name="connsiteX23" fmla="*/ 13666 w 79772"/>
                              <a:gd name="connsiteY23" fmla="*/ 27384 h 54769"/>
                              <a:gd name="connsiteX24" fmla="*/ 11388 w 79772"/>
                              <a:gd name="connsiteY24" fmla="*/ 22820 h 54769"/>
                              <a:gd name="connsiteX25" fmla="*/ 4555 w 79772"/>
                              <a:gd name="connsiteY25" fmla="*/ 13692 h 54769"/>
                              <a:gd name="connsiteX26" fmla="*/ 2277 w 79772"/>
                              <a:gd name="connsiteY26" fmla="*/ 9128 h 54769"/>
                              <a:gd name="connsiteX27" fmla="*/ 2277 w 79772"/>
                              <a:gd name="connsiteY27" fmla="*/ 4564 h 54769"/>
                              <a:gd name="connsiteX28" fmla="*/ 0 w 79772"/>
                              <a:gd name="connsiteY28" fmla="*/ 0 h 54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9772" h="54769">
                                <a:moveTo>
                                  <a:pt x="75010" y="29765"/>
                                </a:moveTo>
                                <a:cubicBezTo>
                                  <a:pt x="77391" y="29765"/>
                                  <a:pt x="77391" y="34528"/>
                                  <a:pt x="79772" y="32146"/>
                                </a:cubicBezTo>
                                <a:cubicBezTo>
                                  <a:pt x="79772" y="34528"/>
                                  <a:pt x="77391" y="36909"/>
                                  <a:pt x="75010" y="36909"/>
                                </a:cubicBezTo>
                                <a:cubicBezTo>
                                  <a:pt x="75010" y="36909"/>
                                  <a:pt x="72628" y="29765"/>
                                  <a:pt x="75010" y="29765"/>
                                </a:cubicBezTo>
                                <a:close/>
                                <a:moveTo>
                                  <a:pt x="61913" y="14089"/>
                                </a:moveTo>
                                <a:cubicBezTo>
                                  <a:pt x="66676" y="11906"/>
                                  <a:pt x="69057" y="22820"/>
                                  <a:pt x="66676" y="25003"/>
                                </a:cubicBezTo>
                                <a:cubicBezTo>
                                  <a:pt x="64294" y="22820"/>
                                  <a:pt x="59532" y="22820"/>
                                  <a:pt x="61913" y="18454"/>
                                </a:cubicBezTo>
                                <a:cubicBezTo>
                                  <a:pt x="61913" y="16272"/>
                                  <a:pt x="66676" y="16272"/>
                                  <a:pt x="61913" y="14089"/>
                                </a:cubicBezTo>
                                <a:close/>
                                <a:moveTo>
                                  <a:pt x="0" y="0"/>
                                </a:moveTo>
                                <a:cubicBezTo>
                                  <a:pt x="2277" y="0"/>
                                  <a:pt x="2277" y="2282"/>
                                  <a:pt x="4555" y="4564"/>
                                </a:cubicBezTo>
                                <a:cubicBezTo>
                                  <a:pt x="6833" y="4564"/>
                                  <a:pt x="9111" y="2282"/>
                                  <a:pt x="9111" y="4564"/>
                                </a:cubicBezTo>
                                <a:cubicBezTo>
                                  <a:pt x="13666" y="6846"/>
                                  <a:pt x="13666" y="11410"/>
                                  <a:pt x="18222" y="13692"/>
                                </a:cubicBezTo>
                                <a:cubicBezTo>
                                  <a:pt x="22777" y="15974"/>
                                  <a:pt x="22777" y="15974"/>
                                  <a:pt x="25055" y="20538"/>
                                </a:cubicBezTo>
                                <a:cubicBezTo>
                                  <a:pt x="25055" y="25102"/>
                                  <a:pt x="27333" y="27384"/>
                                  <a:pt x="29610" y="29666"/>
                                </a:cubicBezTo>
                                <a:cubicBezTo>
                                  <a:pt x="34166" y="34231"/>
                                  <a:pt x="38721" y="34231"/>
                                  <a:pt x="40999" y="38795"/>
                                </a:cubicBezTo>
                                <a:cubicBezTo>
                                  <a:pt x="43277" y="41077"/>
                                  <a:pt x="45555" y="43359"/>
                                  <a:pt x="45555" y="45641"/>
                                </a:cubicBezTo>
                                <a:cubicBezTo>
                                  <a:pt x="47832" y="45641"/>
                                  <a:pt x="50110" y="45641"/>
                                  <a:pt x="50110" y="47923"/>
                                </a:cubicBezTo>
                                <a:cubicBezTo>
                                  <a:pt x="52388" y="54769"/>
                                  <a:pt x="50110" y="54769"/>
                                  <a:pt x="45555" y="54769"/>
                                </a:cubicBezTo>
                                <a:cubicBezTo>
                                  <a:pt x="43277" y="54769"/>
                                  <a:pt x="40999" y="47923"/>
                                  <a:pt x="38721" y="52487"/>
                                </a:cubicBezTo>
                                <a:cubicBezTo>
                                  <a:pt x="38721" y="52487"/>
                                  <a:pt x="38721" y="52487"/>
                                  <a:pt x="38721" y="50205"/>
                                </a:cubicBezTo>
                                <a:cubicBezTo>
                                  <a:pt x="36444" y="52487"/>
                                  <a:pt x="31888" y="47923"/>
                                  <a:pt x="34166" y="45641"/>
                                </a:cubicBezTo>
                                <a:cubicBezTo>
                                  <a:pt x="31888" y="43359"/>
                                  <a:pt x="27333" y="41077"/>
                                  <a:pt x="25055" y="38795"/>
                                </a:cubicBezTo>
                                <a:cubicBezTo>
                                  <a:pt x="22777" y="36513"/>
                                  <a:pt x="18222" y="36513"/>
                                  <a:pt x="15944" y="31949"/>
                                </a:cubicBezTo>
                                <a:cubicBezTo>
                                  <a:pt x="15944" y="29666"/>
                                  <a:pt x="13666" y="29666"/>
                                  <a:pt x="13666" y="27384"/>
                                </a:cubicBezTo>
                                <a:cubicBezTo>
                                  <a:pt x="11388" y="25102"/>
                                  <a:pt x="11388" y="22820"/>
                                  <a:pt x="11388" y="22820"/>
                                </a:cubicBezTo>
                                <a:cubicBezTo>
                                  <a:pt x="6833" y="20538"/>
                                  <a:pt x="6833" y="15974"/>
                                  <a:pt x="4555" y="13692"/>
                                </a:cubicBezTo>
                                <a:cubicBezTo>
                                  <a:pt x="4555" y="11410"/>
                                  <a:pt x="2277" y="11410"/>
                                  <a:pt x="2277" y="9128"/>
                                </a:cubicBezTo>
                                <a:cubicBezTo>
                                  <a:pt x="2277" y="6846"/>
                                  <a:pt x="2277" y="6846"/>
                                  <a:pt x="2277" y="4564"/>
                                </a:cubicBezTo>
                                <a:cubicBezTo>
                                  <a:pt x="2277" y="2282"/>
                                  <a:pt x="2277" y="0"/>
                                  <a:pt x="0" y="0"/>
                                </a:cubicBezTo>
                                <a:close/>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220" name="Papua New Guinea">
                            <a:extLst>
                              <a:ext uri="{FF2B5EF4-FFF2-40B4-BE49-F238E27FC236}">
                                <a16:creationId xmlns:a16="http://schemas.microsoft.com/office/drawing/2014/main" id="{B24EAF38-9A54-ACDB-0576-CE6298F16369}"/>
                              </a:ext>
                            </a:extLst>
                          </p:cNvPr>
                          <p:cNvSpPr>
                            <a:spLocks/>
                          </p:cNvSpPr>
                          <p:nvPr/>
                        </p:nvSpPr>
                        <p:spPr bwMode="auto">
                          <a:xfrm>
                            <a:off x="6881061" y="3379364"/>
                            <a:ext cx="282709" cy="255462"/>
                          </a:xfrm>
                          <a:custGeom>
                            <a:avLst/>
                            <a:gdLst>
                              <a:gd name="connsiteX0" fmla="*/ 254794 w 277417"/>
                              <a:gd name="connsiteY0" fmla="*/ 244727 h 250680"/>
                              <a:gd name="connsiteX1" fmla="*/ 265510 w 277417"/>
                              <a:gd name="connsiteY1" fmla="*/ 248696 h 250680"/>
                              <a:gd name="connsiteX2" fmla="*/ 261224 w 277417"/>
                              <a:gd name="connsiteY2" fmla="*/ 250680 h 250680"/>
                              <a:gd name="connsiteX3" fmla="*/ 259081 w 277417"/>
                              <a:gd name="connsiteY3" fmla="*/ 248696 h 250680"/>
                              <a:gd name="connsiteX4" fmla="*/ 254794 w 277417"/>
                              <a:gd name="connsiteY4" fmla="*/ 244727 h 250680"/>
                              <a:gd name="connsiteX5" fmla="*/ 272654 w 277417"/>
                              <a:gd name="connsiteY5" fmla="*/ 244726 h 250680"/>
                              <a:gd name="connsiteX6" fmla="*/ 277417 w 277417"/>
                              <a:gd name="connsiteY6" fmla="*/ 244726 h 250680"/>
                              <a:gd name="connsiteX7" fmla="*/ 275036 w 277417"/>
                              <a:gd name="connsiteY7" fmla="*/ 247107 h 250680"/>
                              <a:gd name="connsiteX8" fmla="*/ 272654 w 277417"/>
                              <a:gd name="connsiteY8" fmla="*/ 244726 h 250680"/>
                              <a:gd name="connsiteX9" fmla="*/ 242888 w 277417"/>
                              <a:gd name="connsiteY9" fmla="*/ 225677 h 250680"/>
                              <a:gd name="connsiteX10" fmla="*/ 250032 w 277417"/>
                              <a:gd name="connsiteY10" fmla="*/ 225677 h 250680"/>
                              <a:gd name="connsiteX11" fmla="*/ 247651 w 277417"/>
                              <a:gd name="connsiteY11" fmla="*/ 228058 h 250680"/>
                              <a:gd name="connsiteX12" fmla="*/ 242888 w 277417"/>
                              <a:gd name="connsiteY12" fmla="*/ 225677 h 250680"/>
                              <a:gd name="connsiteX13" fmla="*/ 215742 w 277417"/>
                              <a:gd name="connsiteY13" fmla="*/ 210199 h 250680"/>
                              <a:gd name="connsiteX14" fmla="*/ 213599 w 277417"/>
                              <a:gd name="connsiteY14" fmla="*/ 214961 h 250680"/>
                              <a:gd name="connsiteX15" fmla="*/ 211723 w 277417"/>
                              <a:gd name="connsiteY15" fmla="*/ 213473 h 250680"/>
                              <a:gd name="connsiteX16" fmla="*/ 211456 w 277417"/>
                              <a:gd name="connsiteY16" fmla="*/ 210199 h 250680"/>
                              <a:gd name="connsiteX17" fmla="*/ 213599 w 277417"/>
                              <a:gd name="connsiteY17" fmla="*/ 212580 h 250680"/>
                              <a:gd name="connsiteX18" fmla="*/ 215742 w 277417"/>
                              <a:gd name="connsiteY18" fmla="*/ 210199 h 250680"/>
                              <a:gd name="connsiteX19" fmla="*/ 207169 w 277417"/>
                              <a:gd name="connsiteY19" fmla="*/ 205436 h 250680"/>
                              <a:gd name="connsiteX20" fmla="*/ 211456 w 277417"/>
                              <a:gd name="connsiteY20" fmla="*/ 210199 h 250680"/>
                              <a:gd name="connsiteX21" fmla="*/ 209312 w 277417"/>
                              <a:gd name="connsiteY21" fmla="*/ 210199 h 250680"/>
                              <a:gd name="connsiteX22" fmla="*/ 207169 w 277417"/>
                              <a:gd name="connsiteY22" fmla="*/ 205436 h 250680"/>
                              <a:gd name="connsiteX23" fmla="*/ 204278 w 277417"/>
                              <a:gd name="connsiteY23" fmla="*/ 196804 h 250680"/>
                              <a:gd name="connsiteX24" fmla="*/ 208701 w 277417"/>
                              <a:gd name="connsiteY24" fmla="*/ 203055 h 250680"/>
                              <a:gd name="connsiteX25" fmla="*/ 199856 w 277417"/>
                              <a:gd name="connsiteY25" fmla="*/ 200971 h 250680"/>
                              <a:gd name="connsiteX26" fmla="*/ 204278 w 277417"/>
                              <a:gd name="connsiteY26" fmla="*/ 196804 h 250680"/>
                              <a:gd name="connsiteX27" fmla="*/ 195263 w 277417"/>
                              <a:gd name="connsiteY27" fmla="*/ 192339 h 250680"/>
                              <a:gd name="connsiteX28" fmla="*/ 197644 w 277417"/>
                              <a:gd name="connsiteY28" fmla="*/ 199483 h 250680"/>
                              <a:gd name="connsiteX29" fmla="*/ 195263 w 277417"/>
                              <a:gd name="connsiteY29" fmla="*/ 192339 h 250680"/>
                              <a:gd name="connsiteX30" fmla="*/ 247650 w 277417"/>
                              <a:gd name="connsiteY30" fmla="*/ 187577 h 250680"/>
                              <a:gd name="connsiteX31" fmla="*/ 252413 w 277417"/>
                              <a:gd name="connsiteY31" fmla="*/ 192339 h 250680"/>
                              <a:gd name="connsiteX32" fmla="*/ 247650 w 277417"/>
                              <a:gd name="connsiteY32" fmla="*/ 187577 h 250680"/>
                              <a:gd name="connsiteX33" fmla="*/ 217885 w 277417"/>
                              <a:gd name="connsiteY33" fmla="*/ 176385 h 250680"/>
                              <a:gd name="connsiteX34" fmla="*/ 217885 w 277417"/>
                              <a:gd name="connsiteY34" fmla="*/ 182814 h 250680"/>
                              <a:gd name="connsiteX35" fmla="*/ 217885 w 277417"/>
                              <a:gd name="connsiteY35" fmla="*/ 176385 h 250680"/>
                              <a:gd name="connsiteX36" fmla="*/ 47625 w 277417"/>
                              <a:gd name="connsiteY36" fmla="*/ 173289 h 250680"/>
                              <a:gd name="connsiteX37" fmla="*/ 57150 w 277417"/>
                              <a:gd name="connsiteY37" fmla="*/ 180433 h 250680"/>
                              <a:gd name="connsiteX38" fmla="*/ 47625 w 277417"/>
                              <a:gd name="connsiteY38" fmla="*/ 173289 h 250680"/>
                              <a:gd name="connsiteX39" fmla="*/ 217885 w 277417"/>
                              <a:gd name="connsiteY39" fmla="*/ 172098 h 250680"/>
                              <a:gd name="connsiteX40" fmla="*/ 217885 w 277417"/>
                              <a:gd name="connsiteY40" fmla="*/ 176385 h 250680"/>
                              <a:gd name="connsiteX41" fmla="*/ 217885 w 277417"/>
                              <a:gd name="connsiteY41" fmla="*/ 172098 h 250680"/>
                              <a:gd name="connsiteX42" fmla="*/ 52388 w 277417"/>
                              <a:gd name="connsiteY42" fmla="*/ 172098 h 250680"/>
                              <a:gd name="connsiteX43" fmla="*/ 54769 w 277417"/>
                              <a:gd name="connsiteY43" fmla="*/ 173289 h 250680"/>
                              <a:gd name="connsiteX44" fmla="*/ 52388 w 277417"/>
                              <a:gd name="connsiteY44" fmla="*/ 172098 h 250680"/>
                              <a:gd name="connsiteX45" fmla="*/ 152401 w 277417"/>
                              <a:gd name="connsiteY45" fmla="*/ 100661 h 250680"/>
                              <a:gd name="connsiteX46" fmla="*/ 154782 w 277417"/>
                              <a:gd name="connsiteY46" fmla="*/ 110186 h 250680"/>
                              <a:gd name="connsiteX47" fmla="*/ 152401 w 277417"/>
                              <a:gd name="connsiteY47" fmla="*/ 100661 h 250680"/>
                              <a:gd name="connsiteX48" fmla="*/ 136526 w 277417"/>
                              <a:gd name="connsiteY48" fmla="*/ 94708 h 250680"/>
                              <a:gd name="connsiteX49" fmla="*/ 136526 w 277417"/>
                              <a:gd name="connsiteY49" fmla="*/ 98280 h 250680"/>
                              <a:gd name="connsiteX50" fmla="*/ 136526 w 277417"/>
                              <a:gd name="connsiteY50" fmla="*/ 94708 h 250680"/>
                              <a:gd name="connsiteX51" fmla="*/ 247830 w 277417"/>
                              <a:gd name="connsiteY51" fmla="*/ 69704 h 250680"/>
                              <a:gd name="connsiteX52" fmla="*/ 250122 w 277417"/>
                              <a:gd name="connsiteY52" fmla="*/ 71982 h 250680"/>
                              <a:gd name="connsiteX53" fmla="*/ 252414 w 277417"/>
                              <a:gd name="connsiteY53" fmla="*/ 78815 h 250680"/>
                              <a:gd name="connsiteX54" fmla="*/ 243246 w 277417"/>
                              <a:gd name="connsiteY54" fmla="*/ 87926 h 250680"/>
                              <a:gd name="connsiteX55" fmla="*/ 245538 w 277417"/>
                              <a:gd name="connsiteY55" fmla="*/ 97036 h 250680"/>
                              <a:gd name="connsiteX56" fmla="*/ 229494 w 277417"/>
                              <a:gd name="connsiteY56" fmla="*/ 101592 h 250680"/>
                              <a:gd name="connsiteX57" fmla="*/ 220327 w 277417"/>
                              <a:gd name="connsiteY57" fmla="*/ 115258 h 250680"/>
                              <a:gd name="connsiteX58" fmla="*/ 206575 w 277417"/>
                              <a:gd name="connsiteY58" fmla="*/ 119813 h 250680"/>
                              <a:gd name="connsiteX59" fmla="*/ 192823 w 277417"/>
                              <a:gd name="connsiteY59" fmla="*/ 122091 h 250680"/>
                              <a:gd name="connsiteX60" fmla="*/ 188239 w 277417"/>
                              <a:gd name="connsiteY60" fmla="*/ 117536 h 250680"/>
                              <a:gd name="connsiteX61" fmla="*/ 179071 w 277417"/>
                              <a:gd name="connsiteY61" fmla="*/ 117536 h 250680"/>
                              <a:gd name="connsiteX62" fmla="*/ 174487 w 277417"/>
                              <a:gd name="connsiteY62" fmla="*/ 112980 h 250680"/>
                              <a:gd name="connsiteX63" fmla="*/ 169903 w 277417"/>
                              <a:gd name="connsiteY63" fmla="*/ 110703 h 250680"/>
                              <a:gd name="connsiteX64" fmla="*/ 163027 w 277417"/>
                              <a:gd name="connsiteY64" fmla="*/ 108425 h 250680"/>
                              <a:gd name="connsiteX65" fmla="*/ 165319 w 277417"/>
                              <a:gd name="connsiteY65" fmla="*/ 101592 h 250680"/>
                              <a:gd name="connsiteX66" fmla="*/ 174487 w 277417"/>
                              <a:gd name="connsiteY66" fmla="*/ 101592 h 250680"/>
                              <a:gd name="connsiteX67" fmla="*/ 179071 w 277417"/>
                              <a:gd name="connsiteY67" fmla="*/ 101592 h 250680"/>
                              <a:gd name="connsiteX68" fmla="*/ 183655 w 277417"/>
                              <a:gd name="connsiteY68" fmla="*/ 103870 h 250680"/>
                              <a:gd name="connsiteX69" fmla="*/ 197407 w 277417"/>
                              <a:gd name="connsiteY69" fmla="*/ 99314 h 250680"/>
                              <a:gd name="connsiteX70" fmla="*/ 204283 w 277417"/>
                              <a:gd name="connsiteY70" fmla="*/ 90203 h 250680"/>
                              <a:gd name="connsiteX71" fmla="*/ 201991 w 277417"/>
                              <a:gd name="connsiteY71" fmla="*/ 101592 h 250680"/>
                              <a:gd name="connsiteX72" fmla="*/ 208867 w 277417"/>
                              <a:gd name="connsiteY72" fmla="*/ 101592 h 250680"/>
                              <a:gd name="connsiteX73" fmla="*/ 215743 w 277417"/>
                              <a:gd name="connsiteY73" fmla="*/ 101592 h 250680"/>
                              <a:gd name="connsiteX74" fmla="*/ 220327 w 277417"/>
                              <a:gd name="connsiteY74" fmla="*/ 99314 h 250680"/>
                              <a:gd name="connsiteX75" fmla="*/ 227203 w 277417"/>
                              <a:gd name="connsiteY75" fmla="*/ 90203 h 250680"/>
                              <a:gd name="connsiteX76" fmla="*/ 236370 w 277417"/>
                              <a:gd name="connsiteY76" fmla="*/ 85648 h 250680"/>
                              <a:gd name="connsiteX77" fmla="*/ 234078 w 277417"/>
                              <a:gd name="connsiteY77" fmla="*/ 74260 h 250680"/>
                              <a:gd name="connsiteX78" fmla="*/ 240954 w 277417"/>
                              <a:gd name="connsiteY78" fmla="*/ 71982 h 250680"/>
                              <a:gd name="connsiteX79" fmla="*/ 247830 w 277417"/>
                              <a:gd name="connsiteY79" fmla="*/ 69704 h 250680"/>
                              <a:gd name="connsiteX80" fmla="*/ 222534 w 277417"/>
                              <a:gd name="connsiteY80" fmla="*/ 30414 h 250680"/>
                              <a:gd name="connsiteX81" fmla="*/ 227070 w 277417"/>
                              <a:gd name="connsiteY81" fmla="*/ 34978 h 250680"/>
                              <a:gd name="connsiteX82" fmla="*/ 231606 w 277417"/>
                              <a:gd name="connsiteY82" fmla="*/ 37260 h 250680"/>
                              <a:gd name="connsiteX83" fmla="*/ 240677 w 277417"/>
                              <a:gd name="connsiteY83" fmla="*/ 44106 h 250680"/>
                              <a:gd name="connsiteX84" fmla="*/ 252016 w 277417"/>
                              <a:gd name="connsiteY84" fmla="*/ 53235 h 250680"/>
                              <a:gd name="connsiteX85" fmla="*/ 258820 w 277417"/>
                              <a:gd name="connsiteY85" fmla="*/ 60081 h 250680"/>
                              <a:gd name="connsiteX86" fmla="*/ 263356 w 277417"/>
                              <a:gd name="connsiteY86" fmla="*/ 64645 h 250680"/>
                              <a:gd name="connsiteX87" fmla="*/ 267891 w 277417"/>
                              <a:gd name="connsiteY87" fmla="*/ 69209 h 250680"/>
                              <a:gd name="connsiteX88" fmla="*/ 261088 w 277417"/>
                              <a:gd name="connsiteY88" fmla="*/ 85183 h 250680"/>
                              <a:gd name="connsiteX89" fmla="*/ 258820 w 277417"/>
                              <a:gd name="connsiteY89" fmla="*/ 76055 h 250680"/>
                              <a:gd name="connsiteX90" fmla="*/ 258820 w 277417"/>
                              <a:gd name="connsiteY90" fmla="*/ 66927 h 250680"/>
                              <a:gd name="connsiteX91" fmla="*/ 249748 w 277417"/>
                              <a:gd name="connsiteY91" fmla="*/ 53235 h 250680"/>
                              <a:gd name="connsiteX92" fmla="*/ 242945 w 277417"/>
                              <a:gd name="connsiteY92" fmla="*/ 48670 h 250680"/>
                              <a:gd name="connsiteX93" fmla="*/ 233873 w 277417"/>
                              <a:gd name="connsiteY93" fmla="*/ 41824 h 250680"/>
                              <a:gd name="connsiteX94" fmla="*/ 227070 w 277417"/>
                              <a:gd name="connsiteY94" fmla="*/ 37260 h 250680"/>
                              <a:gd name="connsiteX95" fmla="*/ 220266 w 277417"/>
                              <a:gd name="connsiteY95" fmla="*/ 32696 h 250680"/>
                              <a:gd name="connsiteX96" fmla="*/ 222534 w 277417"/>
                              <a:gd name="connsiteY96" fmla="*/ 30414 h 250680"/>
                              <a:gd name="connsiteX97" fmla="*/ 9111 w 277417"/>
                              <a:gd name="connsiteY97" fmla="*/ 30414 h 250680"/>
                              <a:gd name="connsiteX98" fmla="*/ 22777 w 277417"/>
                              <a:gd name="connsiteY98" fmla="*/ 34958 h 250680"/>
                              <a:gd name="connsiteX99" fmla="*/ 47832 w 277417"/>
                              <a:gd name="connsiteY99" fmla="*/ 48588 h 250680"/>
                              <a:gd name="connsiteX100" fmla="*/ 61498 w 277417"/>
                              <a:gd name="connsiteY100" fmla="*/ 50860 h 250680"/>
                              <a:gd name="connsiteX101" fmla="*/ 72887 w 277417"/>
                              <a:gd name="connsiteY101" fmla="*/ 59947 h 250680"/>
                              <a:gd name="connsiteX102" fmla="*/ 79720 w 277417"/>
                              <a:gd name="connsiteY102" fmla="*/ 59947 h 250680"/>
                              <a:gd name="connsiteX103" fmla="*/ 86553 w 277417"/>
                              <a:gd name="connsiteY103" fmla="*/ 64491 h 250680"/>
                              <a:gd name="connsiteX104" fmla="*/ 93386 w 277417"/>
                              <a:gd name="connsiteY104" fmla="*/ 71306 h 250680"/>
                              <a:gd name="connsiteX105" fmla="*/ 102497 w 277417"/>
                              <a:gd name="connsiteY105" fmla="*/ 75850 h 250680"/>
                              <a:gd name="connsiteX106" fmla="*/ 109330 w 277417"/>
                              <a:gd name="connsiteY106" fmla="*/ 87208 h 250680"/>
                              <a:gd name="connsiteX107" fmla="*/ 107052 w 277417"/>
                              <a:gd name="connsiteY107" fmla="*/ 96295 h 250680"/>
                              <a:gd name="connsiteX108" fmla="*/ 122996 w 277417"/>
                              <a:gd name="connsiteY108" fmla="*/ 103111 h 250680"/>
                              <a:gd name="connsiteX109" fmla="*/ 132108 w 277417"/>
                              <a:gd name="connsiteY109" fmla="*/ 109926 h 250680"/>
                              <a:gd name="connsiteX110" fmla="*/ 136663 w 277417"/>
                              <a:gd name="connsiteY110" fmla="*/ 112198 h 250680"/>
                              <a:gd name="connsiteX111" fmla="*/ 143496 w 277417"/>
                              <a:gd name="connsiteY111" fmla="*/ 112198 h 250680"/>
                              <a:gd name="connsiteX112" fmla="*/ 150330 w 277417"/>
                              <a:gd name="connsiteY112" fmla="*/ 130372 h 250680"/>
                              <a:gd name="connsiteX113" fmla="*/ 134386 w 277417"/>
                              <a:gd name="connsiteY113" fmla="*/ 130372 h 250680"/>
                              <a:gd name="connsiteX114" fmla="*/ 136663 w 277417"/>
                              <a:gd name="connsiteY114" fmla="*/ 148546 h 250680"/>
                              <a:gd name="connsiteX115" fmla="*/ 145774 w 277417"/>
                              <a:gd name="connsiteY115" fmla="*/ 157633 h 250680"/>
                              <a:gd name="connsiteX116" fmla="*/ 154885 w 277417"/>
                              <a:gd name="connsiteY116" fmla="*/ 162177 h 250680"/>
                              <a:gd name="connsiteX117" fmla="*/ 157163 w 277417"/>
                              <a:gd name="connsiteY117" fmla="*/ 175807 h 250680"/>
                              <a:gd name="connsiteX118" fmla="*/ 159440 w 277417"/>
                              <a:gd name="connsiteY118" fmla="*/ 178079 h 250680"/>
                              <a:gd name="connsiteX119" fmla="*/ 161718 w 277417"/>
                              <a:gd name="connsiteY119" fmla="*/ 184895 h 250680"/>
                              <a:gd name="connsiteX120" fmla="*/ 170829 w 277417"/>
                              <a:gd name="connsiteY120" fmla="*/ 187166 h 250680"/>
                              <a:gd name="connsiteX121" fmla="*/ 177662 w 277417"/>
                              <a:gd name="connsiteY121" fmla="*/ 189438 h 250680"/>
                              <a:gd name="connsiteX122" fmla="*/ 184495 w 277417"/>
                              <a:gd name="connsiteY122" fmla="*/ 200797 h 250680"/>
                              <a:gd name="connsiteX123" fmla="*/ 191329 w 277417"/>
                              <a:gd name="connsiteY123" fmla="*/ 203069 h 250680"/>
                              <a:gd name="connsiteX124" fmla="*/ 184495 w 277417"/>
                              <a:gd name="connsiteY124" fmla="*/ 205340 h 250680"/>
                              <a:gd name="connsiteX125" fmla="*/ 189051 w 277417"/>
                              <a:gd name="connsiteY125" fmla="*/ 212156 h 250680"/>
                              <a:gd name="connsiteX126" fmla="*/ 195884 w 277417"/>
                              <a:gd name="connsiteY126" fmla="*/ 214428 h 250680"/>
                              <a:gd name="connsiteX127" fmla="*/ 209550 w 277417"/>
                              <a:gd name="connsiteY127" fmla="*/ 216699 h 250680"/>
                              <a:gd name="connsiteX128" fmla="*/ 200439 w 277417"/>
                              <a:gd name="connsiteY128" fmla="*/ 218971 h 250680"/>
                              <a:gd name="connsiteX129" fmla="*/ 198162 w 277417"/>
                              <a:gd name="connsiteY129" fmla="*/ 221243 h 250680"/>
                              <a:gd name="connsiteX130" fmla="*/ 200439 w 277417"/>
                              <a:gd name="connsiteY130" fmla="*/ 225786 h 250680"/>
                              <a:gd name="connsiteX131" fmla="*/ 186773 w 277417"/>
                              <a:gd name="connsiteY131" fmla="*/ 223515 h 250680"/>
                              <a:gd name="connsiteX132" fmla="*/ 177662 w 277417"/>
                              <a:gd name="connsiteY132" fmla="*/ 218971 h 250680"/>
                              <a:gd name="connsiteX133" fmla="*/ 161718 w 277417"/>
                              <a:gd name="connsiteY133" fmla="*/ 216699 h 250680"/>
                              <a:gd name="connsiteX134" fmla="*/ 163996 w 277417"/>
                              <a:gd name="connsiteY134" fmla="*/ 214428 h 250680"/>
                              <a:gd name="connsiteX135" fmla="*/ 157163 w 277417"/>
                              <a:gd name="connsiteY135" fmla="*/ 214428 h 250680"/>
                              <a:gd name="connsiteX136" fmla="*/ 150330 w 277417"/>
                              <a:gd name="connsiteY136" fmla="*/ 212156 h 250680"/>
                              <a:gd name="connsiteX137" fmla="*/ 141219 w 277417"/>
                              <a:gd name="connsiteY137" fmla="*/ 212156 h 250680"/>
                              <a:gd name="connsiteX138" fmla="*/ 136663 w 277417"/>
                              <a:gd name="connsiteY138" fmla="*/ 205340 h 250680"/>
                              <a:gd name="connsiteX139" fmla="*/ 134386 w 277417"/>
                              <a:gd name="connsiteY139" fmla="*/ 198525 h 250680"/>
                              <a:gd name="connsiteX140" fmla="*/ 127552 w 277417"/>
                              <a:gd name="connsiteY140" fmla="*/ 196253 h 250680"/>
                              <a:gd name="connsiteX141" fmla="*/ 125274 w 277417"/>
                              <a:gd name="connsiteY141" fmla="*/ 189438 h 250680"/>
                              <a:gd name="connsiteX142" fmla="*/ 118441 w 277417"/>
                              <a:gd name="connsiteY142" fmla="*/ 180351 h 250680"/>
                              <a:gd name="connsiteX143" fmla="*/ 109330 w 277417"/>
                              <a:gd name="connsiteY143" fmla="*/ 164449 h 250680"/>
                              <a:gd name="connsiteX144" fmla="*/ 104775 w 277417"/>
                              <a:gd name="connsiteY144" fmla="*/ 159905 h 250680"/>
                              <a:gd name="connsiteX145" fmla="*/ 97942 w 277417"/>
                              <a:gd name="connsiteY145" fmla="*/ 159905 h 250680"/>
                              <a:gd name="connsiteX146" fmla="*/ 88831 w 277417"/>
                              <a:gd name="connsiteY146" fmla="*/ 157633 h 250680"/>
                              <a:gd name="connsiteX147" fmla="*/ 84275 w 277417"/>
                              <a:gd name="connsiteY147" fmla="*/ 150818 h 250680"/>
                              <a:gd name="connsiteX148" fmla="*/ 79720 w 277417"/>
                              <a:gd name="connsiteY148" fmla="*/ 150818 h 250680"/>
                              <a:gd name="connsiteX149" fmla="*/ 77442 w 277417"/>
                              <a:gd name="connsiteY149" fmla="*/ 150818 h 250680"/>
                              <a:gd name="connsiteX150" fmla="*/ 75164 w 277417"/>
                              <a:gd name="connsiteY150" fmla="*/ 150818 h 250680"/>
                              <a:gd name="connsiteX151" fmla="*/ 75164 w 277417"/>
                              <a:gd name="connsiteY151" fmla="*/ 155361 h 250680"/>
                              <a:gd name="connsiteX152" fmla="*/ 72887 w 277417"/>
                              <a:gd name="connsiteY152" fmla="*/ 153090 h 250680"/>
                              <a:gd name="connsiteX153" fmla="*/ 59220 w 277417"/>
                              <a:gd name="connsiteY153" fmla="*/ 148546 h 250680"/>
                              <a:gd name="connsiteX154" fmla="*/ 63776 w 277417"/>
                              <a:gd name="connsiteY154" fmla="*/ 162177 h 250680"/>
                              <a:gd name="connsiteX155" fmla="*/ 61498 w 277417"/>
                              <a:gd name="connsiteY155" fmla="*/ 159905 h 250680"/>
                              <a:gd name="connsiteX156" fmla="*/ 52387 w 277417"/>
                              <a:gd name="connsiteY156" fmla="*/ 159905 h 250680"/>
                              <a:gd name="connsiteX157" fmla="*/ 56943 w 277417"/>
                              <a:gd name="connsiteY157" fmla="*/ 166720 h 250680"/>
                              <a:gd name="connsiteX158" fmla="*/ 47832 w 277417"/>
                              <a:gd name="connsiteY158" fmla="*/ 168992 h 250680"/>
                              <a:gd name="connsiteX159" fmla="*/ 40999 w 277417"/>
                              <a:gd name="connsiteY159" fmla="*/ 168992 h 250680"/>
                              <a:gd name="connsiteX160" fmla="*/ 36443 w 277417"/>
                              <a:gd name="connsiteY160" fmla="*/ 168992 h 250680"/>
                              <a:gd name="connsiteX161" fmla="*/ 35077 w 277417"/>
                              <a:gd name="connsiteY161" fmla="*/ 169219 h 250680"/>
                              <a:gd name="connsiteX162" fmla="*/ 34166 w 277417"/>
                              <a:gd name="connsiteY162" fmla="*/ 168992 h 250680"/>
                              <a:gd name="connsiteX163" fmla="*/ 29610 w 277417"/>
                              <a:gd name="connsiteY163" fmla="*/ 166720 h 250680"/>
                              <a:gd name="connsiteX164" fmla="*/ 33027 w 277417"/>
                              <a:gd name="connsiteY164" fmla="*/ 169560 h 250680"/>
                              <a:gd name="connsiteX165" fmla="*/ 35077 w 277417"/>
                              <a:gd name="connsiteY165" fmla="*/ 169219 h 250680"/>
                              <a:gd name="connsiteX166" fmla="*/ 43276 w 277417"/>
                              <a:gd name="connsiteY166" fmla="*/ 171264 h 250680"/>
                              <a:gd name="connsiteX167" fmla="*/ 45554 w 277417"/>
                              <a:gd name="connsiteY167" fmla="*/ 187166 h 250680"/>
                              <a:gd name="connsiteX168" fmla="*/ 34166 w 277417"/>
                              <a:gd name="connsiteY168" fmla="*/ 193982 h 250680"/>
                              <a:gd name="connsiteX169" fmla="*/ 22777 w 277417"/>
                              <a:gd name="connsiteY169" fmla="*/ 191710 h 250680"/>
                              <a:gd name="connsiteX170" fmla="*/ 6833 w 277417"/>
                              <a:gd name="connsiteY170" fmla="*/ 189438 h 250680"/>
                              <a:gd name="connsiteX171" fmla="*/ 0 w 277417"/>
                              <a:gd name="connsiteY171" fmla="*/ 189438 h 250680"/>
                              <a:gd name="connsiteX172" fmla="*/ 2277 w 277417"/>
                              <a:gd name="connsiteY172" fmla="*/ 137187 h 250680"/>
                              <a:gd name="connsiteX173" fmla="*/ 0 w 277417"/>
                              <a:gd name="connsiteY173" fmla="*/ 128100 h 250680"/>
                              <a:gd name="connsiteX174" fmla="*/ 4555 w 277417"/>
                              <a:gd name="connsiteY174" fmla="*/ 119013 h 250680"/>
                              <a:gd name="connsiteX175" fmla="*/ 9111 w 277417"/>
                              <a:gd name="connsiteY175" fmla="*/ 30414 h 250680"/>
                              <a:gd name="connsiteX176" fmla="*/ 207496 w 277417"/>
                              <a:gd name="connsiteY176" fmla="*/ 25354 h 250680"/>
                              <a:gd name="connsiteX177" fmla="*/ 210979 w 277417"/>
                              <a:gd name="connsiteY177" fmla="*/ 28033 h 250680"/>
                              <a:gd name="connsiteX178" fmla="*/ 208836 w 277417"/>
                              <a:gd name="connsiteY178" fmla="*/ 32795 h 250680"/>
                              <a:gd name="connsiteX179" fmla="*/ 202406 w 277417"/>
                              <a:gd name="connsiteY179" fmla="*/ 28033 h 250680"/>
                              <a:gd name="connsiteX180" fmla="*/ 207496 w 277417"/>
                              <a:gd name="connsiteY180" fmla="*/ 25354 h 250680"/>
                              <a:gd name="connsiteX181" fmla="*/ 134144 w 277417"/>
                              <a:gd name="connsiteY181" fmla="*/ 14936 h 250680"/>
                              <a:gd name="connsiteX182" fmla="*/ 147638 w 277417"/>
                              <a:gd name="connsiteY182" fmla="*/ 17317 h 250680"/>
                              <a:gd name="connsiteX183" fmla="*/ 138642 w 277417"/>
                              <a:gd name="connsiteY183" fmla="*/ 19699 h 250680"/>
                              <a:gd name="connsiteX184" fmla="*/ 134144 w 277417"/>
                              <a:gd name="connsiteY184" fmla="*/ 19699 h 250680"/>
                              <a:gd name="connsiteX185" fmla="*/ 129646 w 277417"/>
                              <a:gd name="connsiteY185" fmla="*/ 22080 h 250680"/>
                              <a:gd name="connsiteX186" fmla="*/ 134144 w 277417"/>
                              <a:gd name="connsiteY186" fmla="*/ 14936 h 250680"/>
                              <a:gd name="connsiteX187" fmla="*/ 192881 w 277417"/>
                              <a:gd name="connsiteY187" fmla="*/ 648 h 250680"/>
                              <a:gd name="connsiteX188" fmla="*/ 197644 w 277417"/>
                              <a:gd name="connsiteY188" fmla="*/ 5411 h 250680"/>
                              <a:gd name="connsiteX189" fmla="*/ 192881 w 277417"/>
                              <a:gd name="connsiteY189" fmla="*/ 648 h 250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Lst>
                            <a:rect l="l" t="t" r="r" b="b"/>
                            <a:pathLst>
                              <a:path w="277417" h="250680">
                                <a:moveTo>
                                  <a:pt x="254794" y="244727"/>
                                </a:moveTo>
                                <a:cubicBezTo>
                                  <a:pt x="259081" y="244727"/>
                                  <a:pt x="263367" y="246711"/>
                                  <a:pt x="265510" y="248696"/>
                                </a:cubicBezTo>
                                <a:cubicBezTo>
                                  <a:pt x="263367" y="248696"/>
                                  <a:pt x="263367" y="250680"/>
                                  <a:pt x="261224" y="250680"/>
                                </a:cubicBezTo>
                                <a:cubicBezTo>
                                  <a:pt x="261224" y="248696"/>
                                  <a:pt x="259081" y="250680"/>
                                  <a:pt x="259081" y="248696"/>
                                </a:cubicBezTo>
                                <a:cubicBezTo>
                                  <a:pt x="256937" y="248696"/>
                                  <a:pt x="256937" y="246711"/>
                                  <a:pt x="254794" y="244727"/>
                                </a:cubicBezTo>
                                <a:close/>
                                <a:moveTo>
                                  <a:pt x="272654" y="244726"/>
                                </a:moveTo>
                                <a:cubicBezTo>
                                  <a:pt x="275036" y="244726"/>
                                  <a:pt x="277417" y="242345"/>
                                  <a:pt x="277417" y="244726"/>
                                </a:cubicBezTo>
                                <a:cubicBezTo>
                                  <a:pt x="277417" y="244726"/>
                                  <a:pt x="275036" y="244726"/>
                                  <a:pt x="275036" y="247107"/>
                                </a:cubicBezTo>
                                <a:cubicBezTo>
                                  <a:pt x="275036" y="247107"/>
                                  <a:pt x="275036" y="247107"/>
                                  <a:pt x="272654" y="244726"/>
                                </a:cubicBezTo>
                                <a:close/>
                                <a:moveTo>
                                  <a:pt x="242888" y="225677"/>
                                </a:moveTo>
                                <a:cubicBezTo>
                                  <a:pt x="245270" y="225677"/>
                                  <a:pt x="247651" y="225677"/>
                                  <a:pt x="250032" y="225677"/>
                                </a:cubicBezTo>
                                <a:cubicBezTo>
                                  <a:pt x="250032" y="225677"/>
                                  <a:pt x="250032" y="225677"/>
                                  <a:pt x="247651" y="228058"/>
                                </a:cubicBezTo>
                                <a:cubicBezTo>
                                  <a:pt x="245270" y="228058"/>
                                  <a:pt x="242888" y="225677"/>
                                  <a:pt x="242888" y="225677"/>
                                </a:cubicBezTo>
                                <a:close/>
                                <a:moveTo>
                                  <a:pt x="215742" y="210199"/>
                                </a:moveTo>
                                <a:cubicBezTo>
                                  <a:pt x="217885" y="210199"/>
                                  <a:pt x="217885" y="214961"/>
                                  <a:pt x="213599" y="214961"/>
                                </a:cubicBezTo>
                                <a:cubicBezTo>
                                  <a:pt x="213599" y="214961"/>
                                  <a:pt x="212527" y="214366"/>
                                  <a:pt x="211723" y="213473"/>
                                </a:cubicBezTo>
                                <a:lnTo>
                                  <a:pt x="211456" y="210199"/>
                                </a:lnTo>
                                <a:lnTo>
                                  <a:pt x="213599" y="212580"/>
                                </a:lnTo>
                                <a:cubicBezTo>
                                  <a:pt x="215742" y="210199"/>
                                  <a:pt x="215742" y="210199"/>
                                  <a:pt x="215742" y="210199"/>
                                </a:cubicBezTo>
                                <a:close/>
                                <a:moveTo>
                                  <a:pt x="207169" y="205436"/>
                                </a:moveTo>
                                <a:lnTo>
                                  <a:pt x="211456" y="210199"/>
                                </a:lnTo>
                                <a:lnTo>
                                  <a:pt x="209312" y="210199"/>
                                </a:lnTo>
                                <a:cubicBezTo>
                                  <a:pt x="209312" y="207817"/>
                                  <a:pt x="209312" y="205436"/>
                                  <a:pt x="207169" y="205436"/>
                                </a:cubicBezTo>
                                <a:close/>
                                <a:moveTo>
                                  <a:pt x="204278" y="196804"/>
                                </a:moveTo>
                                <a:cubicBezTo>
                                  <a:pt x="206489" y="196804"/>
                                  <a:pt x="213123" y="198888"/>
                                  <a:pt x="208701" y="203055"/>
                                </a:cubicBezTo>
                                <a:cubicBezTo>
                                  <a:pt x="206489" y="200971"/>
                                  <a:pt x="202067" y="200971"/>
                                  <a:pt x="199856" y="200971"/>
                                </a:cubicBezTo>
                                <a:cubicBezTo>
                                  <a:pt x="204278" y="198888"/>
                                  <a:pt x="197644" y="194720"/>
                                  <a:pt x="204278" y="196804"/>
                                </a:cubicBezTo>
                                <a:close/>
                                <a:moveTo>
                                  <a:pt x="195263" y="192339"/>
                                </a:moveTo>
                                <a:cubicBezTo>
                                  <a:pt x="200025" y="189958"/>
                                  <a:pt x="200025" y="199483"/>
                                  <a:pt x="197644" y="199483"/>
                                </a:cubicBezTo>
                                <a:cubicBezTo>
                                  <a:pt x="195263" y="199483"/>
                                  <a:pt x="190500" y="194721"/>
                                  <a:pt x="195263" y="192339"/>
                                </a:cubicBezTo>
                                <a:close/>
                                <a:moveTo>
                                  <a:pt x="247650" y="187577"/>
                                </a:moveTo>
                                <a:cubicBezTo>
                                  <a:pt x="252413" y="182814"/>
                                  <a:pt x="259556" y="192339"/>
                                  <a:pt x="252413" y="192339"/>
                                </a:cubicBezTo>
                                <a:cubicBezTo>
                                  <a:pt x="250031" y="192339"/>
                                  <a:pt x="250031" y="187577"/>
                                  <a:pt x="247650" y="187577"/>
                                </a:cubicBezTo>
                                <a:close/>
                                <a:moveTo>
                                  <a:pt x="217885" y="176385"/>
                                </a:moveTo>
                                <a:lnTo>
                                  <a:pt x="217885" y="182814"/>
                                </a:lnTo>
                                <a:cubicBezTo>
                                  <a:pt x="213122" y="180671"/>
                                  <a:pt x="215504" y="178528"/>
                                  <a:pt x="217885" y="176385"/>
                                </a:cubicBezTo>
                                <a:close/>
                                <a:moveTo>
                                  <a:pt x="47625" y="173289"/>
                                </a:moveTo>
                                <a:cubicBezTo>
                                  <a:pt x="50006" y="173289"/>
                                  <a:pt x="57150" y="175670"/>
                                  <a:pt x="57150" y="180433"/>
                                </a:cubicBezTo>
                                <a:cubicBezTo>
                                  <a:pt x="54769" y="178052"/>
                                  <a:pt x="52387" y="175670"/>
                                  <a:pt x="47625" y="173289"/>
                                </a:cubicBezTo>
                                <a:close/>
                                <a:moveTo>
                                  <a:pt x="217885" y="172098"/>
                                </a:moveTo>
                                <a:lnTo>
                                  <a:pt x="217885" y="176385"/>
                                </a:lnTo>
                                <a:cubicBezTo>
                                  <a:pt x="213122" y="176385"/>
                                  <a:pt x="215504" y="172098"/>
                                  <a:pt x="217885" y="172098"/>
                                </a:cubicBezTo>
                                <a:close/>
                                <a:moveTo>
                                  <a:pt x="52388" y="172098"/>
                                </a:moveTo>
                                <a:cubicBezTo>
                                  <a:pt x="52388" y="172098"/>
                                  <a:pt x="59532" y="172098"/>
                                  <a:pt x="54769" y="173289"/>
                                </a:cubicBezTo>
                                <a:cubicBezTo>
                                  <a:pt x="54769" y="173289"/>
                                  <a:pt x="52388" y="173289"/>
                                  <a:pt x="52388" y="172098"/>
                                </a:cubicBezTo>
                                <a:close/>
                                <a:moveTo>
                                  <a:pt x="152401" y="100661"/>
                                </a:moveTo>
                                <a:cubicBezTo>
                                  <a:pt x="157163" y="100661"/>
                                  <a:pt x="159544" y="107805"/>
                                  <a:pt x="154782" y="110186"/>
                                </a:cubicBezTo>
                                <a:cubicBezTo>
                                  <a:pt x="154782" y="107805"/>
                                  <a:pt x="147638" y="100661"/>
                                  <a:pt x="152401" y="100661"/>
                                </a:cubicBezTo>
                                <a:close/>
                                <a:moveTo>
                                  <a:pt x="136526" y="94708"/>
                                </a:moveTo>
                                <a:cubicBezTo>
                                  <a:pt x="138511" y="94708"/>
                                  <a:pt x="140495" y="98280"/>
                                  <a:pt x="136526" y="98280"/>
                                </a:cubicBezTo>
                                <a:cubicBezTo>
                                  <a:pt x="136526" y="98280"/>
                                  <a:pt x="134541" y="94708"/>
                                  <a:pt x="136526" y="94708"/>
                                </a:cubicBezTo>
                                <a:close/>
                                <a:moveTo>
                                  <a:pt x="247830" y="69704"/>
                                </a:moveTo>
                                <a:cubicBezTo>
                                  <a:pt x="247830" y="71982"/>
                                  <a:pt x="247830" y="71982"/>
                                  <a:pt x="250122" y="71982"/>
                                </a:cubicBezTo>
                                <a:cubicBezTo>
                                  <a:pt x="252414" y="74260"/>
                                  <a:pt x="252414" y="76537"/>
                                  <a:pt x="252414" y="78815"/>
                                </a:cubicBezTo>
                                <a:cubicBezTo>
                                  <a:pt x="252414" y="83370"/>
                                  <a:pt x="250122" y="90203"/>
                                  <a:pt x="243246" y="87926"/>
                                </a:cubicBezTo>
                                <a:cubicBezTo>
                                  <a:pt x="238662" y="87926"/>
                                  <a:pt x="245538" y="97036"/>
                                  <a:pt x="245538" y="97036"/>
                                </a:cubicBezTo>
                                <a:cubicBezTo>
                                  <a:pt x="247830" y="103870"/>
                                  <a:pt x="234078" y="101592"/>
                                  <a:pt x="229494" y="101592"/>
                                </a:cubicBezTo>
                                <a:cubicBezTo>
                                  <a:pt x="231786" y="108425"/>
                                  <a:pt x="224911" y="115258"/>
                                  <a:pt x="220327" y="115258"/>
                                </a:cubicBezTo>
                                <a:cubicBezTo>
                                  <a:pt x="213451" y="115258"/>
                                  <a:pt x="211159" y="119813"/>
                                  <a:pt x="206575" y="119813"/>
                                </a:cubicBezTo>
                                <a:cubicBezTo>
                                  <a:pt x="201991" y="122091"/>
                                  <a:pt x="197407" y="119813"/>
                                  <a:pt x="192823" y="122091"/>
                                </a:cubicBezTo>
                                <a:cubicBezTo>
                                  <a:pt x="188239" y="122091"/>
                                  <a:pt x="188239" y="119813"/>
                                  <a:pt x="188239" y="117536"/>
                                </a:cubicBezTo>
                                <a:cubicBezTo>
                                  <a:pt x="183655" y="115258"/>
                                  <a:pt x="181363" y="115258"/>
                                  <a:pt x="179071" y="117536"/>
                                </a:cubicBezTo>
                                <a:cubicBezTo>
                                  <a:pt x="176779" y="115258"/>
                                  <a:pt x="174487" y="115258"/>
                                  <a:pt x="174487" y="112980"/>
                                </a:cubicBezTo>
                                <a:cubicBezTo>
                                  <a:pt x="172195" y="112980"/>
                                  <a:pt x="172195" y="110703"/>
                                  <a:pt x="169903" y="110703"/>
                                </a:cubicBezTo>
                                <a:cubicBezTo>
                                  <a:pt x="167611" y="108425"/>
                                  <a:pt x="165319" y="110703"/>
                                  <a:pt x="163027" y="108425"/>
                                </a:cubicBezTo>
                                <a:cubicBezTo>
                                  <a:pt x="160735" y="106147"/>
                                  <a:pt x="163027" y="99314"/>
                                  <a:pt x="165319" y="101592"/>
                                </a:cubicBezTo>
                                <a:cubicBezTo>
                                  <a:pt x="167611" y="103870"/>
                                  <a:pt x="172195" y="101592"/>
                                  <a:pt x="174487" y="101592"/>
                                </a:cubicBezTo>
                                <a:cubicBezTo>
                                  <a:pt x="176779" y="101592"/>
                                  <a:pt x="176779" y="101592"/>
                                  <a:pt x="179071" y="101592"/>
                                </a:cubicBezTo>
                                <a:cubicBezTo>
                                  <a:pt x="181363" y="101592"/>
                                  <a:pt x="181363" y="103870"/>
                                  <a:pt x="183655" y="103870"/>
                                </a:cubicBezTo>
                                <a:cubicBezTo>
                                  <a:pt x="185947" y="103870"/>
                                  <a:pt x="199699" y="101592"/>
                                  <a:pt x="197407" y="99314"/>
                                </a:cubicBezTo>
                                <a:cubicBezTo>
                                  <a:pt x="197407" y="97036"/>
                                  <a:pt x="199699" y="87926"/>
                                  <a:pt x="204283" y="90203"/>
                                </a:cubicBezTo>
                                <a:cubicBezTo>
                                  <a:pt x="199699" y="92481"/>
                                  <a:pt x="199699" y="99314"/>
                                  <a:pt x="201991" y="101592"/>
                                </a:cubicBezTo>
                                <a:cubicBezTo>
                                  <a:pt x="204283" y="103870"/>
                                  <a:pt x="206575" y="99314"/>
                                  <a:pt x="208867" y="101592"/>
                                </a:cubicBezTo>
                                <a:cubicBezTo>
                                  <a:pt x="213451" y="101592"/>
                                  <a:pt x="211159" y="101592"/>
                                  <a:pt x="215743" y="101592"/>
                                </a:cubicBezTo>
                                <a:cubicBezTo>
                                  <a:pt x="215743" y="101592"/>
                                  <a:pt x="218035" y="101592"/>
                                  <a:pt x="220327" y="99314"/>
                                </a:cubicBezTo>
                                <a:cubicBezTo>
                                  <a:pt x="222619" y="97036"/>
                                  <a:pt x="222619" y="92481"/>
                                  <a:pt x="227203" y="90203"/>
                                </a:cubicBezTo>
                                <a:cubicBezTo>
                                  <a:pt x="229494" y="87926"/>
                                  <a:pt x="236370" y="90203"/>
                                  <a:pt x="236370" y="85648"/>
                                </a:cubicBezTo>
                                <a:cubicBezTo>
                                  <a:pt x="236370" y="81093"/>
                                  <a:pt x="234078" y="76537"/>
                                  <a:pt x="234078" y="74260"/>
                                </a:cubicBezTo>
                                <a:cubicBezTo>
                                  <a:pt x="234078" y="69704"/>
                                  <a:pt x="238662" y="69704"/>
                                  <a:pt x="240954" y="71982"/>
                                </a:cubicBezTo>
                                <a:cubicBezTo>
                                  <a:pt x="243246" y="74260"/>
                                  <a:pt x="247830" y="69704"/>
                                  <a:pt x="247830" y="69704"/>
                                </a:cubicBezTo>
                                <a:close/>
                                <a:moveTo>
                                  <a:pt x="222534" y="30414"/>
                                </a:moveTo>
                                <a:cubicBezTo>
                                  <a:pt x="222534" y="32696"/>
                                  <a:pt x="227070" y="32696"/>
                                  <a:pt x="227070" y="34978"/>
                                </a:cubicBezTo>
                                <a:cubicBezTo>
                                  <a:pt x="229338" y="37260"/>
                                  <a:pt x="229338" y="37260"/>
                                  <a:pt x="231606" y="37260"/>
                                </a:cubicBezTo>
                                <a:cubicBezTo>
                                  <a:pt x="236141" y="39542"/>
                                  <a:pt x="236141" y="41824"/>
                                  <a:pt x="240677" y="44106"/>
                                </a:cubicBezTo>
                                <a:cubicBezTo>
                                  <a:pt x="245213" y="46388"/>
                                  <a:pt x="249748" y="50953"/>
                                  <a:pt x="252016" y="53235"/>
                                </a:cubicBezTo>
                                <a:cubicBezTo>
                                  <a:pt x="254284" y="55517"/>
                                  <a:pt x="256552" y="60081"/>
                                  <a:pt x="258820" y="60081"/>
                                </a:cubicBezTo>
                                <a:cubicBezTo>
                                  <a:pt x="261088" y="62363"/>
                                  <a:pt x="261088" y="60081"/>
                                  <a:pt x="263356" y="64645"/>
                                </a:cubicBezTo>
                                <a:cubicBezTo>
                                  <a:pt x="263356" y="66927"/>
                                  <a:pt x="265623" y="66927"/>
                                  <a:pt x="267891" y="69209"/>
                                </a:cubicBezTo>
                                <a:cubicBezTo>
                                  <a:pt x="267891" y="73773"/>
                                  <a:pt x="265623" y="82901"/>
                                  <a:pt x="261088" y="85183"/>
                                </a:cubicBezTo>
                                <a:cubicBezTo>
                                  <a:pt x="261088" y="82901"/>
                                  <a:pt x="258820" y="80619"/>
                                  <a:pt x="258820" y="76055"/>
                                </a:cubicBezTo>
                                <a:cubicBezTo>
                                  <a:pt x="258820" y="73773"/>
                                  <a:pt x="258820" y="69209"/>
                                  <a:pt x="258820" y="66927"/>
                                </a:cubicBezTo>
                                <a:cubicBezTo>
                                  <a:pt x="256552" y="62363"/>
                                  <a:pt x="254284" y="55517"/>
                                  <a:pt x="249748" y="53235"/>
                                </a:cubicBezTo>
                                <a:cubicBezTo>
                                  <a:pt x="247481" y="50953"/>
                                  <a:pt x="245213" y="50953"/>
                                  <a:pt x="242945" y="48670"/>
                                </a:cubicBezTo>
                                <a:cubicBezTo>
                                  <a:pt x="238409" y="48670"/>
                                  <a:pt x="236141" y="44106"/>
                                  <a:pt x="233873" y="41824"/>
                                </a:cubicBezTo>
                                <a:cubicBezTo>
                                  <a:pt x="231606" y="41824"/>
                                  <a:pt x="229338" y="39542"/>
                                  <a:pt x="227070" y="37260"/>
                                </a:cubicBezTo>
                                <a:cubicBezTo>
                                  <a:pt x="224802" y="34978"/>
                                  <a:pt x="222534" y="34978"/>
                                  <a:pt x="220266" y="32696"/>
                                </a:cubicBezTo>
                                <a:cubicBezTo>
                                  <a:pt x="222534" y="32696"/>
                                  <a:pt x="222534" y="32696"/>
                                  <a:pt x="222534" y="30414"/>
                                </a:cubicBezTo>
                                <a:close/>
                                <a:moveTo>
                                  <a:pt x="9111" y="30414"/>
                                </a:moveTo>
                                <a:cubicBezTo>
                                  <a:pt x="11388" y="30414"/>
                                  <a:pt x="18221" y="32686"/>
                                  <a:pt x="22777" y="34958"/>
                                </a:cubicBezTo>
                                <a:cubicBezTo>
                                  <a:pt x="29610" y="39501"/>
                                  <a:pt x="38721" y="46317"/>
                                  <a:pt x="47832" y="48588"/>
                                </a:cubicBezTo>
                                <a:cubicBezTo>
                                  <a:pt x="52387" y="48588"/>
                                  <a:pt x="56943" y="48588"/>
                                  <a:pt x="61498" y="50860"/>
                                </a:cubicBezTo>
                                <a:cubicBezTo>
                                  <a:pt x="66054" y="53132"/>
                                  <a:pt x="68331" y="55404"/>
                                  <a:pt x="72887" y="59947"/>
                                </a:cubicBezTo>
                                <a:cubicBezTo>
                                  <a:pt x="77442" y="62219"/>
                                  <a:pt x="77442" y="59947"/>
                                  <a:pt x="79720" y="59947"/>
                                </a:cubicBezTo>
                                <a:cubicBezTo>
                                  <a:pt x="84275" y="59947"/>
                                  <a:pt x="84275" y="64491"/>
                                  <a:pt x="86553" y="64491"/>
                                </a:cubicBezTo>
                                <a:cubicBezTo>
                                  <a:pt x="91108" y="66762"/>
                                  <a:pt x="91108" y="69034"/>
                                  <a:pt x="93386" y="71306"/>
                                </a:cubicBezTo>
                                <a:cubicBezTo>
                                  <a:pt x="97942" y="75850"/>
                                  <a:pt x="100219" y="73578"/>
                                  <a:pt x="102497" y="75850"/>
                                </a:cubicBezTo>
                                <a:cubicBezTo>
                                  <a:pt x="107052" y="80393"/>
                                  <a:pt x="109330" y="82665"/>
                                  <a:pt x="109330" y="87208"/>
                                </a:cubicBezTo>
                                <a:cubicBezTo>
                                  <a:pt x="109330" y="91752"/>
                                  <a:pt x="107052" y="94024"/>
                                  <a:pt x="107052" y="96295"/>
                                </a:cubicBezTo>
                                <a:cubicBezTo>
                                  <a:pt x="109330" y="100839"/>
                                  <a:pt x="118441" y="103111"/>
                                  <a:pt x="122996" y="103111"/>
                                </a:cubicBezTo>
                                <a:cubicBezTo>
                                  <a:pt x="125274" y="105383"/>
                                  <a:pt x="129830" y="107654"/>
                                  <a:pt x="132108" y="109926"/>
                                </a:cubicBezTo>
                                <a:cubicBezTo>
                                  <a:pt x="134386" y="109926"/>
                                  <a:pt x="134386" y="112198"/>
                                  <a:pt x="136663" y="112198"/>
                                </a:cubicBezTo>
                                <a:cubicBezTo>
                                  <a:pt x="138941" y="112198"/>
                                  <a:pt x="141219" y="112198"/>
                                  <a:pt x="143496" y="112198"/>
                                </a:cubicBezTo>
                                <a:cubicBezTo>
                                  <a:pt x="148052" y="114470"/>
                                  <a:pt x="154885" y="123557"/>
                                  <a:pt x="150330" y="130372"/>
                                </a:cubicBezTo>
                                <a:cubicBezTo>
                                  <a:pt x="148052" y="132644"/>
                                  <a:pt x="138941" y="130372"/>
                                  <a:pt x="134386" y="130372"/>
                                </a:cubicBezTo>
                                <a:cubicBezTo>
                                  <a:pt x="127552" y="130372"/>
                                  <a:pt x="134386" y="144003"/>
                                  <a:pt x="136663" y="148546"/>
                                </a:cubicBezTo>
                                <a:cubicBezTo>
                                  <a:pt x="138941" y="150818"/>
                                  <a:pt x="143496" y="153090"/>
                                  <a:pt x="145774" y="157633"/>
                                </a:cubicBezTo>
                                <a:cubicBezTo>
                                  <a:pt x="148052" y="159905"/>
                                  <a:pt x="152607" y="164449"/>
                                  <a:pt x="154885" y="162177"/>
                                </a:cubicBezTo>
                                <a:cubicBezTo>
                                  <a:pt x="154885" y="166720"/>
                                  <a:pt x="154885" y="171264"/>
                                  <a:pt x="157163" y="175807"/>
                                </a:cubicBezTo>
                                <a:cubicBezTo>
                                  <a:pt x="157163" y="175807"/>
                                  <a:pt x="157163" y="178079"/>
                                  <a:pt x="159440" y="178079"/>
                                </a:cubicBezTo>
                                <a:cubicBezTo>
                                  <a:pt x="161718" y="180351"/>
                                  <a:pt x="161718" y="182623"/>
                                  <a:pt x="161718" y="184895"/>
                                </a:cubicBezTo>
                                <a:cubicBezTo>
                                  <a:pt x="161718" y="189438"/>
                                  <a:pt x="166274" y="189438"/>
                                  <a:pt x="170829" y="187166"/>
                                </a:cubicBezTo>
                                <a:cubicBezTo>
                                  <a:pt x="173107" y="187166"/>
                                  <a:pt x="179940" y="184895"/>
                                  <a:pt x="177662" y="189438"/>
                                </a:cubicBezTo>
                                <a:cubicBezTo>
                                  <a:pt x="173107" y="198525"/>
                                  <a:pt x="177662" y="200797"/>
                                  <a:pt x="184495" y="200797"/>
                                </a:cubicBezTo>
                                <a:cubicBezTo>
                                  <a:pt x="186773" y="200797"/>
                                  <a:pt x="191329" y="200797"/>
                                  <a:pt x="191329" y="203069"/>
                                </a:cubicBezTo>
                                <a:cubicBezTo>
                                  <a:pt x="191329" y="205340"/>
                                  <a:pt x="186773" y="205340"/>
                                  <a:pt x="184495" y="205340"/>
                                </a:cubicBezTo>
                                <a:cubicBezTo>
                                  <a:pt x="186773" y="207612"/>
                                  <a:pt x="186773" y="209884"/>
                                  <a:pt x="189051" y="212156"/>
                                </a:cubicBezTo>
                                <a:cubicBezTo>
                                  <a:pt x="191329" y="212156"/>
                                  <a:pt x="193606" y="212156"/>
                                  <a:pt x="195884" y="214428"/>
                                </a:cubicBezTo>
                                <a:cubicBezTo>
                                  <a:pt x="200439" y="216699"/>
                                  <a:pt x="204995" y="216699"/>
                                  <a:pt x="209550" y="216699"/>
                                </a:cubicBezTo>
                                <a:cubicBezTo>
                                  <a:pt x="207273" y="216699"/>
                                  <a:pt x="204995" y="218971"/>
                                  <a:pt x="200439" y="218971"/>
                                </a:cubicBezTo>
                                <a:cubicBezTo>
                                  <a:pt x="200439" y="218971"/>
                                  <a:pt x="198162" y="216699"/>
                                  <a:pt x="198162" y="221243"/>
                                </a:cubicBezTo>
                                <a:cubicBezTo>
                                  <a:pt x="202717" y="221243"/>
                                  <a:pt x="207273" y="223515"/>
                                  <a:pt x="200439" y="225786"/>
                                </a:cubicBezTo>
                                <a:cubicBezTo>
                                  <a:pt x="195884" y="228058"/>
                                  <a:pt x="189051" y="228058"/>
                                  <a:pt x="186773" y="223515"/>
                                </a:cubicBezTo>
                                <a:cubicBezTo>
                                  <a:pt x="186773" y="218971"/>
                                  <a:pt x="179940" y="218971"/>
                                  <a:pt x="177662" y="218971"/>
                                </a:cubicBezTo>
                                <a:cubicBezTo>
                                  <a:pt x="173107" y="218971"/>
                                  <a:pt x="168551" y="214428"/>
                                  <a:pt x="161718" y="216699"/>
                                </a:cubicBezTo>
                                <a:cubicBezTo>
                                  <a:pt x="163996" y="214428"/>
                                  <a:pt x="163996" y="214428"/>
                                  <a:pt x="163996" y="214428"/>
                                </a:cubicBezTo>
                                <a:cubicBezTo>
                                  <a:pt x="161718" y="214428"/>
                                  <a:pt x="159440" y="214428"/>
                                  <a:pt x="157163" y="214428"/>
                                </a:cubicBezTo>
                                <a:cubicBezTo>
                                  <a:pt x="154885" y="214428"/>
                                  <a:pt x="152607" y="212156"/>
                                  <a:pt x="150330" y="212156"/>
                                </a:cubicBezTo>
                                <a:cubicBezTo>
                                  <a:pt x="145774" y="214428"/>
                                  <a:pt x="143496" y="209884"/>
                                  <a:pt x="141219" y="212156"/>
                                </a:cubicBezTo>
                                <a:cubicBezTo>
                                  <a:pt x="141219" y="209884"/>
                                  <a:pt x="136663" y="209884"/>
                                  <a:pt x="136663" y="205340"/>
                                </a:cubicBezTo>
                                <a:cubicBezTo>
                                  <a:pt x="136663" y="203069"/>
                                  <a:pt x="134386" y="200797"/>
                                  <a:pt x="134386" y="198525"/>
                                </a:cubicBezTo>
                                <a:cubicBezTo>
                                  <a:pt x="132108" y="198525"/>
                                  <a:pt x="129830" y="198525"/>
                                  <a:pt x="127552" y="196253"/>
                                </a:cubicBezTo>
                                <a:cubicBezTo>
                                  <a:pt x="127552" y="196253"/>
                                  <a:pt x="125274" y="191710"/>
                                  <a:pt x="125274" y="189438"/>
                                </a:cubicBezTo>
                                <a:cubicBezTo>
                                  <a:pt x="118441" y="187166"/>
                                  <a:pt x="120719" y="184895"/>
                                  <a:pt x="118441" y="180351"/>
                                </a:cubicBezTo>
                                <a:cubicBezTo>
                                  <a:pt x="116163" y="175807"/>
                                  <a:pt x="113886" y="164449"/>
                                  <a:pt x="109330" y="164449"/>
                                </a:cubicBezTo>
                                <a:cubicBezTo>
                                  <a:pt x="107052" y="162177"/>
                                  <a:pt x="104775" y="162177"/>
                                  <a:pt x="104775" y="159905"/>
                                </a:cubicBezTo>
                                <a:cubicBezTo>
                                  <a:pt x="102497" y="159905"/>
                                  <a:pt x="100219" y="159905"/>
                                  <a:pt x="97942" y="159905"/>
                                </a:cubicBezTo>
                                <a:cubicBezTo>
                                  <a:pt x="95664" y="159905"/>
                                  <a:pt x="91108" y="157633"/>
                                  <a:pt x="88831" y="157633"/>
                                </a:cubicBezTo>
                                <a:cubicBezTo>
                                  <a:pt x="84275" y="155361"/>
                                  <a:pt x="86553" y="155361"/>
                                  <a:pt x="84275" y="150818"/>
                                </a:cubicBezTo>
                                <a:cubicBezTo>
                                  <a:pt x="84275" y="155361"/>
                                  <a:pt x="81998" y="153090"/>
                                  <a:pt x="79720" y="150818"/>
                                </a:cubicBezTo>
                                <a:cubicBezTo>
                                  <a:pt x="79720" y="155361"/>
                                  <a:pt x="77442" y="150818"/>
                                  <a:pt x="77442" y="150818"/>
                                </a:cubicBezTo>
                                <a:cubicBezTo>
                                  <a:pt x="77442" y="150818"/>
                                  <a:pt x="77442" y="153090"/>
                                  <a:pt x="75164" y="150818"/>
                                </a:cubicBezTo>
                                <a:cubicBezTo>
                                  <a:pt x="75164" y="153090"/>
                                  <a:pt x="75164" y="153090"/>
                                  <a:pt x="75164" y="155361"/>
                                </a:cubicBezTo>
                                <a:cubicBezTo>
                                  <a:pt x="75164" y="155361"/>
                                  <a:pt x="72887" y="153090"/>
                                  <a:pt x="72887" y="153090"/>
                                </a:cubicBezTo>
                                <a:cubicBezTo>
                                  <a:pt x="70609" y="162177"/>
                                  <a:pt x="61498" y="148546"/>
                                  <a:pt x="59220" y="148546"/>
                                </a:cubicBezTo>
                                <a:cubicBezTo>
                                  <a:pt x="61498" y="153090"/>
                                  <a:pt x="63776" y="157633"/>
                                  <a:pt x="63776" y="162177"/>
                                </a:cubicBezTo>
                                <a:cubicBezTo>
                                  <a:pt x="63776" y="162177"/>
                                  <a:pt x="63776" y="162177"/>
                                  <a:pt x="61498" y="159905"/>
                                </a:cubicBezTo>
                                <a:cubicBezTo>
                                  <a:pt x="63776" y="166720"/>
                                  <a:pt x="54665" y="159905"/>
                                  <a:pt x="52387" y="159905"/>
                                </a:cubicBezTo>
                                <a:cubicBezTo>
                                  <a:pt x="52387" y="162177"/>
                                  <a:pt x="59220" y="166720"/>
                                  <a:pt x="56943" y="166720"/>
                                </a:cubicBezTo>
                                <a:cubicBezTo>
                                  <a:pt x="52387" y="168992"/>
                                  <a:pt x="50110" y="168992"/>
                                  <a:pt x="47832" y="168992"/>
                                </a:cubicBezTo>
                                <a:cubicBezTo>
                                  <a:pt x="45554" y="168992"/>
                                  <a:pt x="43276" y="171264"/>
                                  <a:pt x="40999" y="168992"/>
                                </a:cubicBezTo>
                                <a:cubicBezTo>
                                  <a:pt x="38721" y="168992"/>
                                  <a:pt x="38721" y="168992"/>
                                  <a:pt x="36443" y="168992"/>
                                </a:cubicBezTo>
                                <a:lnTo>
                                  <a:pt x="35077" y="169219"/>
                                </a:lnTo>
                                <a:lnTo>
                                  <a:pt x="34166" y="168992"/>
                                </a:lnTo>
                                <a:cubicBezTo>
                                  <a:pt x="31888" y="171264"/>
                                  <a:pt x="29610" y="168992"/>
                                  <a:pt x="29610" y="166720"/>
                                </a:cubicBezTo>
                                <a:cubicBezTo>
                                  <a:pt x="30749" y="168992"/>
                                  <a:pt x="31888" y="169560"/>
                                  <a:pt x="33027" y="169560"/>
                                </a:cubicBezTo>
                                <a:lnTo>
                                  <a:pt x="35077" y="169219"/>
                                </a:lnTo>
                                <a:lnTo>
                                  <a:pt x="43276" y="171264"/>
                                </a:lnTo>
                                <a:cubicBezTo>
                                  <a:pt x="50110" y="175807"/>
                                  <a:pt x="54665" y="182623"/>
                                  <a:pt x="45554" y="187166"/>
                                </a:cubicBezTo>
                                <a:cubicBezTo>
                                  <a:pt x="43276" y="189438"/>
                                  <a:pt x="38721" y="193982"/>
                                  <a:pt x="34166" y="193982"/>
                                </a:cubicBezTo>
                                <a:cubicBezTo>
                                  <a:pt x="29610" y="193982"/>
                                  <a:pt x="27332" y="189438"/>
                                  <a:pt x="22777" y="191710"/>
                                </a:cubicBezTo>
                                <a:cubicBezTo>
                                  <a:pt x="18221" y="191710"/>
                                  <a:pt x="11388" y="191710"/>
                                  <a:pt x="6833" y="189438"/>
                                </a:cubicBezTo>
                                <a:cubicBezTo>
                                  <a:pt x="4555" y="189438"/>
                                  <a:pt x="2277" y="193982"/>
                                  <a:pt x="0" y="189438"/>
                                </a:cubicBezTo>
                                <a:cubicBezTo>
                                  <a:pt x="2277" y="137187"/>
                                  <a:pt x="2277" y="137187"/>
                                  <a:pt x="2277" y="137187"/>
                                </a:cubicBezTo>
                                <a:cubicBezTo>
                                  <a:pt x="2277" y="134916"/>
                                  <a:pt x="0" y="132644"/>
                                  <a:pt x="0" y="128100"/>
                                </a:cubicBezTo>
                                <a:cubicBezTo>
                                  <a:pt x="2277" y="125828"/>
                                  <a:pt x="2277" y="121285"/>
                                  <a:pt x="4555" y="119013"/>
                                </a:cubicBezTo>
                                <a:cubicBezTo>
                                  <a:pt x="9111" y="30414"/>
                                  <a:pt x="9111" y="30414"/>
                                  <a:pt x="9111" y="30414"/>
                                </a:cubicBezTo>
                                <a:close/>
                                <a:moveTo>
                                  <a:pt x="207496" y="25354"/>
                                </a:moveTo>
                                <a:cubicBezTo>
                                  <a:pt x="209372" y="25651"/>
                                  <a:pt x="210979" y="26842"/>
                                  <a:pt x="210979" y="28033"/>
                                </a:cubicBezTo>
                                <a:cubicBezTo>
                                  <a:pt x="213122" y="30414"/>
                                  <a:pt x="210979" y="32795"/>
                                  <a:pt x="208836" y="32795"/>
                                </a:cubicBezTo>
                                <a:cubicBezTo>
                                  <a:pt x="206693" y="32795"/>
                                  <a:pt x="204549" y="30414"/>
                                  <a:pt x="202406" y="28033"/>
                                </a:cubicBezTo>
                                <a:cubicBezTo>
                                  <a:pt x="203478" y="25651"/>
                                  <a:pt x="205621" y="25056"/>
                                  <a:pt x="207496" y="25354"/>
                                </a:cubicBezTo>
                                <a:close/>
                                <a:moveTo>
                                  <a:pt x="134144" y="14936"/>
                                </a:moveTo>
                                <a:cubicBezTo>
                                  <a:pt x="138642" y="14936"/>
                                  <a:pt x="143140" y="17317"/>
                                  <a:pt x="147638" y="17317"/>
                                </a:cubicBezTo>
                                <a:cubicBezTo>
                                  <a:pt x="143140" y="17317"/>
                                  <a:pt x="143140" y="19699"/>
                                  <a:pt x="138642" y="19699"/>
                                </a:cubicBezTo>
                                <a:cubicBezTo>
                                  <a:pt x="136393" y="19699"/>
                                  <a:pt x="134144" y="19699"/>
                                  <a:pt x="134144" y="19699"/>
                                </a:cubicBezTo>
                                <a:cubicBezTo>
                                  <a:pt x="131895" y="19699"/>
                                  <a:pt x="129646" y="22080"/>
                                  <a:pt x="129646" y="22080"/>
                                </a:cubicBezTo>
                                <a:cubicBezTo>
                                  <a:pt x="127397" y="19699"/>
                                  <a:pt x="131895" y="14936"/>
                                  <a:pt x="134144" y="14936"/>
                                </a:cubicBezTo>
                                <a:close/>
                                <a:moveTo>
                                  <a:pt x="192881" y="648"/>
                                </a:moveTo>
                                <a:cubicBezTo>
                                  <a:pt x="195263" y="-1733"/>
                                  <a:pt x="200025" y="3030"/>
                                  <a:pt x="197644" y="5411"/>
                                </a:cubicBezTo>
                                <a:cubicBezTo>
                                  <a:pt x="197644" y="5411"/>
                                  <a:pt x="192881" y="648"/>
                                  <a:pt x="192881" y="648"/>
                                </a:cubicBezTo>
                                <a:close/>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221" name="New Zealand">
                            <a:extLst>
                              <a:ext uri="{FF2B5EF4-FFF2-40B4-BE49-F238E27FC236}">
                                <a16:creationId xmlns:a16="http://schemas.microsoft.com/office/drawing/2014/main" id="{25FAB1A4-301E-A30D-584A-800ABBD835EC}"/>
                              </a:ext>
                            </a:extLst>
                          </p:cNvPr>
                          <p:cNvSpPr>
                            <a:spLocks/>
                          </p:cNvSpPr>
                          <p:nvPr/>
                        </p:nvSpPr>
                        <p:spPr bwMode="auto">
                          <a:xfrm>
                            <a:off x="7072769" y="4201453"/>
                            <a:ext cx="388905" cy="315349"/>
                          </a:xfrm>
                          <a:custGeom>
                            <a:avLst/>
                            <a:gdLst>
                              <a:gd name="connsiteX0" fmla="*/ 11906 w 381625"/>
                              <a:gd name="connsiteY0" fmla="*/ 297359 h 309446"/>
                              <a:gd name="connsiteX1" fmla="*/ 14288 w 381625"/>
                              <a:gd name="connsiteY1" fmla="*/ 301824 h 309446"/>
                              <a:gd name="connsiteX2" fmla="*/ 11906 w 381625"/>
                              <a:gd name="connsiteY2" fmla="*/ 304057 h 309446"/>
                              <a:gd name="connsiteX3" fmla="*/ 16669 w 381625"/>
                              <a:gd name="connsiteY3" fmla="*/ 306289 h 309446"/>
                              <a:gd name="connsiteX4" fmla="*/ 9525 w 381625"/>
                              <a:gd name="connsiteY4" fmla="*/ 306289 h 309446"/>
                              <a:gd name="connsiteX5" fmla="*/ 0 w 381625"/>
                              <a:gd name="connsiteY5" fmla="*/ 308522 h 309446"/>
                              <a:gd name="connsiteX6" fmla="*/ 11906 w 381625"/>
                              <a:gd name="connsiteY6" fmla="*/ 297359 h 309446"/>
                              <a:gd name="connsiteX7" fmla="*/ 236128 w 381625"/>
                              <a:gd name="connsiteY7" fmla="*/ 164925 h 309446"/>
                              <a:gd name="connsiteX8" fmla="*/ 237177 w 381625"/>
                              <a:gd name="connsiteY8" fmla="*/ 165622 h 309446"/>
                              <a:gd name="connsiteX9" fmla="*/ 235055 w 381625"/>
                              <a:gd name="connsiteY9" fmla="*/ 165728 h 309446"/>
                              <a:gd name="connsiteX10" fmla="*/ 244179 w 381625"/>
                              <a:gd name="connsiteY10" fmla="*/ 158904 h 309446"/>
                              <a:gd name="connsiteX11" fmla="*/ 236128 w 381625"/>
                              <a:gd name="connsiteY11" fmla="*/ 164925 h 309446"/>
                              <a:gd name="connsiteX12" fmla="*/ 235625 w 381625"/>
                              <a:gd name="connsiteY12" fmla="*/ 164590 h 309446"/>
                              <a:gd name="connsiteX13" fmla="*/ 237336 w 381625"/>
                              <a:gd name="connsiteY13" fmla="*/ 163453 h 309446"/>
                              <a:gd name="connsiteX14" fmla="*/ 244179 w 381625"/>
                              <a:gd name="connsiteY14" fmla="*/ 158904 h 309446"/>
                              <a:gd name="connsiteX15" fmla="*/ 228211 w 381625"/>
                              <a:gd name="connsiteY15" fmla="*/ 149805 h 309446"/>
                              <a:gd name="connsiteX16" fmla="*/ 219087 w 381625"/>
                              <a:gd name="connsiteY16" fmla="*/ 154354 h 309446"/>
                              <a:gd name="connsiteX17" fmla="*/ 223649 w 381625"/>
                              <a:gd name="connsiteY17" fmla="*/ 154354 h 309446"/>
                              <a:gd name="connsiteX18" fmla="*/ 216806 w 381625"/>
                              <a:gd name="connsiteY18" fmla="*/ 165728 h 309446"/>
                              <a:gd name="connsiteX19" fmla="*/ 228211 w 381625"/>
                              <a:gd name="connsiteY19" fmla="*/ 163453 h 309446"/>
                              <a:gd name="connsiteX20" fmla="*/ 239617 w 381625"/>
                              <a:gd name="connsiteY20" fmla="*/ 158904 h 309446"/>
                              <a:gd name="connsiteX21" fmla="*/ 235055 w 381625"/>
                              <a:gd name="connsiteY21" fmla="*/ 161178 h 309446"/>
                              <a:gd name="connsiteX22" fmla="*/ 230492 w 381625"/>
                              <a:gd name="connsiteY22" fmla="*/ 165728 h 309446"/>
                              <a:gd name="connsiteX23" fmla="*/ 235055 w 381625"/>
                              <a:gd name="connsiteY23" fmla="*/ 165728 h 309446"/>
                              <a:gd name="connsiteX24" fmla="*/ 237336 w 381625"/>
                              <a:gd name="connsiteY24" fmla="*/ 165728 h 309446"/>
                              <a:gd name="connsiteX25" fmla="*/ 237177 w 381625"/>
                              <a:gd name="connsiteY25" fmla="*/ 165622 h 309446"/>
                              <a:gd name="connsiteX26" fmla="*/ 240758 w 381625"/>
                              <a:gd name="connsiteY26" fmla="*/ 165443 h 309446"/>
                              <a:gd name="connsiteX27" fmla="*/ 246460 w 381625"/>
                              <a:gd name="connsiteY27" fmla="*/ 163453 h 309446"/>
                              <a:gd name="connsiteX28" fmla="*/ 235055 w 381625"/>
                              <a:gd name="connsiteY28" fmla="*/ 170277 h 309446"/>
                              <a:gd name="connsiteX29" fmla="*/ 228211 w 381625"/>
                              <a:gd name="connsiteY29" fmla="*/ 179375 h 309446"/>
                              <a:gd name="connsiteX30" fmla="*/ 219087 w 381625"/>
                              <a:gd name="connsiteY30" fmla="*/ 186199 h 309446"/>
                              <a:gd name="connsiteX31" fmla="*/ 212244 w 381625"/>
                              <a:gd name="connsiteY31" fmla="*/ 193023 h 309446"/>
                              <a:gd name="connsiteX32" fmla="*/ 200838 w 381625"/>
                              <a:gd name="connsiteY32" fmla="*/ 197572 h 309446"/>
                              <a:gd name="connsiteX33" fmla="*/ 189432 w 381625"/>
                              <a:gd name="connsiteY33" fmla="*/ 206671 h 309446"/>
                              <a:gd name="connsiteX34" fmla="*/ 173465 w 381625"/>
                              <a:gd name="connsiteY34" fmla="*/ 215769 h 309446"/>
                              <a:gd name="connsiteX35" fmla="*/ 168902 w 381625"/>
                              <a:gd name="connsiteY35" fmla="*/ 222593 h 309446"/>
                              <a:gd name="connsiteX36" fmla="*/ 168902 w 381625"/>
                              <a:gd name="connsiteY36" fmla="*/ 229417 h 309446"/>
                              <a:gd name="connsiteX37" fmla="*/ 159778 w 381625"/>
                              <a:gd name="connsiteY37" fmla="*/ 229417 h 309446"/>
                              <a:gd name="connsiteX38" fmla="*/ 164340 w 381625"/>
                              <a:gd name="connsiteY38" fmla="*/ 227142 h 309446"/>
                              <a:gd name="connsiteX39" fmla="*/ 155216 w 381625"/>
                              <a:gd name="connsiteY39" fmla="*/ 229417 h 309446"/>
                              <a:gd name="connsiteX40" fmla="*/ 143810 w 381625"/>
                              <a:gd name="connsiteY40" fmla="*/ 233966 h 309446"/>
                              <a:gd name="connsiteX41" fmla="*/ 120999 w 381625"/>
                              <a:gd name="connsiteY41" fmla="*/ 245339 h 309446"/>
                              <a:gd name="connsiteX42" fmla="*/ 111875 w 381625"/>
                              <a:gd name="connsiteY42" fmla="*/ 254438 h 309446"/>
                              <a:gd name="connsiteX43" fmla="*/ 102750 w 381625"/>
                              <a:gd name="connsiteY43" fmla="*/ 261262 h 309446"/>
                              <a:gd name="connsiteX44" fmla="*/ 93341 w 381625"/>
                              <a:gd name="connsiteY44" fmla="*/ 270076 h 309446"/>
                              <a:gd name="connsiteX45" fmla="*/ 82220 w 381625"/>
                              <a:gd name="connsiteY45" fmla="*/ 277184 h 309446"/>
                              <a:gd name="connsiteX46" fmla="*/ 77658 w 381625"/>
                              <a:gd name="connsiteY46" fmla="*/ 279459 h 309446"/>
                              <a:gd name="connsiteX47" fmla="*/ 70815 w 381625"/>
                              <a:gd name="connsiteY47" fmla="*/ 284008 h 309446"/>
                              <a:gd name="connsiteX48" fmla="*/ 61690 w 381625"/>
                              <a:gd name="connsiteY48" fmla="*/ 288557 h 309446"/>
                              <a:gd name="connsiteX49" fmla="*/ 57128 w 381625"/>
                              <a:gd name="connsiteY49" fmla="*/ 290832 h 309446"/>
                              <a:gd name="connsiteX50" fmla="*/ 36598 w 381625"/>
                              <a:gd name="connsiteY50" fmla="*/ 297656 h 309446"/>
                              <a:gd name="connsiteX51" fmla="*/ 34317 w 381625"/>
                              <a:gd name="connsiteY51" fmla="*/ 295382 h 309446"/>
                              <a:gd name="connsiteX52" fmla="*/ 25192 w 381625"/>
                              <a:gd name="connsiteY52" fmla="*/ 295382 h 309446"/>
                              <a:gd name="connsiteX53" fmla="*/ 25192 w 381625"/>
                              <a:gd name="connsiteY53" fmla="*/ 288557 h 309446"/>
                              <a:gd name="connsiteX54" fmla="*/ 20630 w 381625"/>
                              <a:gd name="connsiteY54" fmla="*/ 290832 h 309446"/>
                              <a:gd name="connsiteX55" fmla="*/ 16068 w 381625"/>
                              <a:gd name="connsiteY55" fmla="*/ 286283 h 309446"/>
                              <a:gd name="connsiteX56" fmla="*/ 2381 w 381625"/>
                              <a:gd name="connsiteY56" fmla="*/ 286283 h 309446"/>
                              <a:gd name="connsiteX57" fmla="*/ 11506 w 381625"/>
                              <a:gd name="connsiteY57" fmla="*/ 279459 h 309446"/>
                              <a:gd name="connsiteX58" fmla="*/ 4662 w 381625"/>
                              <a:gd name="connsiteY58" fmla="*/ 281733 h 309446"/>
                              <a:gd name="connsiteX59" fmla="*/ 9225 w 381625"/>
                              <a:gd name="connsiteY59" fmla="*/ 277184 h 309446"/>
                              <a:gd name="connsiteX60" fmla="*/ 2381 w 381625"/>
                              <a:gd name="connsiteY60" fmla="*/ 281733 h 309446"/>
                              <a:gd name="connsiteX61" fmla="*/ 9225 w 381625"/>
                              <a:gd name="connsiteY61" fmla="*/ 274910 h 309446"/>
                              <a:gd name="connsiteX62" fmla="*/ 13787 w 381625"/>
                              <a:gd name="connsiteY62" fmla="*/ 272635 h 309446"/>
                              <a:gd name="connsiteX63" fmla="*/ 18349 w 381625"/>
                              <a:gd name="connsiteY63" fmla="*/ 270360 h 309446"/>
                              <a:gd name="connsiteX64" fmla="*/ 13787 w 381625"/>
                              <a:gd name="connsiteY64" fmla="*/ 270360 h 309446"/>
                              <a:gd name="connsiteX65" fmla="*/ 20630 w 381625"/>
                              <a:gd name="connsiteY65" fmla="*/ 265811 h 309446"/>
                              <a:gd name="connsiteX66" fmla="*/ 22911 w 381625"/>
                              <a:gd name="connsiteY66" fmla="*/ 265811 h 309446"/>
                              <a:gd name="connsiteX67" fmla="*/ 22911 w 381625"/>
                              <a:gd name="connsiteY67" fmla="*/ 268086 h 309446"/>
                              <a:gd name="connsiteX68" fmla="*/ 27473 w 381625"/>
                              <a:gd name="connsiteY68" fmla="*/ 263536 h 309446"/>
                              <a:gd name="connsiteX69" fmla="*/ 29755 w 381625"/>
                              <a:gd name="connsiteY69" fmla="*/ 258987 h 309446"/>
                              <a:gd name="connsiteX70" fmla="*/ 36598 w 381625"/>
                              <a:gd name="connsiteY70" fmla="*/ 258987 h 309446"/>
                              <a:gd name="connsiteX71" fmla="*/ 45722 w 381625"/>
                              <a:gd name="connsiteY71" fmla="*/ 252163 h 309446"/>
                              <a:gd name="connsiteX72" fmla="*/ 54847 w 381625"/>
                              <a:gd name="connsiteY72" fmla="*/ 249889 h 309446"/>
                              <a:gd name="connsiteX73" fmla="*/ 68533 w 381625"/>
                              <a:gd name="connsiteY73" fmla="*/ 236241 h 309446"/>
                              <a:gd name="connsiteX74" fmla="*/ 95907 w 381625"/>
                              <a:gd name="connsiteY74" fmla="*/ 227142 h 309446"/>
                              <a:gd name="connsiteX75" fmla="*/ 123280 w 381625"/>
                              <a:gd name="connsiteY75" fmla="*/ 215769 h 309446"/>
                              <a:gd name="connsiteX76" fmla="*/ 134686 w 381625"/>
                              <a:gd name="connsiteY76" fmla="*/ 208945 h 309446"/>
                              <a:gd name="connsiteX77" fmla="*/ 146091 w 381625"/>
                              <a:gd name="connsiteY77" fmla="*/ 204396 h 309446"/>
                              <a:gd name="connsiteX78" fmla="*/ 168902 w 381625"/>
                              <a:gd name="connsiteY78" fmla="*/ 186199 h 309446"/>
                              <a:gd name="connsiteX79" fmla="*/ 178027 w 381625"/>
                              <a:gd name="connsiteY79" fmla="*/ 177101 h 309446"/>
                              <a:gd name="connsiteX80" fmla="*/ 189432 w 381625"/>
                              <a:gd name="connsiteY80" fmla="*/ 172551 h 309446"/>
                              <a:gd name="connsiteX81" fmla="*/ 200838 w 381625"/>
                              <a:gd name="connsiteY81" fmla="*/ 163453 h 309446"/>
                              <a:gd name="connsiteX82" fmla="*/ 207681 w 381625"/>
                              <a:gd name="connsiteY82" fmla="*/ 156629 h 309446"/>
                              <a:gd name="connsiteX83" fmla="*/ 228211 w 381625"/>
                              <a:gd name="connsiteY83" fmla="*/ 149805 h 309446"/>
                              <a:gd name="connsiteX84" fmla="*/ 344091 w 381625"/>
                              <a:gd name="connsiteY84" fmla="*/ 40481 h 309446"/>
                              <a:gd name="connsiteX85" fmla="*/ 341710 w 381625"/>
                              <a:gd name="connsiteY85" fmla="*/ 47625 h 309446"/>
                              <a:gd name="connsiteX86" fmla="*/ 344091 w 381625"/>
                              <a:gd name="connsiteY86" fmla="*/ 40481 h 309446"/>
                              <a:gd name="connsiteX87" fmla="*/ 318850 w 381625"/>
                              <a:gd name="connsiteY87" fmla="*/ 0 h 309446"/>
                              <a:gd name="connsiteX88" fmla="*/ 316588 w 381625"/>
                              <a:gd name="connsiteY88" fmla="*/ 2259 h 309446"/>
                              <a:gd name="connsiteX89" fmla="*/ 316588 w 381625"/>
                              <a:gd name="connsiteY89" fmla="*/ 15814 h 309446"/>
                              <a:gd name="connsiteX90" fmla="*/ 321112 w 381625"/>
                              <a:gd name="connsiteY90" fmla="*/ 11296 h 309446"/>
                              <a:gd name="connsiteX91" fmla="*/ 323374 w 381625"/>
                              <a:gd name="connsiteY91" fmla="*/ 15814 h 309446"/>
                              <a:gd name="connsiteX92" fmla="*/ 330161 w 381625"/>
                              <a:gd name="connsiteY92" fmla="*/ 18073 h 309446"/>
                              <a:gd name="connsiteX93" fmla="*/ 327899 w 381625"/>
                              <a:gd name="connsiteY93" fmla="*/ 22591 h 309446"/>
                              <a:gd name="connsiteX94" fmla="*/ 330161 w 381625"/>
                              <a:gd name="connsiteY94" fmla="*/ 22591 h 309446"/>
                              <a:gd name="connsiteX95" fmla="*/ 330161 w 381625"/>
                              <a:gd name="connsiteY95" fmla="*/ 20332 h 309446"/>
                              <a:gd name="connsiteX96" fmla="*/ 332423 w 381625"/>
                              <a:gd name="connsiteY96" fmla="*/ 20332 h 309446"/>
                              <a:gd name="connsiteX97" fmla="*/ 330161 w 381625"/>
                              <a:gd name="connsiteY97" fmla="*/ 36146 h 309446"/>
                              <a:gd name="connsiteX98" fmla="*/ 325637 w 381625"/>
                              <a:gd name="connsiteY98" fmla="*/ 33887 h 309446"/>
                              <a:gd name="connsiteX99" fmla="*/ 327899 w 381625"/>
                              <a:gd name="connsiteY99" fmla="*/ 36146 h 309446"/>
                              <a:gd name="connsiteX100" fmla="*/ 327899 w 381625"/>
                              <a:gd name="connsiteY100" fmla="*/ 45183 h 309446"/>
                              <a:gd name="connsiteX101" fmla="*/ 325637 w 381625"/>
                              <a:gd name="connsiteY101" fmla="*/ 49701 h 309446"/>
                              <a:gd name="connsiteX102" fmla="*/ 321112 w 381625"/>
                              <a:gd name="connsiteY102" fmla="*/ 56478 h 309446"/>
                              <a:gd name="connsiteX103" fmla="*/ 318850 w 381625"/>
                              <a:gd name="connsiteY103" fmla="*/ 58738 h 309446"/>
                              <a:gd name="connsiteX104" fmla="*/ 327899 w 381625"/>
                              <a:gd name="connsiteY104" fmla="*/ 63256 h 309446"/>
                              <a:gd name="connsiteX105" fmla="*/ 327899 w 381625"/>
                              <a:gd name="connsiteY105" fmla="*/ 67774 h 309446"/>
                              <a:gd name="connsiteX106" fmla="*/ 334685 w 381625"/>
                              <a:gd name="connsiteY106" fmla="*/ 58738 h 309446"/>
                              <a:gd name="connsiteX107" fmla="*/ 336948 w 381625"/>
                              <a:gd name="connsiteY107" fmla="*/ 51960 h 309446"/>
                              <a:gd name="connsiteX108" fmla="*/ 339210 w 381625"/>
                              <a:gd name="connsiteY108" fmla="*/ 49701 h 309446"/>
                              <a:gd name="connsiteX109" fmla="*/ 339210 w 381625"/>
                              <a:gd name="connsiteY109" fmla="*/ 56478 h 309446"/>
                              <a:gd name="connsiteX110" fmla="*/ 343734 w 381625"/>
                              <a:gd name="connsiteY110" fmla="*/ 56478 h 309446"/>
                              <a:gd name="connsiteX111" fmla="*/ 339210 w 381625"/>
                              <a:gd name="connsiteY111" fmla="*/ 58738 h 309446"/>
                              <a:gd name="connsiteX112" fmla="*/ 334685 w 381625"/>
                              <a:gd name="connsiteY112" fmla="*/ 76811 h 309446"/>
                              <a:gd name="connsiteX113" fmla="*/ 348258 w 381625"/>
                              <a:gd name="connsiteY113" fmla="*/ 85847 h 309446"/>
                              <a:gd name="connsiteX114" fmla="*/ 368618 w 381625"/>
                              <a:gd name="connsiteY114" fmla="*/ 79070 h 309446"/>
                              <a:gd name="connsiteX115" fmla="*/ 379929 w 381625"/>
                              <a:gd name="connsiteY115" fmla="*/ 76811 h 309446"/>
                              <a:gd name="connsiteX116" fmla="*/ 379929 w 381625"/>
                              <a:gd name="connsiteY116" fmla="*/ 81329 h 309446"/>
                              <a:gd name="connsiteX117" fmla="*/ 368618 w 381625"/>
                              <a:gd name="connsiteY117" fmla="*/ 94884 h 309446"/>
                              <a:gd name="connsiteX118" fmla="*/ 361832 w 381625"/>
                              <a:gd name="connsiteY118" fmla="*/ 101661 h 309446"/>
                              <a:gd name="connsiteX119" fmla="*/ 355045 w 381625"/>
                              <a:gd name="connsiteY119" fmla="*/ 103920 h 309446"/>
                              <a:gd name="connsiteX120" fmla="*/ 345996 w 381625"/>
                              <a:gd name="connsiteY120" fmla="*/ 117475 h 309446"/>
                              <a:gd name="connsiteX121" fmla="*/ 330161 w 381625"/>
                              <a:gd name="connsiteY121" fmla="*/ 115216 h 309446"/>
                              <a:gd name="connsiteX122" fmla="*/ 323374 w 381625"/>
                              <a:gd name="connsiteY122" fmla="*/ 126512 h 309446"/>
                              <a:gd name="connsiteX123" fmla="*/ 314326 w 381625"/>
                              <a:gd name="connsiteY123" fmla="*/ 135548 h 309446"/>
                              <a:gd name="connsiteX124" fmla="*/ 305277 w 381625"/>
                              <a:gd name="connsiteY124" fmla="*/ 142326 h 309446"/>
                              <a:gd name="connsiteX125" fmla="*/ 298490 w 381625"/>
                              <a:gd name="connsiteY125" fmla="*/ 146844 h 309446"/>
                              <a:gd name="connsiteX126" fmla="*/ 289442 w 381625"/>
                              <a:gd name="connsiteY126" fmla="*/ 153621 h 309446"/>
                              <a:gd name="connsiteX127" fmla="*/ 269082 w 381625"/>
                              <a:gd name="connsiteY127" fmla="*/ 167176 h 309446"/>
                              <a:gd name="connsiteX128" fmla="*/ 253247 w 381625"/>
                              <a:gd name="connsiteY128" fmla="*/ 171695 h 309446"/>
                              <a:gd name="connsiteX129" fmla="*/ 255509 w 381625"/>
                              <a:gd name="connsiteY129" fmla="*/ 169435 h 309446"/>
                              <a:gd name="connsiteX130" fmla="*/ 250985 w 381625"/>
                              <a:gd name="connsiteY130" fmla="*/ 169435 h 309446"/>
                              <a:gd name="connsiteX131" fmla="*/ 250985 w 381625"/>
                              <a:gd name="connsiteY131" fmla="*/ 164917 h 309446"/>
                              <a:gd name="connsiteX132" fmla="*/ 255509 w 381625"/>
                              <a:gd name="connsiteY132" fmla="*/ 162658 h 309446"/>
                              <a:gd name="connsiteX133" fmla="*/ 262296 w 381625"/>
                              <a:gd name="connsiteY133" fmla="*/ 155881 h 309446"/>
                              <a:gd name="connsiteX134" fmla="*/ 278131 w 381625"/>
                              <a:gd name="connsiteY134" fmla="*/ 140067 h 309446"/>
                              <a:gd name="connsiteX135" fmla="*/ 273606 w 381625"/>
                              <a:gd name="connsiteY135" fmla="*/ 133289 h 309446"/>
                              <a:gd name="connsiteX136" fmla="*/ 266820 w 381625"/>
                              <a:gd name="connsiteY136" fmla="*/ 126512 h 309446"/>
                              <a:gd name="connsiteX137" fmla="*/ 262296 w 381625"/>
                              <a:gd name="connsiteY137" fmla="*/ 121993 h 309446"/>
                              <a:gd name="connsiteX138" fmla="*/ 266820 w 381625"/>
                              <a:gd name="connsiteY138" fmla="*/ 115216 h 309446"/>
                              <a:gd name="connsiteX139" fmla="*/ 284917 w 381625"/>
                              <a:gd name="connsiteY139" fmla="*/ 108439 h 309446"/>
                              <a:gd name="connsiteX140" fmla="*/ 296228 w 381625"/>
                              <a:gd name="connsiteY140" fmla="*/ 94884 h 309446"/>
                              <a:gd name="connsiteX141" fmla="*/ 300753 w 381625"/>
                              <a:gd name="connsiteY141" fmla="*/ 90366 h 309446"/>
                              <a:gd name="connsiteX142" fmla="*/ 303015 w 381625"/>
                              <a:gd name="connsiteY142" fmla="*/ 90366 h 309446"/>
                              <a:gd name="connsiteX143" fmla="*/ 305277 w 381625"/>
                              <a:gd name="connsiteY143" fmla="*/ 83588 h 309446"/>
                              <a:gd name="connsiteX144" fmla="*/ 307539 w 381625"/>
                              <a:gd name="connsiteY144" fmla="*/ 79070 h 309446"/>
                              <a:gd name="connsiteX145" fmla="*/ 309801 w 381625"/>
                              <a:gd name="connsiteY145" fmla="*/ 76811 h 309446"/>
                              <a:gd name="connsiteX146" fmla="*/ 312064 w 381625"/>
                              <a:gd name="connsiteY146" fmla="*/ 70033 h 309446"/>
                              <a:gd name="connsiteX147" fmla="*/ 314326 w 381625"/>
                              <a:gd name="connsiteY147" fmla="*/ 63256 h 309446"/>
                              <a:gd name="connsiteX148" fmla="*/ 318850 w 381625"/>
                              <a:gd name="connsiteY148" fmla="*/ 63256 h 309446"/>
                              <a:gd name="connsiteX149" fmla="*/ 314326 w 381625"/>
                              <a:gd name="connsiteY149" fmla="*/ 63256 h 309446"/>
                              <a:gd name="connsiteX150" fmla="*/ 312064 w 381625"/>
                              <a:gd name="connsiteY150" fmla="*/ 63256 h 309446"/>
                              <a:gd name="connsiteX151" fmla="*/ 314326 w 381625"/>
                              <a:gd name="connsiteY151" fmla="*/ 49701 h 309446"/>
                              <a:gd name="connsiteX152" fmla="*/ 316588 w 381625"/>
                              <a:gd name="connsiteY152" fmla="*/ 54219 h 309446"/>
                              <a:gd name="connsiteX153" fmla="*/ 321112 w 381625"/>
                              <a:gd name="connsiteY153" fmla="*/ 47442 h 309446"/>
                              <a:gd name="connsiteX154" fmla="*/ 318850 w 381625"/>
                              <a:gd name="connsiteY154" fmla="*/ 47442 h 309446"/>
                              <a:gd name="connsiteX155" fmla="*/ 323374 w 381625"/>
                              <a:gd name="connsiteY155" fmla="*/ 45183 h 309446"/>
                              <a:gd name="connsiteX156" fmla="*/ 323374 w 381625"/>
                              <a:gd name="connsiteY156" fmla="*/ 42924 h 309446"/>
                              <a:gd name="connsiteX157" fmla="*/ 318850 w 381625"/>
                              <a:gd name="connsiteY157" fmla="*/ 45183 h 309446"/>
                              <a:gd name="connsiteX158" fmla="*/ 314326 w 381625"/>
                              <a:gd name="connsiteY158" fmla="*/ 40664 h 309446"/>
                              <a:gd name="connsiteX159" fmla="*/ 312064 w 381625"/>
                              <a:gd name="connsiteY159" fmla="*/ 47442 h 309446"/>
                              <a:gd name="connsiteX160" fmla="*/ 309801 w 381625"/>
                              <a:gd name="connsiteY160" fmla="*/ 29369 h 309446"/>
                              <a:gd name="connsiteX161" fmla="*/ 316588 w 381625"/>
                              <a:gd name="connsiteY161" fmla="*/ 20332 h 309446"/>
                              <a:gd name="connsiteX162" fmla="*/ 309801 w 381625"/>
                              <a:gd name="connsiteY162" fmla="*/ 27110 h 309446"/>
                              <a:gd name="connsiteX163" fmla="*/ 309801 w 381625"/>
                              <a:gd name="connsiteY163" fmla="*/ 18073 h 309446"/>
                              <a:gd name="connsiteX164" fmla="*/ 312064 w 381625"/>
                              <a:gd name="connsiteY164" fmla="*/ 6777 h 309446"/>
                              <a:gd name="connsiteX165" fmla="*/ 312064 w 381625"/>
                              <a:gd name="connsiteY165" fmla="*/ 2259 h 309446"/>
                              <a:gd name="connsiteX166" fmla="*/ 318850 w 381625"/>
                              <a:gd name="connsiteY166" fmla="*/ 0 h 309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Lst>
                            <a:rect l="l" t="t" r="r" b="b"/>
                            <a:pathLst>
                              <a:path w="381625" h="309446">
                                <a:moveTo>
                                  <a:pt x="11906" y="297359"/>
                                </a:moveTo>
                                <a:cubicBezTo>
                                  <a:pt x="19050" y="292894"/>
                                  <a:pt x="21431" y="304057"/>
                                  <a:pt x="14288" y="301824"/>
                                </a:cubicBezTo>
                                <a:cubicBezTo>
                                  <a:pt x="14288" y="301824"/>
                                  <a:pt x="14288" y="301824"/>
                                  <a:pt x="11906" y="304057"/>
                                </a:cubicBezTo>
                                <a:cubicBezTo>
                                  <a:pt x="14288" y="301824"/>
                                  <a:pt x="19050" y="304057"/>
                                  <a:pt x="16669" y="306289"/>
                                </a:cubicBezTo>
                                <a:cubicBezTo>
                                  <a:pt x="14288" y="306289"/>
                                  <a:pt x="11906" y="306289"/>
                                  <a:pt x="9525" y="306289"/>
                                </a:cubicBezTo>
                                <a:cubicBezTo>
                                  <a:pt x="7144" y="308522"/>
                                  <a:pt x="2381" y="310754"/>
                                  <a:pt x="0" y="308522"/>
                                </a:cubicBezTo>
                                <a:cubicBezTo>
                                  <a:pt x="4763" y="306289"/>
                                  <a:pt x="9525" y="301824"/>
                                  <a:pt x="11906" y="297359"/>
                                </a:cubicBezTo>
                                <a:close/>
                                <a:moveTo>
                                  <a:pt x="236128" y="164925"/>
                                </a:moveTo>
                                <a:lnTo>
                                  <a:pt x="237177" y="165622"/>
                                </a:lnTo>
                                <a:lnTo>
                                  <a:pt x="235055" y="165728"/>
                                </a:lnTo>
                                <a:close/>
                                <a:moveTo>
                                  <a:pt x="244179" y="158904"/>
                                </a:moveTo>
                                <a:lnTo>
                                  <a:pt x="236128" y="164925"/>
                                </a:lnTo>
                                <a:lnTo>
                                  <a:pt x="235625" y="164590"/>
                                </a:lnTo>
                                <a:cubicBezTo>
                                  <a:pt x="236195" y="164022"/>
                                  <a:pt x="237336" y="163453"/>
                                  <a:pt x="237336" y="163453"/>
                                </a:cubicBezTo>
                                <a:cubicBezTo>
                                  <a:pt x="241898" y="161178"/>
                                  <a:pt x="241898" y="158904"/>
                                  <a:pt x="244179" y="158904"/>
                                </a:cubicBezTo>
                                <a:close/>
                                <a:moveTo>
                                  <a:pt x="228211" y="149805"/>
                                </a:moveTo>
                                <a:cubicBezTo>
                                  <a:pt x="223649" y="147531"/>
                                  <a:pt x="219087" y="149805"/>
                                  <a:pt x="219087" y="154354"/>
                                </a:cubicBezTo>
                                <a:cubicBezTo>
                                  <a:pt x="216806" y="156629"/>
                                  <a:pt x="223649" y="154354"/>
                                  <a:pt x="223649" y="154354"/>
                                </a:cubicBezTo>
                                <a:cubicBezTo>
                                  <a:pt x="223649" y="158904"/>
                                  <a:pt x="219087" y="163453"/>
                                  <a:pt x="216806" y="165728"/>
                                </a:cubicBezTo>
                                <a:cubicBezTo>
                                  <a:pt x="221368" y="168002"/>
                                  <a:pt x="225930" y="163453"/>
                                  <a:pt x="228211" y="163453"/>
                                </a:cubicBezTo>
                                <a:cubicBezTo>
                                  <a:pt x="232774" y="161178"/>
                                  <a:pt x="235055" y="158904"/>
                                  <a:pt x="239617" y="158904"/>
                                </a:cubicBezTo>
                                <a:cubicBezTo>
                                  <a:pt x="239617" y="158904"/>
                                  <a:pt x="237336" y="161178"/>
                                  <a:pt x="235055" y="161178"/>
                                </a:cubicBezTo>
                                <a:cubicBezTo>
                                  <a:pt x="239617" y="161178"/>
                                  <a:pt x="232774" y="165728"/>
                                  <a:pt x="230492" y="165728"/>
                                </a:cubicBezTo>
                                <a:lnTo>
                                  <a:pt x="235055" y="165728"/>
                                </a:lnTo>
                                <a:lnTo>
                                  <a:pt x="237336" y="165728"/>
                                </a:lnTo>
                                <a:lnTo>
                                  <a:pt x="237177" y="165622"/>
                                </a:lnTo>
                                <a:lnTo>
                                  <a:pt x="240758" y="165443"/>
                                </a:lnTo>
                                <a:cubicBezTo>
                                  <a:pt x="243039" y="164590"/>
                                  <a:pt x="245320" y="163453"/>
                                  <a:pt x="246460" y="163453"/>
                                </a:cubicBezTo>
                                <a:cubicBezTo>
                                  <a:pt x="244179" y="165728"/>
                                  <a:pt x="237336" y="165728"/>
                                  <a:pt x="235055" y="170277"/>
                                </a:cubicBezTo>
                                <a:cubicBezTo>
                                  <a:pt x="230492" y="172551"/>
                                  <a:pt x="232774" y="177101"/>
                                  <a:pt x="228211" y="179375"/>
                                </a:cubicBezTo>
                                <a:cubicBezTo>
                                  <a:pt x="225930" y="181650"/>
                                  <a:pt x="221368" y="183925"/>
                                  <a:pt x="219087" y="186199"/>
                                </a:cubicBezTo>
                                <a:cubicBezTo>
                                  <a:pt x="216806" y="188474"/>
                                  <a:pt x="214525" y="190748"/>
                                  <a:pt x="212244" y="193023"/>
                                </a:cubicBezTo>
                                <a:cubicBezTo>
                                  <a:pt x="209962" y="193023"/>
                                  <a:pt x="205400" y="195298"/>
                                  <a:pt x="200838" y="197572"/>
                                </a:cubicBezTo>
                                <a:cubicBezTo>
                                  <a:pt x="198557" y="202122"/>
                                  <a:pt x="193995" y="204396"/>
                                  <a:pt x="189432" y="206671"/>
                                </a:cubicBezTo>
                                <a:cubicBezTo>
                                  <a:pt x="184870" y="208945"/>
                                  <a:pt x="178027" y="211220"/>
                                  <a:pt x="173465" y="215769"/>
                                </a:cubicBezTo>
                                <a:cubicBezTo>
                                  <a:pt x="171184" y="218044"/>
                                  <a:pt x="171184" y="222593"/>
                                  <a:pt x="168902" y="222593"/>
                                </a:cubicBezTo>
                                <a:cubicBezTo>
                                  <a:pt x="171184" y="224868"/>
                                  <a:pt x="175746" y="227142"/>
                                  <a:pt x="168902" y="229417"/>
                                </a:cubicBezTo>
                                <a:cubicBezTo>
                                  <a:pt x="166621" y="231692"/>
                                  <a:pt x="162059" y="227142"/>
                                  <a:pt x="159778" y="229417"/>
                                </a:cubicBezTo>
                                <a:cubicBezTo>
                                  <a:pt x="159778" y="229417"/>
                                  <a:pt x="162059" y="227142"/>
                                  <a:pt x="164340" y="227142"/>
                                </a:cubicBezTo>
                                <a:cubicBezTo>
                                  <a:pt x="159778" y="224868"/>
                                  <a:pt x="157497" y="229417"/>
                                  <a:pt x="155216" y="229417"/>
                                </a:cubicBezTo>
                                <a:cubicBezTo>
                                  <a:pt x="150654" y="231692"/>
                                  <a:pt x="146091" y="231692"/>
                                  <a:pt x="143810" y="233966"/>
                                </a:cubicBezTo>
                                <a:cubicBezTo>
                                  <a:pt x="134686" y="236241"/>
                                  <a:pt x="127842" y="238516"/>
                                  <a:pt x="120999" y="245339"/>
                                </a:cubicBezTo>
                                <a:cubicBezTo>
                                  <a:pt x="118718" y="247614"/>
                                  <a:pt x="116437" y="252163"/>
                                  <a:pt x="111875" y="254438"/>
                                </a:cubicBezTo>
                                <a:cubicBezTo>
                                  <a:pt x="109594" y="256713"/>
                                  <a:pt x="105031" y="258987"/>
                                  <a:pt x="102750" y="261262"/>
                                </a:cubicBezTo>
                                <a:cubicBezTo>
                                  <a:pt x="99329" y="263536"/>
                                  <a:pt x="96477" y="266948"/>
                                  <a:pt x="93341" y="270076"/>
                                </a:cubicBezTo>
                                <a:lnTo>
                                  <a:pt x="82220" y="277184"/>
                                </a:lnTo>
                                <a:lnTo>
                                  <a:pt x="77658" y="279459"/>
                                </a:lnTo>
                                <a:cubicBezTo>
                                  <a:pt x="75377" y="279459"/>
                                  <a:pt x="73096" y="281733"/>
                                  <a:pt x="70815" y="284008"/>
                                </a:cubicBezTo>
                                <a:cubicBezTo>
                                  <a:pt x="68533" y="286283"/>
                                  <a:pt x="63971" y="286283"/>
                                  <a:pt x="61690" y="288557"/>
                                </a:cubicBezTo>
                                <a:cubicBezTo>
                                  <a:pt x="59409" y="288557"/>
                                  <a:pt x="57128" y="290832"/>
                                  <a:pt x="57128" y="290832"/>
                                </a:cubicBezTo>
                                <a:cubicBezTo>
                                  <a:pt x="50285" y="293107"/>
                                  <a:pt x="43441" y="297656"/>
                                  <a:pt x="36598" y="297656"/>
                                </a:cubicBezTo>
                                <a:cubicBezTo>
                                  <a:pt x="34317" y="297656"/>
                                  <a:pt x="36598" y="295382"/>
                                  <a:pt x="34317" y="295382"/>
                                </a:cubicBezTo>
                                <a:cubicBezTo>
                                  <a:pt x="32036" y="293107"/>
                                  <a:pt x="27473" y="293107"/>
                                  <a:pt x="25192" y="295382"/>
                                </a:cubicBezTo>
                                <a:cubicBezTo>
                                  <a:pt x="25192" y="293107"/>
                                  <a:pt x="29755" y="290832"/>
                                  <a:pt x="25192" y="288557"/>
                                </a:cubicBezTo>
                                <a:cubicBezTo>
                                  <a:pt x="25192" y="288557"/>
                                  <a:pt x="22911" y="290832"/>
                                  <a:pt x="20630" y="290832"/>
                                </a:cubicBezTo>
                                <a:cubicBezTo>
                                  <a:pt x="22911" y="286283"/>
                                  <a:pt x="18349" y="284008"/>
                                  <a:pt x="16068" y="286283"/>
                                </a:cubicBezTo>
                                <a:cubicBezTo>
                                  <a:pt x="11506" y="288557"/>
                                  <a:pt x="6943" y="286283"/>
                                  <a:pt x="2381" y="286283"/>
                                </a:cubicBezTo>
                                <a:cubicBezTo>
                                  <a:pt x="4662" y="281733"/>
                                  <a:pt x="6943" y="281733"/>
                                  <a:pt x="11506" y="279459"/>
                                </a:cubicBezTo>
                                <a:cubicBezTo>
                                  <a:pt x="9225" y="279459"/>
                                  <a:pt x="6943" y="281733"/>
                                  <a:pt x="4662" y="281733"/>
                                </a:cubicBezTo>
                                <a:cubicBezTo>
                                  <a:pt x="4662" y="279459"/>
                                  <a:pt x="9225" y="279459"/>
                                  <a:pt x="9225" y="277184"/>
                                </a:cubicBezTo>
                                <a:cubicBezTo>
                                  <a:pt x="6943" y="279459"/>
                                  <a:pt x="4662" y="279459"/>
                                  <a:pt x="2381" y="281733"/>
                                </a:cubicBezTo>
                                <a:cubicBezTo>
                                  <a:pt x="2381" y="277184"/>
                                  <a:pt x="6943" y="277184"/>
                                  <a:pt x="9225" y="274910"/>
                                </a:cubicBezTo>
                                <a:cubicBezTo>
                                  <a:pt x="11506" y="274910"/>
                                  <a:pt x="20630" y="274910"/>
                                  <a:pt x="13787" y="272635"/>
                                </a:cubicBezTo>
                                <a:cubicBezTo>
                                  <a:pt x="16068" y="272635"/>
                                  <a:pt x="18349" y="272635"/>
                                  <a:pt x="18349" y="270360"/>
                                </a:cubicBezTo>
                                <a:cubicBezTo>
                                  <a:pt x="18349" y="272635"/>
                                  <a:pt x="16068" y="272635"/>
                                  <a:pt x="13787" y="270360"/>
                                </a:cubicBezTo>
                                <a:cubicBezTo>
                                  <a:pt x="16068" y="268086"/>
                                  <a:pt x="20630" y="268086"/>
                                  <a:pt x="20630" y="265811"/>
                                </a:cubicBezTo>
                                <a:cubicBezTo>
                                  <a:pt x="22911" y="263536"/>
                                  <a:pt x="22911" y="265811"/>
                                  <a:pt x="22911" y="265811"/>
                                </a:cubicBezTo>
                                <a:cubicBezTo>
                                  <a:pt x="25192" y="265811"/>
                                  <a:pt x="25192" y="265811"/>
                                  <a:pt x="22911" y="268086"/>
                                </a:cubicBezTo>
                                <a:cubicBezTo>
                                  <a:pt x="25192" y="265811"/>
                                  <a:pt x="25192" y="263536"/>
                                  <a:pt x="27473" y="263536"/>
                                </a:cubicBezTo>
                                <a:cubicBezTo>
                                  <a:pt x="25192" y="263536"/>
                                  <a:pt x="27473" y="261262"/>
                                  <a:pt x="29755" y="258987"/>
                                </a:cubicBezTo>
                                <a:cubicBezTo>
                                  <a:pt x="32036" y="258987"/>
                                  <a:pt x="34317" y="256713"/>
                                  <a:pt x="36598" y="258987"/>
                                </a:cubicBezTo>
                                <a:cubicBezTo>
                                  <a:pt x="34317" y="254438"/>
                                  <a:pt x="43441" y="252163"/>
                                  <a:pt x="45722" y="252163"/>
                                </a:cubicBezTo>
                                <a:cubicBezTo>
                                  <a:pt x="48003" y="249889"/>
                                  <a:pt x="52566" y="243065"/>
                                  <a:pt x="54847" y="249889"/>
                                </a:cubicBezTo>
                                <a:cubicBezTo>
                                  <a:pt x="52566" y="243065"/>
                                  <a:pt x="66252" y="238516"/>
                                  <a:pt x="68533" y="236241"/>
                                </a:cubicBezTo>
                                <a:cubicBezTo>
                                  <a:pt x="77658" y="231692"/>
                                  <a:pt x="86782" y="229417"/>
                                  <a:pt x="95907" y="227142"/>
                                </a:cubicBezTo>
                                <a:cubicBezTo>
                                  <a:pt x="105031" y="222593"/>
                                  <a:pt x="114156" y="220319"/>
                                  <a:pt x="123280" y="215769"/>
                                </a:cubicBezTo>
                                <a:cubicBezTo>
                                  <a:pt x="127842" y="213495"/>
                                  <a:pt x="130124" y="208945"/>
                                  <a:pt x="134686" y="208945"/>
                                </a:cubicBezTo>
                                <a:cubicBezTo>
                                  <a:pt x="139248" y="206671"/>
                                  <a:pt x="143810" y="206671"/>
                                  <a:pt x="146091" y="204396"/>
                                </a:cubicBezTo>
                                <a:cubicBezTo>
                                  <a:pt x="155216" y="199847"/>
                                  <a:pt x="162059" y="193023"/>
                                  <a:pt x="168902" y="186199"/>
                                </a:cubicBezTo>
                                <a:cubicBezTo>
                                  <a:pt x="171184" y="183925"/>
                                  <a:pt x="173465" y="179375"/>
                                  <a:pt x="178027" y="177101"/>
                                </a:cubicBezTo>
                                <a:cubicBezTo>
                                  <a:pt x="182589" y="177101"/>
                                  <a:pt x="187151" y="174826"/>
                                  <a:pt x="189432" y="172551"/>
                                </a:cubicBezTo>
                                <a:cubicBezTo>
                                  <a:pt x="193995" y="170277"/>
                                  <a:pt x="196276" y="168002"/>
                                  <a:pt x="200838" y="163453"/>
                                </a:cubicBezTo>
                                <a:cubicBezTo>
                                  <a:pt x="203119" y="161178"/>
                                  <a:pt x="203119" y="158904"/>
                                  <a:pt x="207681" y="156629"/>
                                </a:cubicBezTo>
                                <a:cubicBezTo>
                                  <a:pt x="209962" y="152080"/>
                                  <a:pt x="223649" y="145256"/>
                                  <a:pt x="228211" y="149805"/>
                                </a:cubicBezTo>
                                <a:close/>
                                <a:moveTo>
                                  <a:pt x="344091" y="40481"/>
                                </a:moveTo>
                                <a:cubicBezTo>
                                  <a:pt x="344091" y="40481"/>
                                  <a:pt x="344091" y="45244"/>
                                  <a:pt x="341710" y="47625"/>
                                </a:cubicBezTo>
                                <a:cubicBezTo>
                                  <a:pt x="341710" y="47625"/>
                                  <a:pt x="341710" y="40481"/>
                                  <a:pt x="344091" y="40481"/>
                                </a:cubicBezTo>
                                <a:close/>
                                <a:moveTo>
                                  <a:pt x="318850" y="0"/>
                                </a:moveTo>
                                <a:cubicBezTo>
                                  <a:pt x="318850" y="2259"/>
                                  <a:pt x="316588" y="2259"/>
                                  <a:pt x="316588" y="2259"/>
                                </a:cubicBezTo>
                                <a:cubicBezTo>
                                  <a:pt x="316588" y="4518"/>
                                  <a:pt x="318850" y="11296"/>
                                  <a:pt x="316588" y="15814"/>
                                </a:cubicBezTo>
                                <a:cubicBezTo>
                                  <a:pt x="318850" y="13555"/>
                                  <a:pt x="318850" y="11296"/>
                                  <a:pt x="321112" y="11296"/>
                                </a:cubicBezTo>
                                <a:cubicBezTo>
                                  <a:pt x="316588" y="11296"/>
                                  <a:pt x="325637" y="13555"/>
                                  <a:pt x="323374" y="15814"/>
                                </a:cubicBezTo>
                                <a:cubicBezTo>
                                  <a:pt x="327899" y="11296"/>
                                  <a:pt x="327899" y="18073"/>
                                  <a:pt x="330161" y="18073"/>
                                </a:cubicBezTo>
                                <a:cubicBezTo>
                                  <a:pt x="327899" y="18073"/>
                                  <a:pt x="327899" y="20332"/>
                                  <a:pt x="327899" y="22591"/>
                                </a:cubicBezTo>
                                <a:cubicBezTo>
                                  <a:pt x="327899" y="22591"/>
                                  <a:pt x="327899" y="22591"/>
                                  <a:pt x="330161" y="22591"/>
                                </a:cubicBezTo>
                                <a:cubicBezTo>
                                  <a:pt x="330161" y="22591"/>
                                  <a:pt x="330161" y="22591"/>
                                  <a:pt x="330161" y="20332"/>
                                </a:cubicBezTo>
                                <a:cubicBezTo>
                                  <a:pt x="330161" y="20332"/>
                                  <a:pt x="332423" y="20332"/>
                                  <a:pt x="332423" y="20332"/>
                                </a:cubicBezTo>
                                <a:cubicBezTo>
                                  <a:pt x="334685" y="24850"/>
                                  <a:pt x="332423" y="29369"/>
                                  <a:pt x="330161" y="36146"/>
                                </a:cubicBezTo>
                                <a:cubicBezTo>
                                  <a:pt x="330161" y="33887"/>
                                  <a:pt x="327899" y="31628"/>
                                  <a:pt x="325637" y="33887"/>
                                </a:cubicBezTo>
                                <a:cubicBezTo>
                                  <a:pt x="325637" y="36146"/>
                                  <a:pt x="327899" y="36146"/>
                                  <a:pt x="327899" y="36146"/>
                                </a:cubicBezTo>
                                <a:cubicBezTo>
                                  <a:pt x="325637" y="38405"/>
                                  <a:pt x="327899" y="42924"/>
                                  <a:pt x="327899" y="45183"/>
                                </a:cubicBezTo>
                                <a:cubicBezTo>
                                  <a:pt x="330161" y="47442"/>
                                  <a:pt x="325637" y="47442"/>
                                  <a:pt x="325637" y="49701"/>
                                </a:cubicBezTo>
                                <a:cubicBezTo>
                                  <a:pt x="323374" y="51960"/>
                                  <a:pt x="323374" y="54219"/>
                                  <a:pt x="321112" y="56478"/>
                                </a:cubicBezTo>
                                <a:cubicBezTo>
                                  <a:pt x="321112" y="56478"/>
                                  <a:pt x="318850" y="58738"/>
                                  <a:pt x="318850" y="58738"/>
                                </a:cubicBezTo>
                                <a:cubicBezTo>
                                  <a:pt x="318850" y="58738"/>
                                  <a:pt x="327899" y="58738"/>
                                  <a:pt x="327899" y="63256"/>
                                </a:cubicBezTo>
                                <a:cubicBezTo>
                                  <a:pt x="327899" y="63256"/>
                                  <a:pt x="325637" y="67774"/>
                                  <a:pt x="327899" y="67774"/>
                                </a:cubicBezTo>
                                <a:cubicBezTo>
                                  <a:pt x="332423" y="67774"/>
                                  <a:pt x="332423" y="60997"/>
                                  <a:pt x="334685" y="58738"/>
                                </a:cubicBezTo>
                                <a:cubicBezTo>
                                  <a:pt x="334685" y="56478"/>
                                  <a:pt x="336948" y="54219"/>
                                  <a:pt x="336948" y="51960"/>
                                </a:cubicBezTo>
                                <a:cubicBezTo>
                                  <a:pt x="336948" y="51960"/>
                                  <a:pt x="336948" y="51960"/>
                                  <a:pt x="339210" y="49701"/>
                                </a:cubicBezTo>
                                <a:cubicBezTo>
                                  <a:pt x="339210" y="51960"/>
                                  <a:pt x="339210" y="54219"/>
                                  <a:pt x="339210" y="56478"/>
                                </a:cubicBezTo>
                                <a:cubicBezTo>
                                  <a:pt x="339210" y="56478"/>
                                  <a:pt x="341472" y="56478"/>
                                  <a:pt x="343734" y="56478"/>
                                </a:cubicBezTo>
                                <a:cubicBezTo>
                                  <a:pt x="341472" y="56478"/>
                                  <a:pt x="339210" y="58738"/>
                                  <a:pt x="339210" y="58738"/>
                                </a:cubicBezTo>
                                <a:cubicBezTo>
                                  <a:pt x="343734" y="58738"/>
                                  <a:pt x="334685" y="74552"/>
                                  <a:pt x="334685" y="76811"/>
                                </a:cubicBezTo>
                                <a:cubicBezTo>
                                  <a:pt x="334685" y="79070"/>
                                  <a:pt x="345996" y="85847"/>
                                  <a:pt x="348258" y="85847"/>
                                </a:cubicBezTo>
                                <a:cubicBezTo>
                                  <a:pt x="355045" y="90366"/>
                                  <a:pt x="361832" y="83588"/>
                                  <a:pt x="368618" y="79070"/>
                                </a:cubicBezTo>
                                <a:cubicBezTo>
                                  <a:pt x="370880" y="76811"/>
                                  <a:pt x="377667" y="74552"/>
                                  <a:pt x="379929" y="76811"/>
                                </a:cubicBezTo>
                                <a:cubicBezTo>
                                  <a:pt x="382191" y="76811"/>
                                  <a:pt x="382191" y="79070"/>
                                  <a:pt x="379929" y="81329"/>
                                </a:cubicBezTo>
                                <a:cubicBezTo>
                                  <a:pt x="375405" y="83588"/>
                                  <a:pt x="373143" y="90366"/>
                                  <a:pt x="368618" y="94884"/>
                                </a:cubicBezTo>
                                <a:cubicBezTo>
                                  <a:pt x="366356" y="97143"/>
                                  <a:pt x="366356" y="99402"/>
                                  <a:pt x="361832" y="101661"/>
                                </a:cubicBezTo>
                                <a:cubicBezTo>
                                  <a:pt x="359569" y="101661"/>
                                  <a:pt x="357307" y="103920"/>
                                  <a:pt x="355045" y="103920"/>
                                </a:cubicBezTo>
                                <a:cubicBezTo>
                                  <a:pt x="350521" y="106179"/>
                                  <a:pt x="350521" y="115216"/>
                                  <a:pt x="345996" y="117475"/>
                                </a:cubicBezTo>
                                <a:cubicBezTo>
                                  <a:pt x="348258" y="108439"/>
                                  <a:pt x="332423" y="112957"/>
                                  <a:pt x="330161" y="115216"/>
                                </a:cubicBezTo>
                                <a:cubicBezTo>
                                  <a:pt x="327899" y="117475"/>
                                  <a:pt x="316588" y="126512"/>
                                  <a:pt x="323374" y="126512"/>
                                </a:cubicBezTo>
                                <a:cubicBezTo>
                                  <a:pt x="318850" y="128771"/>
                                  <a:pt x="316588" y="133289"/>
                                  <a:pt x="314326" y="135548"/>
                                </a:cubicBezTo>
                                <a:cubicBezTo>
                                  <a:pt x="309801" y="140067"/>
                                  <a:pt x="307539" y="140067"/>
                                  <a:pt x="305277" y="142326"/>
                                </a:cubicBezTo>
                                <a:cubicBezTo>
                                  <a:pt x="303015" y="144585"/>
                                  <a:pt x="300753" y="146844"/>
                                  <a:pt x="298490" y="146844"/>
                                </a:cubicBezTo>
                                <a:cubicBezTo>
                                  <a:pt x="293966" y="149103"/>
                                  <a:pt x="291704" y="151362"/>
                                  <a:pt x="289442" y="153621"/>
                                </a:cubicBezTo>
                                <a:cubicBezTo>
                                  <a:pt x="282655" y="160399"/>
                                  <a:pt x="275869" y="164917"/>
                                  <a:pt x="269082" y="167176"/>
                                </a:cubicBezTo>
                                <a:cubicBezTo>
                                  <a:pt x="266820" y="169435"/>
                                  <a:pt x="257771" y="176213"/>
                                  <a:pt x="253247" y="171695"/>
                                </a:cubicBezTo>
                                <a:cubicBezTo>
                                  <a:pt x="255509" y="171695"/>
                                  <a:pt x="255509" y="169435"/>
                                  <a:pt x="255509" y="169435"/>
                                </a:cubicBezTo>
                                <a:cubicBezTo>
                                  <a:pt x="253247" y="169435"/>
                                  <a:pt x="250985" y="169435"/>
                                  <a:pt x="250985" y="169435"/>
                                </a:cubicBezTo>
                                <a:lnTo>
                                  <a:pt x="250985" y="164917"/>
                                </a:lnTo>
                                <a:lnTo>
                                  <a:pt x="255509" y="162658"/>
                                </a:lnTo>
                                <a:cubicBezTo>
                                  <a:pt x="257771" y="160399"/>
                                  <a:pt x="260033" y="158140"/>
                                  <a:pt x="262296" y="155881"/>
                                </a:cubicBezTo>
                                <a:cubicBezTo>
                                  <a:pt x="266820" y="151362"/>
                                  <a:pt x="273606" y="146844"/>
                                  <a:pt x="278131" y="140067"/>
                                </a:cubicBezTo>
                                <a:cubicBezTo>
                                  <a:pt x="278131" y="137807"/>
                                  <a:pt x="278131" y="133289"/>
                                  <a:pt x="273606" y="133289"/>
                                </a:cubicBezTo>
                                <a:cubicBezTo>
                                  <a:pt x="269082" y="131030"/>
                                  <a:pt x="269082" y="128771"/>
                                  <a:pt x="266820" y="126512"/>
                                </a:cubicBezTo>
                                <a:cubicBezTo>
                                  <a:pt x="264558" y="124253"/>
                                  <a:pt x="262296" y="124253"/>
                                  <a:pt x="262296" y="121993"/>
                                </a:cubicBezTo>
                                <a:cubicBezTo>
                                  <a:pt x="262296" y="117475"/>
                                  <a:pt x="264558" y="115216"/>
                                  <a:pt x="266820" y="115216"/>
                                </a:cubicBezTo>
                                <a:cubicBezTo>
                                  <a:pt x="271344" y="110698"/>
                                  <a:pt x="278131" y="112957"/>
                                  <a:pt x="284917" y="108439"/>
                                </a:cubicBezTo>
                                <a:cubicBezTo>
                                  <a:pt x="289442" y="106179"/>
                                  <a:pt x="291704" y="99402"/>
                                  <a:pt x="296228" y="94884"/>
                                </a:cubicBezTo>
                                <a:cubicBezTo>
                                  <a:pt x="298490" y="92625"/>
                                  <a:pt x="298490" y="90366"/>
                                  <a:pt x="300753" y="90366"/>
                                </a:cubicBezTo>
                                <a:cubicBezTo>
                                  <a:pt x="300753" y="90366"/>
                                  <a:pt x="300753" y="90366"/>
                                  <a:pt x="303015" y="90366"/>
                                </a:cubicBezTo>
                                <a:cubicBezTo>
                                  <a:pt x="303015" y="88106"/>
                                  <a:pt x="305277" y="85847"/>
                                  <a:pt x="305277" y="83588"/>
                                </a:cubicBezTo>
                                <a:cubicBezTo>
                                  <a:pt x="305277" y="81329"/>
                                  <a:pt x="307539" y="81329"/>
                                  <a:pt x="307539" y="79070"/>
                                </a:cubicBezTo>
                                <a:cubicBezTo>
                                  <a:pt x="309801" y="79070"/>
                                  <a:pt x="309801" y="76811"/>
                                  <a:pt x="309801" y="76811"/>
                                </a:cubicBezTo>
                                <a:cubicBezTo>
                                  <a:pt x="309801" y="74552"/>
                                  <a:pt x="309801" y="72292"/>
                                  <a:pt x="312064" y="70033"/>
                                </a:cubicBezTo>
                                <a:cubicBezTo>
                                  <a:pt x="309801" y="70033"/>
                                  <a:pt x="312064" y="65515"/>
                                  <a:pt x="314326" y="63256"/>
                                </a:cubicBezTo>
                                <a:cubicBezTo>
                                  <a:pt x="314326" y="67774"/>
                                  <a:pt x="318850" y="65515"/>
                                  <a:pt x="318850" y="63256"/>
                                </a:cubicBezTo>
                                <a:lnTo>
                                  <a:pt x="314326" y="63256"/>
                                </a:lnTo>
                                <a:lnTo>
                                  <a:pt x="312064" y="63256"/>
                                </a:lnTo>
                                <a:cubicBezTo>
                                  <a:pt x="312064" y="60997"/>
                                  <a:pt x="312064" y="49701"/>
                                  <a:pt x="314326" y="49701"/>
                                </a:cubicBezTo>
                                <a:cubicBezTo>
                                  <a:pt x="314326" y="51960"/>
                                  <a:pt x="316588" y="51960"/>
                                  <a:pt x="316588" y="54219"/>
                                </a:cubicBezTo>
                                <a:cubicBezTo>
                                  <a:pt x="318850" y="51960"/>
                                  <a:pt x="318850" y="49701"/>
                                  <a:pt x="321112" y="47442"/>
                                </a:cubicBezTo>
                                <a:cubicBezTo>
                                  <a:pt x="316588" y="49701"/>
                                  <a:pt x="316588" y="47442"/>
                                  <a:pt x="318850" y="47442"/>
                                </a:cubicBezTo>
                                <a:cubicBezTo>
                                  <a:pt x="318850" y="45183"/>
                                  <a:pt x="321112" y="45183"/>
                                  <a:pt x="323374" y="45183"/>
                                </a:cubicBezTo>
                                <a:cubicBezTo>
                                  <a:pt x="318850" y="45183"/>
                                  <a:pt x="321112" y="42924"/>
                                  <a:pt x="323374" y="42924"/>
                                </a:cubicBezTo>
                                <a:cubicBezTo>
                                  <a:pt x="321112" y="45183"/>
                                  <a:pt x="316588" y="40664"/>
                                  <a:pt x="318850" y="45183"/>
                                </a:cubicBezTo>
                                <a:cubicBezTo>
                                  <a:pt x="316588" y="42924"/>
                                  <a:pt x="316588" y="42924"/>
                                  <a:pt x="314326" y="40664"/>
                                </a:cubicBezTo>
                                <a:cubicBezTo>
                                  <a:pt x="314326" y="42924"/>
                                  <a:pt x="316588" y="49701"/>
                                  <a:pt x="312064" y="47442"/>
                                </a:cubicBezTo>
                                <a:cubicBezTo>
                                  <a:pt x="314326" y="40664"/>
                                  <a:pt x="309801" y="36146"/>
                                  <a:pt x="309801" y="29369"/>
                                </a:cubicBezTo>
                                <a:cubicBezTo>
                                  <a:pt x="312064" y="24850"/>
                                  <a:pt x="316588" y="24850"/>
                                  <a:pt x="316588" y="20332"/>
                                </a:cubicBezTo>
                                <a:cubicBezTo>
                                  <a:pt x="316588" y="24850"/>
                                  <a:pt x="312064" y="24850"/>
                                  <a:pt x="309801" y="27110"/>
                                </a:cubicBezTo>
                                <a:cubicBezTo>
                                  <a:pt x="309801" y="24850"/>
                                  <a:pt x="309801" y="22591"/>
                                  <a:pt x="309801" y="18073"/>
                                </a:cubicBezTo>
                                <a:cubicBezTo>
                                  <a:pt x="314326" y="20332"/>
                                  <a:pt x="314326" y="11296"/>
                                  <a:pt x="312064" y="6777"/>
                                </a:cubicBezTo>
                                <a:cubicBezTo>
                                  <a:pt x="312064" y="6777"/>
                                  <a:pt x="312064" y="4518"/>
                                  <a:pt x="312064" y="2259"/>
                                </a:cubicBezTo>
                                <a:cubicBezTo>
                                  <a:pt x="312064" y="0"/>
                                  <a:pt x="316588" y="0"/>
                                  <a:pt x="318850" y="0"/>
                                </a:cubicBezTo>
                                <a:close/>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222" name="Malaysia">
                            <a:extLst>
                              <a:ext uri="{FF2B5EF4-FFF2-40B4-BE49-F238E27FC236}">
                                <a16:creationId xmlns:a16="http://schemas.microsoft.com/office/drawing/2014/main" id="{A55B949C-6824-5759-D780-96EE38A91C04}"/>
                              </a:ext>
                            </a:extLst>
                          </p:cNvPr>
                          <p:cNvSpPr>
                            <a:spLocks/>
                          </p:cNvSpPr>
                          <p:nvPr/>
                        </p:nvSpPr>
                        <p:spPr bwMode="auto">
                          <a:xfrm>
                            <a:off x="5988046" y="3163596"/>
                            <a:ext cx="442869" cy="159258"/>
                          </a:xfrm>
                          <a:custGeom>
                            <a:avLst/>
                            <a:gdLst>
                              <a:gd name="connsiteX0" fmla="*/ 191690 w 434579"/>
                              <a:gd name="connsiteY0" fmla="*/ 106412 h 156277"/>
                              <a:gd name="connsiteX1" fmla="*/ 194071 w 434579"/>
                              <a:gd name="connsiteY1" fmla="*/ 107603 h 156277"/>
                              <a:gd name="connsiteX2" fmla="*/ 191690 w 434579"/>
                              <a:gd name="connsiteY2" fmla="*/ 107603 h 156277"/>
                              <a:gd name="connsiteX3" fmla="*/ 177165 w 434579"/>
                              <a:gd name="connsiteY3" fmla="*/ 87091 h 156277"/>
                              <a:gd name="connsiteX4" fmla="*/ 177998 w 434579"/>
                              <a:gd name="connsiteY4" fmla="*/ 87533 h 156277"/>
                              <a:gd name="connsiteX5" fmla="*/ 175915 w 434579"/>
                              <a:gd name="connsiteY5" fmla="*/ 89744 h 156277"/>
                              <a:gd name="connsiteX6" fmla="*/ 176175 w 434579"/>
                              <a:gd name="connsiteY6" fmla="*/ 78135 h 156277"/>
                              <a:gd name="connsiteX7" fmla="*/ 180082 w 434579"/>
                              <a:gd name="connsiteY7" fmla="*/ 80899 h 156277"/>
                              <a:gd name="connsiteX8" fmla="*/ 177165 w 434579"/>
                              <a:gd name="connsiteY8" fmla="*/ 87091 h 156277"/>
                              <a:gd name="connsiteX9" fmla="*/ 173831 w 434579"/>
                              <a:gd name="connsiteY9" fmla="*/ 85322 h 156277"/>
                              <a:gd name="connsiteX10" fmla="*/ 176175 w 434579"/>
                              <a:gd name="connsiteY10" fmla="*/ 78135 h 156277"/>
                              <a:gd name="connsiteX11" fmla="*/ 434579 w 434579"/>
                              <a:gd name="connsiteY11" fmla="*/ 49261 h 156277"/>
                              <a:gd name="connsiteX12" fmla="*/ 428328 w 434579"/>
                              <a:gd name="connsiteY12" fmla="*/ 56405 h 156277"/>
                              <a:gd name="connsiteX13" fmla="*/ 430412 w 434579"/>
                              <a:gd name="connsiteY13" fmla="*/ 51643 h 156277"/>
                              <a:gd name="connsiteX14" fmla="*/ 434579 w 434579"/>
                              <a:gd name="connsiteY14" fmla="*/ 49261 h 156277"/>
                              <a:gd name="connsiteX15" fmla="*/ 4762 w 434579"/>
                              <a:gd name="connsiteY15" fmla="*/ 46880 h 156277"/>
                              <a:gd name="connsiteX16" fmla="*/ 2381 w 434579"/>
                              <a:gd name="connsiteY16" fmla="*/ 49262 h 156277"/>
                              <a:gd name="connsiteX17" fmla="*/ 4762 w 434579"/>
                              <a:gd name="connsiteY17" fmla="*/ 46880 h 156277"/>
                              <a:gd name="connsiteX18" fmla="*/ 2296 w 434579"/>
                              <a:gd name="connsiteY18" fmla="*/ 14635 h 156277"/>
                              <a:gd name="connsiteX19" fmla="*/ 6888 w 434579"/>
                              <a:gd name="connsiteY19" fmla="*/ 19199 h 156277"/>
                              <a:gd name="connsiteX20" fmla="*/ 13777 w 434579"/>
                              <a:gd name="connsiteY20" fmla="*/ 19199 h 156277"/>
                              <a:gd name="connsiteX21" fmla="*/ 16073 w 434579"/>
                              <a:gd name="connsiteY21" fmla="*/ 23763 h 156277"/>
                              <a:gd name="connsiteX22" fmla="*/ 22962 w 434579"/>
                              <a:gd name="connsiteY22" fmla="*/ 32891 h 156277"/>
                              <a:gd name="connsiteX23" fmla="*/ 25258 w 434579"/>
                              <a:gd name="connsiteY23" fmla="*/ 39737 h 156277"/>
                              <a:gd name="connsiteX24" fmla="*/ 32147 w 434579"/>
                              <a:gd name="connsiteY24" fmla="*/ 35173 h 156277"/>
                              <a:gd name="connsiteX25" fmla="*/ 36739 w 434579"/>
                              <a:gd name="connsiteY25" fmla="*/ 37455 h 156277"/>
                              <a:gd name="connsiteX26" fmla="*/ 41332 w 434579"/>
                              <a:gd name="connsiteY26" fmla="*/ 26045 h 156277"/>
                              <a:gd name="connsiteX27" fmla="*/ 50516 w 434579"/>
                              <a:gd name="connsiteY27" fmla="*/ 30609 h 156277"/>
                              <a:gd name="connsiteX28" fmla="*/ 55109 w 434579"/>
                              <a:gd name="connsiteY28" fmla="*/ 37455 h 156277"/>
                              <a:gd name="connsiteX29" fmla="*/ 68886 w 434579"/>
                              <a:gd name="connsiteY29" fmla="*/ 53430 h 156277"/>
                              <a:gd name="connsiteX30" fmla="*/ 75775 w 434579"/>
                              <a:gd name="connsiteY30" fmla="*/ 73968 h 156277"/>
                              <a:gd name="connsiteX31" fmla="*/ 73479 w 434579"/>
                              <a:gd name="connsiteY31" fmla="*/ 83096 h 156277"/>
                              <a:gd name="connsiteX32" fmla="*/ 75775 w 434579"/>
                              <a:gd name="connsiteY32" fmla="*/ 92224 h 156277"/>
                              <a:gd name="connsiteX33" fmla="*/ 78071 w 434579"/>
                              <a:gd name="connsiteY33" fmla="*/ 110481 h 156277"/>
                              <a:gd name="connsiteX34" fmla="*/ 87256 w 434579"/>
                              <a:gd name="connsiteY34" fmla="*/ 121891 h 156277"/>
                              <a:gd name="connsiteX35" fmla="*/ 94145 w 434579"/>
                              <a:gd name="connsiteY35" fmla="*/ 140147 h 156277"/>
                              <a:gd name="connsiteX36" fmla="*/ 91848 w 434579"/>
                              <a:gd name="connsiteY36" fmla="*/ 140147 h 156277"/>
                              <a:gd name="connsiteX37" fmla="*/ 87256 w 434579"/>
                              <a:gd name="connsiteY37" fmla="*/ 137865 h 156277"/>
                              <a:gd name="connsiteX38" fmla="*/ 87256 w 434579"/>
                              <a:gd name="connsiteY38" fmla="*/ 142429 h 156277"/>
                              <a:gd name="connsiteX39" fmla="*/ 78071 w 434579"/>
                              <a:gd name="connsiteY39" fmla="*/ 146993 h 156277"/>
                              <a:gd name="connsiteX40" fmla="*/ 59701 w 434579"/>
                              <a:gd name="connsiteY40" fmla="*/ 133301 h 156277"/>
                              <a:gd name="connsiteX41" fmla="*/ 57405 w 434579"/>
                              <a:gd name="connsiteY41" fmla="*/ 128737 h 156277"/>
                              <a:gd name="connsiteX42" fmla="*/ 48220 w 434579"/>
                              <a:gd name="connsiteY42" fmla="*/ 124173 h 156277"/>
                              <a:gd name="connsiteX43" fmla="*/ 41332 w 434579"/>
                              <a:gd name="connsiteY43" fmla="*/ 117327 h 156277"/>
                              <a:gd name="connsiteX44" fmla="*/ 36739 w 434579"/>
                              <a:gd name="connsiteY44" fmla="*/ 115045 h 156277"/>
                              <a:gd name="connsiteX45" fmla="*/ 29851 w 434579"/>
                              <a:gd name="connsiteY45" fmla="*/ 110481 h 156277"/>
                              <a:gd name="connsiteX46" fmla="*/ 29851 w 434579"/>
                              <a:gd name="connsiteY46" fmla="*/ 105916 h 156277"/>
                              <a:gd name="connsiteX47" fmla="*/ 29851 w 434579"/>
                              <a:gd name="connsiteY47" fmla="*/ 99070 h 156277"/>
                              <a:gd name="connsiteX48" fmla="*/ 18369 w 434579"/>
                              <a:gd name="connsiteY48" fmla="*/ 85378 h 156277"/>
                              <a:gd name="connsiteX49" fmla="*/ 18369 w 434579"/>
                              <a:gd name="connsiteY49" fmla="*/ 80814 h 156277"/>
                              <a:gd name="connsiteX50" fmla="*/ 13777 w 434579"/>
                              <a:gd name="connsiteY50" fmla="*/ 71686 h 156277"/>
                              <a:gd name="connsiteX51" fmla="*/ 9185 w 434579"/>
                              <a:gd name="connsiteY51" fmla="*/ 55712 h 156277"/>
                              <a:gd name="connsiteX52" fmla="*/ 6888 w 434579"/>
                              <a:gd name="connsiteY52" fmla="*/ 37455 h 156277"/>
                              <a:gd name="connsiteX53" fmla="*/ 0 w 434579"/>
                              <a:gd name="connsiteY53" fmla="*/ 21481 h 156277"/>
                              <a:gd name="connsiteX54" fmla="*/ 2296 w 434579"/>
                              <a:gd name="connsiteY54" fmla="*/ 14635 h 156277"/>
                              <a:gd name="connsiteX55" fmla="*/ 359672 w 434579"/>
                              <a:gd name="connsiteY55" fmla="*/ 7590 h 156277"/>
                              <a:gd name="connsiteX56" fmla="*/ 359672 w 434579"/>
                              <a:gd name="connsiteY56" fmla="*/ 16682 h 156277"/>
                              <a:gd name="connsiteX57" fmla="*/ 366505 w 434579"/>
                              <a:gd name="connsiteY57" fmla="*/ 7590 h 156277"/>
                              <a:gd name="connsiteX58" fmla="*/ 375616 w 434579"/>
                              <a:gd name="connsiteY58" fmla="*/ 16682 h 156277"/>
                              <a:gd name="connsiteX59" fmla="*/ 380172 w 434579"/>
                              <a:gd name="connsiteY59" fmla="*/ 23501 h 156277"/>
                              <a:gd name="connsiteX60" fmla="*/ 377894 w 434579"/>
                              <a:gd name="connsiteY60" fmla="*/ 28047 h 156277"/>
                              <a:gd name="connsiteX61" fmla="*/ 373339 w 434579"/>
                              <a:gd name="connsiteY61" fmla="*/ 34866 h 156277"/>
                              <a:gd name="connsiteX62" fmla="*/ 377894 w 434579"/>
                              <a:gd name="connsiteY62" fmla="*/ 34866 h 156277"/>
                              <a:gd name="connsiteX63" fmla="*/ 380172 w 434579"/>
                              <a:gd name="connsiteY63" fmla="*/ 34866 h 156277"/>
                              <a:gd name="connsiteX64" fmla="*/ 387005 w 434579"/>
                              <a:gd name="connsiteY64" fmla="*/ 30320 h 156277"/>
                              <a:gd name="connsiteX65" fmla="*/ 384727 w 434579"/>
                              <a:gd name="connsiteY65" fmla="*/ 37139 h 156277"/>
                              <a:gd name="connsiteX66" fmla="*/ 391560 w 434579"/>
                              <a:gd name="connsiteY66" fmla="*/ 37139 h 156277"/>
                              <a:gd name="connsiteX67" fmla="*/ 398394 w 434579"/>
                              <a:gd name="connsiteY67" fmla="*/ 41685 h 156277"/>
                              <a:gd name="connsiteX68" fmla="*/ 407505 w 434579"/>
                              <a:gd name="connsiteY68" fmla="*/ 46231 h 156277"/>
                              <a:gd name="connsiteX69" fmla="*/ 414338 w 434579"/>
                              <a:gd name="connsiteY69" fmla="*/ 48504 h 156277"/>
                              <a:gd name="connsiteX70" fmla="*/ 400671 w 434579"/>
                              <a:gd name="connsiteY70" fmla="*/ 57596 h 156277"/>
                              <a:gd name="connsiteX71" fmla="*/ 391560 w 434579"/>
                              <a:gd name="connsiteY71" fmla="*/ 59869 h 156277"/>
                              <a:gd name="connsiteX72" fmla="*/ 398394 w 434579"/>
                              <a:gd name="connsiteY72" fmla="*/ 68962 h 156277"/>
                              <a:gd name="connsiteX73" fmla="*/ 400671 w 434579"/>
                              <a:gd name="connsiteY73" fmla="*/ 71235 h 156277"/>
                              <a:gd name="connsiteX74" fmla="*/ 393838 w 434579"/>
                              <a:gd name="connsiteY74" fmla="*/ 73508 h 156277"/>
                              <a:gd name="connsiteX75" fmla="*/ 380172 w 434579"/>
                              <a:gd name="connsiteY75" fmla="*/ 71235 h 156277"/>
                              <a:gd name="connsiteX76" fmla="*/ 380172 w 434579"/>
                              <a:gd name="connsiteY76" fmla="*/ 74386 h 156277"/>
                              <a:gd name="connsiteX77" fmla="*/ 386953 w 434579"/>
                              <a:gd name="connsiteY77" fmla="*/ 76646 h 156277"/>
                              <a:gd name="connsiteX78" fmla="*/ 382190 w 434579"/>
                              <a:gd name="connsiteY78" fmla="*/ 76646 h 156277"/>
                              <a:gd name="connsiteX79" fmla="*/ 380172 w 434579"/>
                              <a:gd name="connsiteY79" fmla="*/ 74628 h 156277"/>
                              <a:gd name="connsiteX80" fmla="*/ 380172 w 434579"/>
                              <a:gd name="connsiteY80" fmla="*/ 75781 h 156277"/>
                              <a:gd name="connsiteX81" fmla="*/ 371061 w 434579"/>
                              <a:gd name="connsiteY81" fmla="*/ 73508 h 156277"/>
                              <a:gd name="connsiteX82" fmla="*/ 366505 w 434579"/>
                              <a:gd name="connsiteY82" fmla="*/ 73508 h 156277"/>
                              <a:gd name="connsiteX83" fmla="*/ 357395 w 434579"/>
                              <a:gd name="connsiteY83" fmla="*/ 71235 h 156277"/>
                              <a:gd name="connsiteX84" fmla="*/ 352839 w 434579"/>
                              <a:gd name="connsiteY84" fmla="*/ 71235 h 156277"/>
                              <a:gd name="connsiteX85" fmla="*/ 350561 w 434579"/>
                              <a:gd name="connsiteY85" fmla="*/ 71235 h 156277"/>
                              <a:gd name="connsiteX86" fmla="*/ 341450 w 434579"/>
                              <a:gd name="connsiteY86" fmla="*/ 71235 h 156277"/>
                              <a:gd name="connsiteX87" fmla="*/ 339173 w 434579"/>
                              <a:gd name="connsiteY87" fmla="*/ 75781 h 156277"/>
                              <a:gd name="connsiteX88" fmla="*/ 336895 w 434579"/>
                              <a:gd name="connsiteY88" fmla="*/ 84873 h 156277"/>
                              <a:gd name="connsiteX89" fmla="*/ 336895 w 434579"/>
                              <a:gd name="connsiteY89" fmla="*/ 91692 h 156277"/>
                              <a:gd name="connsiteX90" fmla="*/ 334617 w 434579"/>
                              <a:gd name="connsiteY90" fmla="*/ 96238 h 156277"/>
                              <a:gd name="connsiteX91" fmla="*/ 330062 w 434579"/>
                              <a:gd name="connsiteY91" fmla="*/ 105330 h 156277"/>
                              <a:gd name="connsiteX92" fmla="*/ 330062 w 434579"/>
                              <a:gd name="connsiteY92" fmla="*/ 116695 h 156277"/>
                              <a:gd name="connsiteX93" fmla="*/ 320951 w 434579"/>
                              <a:gd name="connsiteY93" fmla="*/ 128060 h 156277"/>
                              <a:gd name="connsiteX94" fmla="*/ 316395 w 434579"/>
                              <a:gd name="connsiteY94" fmla="*/ 141698 h 156277"/>
                              <a:gd name="connsiteX95" fmla="*/ 309562 w 434579"/>
                              <a:gd name="connsiteY95" fmla="*/ 141698 h 156277"/>
                              <a:gd name="connsiteX96" fmla="*/ 305007 w 434579"/>
                              <a:gd name="connsiteY96" fmla="*/ 143971 h 156277"/>
                              <a:gd name="connsiteX97" fmla="*/ 302729 w 434579"/>
                              <a:gd name="connsiteY97" fmla="*/ 143971 h 156277"/>
                              <a:gd name="connsiteX98" fmla="*/ 293618 w 434579"/>
                              <a:gd name="connsiteY98" fmla="*/ 146244 h 156277"/>
                              <a:gd name="connsiteX99" fmla="*/ 282230 w 434579"/>
                              <a:gd name="connsiteY99" fmla="*/ 141698 h 156277"/>
                              <a:gd name="connsiteX100" fmla="*/ 266285 w 434579"/>
                              <a:gd name="connsiteY100" fmla="*/ 143971 h 156277"/>
                              <a:gd name="connsiteX101" fmla="*/ 264008 w 434579"/>
                              <a:gd name="connsiteY101" fmla="*/ 150790 h 156277"/>
                              <a:gd name="connsiteX102" fmla="*/ 257175 w 434579"/>
                              <a:gd name="connsiteY102" fmla="*/ 153063 h 156277"/>
                              <a:gd name="connsiteX103" fmla="*/ 245786 w 434579"/>
                              <a:gd name="connsiteY103" fmla="*/ 153063 h 156277"/>
                              <a:gd name="connsiteX104" fmla="*/ 234397 w 434579"/>
                              <a:gd name="connsiteY104" fmla="*/ 155336 h 156277"/>
                              <a:gd name="connsiteX105" fmla="*/ 225286 w 434579"/>
                              <a:gd name="connsiteY105" fmla="*/ 153063 h 156277"/>
                              <a:gd name="connsiteX106" fmla="*/ 220731 w 434579"/>
                              <a:gd name="connsiteY106" fmla="*/ 148517 h 156277"/>
                              <a:gd name="connsiteX107" fmla="*/ 211620 w 434579"/>
                              <a:gd name="connsiteY107" fmla="*/ 141698 h 156277"/>
                              <a:gd name="connsiteX108" fmla="*/ 209342 w 434579"/>
                              <a:gd name="connsiteY108" fmla="*/ 134879 h 156277"/>
                              <a:gd name="connsiteX109" fmla="*/ 209342 w 434579"/>
                              <a:gd name="connsiteY109" fmla="*/ 128060 h 156277"/>
                              <a:gd name="connsiteX110" fmla="*/ 225286 w 434579"/>
                              <a:gd name="connsiteY110" fmla="*/ 134879 h 156277"/>
                              <a:gd name="connsiteX111" fmla="*/ 227564 w 434579"/>
                              <a:gd name="connsiteY111" fmla="*/ 137152 h 156277"/>
                              <a:gd name="connsiteX112" fmla="*/ 232119 w 434579"/>
                              <a:gd name="connsiteY112" fmla="*/ 141698 h 156277"/>
                              <a:gd name="connsiteX113" fmla="*/ 234397 w 434579"/>
                              <a:gd name="connsiteY113" fmla="*/ 141698 h 156277"/>
                              <a:gd name="connsiteX114" fmla="*/ 238953 w 434579"/>
                              <a:gd name="connsiteY114" fmla="*/ 141698 h 156277"/>
                              <a:gd name="connsiteX115" fmla="*/ 248064 w 434579"/>
                              <a:gd name="connsiteY115" fmla="*/ 146244 h 156277"/>
                              <a:gd name="connsiteX116" fmla="*/ 238953 w 434579"/>
                              <a:gd name="connsiteY116" fmla="*/ 141698 h 156277"/>
                              <a:gd name="connsiteX117" fmla="*/ 243508 w 434579"/>
                              <a:gd name="connsiteY117" fmla="*/ 137152 h 156277"/>
                              <a:gd name="connsiteX118" fmla="*/ 241230 w 434579"/>
                              <a:gd name="connsiteY118" fmla="*/ 132606 h 156277"/>
                              <a:gd name="connsiteX119" fmla="*/ 243508 w 434579"/>
                              <a:gd name="connsiteY119" fmla="*/ 128060 h 156277"/>
                              <a:gd name="connsiteX120" fmla="*/ 245786 w 434579"/>
                              <a:gd name="connsiteY120" fmla="*/ 125787 h 156277"/>
                              <a:gd name="connsiteX121" fmla="*/ 243508 w 434579"/>
                              <a:gd name="connsiteY121" fmla="*/ 125787 h 156277"/>
                              <a:gd name="connsiteX122" fmla="*/ 243508 w 434579"/>
                              <a:gd name="connsiteY122" fmla="*/ 118968 h 156277"/>
                              <a:gd name="connsiteX123" fmla="*/ 248064 w 434579"/>
                              <a:gd name="connsiteY123" fmla="*/ 121241 h 156277"/>
                              <a:gd name="connsiteX124" fmla="*/ 248138 w 434579"/>
                              <a:gd name="connsiteY124" fmla="*/ 118806 h 156277"/>
                              <a:gd name="connsiteX125" fmla="*/ 246459 w 434579"/>
                              <a:gd name="connsiteY125" fmla="*/ 117128 h 156277"/>
                              <a:gd name="connsiteX126" fmla="*/ 246459 w 434579"/>
                              <a:gd name="connsiteY126" fmla="*/ 109984 h 156277"/>
                              <a:gd name="connsiteX127" fmla="*/ 248195 w 434579"/>
                              <a:gd name="connsiteY127" fmla="*/ 116925 h 156277"/>
                              <a:gd name="connsiteX128" fmla="*/ 248348 w 434579"/>
                              <a:gd name="connsiteY128" fmla="*/ 111865 h 156277"/>
                              <a:gd name="connsiteX129" fmla="*/ 257175 w 434579"/>
                              <a:gd name="connsiteY129" fmla="*/ 107603 h 156277"/>
                              <a:gd name="connsiteX130" fmla="*/ 279952 w 434579"/>
                              <a:gd name="connsiteY130" fmla="*/ 100784 h 156277"/>
                              <a:gd name="connsiteX131" fmla="*/ 291340 w 434579"/>
                              <a:gd name="connsiteY131" fmla="*/ 84873 h 156277"/>
                              <a:gd name="connsiteX132" fmla="*/ 300451 w 434579"/>
                              <a:gd name="connsiteY132" fmla="*/ 66689 h 156277"/>
                              <a:gd name="connsiteX133" fmla="*/ 307285 w 434579"/>
                              <a:gd name="connsiteY133" fmla="*/ 71235 h 156277"/>
                              <a:gd name="connsiteX134" fmla="*/ 316395 w 434579"/>
                              <a:gd name="connsiteY134" fmla="*/ 80327 h 156277"/>
                              <a:gd name="connsiteX135" fmla="*/ 318673 w 434579"/>
                              <a:gd name="connsiteY135" fmla="*/ 66689 h 156277"/>
                              <a:gd name="connsiteX136" fmla="*/ 323229 w 434579"/>
                              <a:gd name="connsiteY136" fmla="*/ 57596 h 156277"/>
                              <a:gd name="connsiteX137" fmla="*/ 330062 w 434579"/>
                              <a:gd name="connsiteY137" fmla="*/ 71235 h 156277"/>
                              <a:gd name="connsiteX138" fmla="*/ 327784 w 434579"/>
                              <a:gd name="connsiteY138" fmla="*/ 59869 h 156277"/>
                              <a:gd name="connsiteX139" fmla="*/ 327784 w 434579"/>
                              <a:gd name="connsiteY139" fmla="*/ 57596 h 156277"/>
                              <a:gd name="connsiteX140" fmla="*/ 330062 w 434579"/>
                              <a:gd name="connsiteY140" fmla="*/ 57596 h 156277"/>
                              <a:gd name="connsiteX141" fmla="*/ 332340 w 434579"/>
                              <a:gd name="connsiteY141" fmla="*/ 50777 h 156277"/>
                              <a:gd name="connsiteX142" fmla="*/ 334617 w 434579"/>
                              <a:gd name="connsiteY142" fmla="*/ 41685 h 156277"/>
                              <a:gd name="connsiteX143" fmla="*/ 341450 w 434579"/>
                              <a:gd name="connsiteY143" fmla="*/ 39412 h 156277"/>
                              <a:gd name="connsiteX144" fmla="*/ 346006 w 434579"/>
                              <a:gd name="connsiteY144" fmla="*/ 28047 h 156277"/>
                              <a:gd name="connsiteX145" fmla="*/ 348284 w 434579"/>
                              <a:gd name="connsiteY145" fmla="*/ 25774 h 156277"/>
                              <a:gd name="connsiteX146" fmla="*/ 352839 w 434579"/>
                              <a:gd name="connsiteY146" fmla="*/ 18955 h 156277"/>
                              <a:gd name="connsiteX147" fmla="*/ 359672 w 434579"/>
                              <a:gd name="connsiteY147" fmla="*/ 7590 h 156277"/>
                              <a:gd name="connsiteX148" fmla="*/ 367011 w 434579"/>
                              <a:gd name="connsiteY148" fmla="*/ 1041 h 156277"/>
                              <a:gd name="connsiteX149" fmla="*/ 364332 w 434579"/>
                              <a:gd name="connsiteY149" fmla="*/ 4018 h 156277"/>
                              <a:gd name="connsiteX150" fmla="*/ 364332 w 434579"/>
                              <a:gd name="connsiteY150" fmla="*/ 1637 h 156277"/>
                              <a:gd name="connsiteX151" fmla="*/ 367011 w 434579"/>
                              <a:gd name="connsiteY151" fmla="*/ 1041 h 156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434579" h="156277">
                                <a:moveTo>
                                  <a:pt x="191690" y="106412"/>
                                </a:moveTo>
                                <a:lnTo>
                                  <a:pt x="194071" y="107603"/>
                                </a:lnTo>
                                <a:lnTo>
                                  <a:pt x="191690" y="107603"/>
                                </a:lnTo>
                                <a:close/>
                                <a:moveTo>
                                  <a:pt x="177165" y="87091"/>
                                </a:moveTo>
                                <a:lnTo>
                                  <a:pt x="177998" y="87533"/>
                                </a:lnTo>
                                <a:cubicBezTo>
                                  <a:pt x="177998" y="85322"/>
                                  <a:pt x="175915" y="87533"/>
                                  <a:pt x="175915" y="89744"/>
                                </a:cubicBezTo>
                                <a:close/>
                                <a:moveTo>
                                  <a:pt x="176175" y="78135"/>
                                </a:moveTo>
                                <a:cubicBezTo>
                                  <a:pt x="177477" y="77029"/>
                                  <a:pt x="179040" y="77582"/>
                                  <a:pt x="180082" y="80899"/>
                                </a:cubicBezTo>
                                <a:lnTo>
                                  <a:pt x="177165" y="87091"/>
                                </a:lnTo>
                                <a:lnTo>
                                  <a:pt x="173831" y="85322"/>
                                </a:lnTo>
                                <a:cubicBezTo>
                                  <a:pt x="173831" y="82005"/>
                                  <a:pt x="174873" y="79241"/>
                                  <a:pt x="176175" y="78135"/>
                                </a:cubicBezTo>
                                <a:close/>
                                <a:moveTo>
                                  <a:pt x="434579" y="49261"/>
                                </a:moveTo>
                                <a:cubicBezTo>
                                  <a:pt x="434579" y="51643"/>
                                  <a:pt x="428328" y="54024"/>
                                  <a:pt x="428328" y="56405"/>
                                </a:cubicBezTo>
                                <a:cubicBezTo>
                                  <a:pt x="426244" y="51643"/>
                                  <a:pt x="428328" y="51643"/>
                                  <a:pt x="430412" y="51643"/>
                                </a:cubicBezTo>
                                <a:cubicBezTo>
                                  <a:pt x="432495" y="49261"/>
                                  <a:pt x="434579" y="46880"/>
                                  <a:pt x="434579" y="49261"/>
                                </a:cubicBezTo>
                                <a:close/>
                                <a:moveTo>
                                  <a:pt x="4762" y="46880"/>
                                </a:moveTo>
                                <a:cubicBezTo>
                                  <a:pt x="7143" y="49262"/>
                                  <a:pt x="2381" y="54024"/>
                                  <a:pt x="2381" y="49262"/>
                                </a:cubicBezTo>
                                <a:cubicBezTo>
                                  <a:pt x="2381" y="46880"/>
                                  <a:pt x="2381" y="44499"/>
                                  <a:pt x="4762" y="46880"/>
                                </a:cubicBezTo>
                                <a:close/>
                                <a:moveTo>
                                  <a:pt x="2296" y="14635"/>
                                </a:moveTo>
                                <a:cubicBezTo>
                                  <a:pt x="2296" y="12353"/>
                                  <a:pt x="4592" y="16917"/>
                                  <a:pt x="6888" y="19199"/>
                                </a:cubicBezTo>
                                <a:cubicBezTo>
                                  <a:pt x="9185" y="19199"/>
                                  <a:pt x="11481" y="19199"/>
                                  <a:pt x="13777" y="19199"/>
                                </a:cubicBezTo>
                                <a:cubicBezTo>
                                  <a:pt x="16073" y="21481"/>
                                  <a:pt x="16073" y="23763"/>
                                  <a:pt x="16073" y="23763"/>
                                </a:cubicBezTo>
                                <a:cubicBezTo>
                                  <a:pt x="18369" y="26045"/>
                                  <a:pt x="25258" y="26045"/>
                                  <a:pt x="22962" y="32891"/>
                                </a:cubicBezTo>
                                <a:cubicBezTo>
                                  <a:pt x="20666" y="32891"/>
                                  <a:pt x="18369" y="42019"/>
                                  <a:pt x="25258" y="39737"/>
                                </a:cubicBezTo>
                                <a:cubicBezTo>
                                  <a:pt x="27554" y="39737"/>
                                  <a:pt x="27554" y="35173"/>
                                  <a:pt x="32147" y="35173"/>
                                </a:cubicBezTo>
                                <a:cubicBezTo>
                                  <a:pt x="34443" y="32891"/>
                                  <a:pt x="34443" y="39737"/>
                                  <a:pt x="36739" y="37455"/>
                                </a:cubicBezTo>
                                <a:cubicBezTo>
                                  <a:pt x="39035" y="37455"/>
                                  <a:pt x="45924" y="28327"/>
                                  <a:pt x="41332" y="26045"/>
                                </a:cubicBezTo>
                                <a:cubicBezTo>
                                  <a:pt x="43628" y="26045"/>
                                  <a:pt x="48220" y="28327"/>
                                  <a:pt x="50516" y="30609"/>
                                </a:cubicBezTo>
                                <a:cubicBezTo>
                                  <a:pt x="52813" y="32891"/>
                                  <a:pt x="52813" y="35173"/>
                                  <a:pt x="55109" y="37455"/>
                                </a:cubicBezTo>
                                <a:cubicBezTo>
                                  <a:pt x="61998" y="42019"/>
                                  <a:pt x="66590" y="46583"/>
                                  <a:pt x="68886" y="53430"/>
                                </a:cubicBezTo>
                                <a:cubicBezTo>
                                  <a:pt x="73479" y="60276"/>
                                  <a:pt x="75775" y="67122"/>
                                  <a:pt x="75775" y="73968"/>
                                </a:cubicBezTo>
                                <a:cubicBezTo>
                                  <a:pt x="75775" y="76250"/>
                                  <a:pt x="75775" y="80814"/>
                                  <a:pt x="73479" y="83096"/>
                                </a:cubicBezTo>
                                <a:cubicBezTo>
                                  <a:pt x="73479" y="87660"/>
                                  <a:pt x="73479" y="87660"/>
                                  <a:pt x="75775" y="92224"/>
                                </a:cubicBezTo>
                                <a:cubicBezTo>
                                  <a:pt x="78071" y="96788"/>
                                  <a:pt x="73479" y="103634"/>
                                  <a:pt x="78071" y="110481"/>
                                </a:cubicBezTo>
                                <a:cubicBezTo>
                                  <a:pt x="80367" y="115045"/>
                                  <a:pt x="84960" y="117327"/>
                                  <a:pt x="87256" y="121891"/>
                                </a:cubicBezTo>
                                <a:cubicBezTo>
                                  <a:pt x="89552" y="128737"/>
                                  <a:pt x="94145" y="133301"/>
                                  <a:pt x="94145" y="140147"/>
                                </a:cubicBezTo>
                                <a:cubicBezTo>
                                  <a:pt x="96441" y="149275"/>
                                  <a:pt x="87256" y="144711"/>
                                  <a:pt x="91848" y="140147"/>
                                </a:cubicBezTo>
                                <a:cubicBezTo>
                                  <a:pt x="89552" y="140147"/>
                                  <a:pt x="89552" y="140147"/>
                                  <a:pt x="87256" y="137865"/>
                                </a:cubicBezTo>
                                <a:cubicBezTo>
                                  <a:pt x="87256" y="140147"/>
                                  <a:pt x="89552" y="144711"/>
                                  <a:pt x="87256" y="142429"/>
                                </a:cubicBezTo>
                                <a:cubicBezTo>
                                  <a:pt x="84960" y="142429"/>
                                  <a:pt x="80367" y="144711"/>
                                  <a:pt x="78071" y="146993"/>
                                </a:cubicBezTo>
                                <a:cubicBezTo>
                                  <a:pt x="75775" y="137865"/>
                                  <a:pt x="66590" y="137865"/>
                                  <a:pt x="59701" y="133301"/>
                                </a:cubicBezTo>
                                <a:cubicBezTo>
                                  <a:pt x="59701" y="131019"/>
                                  <a:pt x="57405" y="128737"/>
                                  <a:pt x="57405" y="128737"/>
                                </a:cubicBezTo>
                                <a:cubicBezTo>
                                  <a:pt x="55109" y="126455"/>
                                  <a:pt x="50516" y="126455"/>
                                  <a:pt x="48220" y="124173"/>
                                </a:cubicBezTo>
                                <a:cubicBezTo>
                                  <a:pt x="45924" y="124173"/>
                                  <a:pt x="41332" y="119609"/>
                                  <a:pt x="41332" y="117327"/>
                                </a:cubicBezTo>
                                <a:cubicBezTo>
                                  <a:pt x="39035" y="115045"/>
                                  <a:pt x="39035" y="115045"/>
                                  <a:pt x="36739" y="115045"/>
                                </a:cubicBezTo>
                                <a:cubicBezTo>
                                  <a:pt x="34443" y="115045"/>
                                  <a:pt x="32147" y="110481"/>
                                  <a:pt x="29851" y="110481"/>
                                </a:cubicBezTo>
                                <a:cubicBezTo>
                                  <a:pt x="29851" y="108199"/>
                                  <a:pt x="29851" y="108199"/>
                                  <a:pt x="29851" y="105916"/>
                                </a:cubicBezTo>
                                <a:cubicBezTo>
                                  <a:pt x="32147" y="105916"/>
                                  <a:pt x="29851" y="101352"/>
                                  <a:pt x="29851" y="99070"/>
                                </a:cubicBezTo>
                                <a:cubicBezTo>
                                  <a:pt x="27554" y="94506"/>
                                  <a:pt x="20666" y="92224"/>
                                  <a:pt x="18369" y="85378"/>
                                </a:cubicBezTo>
                                <a:cubicBezTo>
                                  <a:pt x="18369" y="83096"/>
                                  <a:pt x="13777" y="83096"/>
                                  <a:pt x="18369" y="80814"/>
                                </a:cubicBezTo>
                                <a:cubicBezTo>
                                  <a:pt x="16073" y="80814"/>
                                  <a:pt x="11481" y="73968"/>
                                  <a:pt x="13777" y="71686"/>
                                </a:cubicBezTo>
                                <a:cubicBezTo>
                                  <a:pt x="13777" y="64840"/>
                                  <a:pt x="11481" y="60276"/>
                                  <a:pt x="9185" y="55712"/>
                                </a:cubicBezTo>
                                <a:cubicBezTo>
                                  <a:pt x="6888" y="53430"/>
                                  <a:pt x="6888" y="42019"/>
                                  <a:pt x="6888" y="37455"/>
                                </a:cubicBezTo>
                                <a:cubicBezTo>
                                  <a:pt x="6888" y="32891"/>
                                  <a:pt x="2296" y="26045"/>
                                  <a:pt x="0" y="21481"/>
                                </a:cubicBezTo>
                                <a:cubicBezTo>
                                  <a:pt x="2296" y="19199"/>
                                  <a:pt x="0" y="16917"/>
                                  <a:pt x="2296" y="14635"/>
                                </a:cubicBezTo>
                                <a:close/>
                                <a:moveTo>
                                  <a:pt x="359672" y="7590"/>
                                </a:moveTo>
                                <a:cubicBezTo>
                                  <a:pt x="361950" y="9863"/>
                                  <a:pt x="357395" y="14409"/>
                                  <a:pt x="359672" y="16682"/>
                                </a:cubicBezTo>
                                <a:cubicBezTo>
                                  <a:pt x="361950" y="16682"/>
                                  <a:pt x="364228" y="7590"/>
                                  <a:pt x="366505" y="7590"/>
                                </a:cubicBezTo>
                                <a:cubicBezTo>
                                  <a:pt x="366505" y="7590"/>
                                  <a:pt x="373339" y="23501"/>
                                  <a:pt x="375616" y="16682"/>
                                </a:cubicBezTo>
                                <a:cubicBezTo>
                                  <a:pt x="375616" y="18955"/>
                                  <a:pt x="380172" y="21228"/>
                                  <a:pt x="380172" y="23501"/>
                                </a:cubicBezTo>
                                <a:cubicBezTo>
                                  <a:pt x="380172" y="25774"/>
                                  <a:pt x="377894" y="25774"/>
                                  <a:pt x="377894" y="28047"/>
                                </a:cubicBezTo>
                                <a:cubicBezTo>
                                  <a:pt x="377894" y="32593"/>
                                  <a:pt x="377894" y="32593"/>
                                  <a:pt x="373339" y="34866"/>
                                </a:cubicBezTo>
                                <a:cubicBezTo>
                                  <a:pt x="375616" y="34866"/>
                                  <a:pt x="377894" y="34866"/>
                                  <a:pt x="377894" y="34866"/>
                                </a:cubicBezTo>
                                <a:cubicBezTo>
                                  <a:pt x="380172" y="34866"/>
                                  <a:pt x="380172" y="34866"/>
                                  <a:pt x="380172" y="34866"/>
                                </a:cubicBezTo>
                                <a:cubicBezTo>
                                  <a:pt x="382450" y="32593"/>
                                  <a:pt x="384727" y="30320"/>
                                  <a:pt x="387005" y="30320"/>
                                </a:cubicBezTo>
                                <a:cubicBezTo>
                                  <a:pt x="391560" y="32593"/>
                                  <a:pt x="387005" y="37139"/>
                                  <a:pt x="384727" y="37139"/>
                                </a:cubicBezTo>
                                <a:cubicBezTo>
                                  <a:pt x="384727" y="41685"/>
                                  <a:pt x="389283" y="37139"/>
                                  <a:pt x="391560" y="37139"/>
                                </a:cubicBezTo>
                                <a:cubicBezTo>
                                  <a:pt x="393838" y="34866"/>
                                  <a:pt x="398394" y="39412"/>
                                  <a:pt x="398394" y="41685"/>
                                </a:cubicBezTo>
                                <a:cubicBezTo>
                                  <a:pt x="400671" y="39412"/>
                                  <a:pt x="405227" y="43958"/>
                                  <a:pt x="407505" y="46231"/>
                                </a:cubicBezTo>
                                <a:cubicBezTo>
                                  <a:pt x="409782" y="43958"/>
                                  <a:pt x="414338" y="46231"/>
                                  <a:pt x="414338" y="48504"/>
                                </a:cubicBezTo>
                                <a:cubicBezTo>
                                  <a:pt x="414338" y="53050"/>
                                  <a:pt x="405227" y="57596"/>
                                  <a:pt x="400671" y="57596"/>
                                </a:cubicBezTo>
                                <a:cubicBezTo>
                                  <a:pt x="398394" y="57596"/>
                                  <a:pt x="389283" y="53050"/>
                                  <a:pt x="391560" y="59869"/>
                                </a:cubicBezTo>
                                <a:cubicBezTo>
                                  <a:pt x="391560" y="64416"/>
                                  <a:pt x="398394" y="64416"/>
                                  <a:pt x="398394" y="68962"/>
                                </a:cubicBezTo>
                                <a:cubicBezTo>
                                  <a:pt x="400671" y="66689"/>
                                  <a:pt x="402949" y="68962"/>
                                  <a:pt x="400671" y="71235"/>
                                </a:cubicBezTo>
                                <a:cubicBezTo>
                                  <a:pt x="400671" y="73508"/>
                                  <a:pt x="396116" y="73508"/>
                                  <a:pt x="393838" y="73508"/>
                                </a:cubicBezTo>
                                <a:cubicBezTo>
                                  <a:pt x="389283" y="73508"/>
                                  <a:pt x="384727" y="75781"/>
                                  <a:pt x="380172" y="71235"/>
                                </a:cubicBezTo>
                                <a:lnTo>
                                  <a:pt x="380172" y="74386"/>
                                </a:lnTo>
                                <a:lnTo>
                                  <a:pt x="386953" y="76646"/>
                                </a:lnTo>
                                <a:cubicBezTo>
                                  <a:pt x="384571" y="76646"/>
                                  <a:pt x="382190" y="76646"/>
                                  <a:pt x="382190" y="76646"/>
                                </a:cubicBezTo>
                                <a:lnTo>
                                  <a:pt x="380172" y="74628"/>
                                </a:lnTo>
                                <a:lnTo>
                                  <a:pt x="380172" y="75781"/>
                                </a:lnTo>
                                <a:cubicBezTo>
                                  <a:pt x="377894" y="78054"/>
                                  <a:pt x="373339" y="73508"/>
                                  <a:pt x="371061" y="73508"/>
                                </a:cubicBezTo>
                                <a:cubicBezTo>
                                  <a:pt x="371061" y="71235"/>
                                  <a:pt x="368783" y="71235"/>
                                  <a:pt x="366505" y="73508"/>
                                </a:cubicBezTo>
                                <a:cubicBezTo>
                                  <a:pt x="361950" y="73508"/>
                                  <a:pt x="359672" y="73508"/>
                                  <a:pt x="357395" y="71235"/>
                                </a:cubicBezTo>
                                <a:cubicBezTo>
                                  <a:pt x="357395" y="73508"/>
                                  <a:pt x="355117" y="73508"/>
                                  <a:pt x="352839" y="71235"/>
                                </a:cubicBezTo>
                                <a:cubicBezTo>
                                  <a:pt x="352839" y="71235"/>
                                  <a:pt x="350561" y="71235"/>
                                  <a:pt x="350561" y="71235"/>
                                </a:cubicBezTo>
                                <a:cubicBezTo>
                                  <a:pt x="346006" y="73508"/>
                                  <a:pt x="346006" y="71235"/>
                                  <a:pt x="341450" y="71235"/>
                                </a:cubicBezTo>
                                <a:cubicBezTo>
                                  <a:pt x="341450" y="73508"/>
                                  <a:pt x="339173" y="73508"/>
                                  <a:pt x="339173" y="75781"/>
                                </a:cubicBezTo>
                                <a:cubicBezTo>
                                  <a:pt x="336895" y="78054"/>
                                  <a:pt x="336895" y="80327"/>
                                  <a:pt x="336895" y="84873"/>
                                </a:cubicBezTo>
                                <a:cubicBezTo>
                                  <a:pt x="336895" y="84873"/>
                                  <a:pt x="336895" y="89419"/>
                                  <a:pt x="336895" y="91692"/>
                                </a:cubicBezTo>
                                <a:cubicBezTo>
                                  <a:pt x="336895" y="96238"/>
                                  <a:pt x="336895" y="93965"/>
                                  <a:pt x="334617" y="96238"/>
                                </a:cubicBezTo>
                                <a:cubicBezTo>
                                  <a:pt x="334617" y="103057"/>
                                  <a:pt x="336895" y="103057"/>
                                  <a:pt x="330062" y="105330"/>
                                </a:cubicBezTo>
                                <a:cubicBezTo>
                                  <a:pt x="325506" y="105330"/>
                                  <a:pt x="327784" y="114422"/>
                                  <a:pt x="330062" y="116695"/>
                                </a:cubicBezTo>
                                <a:cubicBezTo>
                                  <a:pt x="325506" y="116695"/>
                                  <a:pt x="318673" y="123514"/>
                                  <a:pt x="320951" y="128060"/>
                                </a:cubicBezTo>
                                <a:cubicBezTo>
                                  <a:pt x="323229" y="130333"/>
                                  <a:pt x="316395" y="139425"/>
                                  <a:pt x="316395" y="141698"/>
                                </a:cubicBezTo>
                                <a:cubicBezTo>
                                  <a:pt x="314118" y="141698"/>
                                  <a:pt x="314118" y="139425"/>
                                  <a:pt x="309562" y="141698"/>
                                </a:cubicBezTo>
                                <a:cubicBezTo>
                                  <a:pt x="307285" y="143971"/>
                                  <a:pt x="307285" y="143971"/>
                                  <a:pt x="305007" y="143971"/>
                                </a:cubicBezTo>
                                <a:cubicBezTo>
                                  <a:pt x="305007" y="141698"/>
                                  <a:pt x="305007" y="141698"/>
                                  <a:pt x="302729" y="143971"/>
                                </a:cubicBezTo>
                                <a:cubicBezTo>
                                  <a:pt x="300451" y="146244"/>
                                  <a:pt x="298174" y="148517"/>
                                  <a:pt x="293618" y="146244"/>
                                </a:cubicBezTo>
                                <a:cubicBezTo>
                                  <a:pt x="289063" y="146244"/>
                                  <a:pt x="284507" y="143971"/>
                                  <a:pt x="282230" y="141698"/>
                                </a:cubicBezTo>
                                <a:cubicBezTo>
                                  <a:pt x="279952" y="137152"/>
                                  <a:pt x="268563" y="139425"/>
                                  <a:pt x="266285" y="143971"/>
                                </a:cubicBezTo>
                                <a:cubicBezTo>
                                  <a:pt x="264008" y="143971"/>
                                  <a:pt x="264008" y="148517"/>
                                  <a:pt x="264008" y="150790"/>
                                </a:cubicBezTo>
                                <a:cubicBezTo>
                                  <a:pt x="257175" y="153063"/>
                                  <a:pt x="257175" y="153063"/>
                                  <a:pt x="257175" y="153063"/>
                                </a:cubicBezTo>
                                <a:cubicBezTo>
                                  <a:pt x="252619" y="155336"/>
                                  <a:pt x="248064" y="153063"/>
                                  <a:pt x="245786" y="153063"/>
                                </a:cubicBezTo>
                                <a:cubicBezTo>
                                  <a:pt x="241230" y="153063"/>
                                  <a:pt x="236675" y="155336"/>
                                  <a:pt x="234397" y="155336"/>
                                </a:cubicBezTo>
                                <a:cubicBezTo>
                                  <a:pt x="229842" y="157609"/>
                                  <a:pt x="227564" y="155336"/>
                                  <a:pt x="225286" y="153063"/>
                                </a:cubicBezTo>
                                <a:cubicBezTo>
                                  <a:pt x="223009" y="153063"/>
                                  <a:pt x="220731" y="148517"/>
                                  <a:pt x="220731" y="148517"/>
                                </a:cubicBezTo>
                                <a:cubicBezTo>
                                  <a:pt x="216175" y="146244"/>
                                  <a:pt x="213898" y="143971"/>
                                  <a:pt x="211620" y="141698"/>
                                </a:cubicBezTo>
                                <a:cubicBezTo>
                                  <a:pt x="211620" y="139425"/>
                                  <a:pt x="211620" y="134879"/>
                                  <a:pt x="209342" y="134879"/>
                                </a:cubicBezTo>
                                <a:cubicBezTo>
                                  <a:pt x="204787" y="132606"/>
                                  <a:pt x="209342" y="130333"/>
                                  <a:pt x="209342" y="128060"/>
                                </a:cubicBezTo>
                                <a:cubicBezTo>
                                  <a:pt x="209342" y="134879"/>
                                  <a:pt x="225286" y="141698"/>
                                  <a:pt x="225286" y="134879"/>
                                </a:cubicBezTo>
                                <a:cubicBezTo>
                                  <a:pt x="225286" y="134879"/>
                                  <a:pt x="227564" y="137152"/>
                                  <a:pt x="227564" y="137152"/>
                                </a:cubicBezTo>
                                <a:cubicBezTo>
                                  <a:pt x="227564" y="139425"/>
                                  <a:pt x="232119" y="139425"/>
                                  <a:pt x="232119" y="141698"/>
                                </a:cubicBezTo>
                                <a:cubicBezTo>
                                  <a:pt x="234397" y="141698"/>
                                  <a:pt x="234397" y="141698"/>
                                  <a:pt x="234397" y="141698"/>
                                </a:cubicBezTo>
                                <a:cubicBezTo>
                                  <a:pt x="236675" y="141698"/>
                                  <a:pt x="236675" y="141698"/>
                                  <a:pt x="238953" y="141698"/>
                                </a:cubicBezTo>
                                <a:cubicBezTo>
                                  <a:pt x="241230" y="143971"/>
                                  <a:pt x="243508" y="143971"/>
                                  <a:pt x="248064" y="146244"/>
                                </a:cubicBezTo>
                                <a:cubicBezTo>
                                  <a:pt x="245786" y="141698"/>
                                  <a:pt x="241230" y="143971"/>
                                  <a:pt x="238953" y="141698"/>
                                </a:cubicBezTo>
                                <a:cubicBezTo>
                                  <a:pt x="238953" y="137152"/>
                                  <a:pt x="241230" y="134879"/>
                                  <a:pt x="243508" y="137152"/>
                                </a:cubicBezTo>
                                <a:cubicBezTo>
                                  <a:pt x="241230" y="137152"/>
                                  <a:pt x="241230" y="134879"/>
                                  <a:pt x="241230" y="132606"/>
                                </a:cubicBezTo>
                                <a:cubicBezTo>
                                  <a:pt x="241230" y="130333"/>
                                  <a:pt x="243508" y="130333"/>
                                  <a:pt x="243508" y="128060"/>
                                </a:cubicBezTo>
                                <a:cubicBezTo>
                                  <a:pt x="243508" y="125787"/>
                                  <a:pt x="245786" y="128060"/>
                                  <a:pt x="245786" y="125787"/>
                                </a:cubicBezTo>
                                <a:cubicBezTo>
                                  <a:pt x="245786" y="125787"/>
                                  <a:pt x="243508" y="125787"/>
                                  <a:pt x="243508" y="125787"/>
                                </a:cubicBezTo>
                                <a:cubicBezTo>
                                  <a:pt x="243508" y="123514"/>
                                  <a:pt x="243508" y="121241"/>
                                  <a:pt x="243508" y="118968"/>
                                </a:cubicBezTo>
                                <a:cubicBezTo>
                                  <a:pt x="245786" y="118968"/>
                                  <a:pt x="248064" y="121241"/>
                                  <a:pt x="248064" y="121241"/>
                                </a:cubicBezTo>
                                <a:lnTo>
                                  <a:pt x="248138" y="118806"/>
                                </a:lnTo>
                                <a:lnTo>
                                  <a:pt x="246459" y="117128"/>
                                </a:lnTo>
                                <a:cubicBezTo>
                                  <a:pt x="246459" y="114747"/>
                                  <a:pt x="244078" y="112365"/>
                                  <a:pt x="246459" y="109984"/>
                                </a:cubicBezTo>
                                <a:lnTo>
                                  <a:pt x="248195" y="116925"/>
                                </a:lnTo>
                                <a:lnTo>
                                  <a:pt x="248348" y="111865"/>
                                </a:lnTo>
                                <a:cubicBezTo>
                                  <a:pt x="250911" y="109308"/>
                                  <a:pt x="254897" y="107603"/>
                                  <a:pt x="257175" y="107603"/>
                                </a:cubicBezTo>
                                <a:cubicBezTo>
                                  <a:pt x="264008" y="107603"/>
                                  <a:pt x="275396" y="105330"/>
                                  <a:pt x="279952" y="100784"/>
                                </a:cubicBezTo>
                                <a:cubicBezTo>
                                  <a:pt x="286785" y="96238"/>
                                  <a:pt x="286785" y="89419"/>
                                  <a:pt x="291340" y="84873"/>
                                </a:cubicBezTo>
                                <a:cubicBezTo>
                                  <a:pt x="298174" y="80327"/>
                                  <a:pt x="300451" y="73508"/>
                                  <a:pt x="300451" y="66689"/>
                                </a:cubicBezTo>
                                <a:cubicBezTo>
                                  <a:pt x="307285" y="66689"/>
                                  <a:pt x="307285" y="68962"/>
                                  <a:pt x="307285" y="71235"/>
                                </a:cubicBezTo>
                                <a:cubicBezTo>
                                  <a:pt x="307285" y="73508"/>
                                  <a:pt x="314118" y="78054"/>
                                  <a:pt x="316395" y="80327"/>
                                </a:cubicBezTo>
                                <a:cubicBezTo>
                                  <a:pt x="318673" y="80327"/>
                                  <a:pt x="318673" y="68962"/>
                                  <a:pt x="318673" y="66689"/>
                                </a:cubicBezTo>
                                <a:cubicBezTo>
                                  <a:pt x="316395" y="62142"/>
                                  <a:pt x="320951" y="62142"/>
                                  <a:pt x="323229" y="57596"/>
                                </a:cubicBezTo>
                                <a:cubicBezTo>
                                  <a:pt x="323229" y="64416"/>
                                  <a:pt x="323229" y="71235"/>
                                  <a:pt x="330062" y="71235"/>
                                </a:cubicBezTo>
                                <a:cubicBezTo>
                                  <a:pt x="330062" y="68962"/>
                                  <a:pt x="330062" y="64416"/>
                                  <a:pt x="327784" y="59869"/>
                                </a:cubicBezTo>
                                <a:cubicBezTo>
                                  <a:pt x="325506" y="57596"/>
                                  <a:pt x="325506" y="57596"/>
                                  <a:pt x="327784" y="57596"/>
                                </a:cubicBezTo>
                                <a:cubicBezTo>
                                  <a:pt x="330062" y="57596"/>
                                  <a:pt x="330062" y="57596"/>
                                  <a:pt x="330062" y="57596"/>
                                </a:cubicBezTo>
                                <a:cubicBezTo>
                                  <a:pt x="332340" y="55323"/>
                                  <a:pt x="336895" y="53050"/>
                                  <a:pt x="332340" y="50777"/>
                                </a:cubicBezTo>
                                <a:cubicBezTo>
                                  <a:pt x="327784" y="48504"/>
                                  <a:pt x="332340" y="43958"/>
                                  <a:pt x="334617" y="41685"/>
                                </a:cubicBezTo>
                                <a:cubicBezTo>
                                  <a:pt x="334617" y="46231"/>
                                  <a:pt x="341450" y="41685"/>
                                  <a:pt x="341450" y="39412"/>
                                </a:cubicBezTo>
                                <a:cubicBezTo>
                                  <a:pt x="343728" y="34866"/>
                                  <a:pt x="343728" y="32593"/>
                                  <a:pt x="346006" y="28047"/>
                                </a:cubicBezTo>
                                <a:cubicBezTo>
                                  <a:pt x="346006" y="25774"/>
                                  <a:pt x="348284" y="28047"/>
                                  <a:pt x="348284" y="25774"/>
                                </a:cubicBezTo>
                                <a:cubicBezTo>
                                  <a:pt x="350561" y="23501"/>
                                  <a:pt x="350561" y="21228"/>
                                  <a:pt x="352839" y="18955"/>
                                </a:cubicBezTo>
                                <a:cubicBezTo>
                                  <a:pt x="355117" y="16682"/>
                                  <a:pt x="355117" y="9863"/>
                                  <a:pt x="359672" y="7590"/>
                                </a:cubicBezTo>
                                <a:close/>
                                <a:moveTo>
                                  <a:pt x="367011" y="1041"/>
                                </a:moveTo>
                                <a:cubicBezTo>
                                  <a:pt x="367309" y="2232"/>
                                  <a:pt x="366713" y="4018"/>
                                  <a:pt x="364332" y="4018"/>
                                </a:cubicBezTo>
                                <a:cubicBezTo>
                                  <a:pt x="364332" y="4018"/>
                                  <a:pt x="364332" y="1637"/>
                                  <a:pt x="364332" y="1637"/>
                                </a:cubicBezTo>
                                <a:cubicBezTo>
                                  <a:pt x="365522" y="-745"/>
                                  <a:pt x="366713" y="-149"/>
                                  <a:pt x="367011" y="1041"/>
                                </a:cubicBezTo>
                                <a:close/>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223" name="Indonesia">
                            <a:extLst>
                              <a:ext uri="{FF2B5EF4-FFF2-40B4-BE49-F238E27FC236}">
                                <a16:creationId xmlns:a16="http://schemas.microsoft.com/office/drawing/2014/main" id="{CAC202EF-5C81-AC15-E026-D417D7027A99}"/>
                              </a:ext>
                            </a:extLst>
                          </p:cNvPr>
                          <p:cNvSpPr>
                            <a:spLocks/>
                          </p:cNvSpPr>
                          <p:nvPr/>
                        </p:nvSpPr>
                        <p:spPr bwMode="auto">
                          <a:xfrm>
                            <a:off x="5847247" y="3166245"/>
                            <a:ext cx="1043521" cy="450381"/>
                          </a:xfrm>
                          <a:custGeom>
                            <a:avLst/>
                            <a:gdLst>
                              <a:gd name="connsiteX0" fmla="*/ 630090 w 1023988"/>
                              <a:gd name="connsiteY0" fmla="*/ 433615 h 441950"/>
                              <a:gd name="connsiteX1" fmla="*/ 632273 w 1023988"/>
                              <a:gd name="connsiteY1" fmla="*/ 435699 h 441950"/>
                              <a:gd name="connsiteX2" fmla="*/ 621359 w 1023988"/>
                              <a:gd name="connsiteY2" fmla="*/ 441950 h 441950"/>
                              <a:gd name="connsiteX3" fmla="*/ 621359 w 1023988"/>
                              <a:gd name="connsiteY3" fmla="*/ 437783 h 441950"/>
                              <a:gd name="connsiteX4" fmla="*/ 630090 w 1023988"/>
                              <a:gd name="connsiteY4" fmla="*/ 433615 h 441950"/>
                              <a:gd name="connsiteX5" fmla="*/ 602507 w 1023988"/>
                              <a:gd name="connsiteY5" fmla="*/ 430838 h 441950"/>
                              <a:gd name="connsiteX6" fmla="*/ 602507 w 1023988"/>
                              <a:gd name="connsiteY6" fmla="*/ 432822 h 441950"/>
                              <a:gd name="connsiteX7" fmla="*/ 595363 w 1023988"/>
                              <a:gd name="connsiteY7" fmla="*/ 434807 h 441950"/>
                              <a:gd name="connsiteX8" fmla="*/ 595363 w 1023988"/>
                              <a:gd name="connsiteY8" fmla="*/ 432822 h 441950"/>
                              <a:gd name="connsiteX9" fmla="*/ 602507 w 1023988"/>
                              <a:gd name="connsiteY9" fmla="*/ 430838 h 441950"/>
                              <a:gd name="connsiteX10" fmla="*/ 650607 w 1023988"/>
                              <a:gd name="connsiteY10" fmla="*/ 407580 h 441950"/>
                              <a:gd name="connsiteX11" fmla="*/ 652645 w 1023988"/>
                              <a:gd name="connsiteY11" fmla="*/ 408137 h 441950"/>
                              <a:gd name="connsiteX12" fmla="*/ 652989 w 1023988"/>
                              <a:gd name="connsiteY12" fmla="*/ 408137 h 441950"/>
                              <a:gd name="connsiteX13" fmla="*/ 652512 w 1023988"/>
                              <a:gd name="connsiteY13" fmla="*/ 407719 h 441950"/>
                              <a:gd name="connsiteX14" fmla="*/ 552938 w 1023988"/>
                              <a:gd name="connsiteY14" fmla="*/ 403849 h 441950"/>
                              <a:gd name="connsiteX15" fmla="*/ 561962 w 1023988"/>
                              <a:gd name="connsiteY15" fmla="*/ 403849 h 441950"/>
                              <a:gd name="connsiteX16" fmla="*/ 568730 w 1023988"/>
                              <a:gd name="connsiteY16" fmla="*/ 412977 h 441950"/>
                              <a:gd name="connsiteX17" fmla="*/ 575498 w 1023988"/>
                              <a:gd name="connsiteY17" fmla="*/ 417542 h 441950"/>
                              <a:gd name="connsiteX18" fmla="*/ 564218 w 1023988"/>
                              <a:gd name="connsiteY18" fmla="*/ 424388 h 441950"/>
                              <a:gd name="connsiteX19" fmla="*/ 550682 w 1023988"/>
                              <a:gd name="connsiteY19" fmla="*/ 415260 h 441950"/>
                              <a:gd name="connsiteX20" fmla="*/ 539403 w 1023988"/>
                              <a:gd name="connsiteY20" fmla="*/ 408413 h 441950"/>
                              <a:gd name="connsiteX21" fmla="*/ 552938 w 1023988"/>
                              <a:gd name="connsiteY21" fmla="*/ 403849 h 441950"/>
                              <a:gd name="connsiteX22" fmla="*/ 668388 w 1023988"/>
                              <a:gd name="connsiteY22" fmla="*/ 394325 h 441950"/>
                              <a:gd name="connsiteX23" fmla="*/ 670637 w 1023988"/>
                              <a:gd name="connsiteY23" fmla="*/ 401231 h 441950"/>
                              <a:gd name="connsiteX24" fmla="*/ 672886 w 1023988"/>
                              <a:gd name="connsiteY24" fmla="*/ 405835 h 441950"/>
                              <a:gd name="connsiteX25" fmla="*/ 670637 w 1023988"/>
                              <a:gd name="connsiteY25" fmla="*/ 408137 h 441950"/>
                              <a:gd name="connsiteX26" fmla="*/ 668388 w 1023988"/>
                              <a:gd name="connsiteY26" fmla="*/ 410439 h 441950"/>
                              <a:gd name="connsiteX27" fmla="*/ 661641 w 1023988"/>
                              <a:gd name="connsiteY27" fmla="*/ 419646 h 441950"/>
                              <a:gd name="connsiteX28" fmla="*/ 650396 w 1023988"/>
                              <a:gd name="connsiteY28" fmla="*/ 424250 h 441950"/>
                              <a:gd name="connsiteX29" fmla="*/ 641401 w 1023988"/>
                              <a:gd name="connsiteY29" fmla="*/ 428854 h 441950"/>
                              <a:gd name="connsiteX30" fmla="*/ 634654 w 1023988"/>
                              <a:gd name="connsiteY30" fmla="*/ 428854 h 441950"/>
                              <a:gd name="connsiteX31" fmla="*/ 641401 w 1023988"/>
                              <a:gd name="connsiteY31" fmla="*/ 421948 h 441950"/>
                              <a:gd name="connsiteX32" fmla="*/ 636903 w 1023988"/>
                              <a:gd name="connsiteY32" fmla="*/ 419646 h 441950"/>
                              <a:gd name="connsiteX33" fmla="*/ 642244 w 1023988"/>
                              <a:gd name="connsiteY33" fmla="*/ 412741 h 441950"/>
                              <a:gd name="connsiteX34" fmla="*/ 645869 w 1023988"/>
                              <a:gd name="connsiteY34" fmla="*/ 405891 h 441950"/>
                              <a:gd name="connsiteX35" fmla="*/ 645369 w 1023988"/>
                              <a:gd name="connsiteY35" fmla="*/ 405636 h 441950"/>
                              <a:gd name="connsiteX36" fmla="*/ 657039 w 1023988"/>
                              <a:gd name="connsiteY36" fmla="*/ 401551 h 441950"/>
                              <a:gd name="connsiteX37" fmla="*/ 657143 w 1023988"/>
                              <a:gd name="connsiteY37" fmla="*/ 401231 h 441950"/>
                              <a:gd name="connsiteX38" fmla="*/ 668388 w 1023988"/>
                              <a:gd name="connsiteY38" fmla="*/ 394325 h 441950"/>
                              <a:gd name="connsiteX39" fmla="*/ 467967 w 1023988"/>
                              <a:gd name="connsiteY39" fmla="*/ 387180 h 441950"/>
                              <a:gd name="connsiteX40" fmla="*/ 467967 w 1023988"/>
                              <a:gd name="connsiteY40" fmla="*/ 389561 h 441950"/>
                              <a:gd name="connsiteX41" fmla="*/ 466776 w 1023988"/>
                              <a:gd name="connsiteY41" fmla="*/ 389561 h 441950"/>
                              <a:gd name="connsiteX42" fmla="*/ 467967 w 1023988"/>
                              <a:gd name="connsiteY42" fmla="*/ 387180 h 441950"/>
                              <a:gd name="connsiteX43" fmla="*/ 554882 w 1023988"/>
                              <a:gd name="connsiteY43" fmla="*/ 384799 h 441950"/>
                              <a:gd name="connsiteX44" fmla="*/ 557263 w 1023988"/>
                              <a:gd name="connsiteY44" fmla="*/ 384799 h 441950"/>
                              <a:gd name="connsiteX45" fmla="*/ 554882 w 1023988"/>
                              <a:gd name="connsiteY45" fmla="*/ 389562 h 441950"/>
                              <a:gd name="connsiteX46" fmla="*/ 554882 w 1023988"/>
                              <a:gd name="connsiteY46" fmla="*/ 384799 h 441950"/>
                              <a:gd name="connsiteX47" fmla="*/ 625128 w 1023988"/>
                              <a:gd name="connsiteY47" fmla="*/ 382418 h 441950"/>
                              <a:gd name="connsiteX48" fmla="*/ 629891 w 1023988"/>
                              <a:gd name="connsiteY48" fmla="*/ 382418 h 441950"/>
                              <a:gd name="connsiteX49" fmla="*/ 627509 w 1023988"/>
                              <a:gd name="connsiteY49" fmla="*/ 384799 h 441950"/>
                              <a:gd name="connsiteX50" fmla="*/ 625128 w 1023988"/>
                              <a:gd name="connsiteY50" fmla="*/ 382418 h 441950"/>
                              <a:gd name="connsiteX51" fmla="*/ 552500 w 1023988"/>
                              <a:gd name="connsiteY51" fmla="*/ 381228 h 441950"/>
                              <a:gd name="connsiteX52" fmla="*/ 550119 w 1023988"/>
                              <a:gd name="connsiteY52" fmla="*/ 387182 h 441950"/>
                              <a:gd name="connsiteX53" fmla="*/ 552500 w 1023988"/>
                              <a:gd name="connsiteY53" fmla="*/ 381228 h 441950"/>
                              <a:gd name="connsiteX54" fmla="*/ 629891 w 1023988"/>
                              <a:gd name="connsiteY54" fmla="*/ 378847 h 441950"/>
                              <a:gd name="connsiteX55" fmla="*/ 634653 w 1023988"/>
                              <a:gd name="connsiteY55" fmla="*/ 378847 h 441950"/>
                              <a:gd name="connsiteX56" fmla="*/ 629891 w 1023988"/>
                              <a:gd name="connsiteY56" fmla="*/ 381228 h 441950"/>
                              <a:gd name="connsiteX57" fmla="*/ 629891 w 1023988"/>
                              <a:gd name="connsiteY57" fmla="*/ 378847 h 441950"/>
                              <a:gd name="connsiteX58" fmla="*/ 643328 w 1023988"/>
                              <a:gd name="connsiteY58" fmla="*/ 377086 h 441950"/>
                              <a:gd name="connsiteX59" fmla="*/ 647751 w 1023988"/>
                              <a:gd name="connsiteY59" fmla="*/ 378450 h 441950"/>
                              <a:gd name="connsiteX60" fmla="*/ 638906 w 1023988"/>
                              <a:gd name="connsiteY60" fmla="*/ 384998 h 441950"/>
                              <a:gd name="connsiteX61" fmla="*/ 634483 w 1023988"/>
                              <a:gd name="connsiteY61" fmla="*/ 382815 h 441950"/>
                              <a:gd name="connsiteX62" fmla="*/ 638906 w 1023988"/>
                              <a:gd name="connsiteY62" fmla="*/ 380633 h 441950"/>
                              <a:gd name="connsiteX63" fmla="*/ 643328 w 1023988"/>
                              <a:gd name="connsiteY63" fmla="*/ 377086 h 441950"/>
                              <a:gd name="connsiteX64" fmla="*/ 966839 w 1023988"/>
                              <a:gd name="connsiteY64" fmla="*/ 376465 h 441950"/>
                              <a:gd name="connsiteX65" fmla="*/ 971601 w 1023988"/>
                              <a:gd name="connsiteY65" fmla="*/ 381228 h 441950"/>
                              <a:gd name="connsiteX66" fmla="*/ 969220 w 1023988"/>
                              <a:gd name="connsiteY66" fmla="*/ 381228 h 441950"/>
                              <a:gd name="connsiteX67" fmla="*/ 966839 w 1023988"/>
                              <a:gd name="connsiteY67" fmla="*/ 376465 h 441950"/>
                              <a:gd name="connsiteX68" fmla="*/ 514401 w 1023988"/>
                              <a:gd name="connsiteY68" fmla="*/ 376465 h 441950"/>
                              <a:gd name="connsiteX69" fmla="*/ 512019 w 1023988"/>
                              <a:gd name="connsiteY69" fmla="*/ 381228 h 441950"/>
                              <a:gd name="connsiteX70" fmla="*/ 514401 w 1023988"/>
                              <a:gd name="connsiteY70" fmla="*/ 376465 h 441950"/>
                              <a:gd name="connsiteX71" fmla="*/ 739429 w 1023988"/>
                              <a:gd name="connsiteY71" fmla="*/ 376465 h 441950"/>
                              <a:gd name="connsiteX72" fmla="*/ 741810 w 1023988"/>
                              <a:gd name="connsiteY72" fmla="*/ 376465 h 441950"/>
                              <a:gd name="connsiteX73" fmla="*/ 739429 w 1023988"/>
                              <a:gd name="connsiteY73" fmla="*/ 378846 h 441950"/>
                              <a:gd name="connsiteX74" fmla="*/ 654895 w 1023988"/>
                              <a:gd name="connsiteY74" fmla="*/ 376465 h 441950"/>
                              <a:gd name="connsiteX75" fmla="*/ 652513 w 1023988"/>
                              <a:gd name="connsiteY75" fmla="*/ 384800 h 441950"/>
                              <a:gd name="connsiteX76" fmla="*/ 647751 w 1023988"/>
                              <a:gd name="connsiteY76" fmla="*/ 382716 h 441950"/>
                              <a:gd name="connsiteX77" fmla="*/ 650132 w 1023988"/>
                              <a:gd name="connsiteY77" fmla="*/ 378549 h 441950"/>
                              <a:gd name="connsiteX78" fmla="*/ 654895 w 1023988"/>
                              <a:gd name="connsiteY78" fmla="*/ 376465 h 441950"/>
                              <a:gd name="connsiteX79" fmla="*/ 483985 w 1023988"/>
                              <a:gd name="connsiteY79" fmla="*/ 376465 h 441950"/>
                              <a:gd name="connsiteX80" fmla="*/ 493078 w 1023988"/>
                              <a:gd name="connsiteY80" fmla="*/ 383163 h 441950"/>
                              <a:gd name="connsiteX81" fmla="*/ 488531 w 1023988"/>
                              <a:gd name="connsiteY81" fmla="*/ 394325 h 441950"/>
                              <a:gd name="connsiteX82" fmla="*/ 474893 w 1023988"/>
                              <a:gd name="connsiteY82" fmla="*/ 389860 h 441950"/>
                              <a:gd name="connsiteX83" fmla="*/ 479439 w 1023988"/>
                              <a:gd name="connsiteY83" fmla="*/ 385395 h 441950"/>
                              <a:gd name="connsiteX84" fmla="*/ 483985 w 1023988"/>
                              <a:gd name="connsiteY84" fmla="*/ 376465 h 441950"/>
                              <a:gd name="connsiteX85" fmla="*/ 732285 w 1023988"/>
                              <a:gd name="connsiteY85" fmla="*/ 374084 h 441950"/>
                              <a:gd name="connsiteX86" fmla="*/ 739429 w 1023988"/>
                              <a:gd name="connsiteY86" fmla="*/ 374084 h 441950"/>
                              <a:gd name="connsiteX87" fmla="*/ 732285 w 1023988"/>
                              <a:gd name="connsiteY87" fmla="*/ 374084 h 441950"/>
                              <a:gd name="connsiteX88" fmla="*/ 659508 w 1023988"/>
                              <a:gd name="connsiteY88" fmla="*/ 374084 h 441950"/>
                              <a:gd name="connsiteX89" fmla="*/ 666206 w 1023988"/>
                              <a:gd name="connsiteY89" fmla="*/ 376168 h 441950"/>
                              <a:gd name="connsiteX90" fmla="*/ 670671 w 1023988"/>
                              <a:gd name="connsiteY90" fmla="*/ 376168 h 441950"/>
                              <a:gd name="connsiteX91" fmla="*/ 672903 w 1023988"/>
                              <a:gd name="connsiteY91" fmla="*/ 380335 h 441950"/>
                              <a:gd name="connsiteX92" fmla="*/ 657276 w 1023988"/>
                              <a:gd name="connsiteY92" fmla="*/ 382419 h 441950"/>
                              <a:gd name="connsiteX93" fmla="*/ 661741 w 1023988"/>
                              <a:gd name="connsiteY93" fmla="*/ 376168 h 441950"/>
                              <a:gd name="connsiteX94" fmla="*/ 659508 w 1023988"/>
                              <a:gd name="connsiteY94" fmla="*/ 374084 h 441950"/>
                              <a:gd name="connsiteX95" fmla="*/ 445252 w 1023988"/>
                              <a:gd name="connsiteY95" fmla="*/ 373965 h 441950"/>
                              <a:gd name="connsiteX96" fmla="*/ 458991 w 1023988"/>
                              <a:gd name="connsiteY96" fmla="*/ 373965 h 441950"/>
                              <a:gd name="connsiteX97" fmla="*/ 470439 w 1023988"/>
                              <a:gd name="connsiteY97" fmla="*/ 378490 h 441950"/>
                              <a:gd name="connsiteX98" fmla="*/ 463570 w 1023988"/>
                              <a:gd name="connsiteY98" fmla="*/ 385276 h 441950"/>
                              <a:gd name="connsiteX99" fmla="*/ 456701 w 1023988"/>
                              <a:gd name="connsiteY99" fmla="*/ 392063 h 441950"/>
                              <a:gd name="connsiteX100" fmla="*/ 458991 w 1023988"/>
                              <a:gd name="connsiteY100" fmla="*/ 387539 h 441950"/>
                              <a:gd name="connsiteX101" fmla="*/ 452122 w 1023988"/>
                              <a:gd name="connsiteY101" fmla="*/ 383014 h 441950"/>
                              <a:gd name="connsiteX102" fmla="*/ 445252 w 1023988"/>
                              <a:gd name="connsiteY102" fmla="*/ 373965 h 441950"/>
                              <a:gd name="connsiteX103" fmla="*/ 625642 w 1023988"/>
                              <a:gd name="connsiteY103" fmla="*/ 373867 h 441950"/>
                              <a:gd name="connsiteX104" fmla="*/ 629891 w 1023988"/>
                              <a:gd name="connsiteY104" fmla="*/ 378413 h 441950"/>
                              <a:gd name="connsiteX105" fmla="*/ 623093 w 1023988"/>
                              <a:gd name="connsiteY105" fmla="*/ 380687 h 441950"/>
                              <a:gd name="connsiteX106" fmla="*/ 607230 w 1023988"/>
                              <a:gd name="connsiteY106" fmla="*/ 389779 h 441950"/>
                              <a:gd name="connsiteX107" fmla="*/ 593634 w 1023988"/>
                              <a:gd name="connsiteY107" fmla="*/ 389779 h 441950"/>
                              <a:gd name="connsiteX108" fmla="*/ 586836 w 1023988"/>
                              <a:gd name="connsiteY108" fmla="*/ 394325 h 441950"/>
                              <a:gd name="connsiteX109" fmla="*/ 580038 w 1023988"/>
                              <a:gd name="connsiteY109" fmla="*/ 392052 h 441950"/>
                              <a:gd name="connsiteX110" fmla="*/ 570974 w 1023988"/>
                              <a:gd name="connsiteY110" fmla="*/ 392052 h 441950"/>
                              <a:gd name="connsiteX111" fmla="*/ 564176 w 1023988"/>
                              <a:gd name="connsiteY111" fmla="*/ 392052 h 441950"/>
                              <a:gd name="connsiteX112" fmla="*/ 559644 w 1023988"/>
                              <a:gd name="connsiteY112" fmla="*/ 387506 h 441950"/>
                              <a:gd name="connsiteX113" fmla="*/ 564176 w 1023988"/>
                              <a:gd name="connsiteY113" fmla="*/ 380687 h 441950"/>
                              <a:gd name="connsiteX114" fmla="*/ 577772 w 1023988"/>
                              <a:gd name="connsiteY114" fmla="*/ 378413 h 441950"/>
                              <a:gd name="connsiteX115" fmla="*/ 591368 w 1023988"/>
                              <a:gd name="connsiteY115" fmla="*/ 382960 h 441950"/>
                              <a:gd name="connsiteX116" fmla="*/ 595900 w 1023988"/>
                              <a:gd name="connsiteY116" fmla="*/ 385233 h 441950"/>
                              <a:gd name="connsiteX117" fmla="*/ 598166 w 1023988"/>
                              <a:gd name="connsiteY117" fmla="*/ 382960 h 441950"/>
                              <a:gd name="connsiteX118" fmla="*/ 607230 w 1023988"/>
                              <a:gd name="connsiteY118" fmla="*/ 382960 h 441950"/>
                              <a:gd name="connsiteX119" fmla="*/ 616295 w 1023988"/>
                              <a:gd name="connsiteY119" fmla="*/ 382960 h 441950"/>
                              <a:gd name="connsiteX120" fmla="*/ 627625 w 1023988"/>
                              <a:gd name="connsiteY120" fmla="*/ 376140 h 441950"/>
                              <a:gd name="connsiteX121" fmla="*/ 623093 w 1023988"/>
                              <a:gd name="connsiteY121" fmla="*/ 376140 h 441950"/>
                              <a:gd name="connsiteX122" fmla="*/ 625642 w 1023988"/>
                              <a:gd name="connsiteY122" fmla="*/ 373867 h 441950"/>
                              <a:gd name="connsiteX123" fmla="*/ 518009 w 1023988"/>
                              <a:gd name="connsiteY123" fmla="*/ 373700 h 441950"/>
                              <a:gd name="connsiteX124" fmla="*/ 523032 w 1023988"/>
                              <a:gd name="connsiteY124" fmla="*/ 373985 h 441950"/>
                              <a:gd name="connsiteX125" fmla="*/ 529730 w 1023988"/>
                              <a:gd name="connsiteY125" fmla="*/ 378549 h 441950"/>
                              <a:gd name="connsiteX126" fmla="*/ 536427 w 1023988"/>
                              <a:gd name="connsiteY126" fmla="*/ 383114 h 441950"/>
                              <a:gd name="connsiteX127" fmla="*/ 540892 w 1023988"/>
                              <a:gd name="connsiteY127" fmla="*/ 380831 h 441950"/>
                              <a:gd name="connsiteX128" fmla="*/ 545357 w 1023988"/>
                              <a:gd name="connsiteY128" fmla="*/ 385396 h 441950"/>
                              <a:gd name="connsiteX129" fmla="*/ 534194 w 1023988"/>
                              <a:gd name="connsiteY129" fmla="*/ 389960 h 441950"/>
                              <a:gd name="connsiteX130" fmla="*/ 538659 w 1023988"/>
                              <a:gd name="connsiteY130" fmla="*/ 392242 h 441950"/>
                              <a:gd name="connsiteX131" fmla="*/ 534194 w 1023988"/>
                              <a:gd name="connsiteY131" fmla="*/ 392242 h 441950"/>
                              <a:gd name="connsiteX132" fmla="*/ 529730 w 1023988"/>
                              <a:gd name="connsiteY132" fmla="*/ 392242 h 441950"/>
                              <a:gd name="connsiteX133" fmla="*/ 529730 w 1023988"/>
                              <a:gd name="connsiteY133" fmla="*/ 385396 h 441950"/>
                              <a:gd name="connsiteX134" fmla="*/ 518567 w 1023988"/>
                              <a:gd name="connsiteY134" fmla="*/ 394524 h 441950"/>
                              <a:gd name="connsiteX135" fmla="*/ 507405 w 1023988"/>
                              <a:gd name="connsiteY135" fmla="*/ 396806 h 441950"/>
                              <a:gd name="connsiteX136" fmla="*/ 500708 w 1023988"/>
                              <a:gd name="connsiteY136" fmla="*/ 396806 h 441950"/>
                              <a:gd name="connsiteX137" fmla="*/ 498475 w 1023988"/>
                              <a:gd name="connsiteY137" fmla="*/ 399088 h 441950"/>
                              <a:gd name="connsiteX138" fmla="*/ 494010 w 1023988"/>
                              <a:gd name="connsiteY138" fmla="*/ 392242 h 441950"/>
                              <a:gd name="connsiteX139" fmla="*/ 496243 w 1023988"/>
                              <a:gd name="connsiteY139" fmla="*/ 385396 h 441950"/>
                              <a:gd name="connsiteX140" fmla="*/ 514102 w 1023988"/>
                              <a:gd name="connsiteY140" fmla="*/ 383114 h 441950"/>
                              <a:gd name="connsiteX141" fmla="*/ 518567 w 1023988"/>
                              <a:gd name="connsiteY141" fmla="*/ 389960 h 441950"/>
                              <a:gd name="connsiteX142" fmla="*/ 527497 w 1023988"/>
                              <a:gd name="connsiteY142" fmla="*/ 385396 h 441950"/>
                              <a:gd name="connsiteX143" fmla="*/ 516335 w 1023988"/>
                              <a:gd name="connsiteY143" fmla="*/ 378549 h 441950"/>
                              <a:gd name="connsiteX144" fmla="*/ 518009 w 1023988"/>
                              <a:gd name="connsiteY144" fmla="*/ 373700 h 441950"/>
                              <a:gd name="connsiteX145" fmla="*/ 770385 w 1023988"/>
                              <a:gd name="connsiteY145" fmla="*/ 366940 h 441950"/>
                              <a:gd name="connsiteX146" fmla="*/ 772766 w 1023988"/>
                              <a:gd name="connsiteY146" fmla="*/ 371703 h 441950"/>
                              <a:gd name="connsiteX147" fmla="*/ 770385 w 1023988"/>
                              <a:gd name="connsiteY147" fmla="*/ 366940 h 441950"/>
                              <a:gd name="connsiteX148" fmla="*/ 706105 w 1023988"/>
                              <a:gd name="connsiteY148" fmla="*/ 361880 h 441950"/>
                              <a:gd name="connsiteX149" fmla="*/ 712044 w 1023988"/>
                              <a:gd name="connsiteY149" fmla="*/ 364559 h 441950"/>
                              <a:gd name="connsiteX150" fmla="*/ 702995 w 1023988"/>
                              <a:gd name="connsiteY150" fmla="*/ 369321 h 441950"/>
                              <a:gd name="connsiteX151" fmla="*/ 689422 w 1023988"/>
                              <a:gd name="connsiteY151" fmla="*/ 371702 h 441950"/>
                              <a:gd name="connsiteX152" fmla="*/ 693946 w 1023988"/>
                              <a:gd name="connsiteY152" fmla="*/ 364559 h 441950"/>
                              <a:gd name="connsiteX153" fmla="*/ 698471 w 1023988"/>
                              <a:gd name="connsiteY153" fmla="*/ 364559 h 441950"/>
                              <a:gd name="connsiteX154" fmla="*/ 706105 w 1023988"/>
                              <a:gd name="connsiteY154" fmla="*/ 361880 h 441950"/>
                              <a:gd name="connsiteX155" fmla="*/ 966839 w 1023988"/>
                              <a:gd name="connsiteY155" fmla="*/ 357362 h 441950"/>
                              <a:gd name="connsiteX156" fmla="*/ 972951 w 1023988"/>
                              <a:gd name="connsiteY156" fmla="*/ 363044 h 441950"/>
                              <a:gd name="connsiteX157" fmla="*/ 966283 w 1023988"/>
                              <a:gd name="connsiteY157" fmla="*/ 376683 h 441950"/>
                              <a:gd name="connsiteX158" fmla="*/ 955170 w 1023988"/>
                              <a:gd name="connsiteY158" fmla="*/ 381229 h 441950"/>
                              <a:gd name="connsiteX159" fmla="*/ 941835 w 1023988"/>
                              <a:gd name="connsiteY159" fmla="*/ 381229 h 441950"/>
                              <a:gd name="connsiteX160" fmla="*/ 944058 w 1023988"/>
                              <a:gd name="connsiteY160" fmla="*/ 378956 h 441950"/>
                              <a:gd name="connsiteX161" fmla="*/ 957393 w 1023988"/>
                              <a:gd name="connsiteY161" fmla="*/ 358498 h 441950"/>
                              <a:gd name="connsiteX162" fmla="*/ 966839 w 1023988"/>
                              <a:gd name="connsiteY162" fmla="*/ 357362 h 441950"/>
                              <a:gd name="connsiteX163" fmla="*/ 804914 w 1023988"/>
                              <a:gd name="connsiteY163" fmla="*/ 356225 h 441950"/>
                              <a:gd name="connsiteX164" fmla="*/ 802532 w 1023988"/>
                              <a:gd name="connsiteY164" fmla="*/ 358011 h 441950"/>
                              <a:gd name="connsiteX165" fmla="*/ 800151 w 1023988"/>
                              <a:gd name="connsiteY165" fmla="*/ 358011 h 441950"/>
                              <a:gd name="connsiteX166" fmla="*/ 804914 w 1023988"/>
                              <a:gd name="connsiteY166" fmla="*/ 356225 h 441950"/>
                              <a:gd name="connsiteX167" fmla="*/ 579885 w 1023988"/>
                              <a:gd name="connsiteY167" fmla="*/ 346699 h 441950"/>
                              <a:gd name="connsiteX168" fmla="*/ 582266 w 1023988"/>
                              <a:gd name="connsiteY168" fmla="*/ 349081 h 441950"/>
                              <a:gd name="connsiteX169" fmla="*/ 579885 w 1023988"/>
                              <a:gd name="connsiteY169" fmla="*/ 351462 h 441950"/>
                              <a:gd name="connsiteX170" fmla="*/ 579885 w 1023988"/>
                              <a:gd name="connsiteY170" fmla="*/ 346699 h 441950"/>
                              <a:gd name="connsiteX171" fmla="*/ 435659 w 1023988"/>
                              <a:gd name="connsiteY171" fmla="*/ 343723 h 441950"/>
                              <a:gd name="connsiteX172" fmla="*/ 439391 w 1023988"/>
                              <a:gd name="connsiteY172" fmla="*/ 346700 h 441950"/>
                              <a:gd name="connsiteX173" fmla="*/ 434798 w 1023988"/>
                              <a:gd name="connsiteY173" fmla="*/ 349081 h 441950"/>
                              <a:gd name="connsiteX174" fmla="*/ 430206 w 1023988"/>
                              <a:gd name="connsiteY174" fmla="*/ 351462 h 441950"/>
                              <a:gd name="connsiteX175" fmla="*/ 418725 w 1023988"/>
                              <a:gd name="connsiteY175" fmla="*/ 351462 h 441950"/>
                              <a:gd name="connsiteX176" fmla="*/ 409540 w 1023988"/>
                              <a:gd name="connsiteY176" fmla="*/ 349081 h 441950"/>
                              <a:gd name="connsiteX177" fmla="*/ 414132 w 1023988"/>
                              <a:gd name="connsiteY177" fmla="*/ 344318 h 441950"/>
                              <a:gd name="connsiteX178" fmla="*/ 430206 w 1023988"/>
                              <a:gd name="connsiteY178" fmla="*/ 344318 h 441950"/>
                              <a:gd name="connsiteX179" fmla="*/ 435659 w 1023988"/>
                              <a:gd name="connsiteY179" fmla="*/ 343723 h 441950"/>
                              <a:gd name="connsiteX180" fmla="*/ 464097 w 1023988"/>
                              <a:gd name="connsiteY180" fmla="*/ 341937 h 441950"/>
                              <a:gd name="connsiteX181" fmla="*/ 470348 w 1023988"/>
                              <a:gd name="connsiteY181" fmla="*/ 344319 h 441950"/>
                              <a:gd name="connsiteX182" fmla="*/ 464097 w 1023988"/>
                              <a:gd name="connsiteY182" fmla="*/ 346700 h 441950"/>
                              <a:gd name="connsiteX183" fmla="*/ 464097 w 1023988"/>
                              <a:gd name="connsiteY183" fmla="*/ 341937 h 441950"/>
                              <a:gd name="connsiteX184" fmla="*/ 871248 w 1023988"/>
                              <a:gd name="connsiteY184" fmla="*/ 326459 h 441950"/>
                              <a:gd name="connsiteX185" fmla="*/ 873460 w 1023988"/>
                              <a:gd name="connsiteY185" fmla="*/ 344451 h 441950"/>
                              <a:gd name="connsiteX186" fmla="*/ 871248 w 1023988"/>
                              <a:gd name="connsiteY186" fmla="*/ 335455 h 441950"/>
                              <a:gd name="connsiteX187" fmla="*/ 871248 w 1023988"/>
                              <a:gd name="connsiteY187" fmla="*/ 326459 h 441950"/>
                              <a:gd name="connsiteX188" fmla="*/ 873440 w 1023988"/>
                              <a:gd name="connsiteY188" fmla="*/ 323321 h 441950"/>
                              <a:gd name="connsiteX189" fmla="*/ 875689 w 1023988"/>
                              <a:gd name="connsiteY189" fmla="*/ 327867 h 441950"/>
                              <a:gd name="connsiteX190" fmla="*/ 873440 w 1023988"/>
                              <a:gd name="connsiteY190" fmla="*/ 323321 h 441950"/>
                              <a:gd name="connsiteX191" fmla="*/ 265885 w 1023988"/>
                              <a:gd name="connsiteY191" fmla="*/ 321196 h 441950"/>
                              <a:gd name="connsiteX192" fmla="*/ 268158 w 1023988"/>
                              <a:gd name="connsiteY192" fmla="*/ 321480 h 441950"/>
                              <a:gd name="connsiteX193" fmla="*/ 281796 w 1023988"/>
                              <a:gd name="connsiteY193" fmla="*/ 323753 h 441950"/>
                              <a:gd name="connsiteX194" fmla="*/ 288615 w 1023988"/>
                              <a:gd name="connsiteY194" fmla="*/ 321480 h 441950"/>
                              <a:gd name="connsiteX195" fmla="*/ 295434 w 1023988"/>
                              <a:gd name="connsiteY195" fmla="*/ 323753 h 441950"/>
                              <a:gd name="connsiteX196" fmla="*/ 302253 w 1023988"/>
                              <a:gd name="connsiteY196" fmla="*/ 328299 h 441950"/>
                              <a:gd name="connsiteX197" fmla="*/ 311345 w 1023988"/>
                              <a:gd name="connsiteY197" fmla="*/ 330572 h 441950"/>
                              <a:gd name="connsiteX198" fmla="*/ 315891 w 1023988"/>
                              <a:gd name="connsiteY198" fmla="*/ 330572 h 441950"/>
                              <a:gd name="connsiteX199" fmla="*/ 329529 w 1023988"/>
                              <a:gd name="connsiteY199" fmla="*/ 341937 h 441950"/>
                              <a:gd name="connsiteX200" fmla="*/ 336348 w 1023988"/>
                              <a:gd name="connsiteY200" fmla="*/ 344210 h 441950"/>
                              <a:gd name="connsiteX201" fmla="*/ 347713 w 1023988"/>
                              <a:gd name="connsiteY201" fmla="*/ 344210 h 441950"/>
                              <a:gd name="connsiteX202" fmla="*/ 352259 w 1023988"/>
                              <a:gd name="connsiteY202" fmla="*/ 344210 h 441950"/>
                              <a:gd name="connsiteX203" fmla="*/ 359078 w 1023988"/>
                              <a:gd name="connsiteY203" fmla="*/ 346484 h 441950"/>
                              <a:gd name="connsiteX204" fmla="*/ 365897 w 1023988"/>
                              <a:gd name="connsiteY204" fmla="*/ 337391 h 441950"/>
                              <a:gd name="connsiteX205" fmla="*/ 374989 w 1023988"/>
                              <a:gd name="connsiteY205" fmla="*/ 337391 h 441950"/>
                              <a:gd name="connsiteX206" fmla="*/ 381808 w 1023988"/>
                              <a:gd name="connsiteY206" fmla="*/ 337391 h 441950"/>
                              <a:gd name="connsiteX207" fmla="*/ 388627 w 1023988"/>
                              <a:gd name="connsiteY207" fmla="*/ 341937 h 441950"/>
                              <a:gd name="connsiteX208" fmla="*/ 393173 w 1023988"/>
                              <a:gd name="connsiteY208" fmla="*/ 341937 h 441950"/>
                              <a:gd name="connsiteX209" fmla="*/ 397720 w 1023988"/>
                              <a:gd name="connsiteY209" fmla="*/ 344210 h 441950"/>
                              <a:gd name="connsiteX210" fmla="*/ 406812 w 1023988"/>
                              <a:gd name="connsiteY210" fmla="*/ 344210 h 441950"/>
                              <a:gd name="connsiteX211" fmla="*/ 406812 w 1023988"/>
                              <a:gd name="connsiteY211" fmla="*/ 353303 h 441950"/>
                              <a:gd name="connsiteX212" fmla="*/ 409085 w 1023988"/>
                              <a:gd name="connsiteY212" fmla="*/ 360122 h 441950"/>
                              <a:gd name="connsiteX213" fmla="*/ 418177 w 1023988"/>
                              <a:gd name="connsiteY213" fmla="*/ 364668 h 441950"/>
                              <a:gd name="connsiteX214" fmla="*/ 429542 w 1023988"/>
                              <a:gd name="connsiteY214" fmla="*/ 364668 h 441950"/>
                              <a:gd name="connsiteX215" fmla="*/ 440907 w 1023988"/>
                              <a:gd name="connsiteY215" fmla="*/ 364668 h 441950"/>
                              <a:gd name="connsiteX216" fmla="*/ 445453 w 1023988"/>
                              <a:gd name="connsiteY216" fmla="*/ 369214 h 441950"/>
                              <a:gd name="connsiteX217" fmla="*/ 443180 w 1023988"/>
                              <a:gd name="connsiteY217" fmla="*/ 385125 h 441950"/>
                              <a:gd name="connsiteX218" fmla="*/ 447726 w 1023988"/>
                              <a:gd name="connsiteY218" fmla="*/ 389671 h 441950"/>
                              <a:gd name="connsiteX219" fmla="*/ 443180 w 1023988"/>
                              <a:gd name="connsiteY219" fmla="*/ 387398 h 441950"/>
                              <a:gd name="connsiteX220" fmla="*/ 431815 w 1023988"/>
                              <a:gd name="connsiteY220" fmla="*/ 385125 h 441950"/>
                              <a:gd name="connsiteX221" fmla="*/ 413631 w 1023988"/>
                              <a:gd name="connsiteY221" fmla="*/ 378306 h 441950"/>
                              <a:gd name="connsiteX222" fmla="*/ 390900 w 1023988"/>
                              <a:gd name="connsiteY222" fmla="*/ 378306 h 441950"/>
                              <a:gd name="connsiteX223" fmla="*/ 381808 w 1023988"/>
                              <a:gd name="connsiteY223" fmla="*/ 378306 h 441950"/>
                              <a:gd name="connsiteX224" fmla="*/ 368170 w 1023988"/>
                              <a:gd name="connsiteY224" fmla="*/ 376033 h 441950"/>
                              <a:gd name="connsiteX225" fmla="*/ 343167 w 1023988"/>
                              <a:gd name="connsiteY225" fmla="*/ 366941 h 441950"/>
                              <a:gd name="connsiteX226" fmla="*/ 328916 w 1023988"/>
                              <a:gd name="connsiteY226" fmla="*/ 364091 h 441950"/>
                              <a:gd name="connsiteX227" fmla="*/ 320437 w 1023988"/>
                              <a:gd name="connsiteY227" fmla="*/ 362395 h 441950"/>
                              <a:gd name="connsiteX228" fmla="*/ 315891 w 1023988"/>
                              <a:gd name="connsiteY228" fmla="*/ 366941 h 441950"/>
                              <a:gd name="connsiteX229" fmla="*/ 309072 w 1023988"/>
                              <a:gd name="connsiteY229" fmla="*/ 364668 h 441950"/>
                              <a:gd name="connsiteX230" fmla="*/ 293161 w 1023988"/>
                              <a:gd name="connsiteY230" fmla="*/ 357849 h 441950"/>
                              <a:gd name="connsiteX231" fmla="*/ 272704 w 1023988"/>
                              <a:gd name="connsiteY231" fmla="*/ 353303 h 441950"/>
                              <a:gd name="connsiteX232" fmla="*/ 274977 w 1023988"/>
                              <a:gd name="connsiteY232" fmla="*/ 346484 h 441950"/>
                              <a:gd name="connsiteX233" fmla="*/ 268158 w 1023988"/>
                              <a:gd name="connsiteY233" fmla="*/ 344210 h 441950"/>
                              <a:gd name="connsiteX234" fmla="*/ 247701 w 1023988"/>
                              <a:gd name="connsiteY234" fmla="*/ 341937 h 441950"/>
                              <a:gd name="connsiteX235" fmla="*/ 254520 w 1023988"/>
                              <a:gd name="connsiteY235" fmla="*/ 341937 h 441950"/>
                              <a:gd name="connsiteX236" fmla="*/ 256793 w 1023988"/>
                              <a:gd name="connsiteY236" fmla="*/ 332845 h 441950"/>
                              <a:gd name="connsiteX237" fmla="*/ 263612 w 1023988"/>
                              <a:gd name="connsiteY237" fmla="*/ 326026 h 441950"/>
                              <a:gd name="connsiteX238" fmla="*/ 265885 w 1023988"/>
                              <a:gd name="connsiteY238" fmla="*/ 321196 h 441950"/>
                              <a:gd name="connsiteX239" fmla="*/ 577503 w 1023988"/>
                              <a:gd name="connsiteY239" fmla="*/ 316934 h 441950"/>
                              <a:gd name="connsiteX240" fmla="*/ 577503 w 1023988"/>
                              <a:gd name="connsiteY240" fmla="*/ 332413 h 441950"/>
                              <a:gd name="connsiteX241" fmla="*/ 577503 w 1023988"/>
                              <a:gd name="connsiteY241" fmla="*/ 316934 h 441950"/>
                              <a:gd name="connsiteX242" fmla="*/ 839442 w 1023988"/>
                              <a:gd name="connsiteY242" fmla="*/ 314553 h 441950"/>
                              <a:gd name="connsiteX243" fmla="*/ 841823 w 1023988"/>
                              <a:gd name="connsiteY243" fmla="*/ 314553 h 441950"/>
                              <a:gd name="connsiteX244" fmla="*/ 841823 w 1023988"/>
                              <a:gd name="connsiteY244" fmla="*/ 321697 h 441950"/>
                              <a:gd name="connsiteX245" fmla="*/ 839442 w 1023988"/>
                              <a:gd name="connsiteY245" fmla="*/ 314553 h 441950"/>
                              <a:gd name="connsiteX246" fmla="*/ 880187 w 1023988"/>
                              <a:gd name="connsiteY246" fmla="*/ 309682 h 441950"/>
                              <a:gd name="connsiteX247" fmla="*/ 884685 w 1023988"/>
                              <a:gd name="connsiteY247" fmla="*/ 314228 h 441950"/>
                              <a:gd name="connsiteX248" fmla="*/ 884685 w 1023988"/>
                              <a:gd name="connsiteY248" fmla="*/ 325594 h 441950"/>
                              <a:gd name="connsiteX249" fmla="*/ 875689 w 1023988"/>
                              <a:gd name="connsiteY249" fmla="*/ 327867 h 441950"/>
                              <a:gd name="connsiteX250" fmla="*/ 875689 w 1023988"/>
                              <a:gd name="connsiteY250" fmla="*/ 318774 h 441950"/>
                              <a:gd name="connsiteX251" fmla="*/ 875689 w 1023988"/>
                              <a:gd name="connsiteY251" fmla="*/ 314228 h 441950"/>
                              <a:gd name="connsiteX252" fmla="*/ 880187 w 1023988"/>
                              <a:gd name="connsiteY252" fmla="*/ 309682 h 441950"/>
                              <a:gd name="connsiteX253" fmla="*/ 852539 w 1023988"/>
                              <a:gd name="connsiteY253" fmla="*/ 306219 h 441950"/>
                              <a:gd name="connsiteX254" fmla="*/ 844204 w 1023988"/>
                              <a:gd name="connsiteY254" fmla="*/ 321698 h 441950"/>
                              <a:gd name="connsiteX255" fmla="*/ 848371 w 1023988"/>
                              <a:gd name="connsiteY255" fmla="*/ 312853 h 441950"/>
                              <a:gd name="connsiteX256" fmla="*/ 852539 w 1023988"/>
                              <a:gd name="connsiteY256" fmla="*/ 306219 h 441950"/>
                              <a:gd name="connsiteX257" fmla="*/ 184597 w 1023988"/>
                              <a:gd name="connsiteY257" fmla="*/ 305822 h 441950"/>
                              <a:gd name="connsiteX258" fmla="*/ 188169 w 1023988"/>
                              <a:gd name="connsiteY258" fmla="*/ 309791 h 441950"/>
                              <a:gd name="connsiteX259" fmla="*/ 184597 w 1023988"/>
                              <a:gd name="connsiteY259" fmla="*/ 305822 h 441950"/>
                              <a:gd name="connsiteX260" fmla="*/ 612032 w 1023988"/>
                              <a:gd name="connsiteY260" fmla="*/ 299075 h 441950"/>
                              <a:gd name="connsiteX261" fmla="*/ 612032 w 1023988"/>
                              <a:gd name="connsiteY261" fmla="*/ 309791 h 441950"/>
                              <a:gd name="connsiteX262" fmla="*/ 612032 w 1023988"/>
                              <a:gd name="connsiteY262" fmla="*/ 299075 h 441950"/>
                              <a:gd name="connsiteX263" fmla="*/ 625525 w 1023988"/>
                              <a:gd name="connsiteY263" fmla="*/ 289418 h 441950"/>
                              <a:gd name="connsiteX264" fmla="*/ 627708 w 1023988"/>
                              <a:gd name="connsiteY264" fmla="*/ 296165 h 441950"/>
                              <a:gd name="connsiteX265" fmla="*/ 625525 w 1023988"/>
                              <a:gd name="connsiteY265" fmla="*/ 302912 h 441950"/>
                              <a:gd name="connsiteX266" fmla="*/ 623342 w 1023988"/>
                              <a:gd name="connsiteY266" fmla="*/ 307410 h 441950"/>
                              <a:gd name="connsiteX267" fmla="*/ 621159 w 1023988"/>
                              <a:gd name="connsiteY267" fmla="*/ 305161 h 441950"/>
                              <a:gd name="connsiteX268" fmla="*/ 616794 w 1023988"/>
                              <a:gd name="connsiteY268" fmla="*/ 305161 h 441950"/>
                              <a:gd name="connsiteX269" fmla="*/ 618977 w 1023988"/>
                              <a:gd name="connsiteY269" fmla="*/ 300663 h 441950"/>
                              <a:gd name="connsiteX270" fmla="*/ 621159 w 1023988"/>
                              <a:gd name="connsiteY270" fmla="*/ 291667 h 441950"/>
                              <a:gd name="connsiteX271" fmla="*/ 625525 w 1023988"/>
                              <a:gd name="connsiteY271" fmla="*/ 289418 h 441950"/>
                              <a:gd name="connsiteX272" fmla="*/ 634654 w 1023988"/>
                              <a:gd name="connsiteY272" fmla="*/ 282406 h 441950"/>
                              <a:gd name="connsiteX273" fmla="*/ 637035 w 1023988"/>
                              <a:gd name="connsiteY273" fmla="*/ 291591 h 441950"/>
                              <a:gd name="connsiteX274" fmla="*/ 632273 w 1023988"/>
                              <a:gd name="connsiteY274" fmla="*/ 293887 h 441950"/>
                              <a:gd name="connsiteX275" fmla="*/ 632273 w 1023988"/>
                              <a:gd name="connsiteY275" fmla="*/ 303072 h 441950"/>
                              <a:gd name="connsiteX276" fmla="*/ 637035 w 1023988"/>
                              <a:gd name="connsiteY276" fmla="*/ 305368 h 441950"/>
                              <a:gd name="connsiteX277" fmla="*/ 629892 w 1023988"/>
                              <a:gd name="connsiteY277" fmla="*/ 307664 h 441950"/>
                              <a:gd name="connsiteX278" fmla="*/ 627510 w 1023988"/>
                              <a:gd name="connsiteY278" fmla="*/ 314553 h 441950"/>
                              <a:gd name="connsiteX279" fmla="*/ 625129 w 1023988"/>
                              <a:gd name="connsiteY279" fmla="*/ 307664 h 441950"/>
                              <a:gd name="connsiteX280" fmla="*/ 627510 w 1023988"/>
                              <a:gd name="connsiteY280" fmla="*/ 298479 h 441950"/>
                              <a:gd name="connsiteX281" fmla="*/ 634654 w 1023988"/>
                              <a:gd name="connsiteY281" fmla="*/ 282406 h 441950"/>
                              <a:gd name="connsiteX282" fmla="*/ 634654 w 1023988"/>
                              <a:gd name="connsiteY282" fmla="*/ 274071 h 441950"/>
                              <a:gd name="connsiteX283" fmla="*/ 634654 w 1023988"/>
                              <a:gd name="connsiteY283" fmla="*/ 278834 h 441950"/>
                              <a:gd name="connsiteX284" fmla="*/ 634654 w 1023988"/>
                              <a:gd name="connsiteY284" fmla="*/ 274071 h 441950"/>
                              <a:gd name="connsiteX285" fmla="*/ 752525 w 1023988"/>
                              <a:gd name="connsiteY285" fmla="*/ 262165 h 441950"/>
                              <a:gd name="connsiteX286" fmla="*/ 754907 w 1023988"/>
                              <a:gd name="connsiteY286" fmla="*/ 262165 h 441950"/>
                              <a:gd name="connsiteX287" fmla="*/ 752525 w 1023988"/>
                              <a:gd name="connsiteY287" fmla="*/ 264546 h 441950"/>
                              <a:gd name="connsiteX288" fmla="*/ 752525 w 1023988"/>
                              <a:gd name="connsiteY288" fmla="*/ 262165 h 441950"/>
                              <a:gd name="connsiteX289" fmla="*/ 743714 w 1023988"/>
                              <a:gd name="connsiteY289" fmla="*/ 262165 h 441950"/>
                              <a:gd name="connsiteX290" fmla="*/ 748001 w 1023988"/>
                              <a:gd name="connsiteY290" fmla="*/ 262165 h 441950"/>
                              <a:gd name="connsiteX291" fmla="*/ 745857 w 1023988"/>
                              <a:gd name="connsiteY291" fmla="*/ 264546 h 441950"/>
                              <a:gd name="connsiteX292" fmla="*/ 741571 w 1023988"/>
                              <a:gd name="connsiteY292" fmla="*/ 266928 h 441950"/>
                              <a:gd name="connsiteX293" fmla="*/ 743714 w 1023988"/>
                              <a:gd name="connsiteY293" fmla="*/ 262165 h 441950"/>
                              <a:gd name="connsiteX294" fmla="*/ 737047 w 1023988"/>
                              <a:gd name="connsiteY294" fmla="*/ 253830 h 441950"/>
                              <a:gd name="connsiteX295" fmla="*/ 739428 w 1023988"/>
                              <a:gd name="connsiteY295" fmla="*/ 256211 h 441950"/>
                              <a:gd name="connsiteX296" fmla="*/ 737047 w 1023988"/>
                              <a:gd name="connsiteY296" fmla="*/ 256211 h 441950"/>
                              <a:gd name="connsiteX297" fmla="*/ 737047 w 1023988"/>
                              <a:gd name="connsiteY297" fmla="*/ 253830 h 441950"/>
                              <a:gd name="connsiteX298" fmla="*/ 704626 w 1023988"/>
                              <a:gd name="connsiteY298" fmla="*/ 251450 h 441950"/>
                              <a:gd name="connsiteX299" fmla="*/ 716074 w 1023988"/>
                              <a:gd name="connsiteY299" fmla="*/ 251450 h 441950"/>
                              <a:gd name="connsiteX300" fmla="*/ 722943 w 1023988"/>
                              <a:gd name="connsiteY300" fmla="*/ 258147 h 441950"/>
                              <a:gd name="connsiteX301" fmla="*/ 725233 w 1023988"/>
                              <a:gd name="connsiteY301" fmla="*/ 264845 h 441950"/>
                              <a:gd name="connsiteX302" fmla="*/ 713785 w 1023988"/>
                              <a:gd name="connsiteY302" fmla="*/ 269310 h 441950"/>
                              <a:gd name="connsiteX303" fmla="*/ 700046 w 1023988"/>
                              <a:gd name="connsiteY303" fmla="*/ 260380 h 441950"/>
                              <a:gd name="connsiteX304" fmla="*/ 704626 w 1023988"/>
                              <a:gd name="connsiteY304" fmla="*/ 251450 h 441950"/>
                              <a:gd name="connsiteX305" fmla="*/ 284610 w 1023988"/>
                              <a:gd name="connsiteY305" fmla="*/ 246687 h 441950"/>
                              <a:gd name="connsiteX306" fmla="*/ 286991 w 1023988"/>
                              <a:gd name="connsiteY306" fmla="*/ 246687 h 441950"/>
                              <a:gd name="connsiteX307" fmla="*/ 289373 w 1023988"/>
                              <a:gd name="connsiteY307" fmla="*/ 249068 h 441950"/>
                              <a:gd name="connsiteX308" fmla="*/ 284610 w 1023988"/>
                              <a:gd name="connsiteY308" fmla="*/ 246687 h 441950"/>
                              <a:gd name="connsiteX309" fmla="*/ 764193 w 1023988"/>
                              <a:gd name="connsiteY309" fmla="*/ 244305 h 441950"/>
                              <a:gd name="connsiteX310" fmla="*/ 768718 w 1023988"/>
                              <a:gd name="connsiteY310" fmla="*/ 246587 h 441950"/>
                              <a:gd name="connsiteX311" fmla="*/ 775504 w 1023988"/>
                              <a:gd name="connsiteY311" fmla="*/ 244305 h 441950"/>
                              <a:gd name="connsiteX312" fmla="*/ 784553 w 1023988"/>
                              <a:gd name="connsiteY312" fmla="*/ 246587 h 441950"/>
                              <a:gd name="connsiteX313" fmla="*/ 791340 w 1023988"/>
                              <a:gd name="connsiteY313" fmla="*/ 248869 h 441950"/>
                              <a:gd name="connsiteX314" fmla="*/ 795864 w 1023988"/>
                              <a:gd name="connsiteY314" fmla="*/ 251151 h 441950"/>
                              <a:gd name="connsiteX315" fmla="*/ 800388 w 1023988"/>
                              <a:gd name="connsiteY315" fmla="*/ 257997 h 441950"/>
                              <a:gd name="connsiteX316" fmla="*/ 802651 w 1023988"/>
                              <a:gd name="connsiteY316" fmla="*/ 262562 h 441950"/>
                              <a:gd name="connsiteX317" fmla="*/ 798126 w 1023988"/>
                              <a:gd name="connsiteY317" fmla="*/ 269408 h 441950"/>
                              <a:gd name="connsiteX318" fmla="*/ 784553 w 1023988"/>
                              <a:gd name="connsiteY318" fmla="*/ 260279 h 441950"/>
                              <a:gd name="connsiteX319" fmla="*/ 775504 w 1023988"/>
                              <a:gd name="connsiteY319" fmla="*/ 257997 h 441950"/>
                              <a:gd name="connsiteX320" fmla="*/ 764193 w 1023988"/>
                              <a:gd name="connsiteY320" fmla="*/ 257997 h 441950"/>
                              <a:gd name="connsiteX321" fmla="*/ 752882 w 1023988"/>
                              <a:gd name="connsiteY321" fmla="*/ 260279 h 441950"/>
                              <a:gd name="connsiteX322" fmla="*/ 748358 w 1023988"/>
                              <a:gd name="connsiteY322" fmla="*/ 251151 h 441950"/>
                              <a:gd name="connsiteX323" fmla="*/ 741571 w 1023988"/>
                              <a:gd name="connsiteY323" fmla="*/ 262562 h 441950"/>
                              <a:gd name="connsiteX324" fmla="*/ 757407 w 1023988"/>
                              <a:gd name="connsiteY324" fmla="*/ 246587 h 441950"/>
                              <a:gd name="connsiteX325" fmla="*/ 764193 w 1023988"/>
                              <a:gd name="connsiteY325" fmla="*/ 244305 h 441950"/>
                              <a:gd name="connsiteX326" fmla="*/ 145306 w 1023988"/>
                              <a:gd name="connsiteY326" fmla="*/ 244305 h 441950"/>
                              <a:gd name="connsiteX327" fmla="*/ 150069 w 1023988"/>
                              <a:gd name="connsiteY327" fmla="*/ 248671 h 441950"/>
                              <a:gd name="connsiteX328" fmla="*/ 147688 w 1023988"/>
                              <a:gd name="connsiteY328" fmla="*/ 253036 h 441950"/>
                              <a:gd name="connsiteX329" fmla="*/ 150069 w 1023988"/>
                              <a:gd name="connsiteY329" fmla="*/ 257402 h 441950"/>
                              <a:gd name="connsiteX330" fmla="*/ 145306 w 1023988"/>
                              <a:gd name="connsiteY330" fmla="*/ 244305 h 441950"/>
                              <a:gd name="connsiteX331" fmla="*/ 306891 w 1023988"/>
                              <a:gd name="connsiteY331" fmla="*/ 237162 h 441950"/>
                              <a:gd name="connsiteX332" fmla="*/ 317948 w 1023988"/>
                              <a:gd name="connsiteY332" fmla="*/ 244306 h 441950"/>
                              <a:gd name="connsiteX333" fmla="*/ 313525 w 1023988"/>
                              <a:gd name="connsiteY333" fmla="*/ 253831 h 441950"/>
                              <a:gd name="connsiteX334" fmla="*/ 306891 w 1023988"/>
                              <a:gd name="connsiteY334" fmla="*/ 251449 h 441950"/>
                              <a:gd name="connsiteX335" fmla="*/ 302469 w 1023988"/>
                              <a:gd name="connsiteY335" fmla="*/ 249068 h 441950"/>
                              <a:gd name="connsiteX336" fmla="*/ 306891 w 1023988"/>
                              <a:gd name="connsiteY336" fmla="*/ 237162 h 441950"/>
                              <a:gd name="connsiteX337" fmla="*/ 138163 w 1023988"/>
                              <a:gd name="connsiteY337" fmla="*/ 237162 h 441950"/>
                              <a:gd name="connsiteX338" fmla="*/ 142925 w 1023988"/>
                              <a:gd name="connsiteY338" fmla="*/ 244306 h 441950"/>
                              <a:gd name="connsiteX339" fmla="*/ 138163 w 1023988"/>
                              <a:gd name="connsiteY339" fmla="*/ 244306 h 441950"/>
                              <a:gd name="connsiteX340" fmla="*/ 138163 w 1023988"/>
                              <a:gd name="connsiteY340" fmla="*/ 237162 h 441950"/>
                              <a:gd name="connsiteX341" fmla="*/ 129828 w 1023988"/>
                              <a:gd name="connsiteY341" fmla="*/ 226149 h 441950"/>
                              <a:gd name="connsiteX342" fmla="*/ 136972 w 1023988"/>
                              <a:gd name="connsiteY342" fmla="*/ 232400 h 441950"/>
                              <a:gd name="connsiteX343" fmla="*/ 129828 w 1023988"/>
                              <a:gd name="connsiteY343" fmla="*/ 226149 h 441950"/>
                              <a:gd name="connsiteX344" fmla="*/ 700138 w 1023988"/>
                              <a:gd name="connsiteY344" fmla="*/ 224065 h 441950"/>
                              <a:gd name="connsiteX345" fmla="*/ 700138 w 1023988"/>
                              <a:gd name="connsiteY345" fmla="*/ 237162 h 441950"/>
                              <a:gd name="connsiteX346" fmla="*/ 700138 w 1023988"/>
                              <a:gd name="connsiteY346" fmla="*/ 224065 h 441950"/>
                              <a:gd name="connsiteX347" fmla="*/ 689184 w 1023988"/>
                              <a:gd name="connsiteY347" fmla="*/ 219303 h 441950"/>
                              <a:gd name="connsiteX348" fmla="*/ 707282 w 1023988"/>
                              <a:gd name="connsiteY348" fmla="*/ 219303 h 441950"/>
                              <a:gd name="connsiteX349" fmla="*/ 693709 w 1023988"/>
                              <a:gd name="connsiteY349" fmla="*/ 224066 h 441950"/>
                              <a:gd name="connsiteX350" fmla="*/ 689184 w 1023988"/>
                              <a:gd name="connsiteY350" fmla="*/ 219303 h 441950"/>
                              <a:gd name="connsiteX351" fmla="*/ 788839 w 1023988"/>
                              <a:gd name="connsiteY351" fmla="*/ 218707 h 441950"/>
                              <a:gd name="connsiteX352" fmla="*/ 795388 w 1023988"/>
                              <a:gd name="connsiteY352" fmla="*/ 219302 h 441950"/>
                              <a:gd name="connsiteX353" fmla="*/ 795388 w 1023988"/>
                              <a:gd name="connsiteY353" fmla="*/ 226446 h 441950"/>
                              <a:gd name="connsiteX354" fmla="*/ 791022 w 1023988"/>
                              <a:gd name="connsiteY354" fmla="*/ 226446 h 441950"/>
                              <a:gd name="connsiteX355" fmla="*/ 786656 w 1023988"/>
                              <a:gd name="connsiteY355" fmla="*/ 226446 h 441950"/>
                              <a:gd name="connsiteX356" fmla="*/ 782291 w 1023988"/>
                              <a:gd name="connsiteY356" fmla="*/ 221683 h 441950"/>
                              <a:gd name="connsiteX357" fmla="*/ 788839 w 1023988"/>
                              <a:gd name="connsiteY357" fmla="*/ 218707 h 441950"/>
                              <a:gd name="connsiteX358" fmla="*/ 666681 w 1023988"/>
                              <a:gd name="connsiteY358" fmla="*/ 216921 h 441950"/>
                              <a:gd name="connsiteX359" fmla="*/ 682516 w 1023988"/>
                              <a:gd name="connsiteY359" fmla="*/ 216921 h 441950"/>
                              <a:gd name="connsiteX360" fmla="*/ 687041 w 1023988"/>
                              <a:gd name="connsiteY360" fmla="*/ 219302 h 441950"/>
                              <a:gd name="connsiteX361" fmla="*/ 677992 w 1023988"/>
                              <a:gd name="connsiteY361" fmla="*/ 224065 h 441950"/>
                              <a:gd name="connsiteX362" fmla="*/ 675730 w 1023988"/>
                              <a:gd name="connsiteY362" fmla="*/ 221683 h 441950"/>
                              <a:gd name="connsiteX363" fmla="*/ 673468 w 1023988"/>
                              <a:gd name="connsiteY363" fmla="*/ 224065 h 441950"/>
                              <a:gd name="connsiteX364" fmla="*/ 666681 w 1023988"/>
                              <a:gd name="connsiteY364" fmla="*/ 216921 h 441950"/>
                              <a:gd name="connsiteX365" fmla="*/ 329853 w 1023988"/>
                              <a:gd name="connsiteY365" fmla="*/ 214540 h 441950"/>
                              <a:gd name="connsiteX366" fmla="*/ 334616 w 1023988"/>
                              <a:gd name="connsiteY366" fmla="*/ 214540 h 441950"/>
                              <a:gd name="connsiteX367" fmla="*/ 332234 w 1023988"/>
                              <a:gd name="connsiteY367" fmla="*/ 216922 h 441950"/>
                              <a:gd name="connsiteX368" fmla="*/ 329853 w 1023988"/>
                              <a:gd name="connsiteY368" fmla="*/ 214540 h 441950"/>
                              <a:gd name="connsiteX369" fmla="*/ 904926 w 1023988"/>
                              <a:gd name="connsiteY369" fmla="*/ 214540 h 441950"/>
                              <a:gd name="connsiteX370" fmla="*/ 923244 w 1023988"/>
                              <a:gd name="connsiteY370" fmla="*/ 216921 h 441950"/>
                              <a:gd name="connsiteX371" fmla="*/ 934692 w 1023988"/>
                              <a:gd name="connsiteY371" fmla="*/ 221684 h 441950"/>
                              <a:gd name="connsiteX372" fmla="*/ 925533 w 1023988"/>
                              <a:gd name="connsiteY372" fmla="*/ 221684 h 441950"/>
                              <a:gd name="connsiteX373" fmla="*/ 918664 w 1023988"/>
                              <a:gd name="connsiteY373" fmla="*/ 221684 h 441950"/>
                              <a:gd name="connsiteX374" fmla="*/ 904926 w 1023988"/>
                              <a:gd name="connsiteY374" fmla="*/ 216921 h 441950"/>
                              <a:gd name="connsiteX375" fmla="*/ 904926 w 1023988"/>
                              <a:gd name="connsiteY375" fmla="*/ 214540 h 441950"/>
                              <a:gd name="connsiteX376" fmla="*/ 257147 w 1023988"/>
                              <a:gd name="connsiteY376" fmla="*/ 213128 h 441950"/>
                              <a:gd name="connsiteX377" fmla="*/ 266230 w 1023988"/>
                              <a:gd name="connsiteY377" fmla="*/ 219005 h 441950"/>
                              <a:gd name="connsiteX378" fmla="*/ 270844 w 1023988"/>
                              <a:gd name="connsiteY378" fmla="*/ 214361 h 441950"/>
                              <a:gd name="connsiteX379" fmla="*/ 273151 w 1023988"/>
                              <a:gd name="connsiteY379" fmla="*/ 223648 h 441950"/>
                              <a:gd name="connsiteX380" fmla="*/ 277764 w 1023988"/>
                              <a:gd name="connsiteY380" fmla="*/ 235257 h 441950"/>
                              <a:gd name="connsiteX381" fmla="*/ 286992 w 1023988"/>
                              <a:gd name="connsiteY381" fmla="*/ 239900 h 441950"/>
                              <a:gd name="connsiteX382" fmla="*/ 282378 w 1023988"/>
                              <a:gd name="connsiteY382" fmla="*/ 246866 h 441950"/>
                              <a:gd name="connsiteX383" fmla="*/ 284685 w 1023988"/>
                              <a:gd name="connsiteY383" fmla="*/ 251509 h 441950"/>
                              <a:gd name="connsiteX384" fmla="*/ 270844 w 1023988"/>
                              <a:gd name="connsiteY384" fmla="*/ 246866 h 441950"/>
                              <a:gd name="connsiteX385" fmla="*/ 268537 w 1023988"/>
                              <a:gd name="connsiteY385" fmla="*/ 237579 h 441950"/>
                              <a:gd name="connsiteX386" fmla="*/ 266230 w 1023988"/>
                              <a:gd name="connsiteY386" fmla="*/ 230613 h 441950"/>
                              <a:gd name="connsiteX387" fmla="*/ 259309 w 1023988"/>
                              <a:gd name="connsiteY387" fmla="*/ 228292 h 441950"/>
                              <a:gd name="connsiteX388" fmla="*/ 250082 w 1023988"/>
                              <a:gd name="connsiteY388" fmla="*/ 223648 h 441950"/>
                              <a:gd name="connsiteX389" fmla="*/ 254696 w 1023988"/>
                              <a:gd name="connsiteY389" fmla="*/ 216683 h 441950"/>
                              <a:gd name="connsiteX390" fmla="*/ 257147 w 1023988"/>
                              <a:gd name="connsiteY390" fmla="*/ 213128 h 441950"/>
                              <a:gd name="connsiteX391" fmla="*/ 732152 w 1023988"/>
                              <a:gd name="connsiteY391" fmla="*/ 209777 h 441950"/>
                              <a:gd name="connsiteX392" fmla="*/ 741148 w 1023988"/>
                              <a:gd name="connsiteY392" fmla="*/ 212158 h 441950"/>
                              <a:gd name="connsiteX393" fmla="*/ 743397 w 1023988"/>
                              <a:gd name="connsiteY393" fmla="*/ 216921 h 441950"/>
                              <a:gd name="connsiteX394" fmla="*/ 738899 w 1023988"/>
                              <a:gd name="connsiteY394" fmla="*/ 216921 h 441950"/>
                              <a:gd name="connsiteX395" fmla="*/ 734401 w 1023988"/>
                              <a:gd name="connsiteY395" fmla="*/ 219302 h 441950"/>
                              <a:gd name="connsiteX396" fmla="*/ 732152 w 1023988"/>
                              <a:gd name="connsiteY396" fmla="*/ 209777 h 441950"/>
                              <a:gd name="connsiteX397" fmla="*/ 634505 w 1023988"/>
                              <a:gd name="connsiteY397" fmla="*/ 205866 h 441950"/>
                              <a:gd name="connsiteX398" fmla="*/ 638970 w 1023988"/>
                              <a:gd name="connsiteY398" fmla="*/ 205866 h 441950"/>
                              <a:gd name="connsiteX399" fmla="*/ 641203 w 1023988"/>
                              <a:gd name="connsiteY399" fmla="*/ 210289 h 441950"/>
                              <a:gd name="connsiteX400" fmla="*/ 641203 w 1023988"/>
                              <a:gd name="connsiteY400" fmla="*/ 212500 h 441950"/>
                              <a:gd name="connsiteX401" fmla="*/ 641203 w 1023988"/>
                              <a:gd name="connsiteY401" fmla="*/ 216923 h 441950"/>
                              <a:gd name="connsiteX402" fmla="*/ 638970 w 1023988"/>
                              <a:gd name="connsiteY402" fmla="*/ 210289 h 441950"/>
                              <a:gd name="connsiteX403" fmla="*/ 634505 w 1023988"/>
                              <a:gd name="connsiteY403" fmla="*/ 214712 h 441950"/>
                              <a:gd name="connsiteX404" fmla="*/ 634505 w 1023988"/>
                              <a:gd name="connsiteY404" fmla="*/ 205866 h 441950"/>
                              <a:gd name="connsiteX405" fmla="*/ 345034 w 1023988"/>
                              <a:gd name="connsiteY405" fmla="*/ 200966 h 441950"/>
                              <a:gd name="connsiteX406" fmla="*/ 350094 w 1023988"/>
                              <a:gd name="connsiteY406" fmla="*/ 200966 h 441950"/>
                              <a:gd name="connsiteX407" fmla="*/ 345331 w 1023988"/>
                              <a:gd name="connsiteY407" fmla="*/ 207396 h 441950"/>
                              <a:gd name="connsiteX408" fmla="*/ 345034 w 1023988"/>
                              <a:gd name="connsiteY408" fmla="*/ 200966 h 441950"/>
                              <a:gd name="connsiteX409" fmla="*/ 894211 w 1023988"/>
                              <a:gd name="connsiteY409" fmla="*/ 199062 h 441950"/>
                              <a:gd name="connsiteX410" fmla="*/ 894211 w 1023988"/>
                              <a:gd name="connsiteY410" fmla="*/ 203825 h 441950"/>
                              <a:gd name="connsiteX411" fmla="*/ 894211 w 1023988"/>
                              <a:gd name="connsiteY411" fmla="*/ 199062 h 441950"/>
                              <a:gd name="connsiteX412" fmla="*/ 116335 w 1023988"/>
                              <a:gd name="connsiteY412" fmla="*/ 199062 h 441950"/>
                              <a:gd name="connsiteX413" fmla="*/ 120833 w 1023988"/>
                              <a:gd name="connsiteY413" fmla="*/ 219303 h 441950"/>
                              <a:gd name="connsiteX414" fmla="*/ 111837 w 1023988"/>
                              <a:gd name="connsiteY414" fmla="*/ 208058 h 441950"/>
                              <a:gd name="connsiteX415" fmla="*/ 111837 w 1023988"/>
                              <a:gd name="connsiteY415" fmla="*/ 201311 h 441950"/>
                              <a:gd name="connsiteX416" fmla="*/ 116335 w 1023988"/>
                              <a:gd name="connsiteY416" fmla="*/ 199062 h 441950"/>
                              <a:gd name="connsiteX417" fmla="*/ 902544 w 1023988"/>
                              <a:gd name="connsiteY417" fmla="*/ 191919 h 441950"/>
                              <a:gd name="connsiteX418" fmla="*/ 909688 w 1023988"/>
                              <a:gd name="connsiteY418" fmla="*/ 196682 h 441950"/>
                              <a:gd name="connsiteX419" fmla="*/ 902544 w 1023988"/>
                              <a:gd name="connsiteY419" fmla="*/ 191919 h 441950"/>
                              <a:gd name="connsiteX420" fmla="*/ 727522 w 1023988"/>
                              <a:gd name="connsiteY420" fmla="*/ 191918 h 441950"/>
                              <a:gd name="connsiteX421" fmla="*/ 729904 w 1023988"/>
                              <a:gd name="connsiteY421" fmla="*/ 194299 h 441950"/>
                              <a:gd name="connsiteX422" fmla="*/ 727522 w 1023988"/>
                              <a:gd name="connsiteY422" fmla="*/ 191918 h 441950"/>
                              <a:gd name="connsiteX423" fmla="*/ 234306 w 1023988"/>
                              <a:gd name="connsiteY423" fmla="*/ 184774 h 441950"/>
                              <a:gd name="connsiteX424" fmla="*/ 236389 w 1023988"/>
                              <a:gd name="connsiteY424" fmla="*/ 184774 h 441950"/>
                              <a:gd name="connsiteX425" fmla="*/ 238473 w 1023988"/>
                              <a:gd name="connsiteY425" fmla="*/ 191918 h 441950"/>
                              <a:gd name="connsiteX426" fmla="*/ 234306 w 1023988"/>
                              <a:gd name="connsiteY426" fmla="*/ 191918 h 441950"/>
                              <a:gd name="connsiteX427" fmla="*/ 234306 w 1023988"/>
                              <a:gd name="connsiteY427" fmla="*/ 184774 h 441950"/>
                              <a:gd name="connsiteX428" fmla="*/ 845989 w 1023988"/>
                              <a:gd name="connsiteY428" fmla="*/ 184675 h 441950"/>
                              <a:gd name="connsiteX429" fmla="*/ 859682 w 1023988"/>
                              <a:gd name="connsiteY429" fmla="*/ 193799 h 441950"/>
                              <a:gd name="connsiteX430" fmla="*/ 875656 w 1023988"/>
                              <a:gd name="connsiteY430" fmla="*/ 196080 h 441950"/>
                              <a:gd name="connsiteX431" fmla="*/ 877938 w 1023988"/>
                              <a:gd name="connsiteY431" fmla="*/ 205204 h 441950"/>
                              <a:gd name="connsiteX432" fmla="*/ 875656 w 1023988"/>
                              <a:gd name="connsiteY432" fmla="*/ 216609 h 441950"/>
                              <a:gd name="connsiteX433" fmla="*/ 882502 w 1023988"/>
                              <a:gd name="connsiteY433" fmla="*/ 243981 h 441950"/>
                              <a:gd name="connsiteX434" fmla="*/ 884784 w 1023988"/>
                              <a:gd name="connsiteY434" fmla="*/ 237138 h 441950"/>
                              <a:gd name="connsiteX435" fmla="*/ 887066 w 1023988"/>
                              <a:gd name="connsiteY435" fmla="*/ 246262 h 441950"/>
                              <a:gd name="connsiteX436" fmla="*/ 889348 w 1023988"/>
                              <a:gd name="connsiteY436" fmla="*/ 248543 h 441950"/>
                              <a:gd name="connsiteX437" fmla="*/ 891630 w 1023988"/>
                              <a:gd name="connsiteY437" fmla="*/ 255386 h 441950"/>
                              <a:gd name="connsiteX438" fmla="*/ 905323 w 1023988"/>
                              <a:gd name="connsiteY438" fmla="*/ 255386 h 441950"/>
                              <a:gd name="connsiteX439" fmla="*/ 912169 w 1023988"/>
                              <a:gd name="connsiteY439" fmla="*/ 248543 h 441950"/>
                              <a:gd name="connsiteX440" fmla="*/ 919015 w 1023988"/>
                              <a:gd name="connsiteY440" fmla="*/ 239419 h 441950"/>
                              <a:gd name="connsiteX441" fmla="*/ 925861 w 1023988"/>
                              <a:gd name="connsiteY441" fmla="*/ 230295 h 441950"/>
                              <a:gd name="connsiteX442" fmla="*/ 939553 w 1023988"/>
                              <a:gd name="connsiteY442" fmla="*/ 228014 h 441950"/>
                              <a:gd name="connsiteX443" fmla="*/ 941835 w 1023988"/>
                              <a:gd name="connsiteY443" fmla="*/ 221171 h 441950"/>
                              <a:gd name="connsiteX444" fmla="*/ 948681 w 1023988"/>
                              <a:gd name="connsiteY444" fmla="*/ 214328 h 441950"/>
                              <a:gd name="connsiteX445" fmla="*/ 960091 w 1023988"/>
                              <a:gd name="connsiteY445" fmla="*/ 214328 h 441950"/>
                              <a:gd name="connsiteX446" fmla="*/ 976066 w 1023988"/>
                              <a:gd name="connsiteY446" fmla="*/ 221171 h 441950"/>
                              <a:gd name="connsiteX447" fmla="*/ 989758 w 1023988"/>
                              <a:gd name="connsiteY447" fmla="*/ 228014 h 441950"/>
                              <a:gd name="connsiteX448" fmla="*/ 1001168 w 1023988"/>
                              <a:gd name="connsiteY448" fmla="*/ 232576 h 441950"/>
                              <a:gd name="connsiteX449" fmla="*/ 1012578 w 1023988"/>
                              <a:gd name="connsiteY449" fmla="*/ 234857 h 441950"/>
                              <a:gd name="connsiteX450" fmla="*/ 1023988 w 1023988"/>
                              <a:gd name="connsiteY450" fmla="*/ 239419 h 441950"/>
                              <a:gd name="connsiteX451" fmla="*/ 1019424 w 1023988"/>
                              <a:gd name="connsiteY451" fmla="*/ 326096 h 441950"/>
                              <a:gd name="connsiteX452" fmla="*/ 1014860 w 1023988"/>
                              <a:gd name="connsiteY452" fmla="*/ 339782 h 441950"/>
                              <a:gd name="connsiteX453" fmla="*/ 1019424 w 1023988"/>
                              <a:gd name="connsiteY453" fmla="*/ 344344 h 441950"/>
                              <a:gd name="connsiteX454" fmla="*/ 1017142 w 1023988"/>
                              <a:gd name="connsiteY454" fmla="*/ 353468 h 441950"/>
                              <a:gd name="connsiteX455" fmla="*/ 1014860 w 1023988"/>
                              <a:gd name="connsiteY455" fmla="*/ 399088 h 441950"/>
                              <a:gd name="connsiteX456" fmla="*/ 1001168 w 1023988"/>
                              <a:gd name="connsiteY456" fmla="*/ 385402 h 441950"/>
                              <a:gd name="connsiteX457" fmla="*/ 994322 w 1023988"/>
                              <a:gd name="connsiteY457" fmla="*/ 371716 h 441950"/>
                              <a:gd name="connsiteX458" fmla="*/ 985194 w 1023988"/>
                              <a:gd name="connsiteY458" fmla="*/ 376278 h 441950"/>
                              <a:gd name="connsiteX459" fmla="*/ 978348 w 1023988"/>
                              <a:gd name="connsiteY459" fmla="*/ 371716 h 441950"/>
                              <a:gd name="connsiteX460" fmla="*/ 971502 w 1023988"/>
                              <a:gd name="connsiteY460" fmla="*/ 376278 h 441950"/>
                              <a:gd name="connsiteX461" fmla="*/ 971502 w 1023988"/>
                              <a:gd name="connsiteY461" fmla="*/ 369435 h 441950"/>
                              <a:gd name="connsiteX462" fmla="*/ 973784 w 1023988"/>
                              <a:gd name="connsiteY462" fmla="*/ 360311 h 441950"/>
                              <a:gd name="connsiteX463" fmla="*/ 969219 w 1023988"/>
                              <a:gd name="connsiteY463" fmla="*/ 353468 h 441950"/>
                              <a:gd name="connsiteX464" fmla="*/ 978348 w 1023988"/>
                              <a:gd name="connsiteY464" fmla="*/ 351187 h 441950"/>
                              <a:gd name="connsiteX465" fmla="*/ 964655 w 1023988"/>
                              <a:gd name="connsiteY465" fmla="*/ 344344 h 441950"/>
                              <a:gd name="connsiteX466" fmla="*/ 978348 w 1023988"/>
                              <a:gd name="connsiteY466" fmla="*/ 346625 h 441950"/>
                              <a:gd name="connsiteX467" fmla="*/ 969219 w 1023988"/>
                              <a:gd name="connsiteY467" fmla="*/ 339782 h 441950"/>
                              <a:gd name="connsiteX468" fmla="*/ 966937 w 1023988"/>
                              <a:gd name="connsiteY468" fmla="*/ 337501 h 441950"/>
                              <a:gd name="connsiteX469" fmla="*/ 962373 w 1023988"/>
                              <a:gd name="connsiteY469" fmla="*/ 330658 h 441950"/>
                              <a:gd name="connsiteX470" fmla="*/ 964655 w 1023988"/>
                              <a:gd name="connsiteY470" fmla="*/ 319253 h 441950"/>
                              <a:gd name="connsiteX471" fmla="*/ 962373 w 1023988"/>
                              <a:gd name="connsiteY471" fmla="*/ 314691 h 441950"/>
                              <a:gd name="connsiteX472" fmla="*/ 955527 w 1023988"/>
                              <a:gd name="connsiteY472" fmla="*/ 314691 h 441950"/>
                              <a:gd name="connsiteX473" fmla="*/ 957809 w 1023988"/>
                              <a:gd name="connsiteY473" fmla="*/ 307848 h 441950"/>
                              <a:gd name="connsiteX474" fmla="*/ 950963 w 1023988"/>
                              <a:gd name="connsiteY474" fmla="*/ 303286 h 441950"/>
                              <a:gd name="connsiteX475" fmla="*/ 944117 w 1023988"/>
                              <a:gd name="connsiteY475" fmla="*/ 301005 h 441950"/>
                              <a:gd name="connsiteX476" fmla="*/ 937271 w 1023988"/>
                              <a:gd name="connsiteY476" fmla="*/ 296443 h 441950"/>
                              <a:gd name="connsiteX477" fmla="*/ 925861 w 1023988"/>
                              <a:gd name="connsiteY477" fmla="*/ 291881 h 441950"/>
                              <a:gd name="connsiteX478" fmla="*/ 912169 w 1023988"/>
                              <a:gd name="connsiteY478" fmla="*/ 285038 h 441950"/>
                              <a:gd name="connsiteX479" fmla="*/ 896194 w 1023988"/>
                              <a:gd name="connsiteY479" fmla="*/ 285038 h 441950"/>
                              <a:gd name="connsiteX480" fmla="*/ 884784 w 1023988"/>
                              <a:gd name="connsiteY480" fmla="*/ 275914 h 441950"/>
                              <a:gd name="connsiteX481" fmla="*/ 887351 w 1023988"/>
                              <a:gd name="connsiteY481" fmla="*/ 272778 h 441950"/>
                              <a:gd name="connsiteX482" fmla="*/ 884784 w 1023988"/>
                              <a:gd name="connsiteY482" fmla="*/ 273633 h 441950"/>
                              <a:gd name="connsiteX483" fmla="*/ 877938 w 1023988"/>
                              <a:gd name="connsiteY483" fmla="*/ 271352 h 441950"/>
                              <a:gd name="connsiteX484" fmla="*/ 875656 w 1023988"/>
                              <a:gd name="connsiteY484" fmla="*/ 269071 h 441950"/>
                              <a:gd name="connsiteX485" fmla="*/ 868810 w 1023988"/>
                              <a:gd name="connsiteY485" fmla="*/ 264509 h 441950"/>
                              <a:gd name="connsiteX486" fmla="*/ 866528 w 1023988"/>
                              <a:gd name="connsiteY486" fmla="*/ 264509 h 441950"/>
                              <a:gd name="connsiteX487" fmla="*/ 864246 w 1023988"/>
                              <a:gd name="connsiteY487" fmla="*/ 257667 h 441950"/>
                              <a:gd name="connsiteX488" fmla="*/ 868810 w 1023988"/>
                              <a:gd name="connsiteY488" fmla="*/ 248543 h 441950"/>
                              <a:gd name="connsiteX489" fmla="*/ 864246 w 1023988"/>
                              <a:gd name="connsiteY489" fmla="*/ 253105 h 441950"/>
                              <a:gd name="connsiteX490" fmla="*/ 861964 w 1023988"/>
                              <a:gd name="connsiteY490" fmla="*/ 259948 h 441950"/>
                              <a:gd name="connsiteX491" fmla="*/ 859682 w 1023988"/>
                              <a:gd name="connsiteY491" fmla="*/ 264509 h 441950"/>
                              <a:gd name="connsiteX492" fmla="*/ 859682 w 1023988"/>
                              <a:gd name="connsiteY492" fmla="*/ 266790 h 441950"/>
                              <a:gd name="connsiteX493" fmla="*/ 857399 w 1023988"/>
                              <a:gd name="connsiteY493" fmla="*/ 271352 h 441950"/>
                              <a:gd name="connsiteX494" fmla="*/ 848271 w 1023988"/>
                              <a:gd name="connsiteY494" fmla="*/ 275914 h 441950"/>
                              <a:gd name="connsiteX495" fmla="*/ 843707 w 1023988"/>
                              <a:gd name="connsiteY495" fmla="*/ 266790 h 441950"/>
                              <a:gd name="connsiteX496" fmla="*/ 848271 w 1023988"/>
                              <a:gd name="connsiteY496" fmla="*/ 264509 h 441950"/>
                              <a:gd name="connsiteX497" fmla="*/ 845989 w 1023988"/>
                              <a:gd name="connsiteY497" fmla="*/ 257667 h 441950"/>
                              <a:gd name="connsiteX498" fmla="*/ 834579 w 1023988"/>
                              <a:gd name="connsiteY498" fmla="*/ 246262 h 441950"/>
                              <a:gd name="connsiteX499" fmla="*/ 834579 w 1023988"/>
                              <a:gd name="connsiteY499" fmla="*/ 241700 h 441950"/>
                              <a:gd name="connsiteX500" fmla="*/ 848271 w 1023988"/>
                              <a:gd name="connsiteY500" fmla="*/ 239419 h 441950"/>
                              <a:gd name="connsiteX501" fmla="*/ 859682 w 1023988"/>
                              <a:gd name="connsiteY501" fmla="*/ 241700 h 441950"/>
                              <a:gd name="connsiteX502" fmla="*/ 859682 w 1023988"/>
                              <a:gd name="connsiteY502" fmla="*/ 237138 h 441950"/>
                              <a:gd name="connsiteX503" fmla="*/ 866528 w 1023988"/>
                              <a:gd name="connsiteY503" fmla="*/ 239419 h 441950"/>
                              <a:gd name="connsiteX504" fmla="*/ 868810 w 1023988"/>
                              <a:gd name="connsiteY504" fmla="*/ 239419 h 441950"/>
                              <a:gd name="connsiteX505" fmla="*/ 866528 w 1023988"/>
                              <a:gd name="connsiteY505" fmla="*/ 234857 h 441950"/>
                              <a:gd name="connsiteX506" fmla="*/ 871092 w 1023988"/>
                              <a:gd name="connsiteY506" fmla="*/ 234857 h 441950"/>
                              <a:gd name="connsiteX507" fmla="*/ 871092 w 1023988"/>
                              <a:gd name="connsiteY507" fmla="*/ 230295 h 441950"/>
                              <a:gd name="connsiteX508" fmla="*/ 871092 w 1023988"/>
                              <a:gd name="connsiteY508" fmla="*/ 228014 h 441950"/>
                              <a:gd name="connsiteX509" fmla="*/ 859682 w 1023988"/>
                              <a:gd name="connsiteY509" fmla="*/ 230295 h 441950"/>
                              <a:gd name="connsiteX510" fmla="*/ 850553 w 1023988"/>
                              <a:gd name="connsiteY510" fmla="*/ 230295 h 441950"/>
                              <a:gd name="connsiteX511" fmla="*/ 841425 w 1023988"/>
                              <a:gd name="connsiteY511" fmla="*/ 230295 h 441950"/>
                              <a:gd name="connsiteX512" fmla="*/ 836861 w 1023988"/>
                              <a:gd name="connsiteY512" fmla="*/ 230295 h 441950"/>
                              <a:gd name="connsiteX513" fmla="*/ 830015 w 1023988"/>
                              <a:gd name="connsiteY513" fmla="*/ 225733 h 441950"/>
                              <a:gd name="connsiteX514" fmla="*/ 832297 w 1023988"/>
                              <a:gd name="connsiteY514" fmla="*/ 223452 h 441950"/>
                              <a:gd name="connsiteX515" fmla="*/ 827733 w 1023988"/>
                              <a:gd name="connsiteY515" fmla="*/ 218890 h 441950"/>
                              <a:gd name="connsiteX516" fmla="*/ 830015 w 1023988"/>
                              <a:gd name="connsiteY516" fmla="*/ 216609 h 441950"/>
                              <a:gd name="connsiteX517" fmla="*/ 827733 w 1023988"/>
                              <a:gd name="connsiteY517" fmla="*/ 214328 h 441950"/>
                              <a:gd name="connsiteX518" fmla="*/ 825451 w 1023988"/>
                              <a:gd name="connsiteY518" fmla="*/ 212047 h 441950"/>
                              <a:gd name="connsiteX519" fmla="*/ 814041 w 1023988"/>
                              <a:gd name="connsiteY519" fmla="*/ 209766 h 441950"/>
                              <a:gd name="connsiteX520" fmla="*/ 809477 w 1023988"/>
                              <a:gd name="connsiteY520" fmla="*/ 212047 h 441950"/>
                              <a:gd name="connsiteX521" fmla="*/ 814041 w 1023988"/>
                              <a:gd name="connsiteY521" fmla="*/ 200642 h 441950"/>
                              <a:gd name="connsiteX522" fmla="*/ 814041 w 1023988"/>
                              <a:gd name="connsiteY522" fmla="*/ 196080 h 441950"/>
                              <a:gd name="connsiteX523" fmla="*/ 830015 w 1023988"/>
                              <a:gd name="connsiteY523" fmla="*/ 189237 h 441950"/>
                              <a:gd name="connsiteX524" fmla="*/ 845989 w 1023988"/>
                              <a:gd name="connsiteY524" fmla="*/ 184675 h 441950"/>
                              <a:gd name="connsiteX525" fmla="*/ 727523 w 1023988"/>
                              <a:gd name="connsiteY525" fmla="*/ 182393 h 441950"/>
                              <a:gd name="connsiteX526" fmla="*/ 725141 w 1023988"/>
                              <a:gd name="connsiteY526" fmla="*/ 189537 h 441950"/>
                              <a:gd name="connsiteX527" fmla="*/ 727523 w 1023988"/>
                              <a:gd name="connsiteY527" fmla="*/ 182393 h 441950"/>
                              <a:gd name="connsiteX528" fmla="*/ 734219 w 1023988"/>
                              <a:gd name="connsiteY528" fmla="*/ 182393 h 441950"/>
                              <a:gd name="connsiteX529" fmla="*/ 736452 w 1023988"/>
                              <a:gd name="connsiteY529" fmla="*/ 187155 h 441950"/>
                              <a:gd name="connsiteX530" fmla="*/ 738684 w 1023988"/>
                              <a:gd name="connsiteY530" fmla="*/ 191918 h 441950"/>
                              <a:gd name="connsiteX531" fmla="*/ 736452 w 1023988"/>
                              <a:gd name="connsiteY531" fmla="*/ 196681 h 441950"/>
                              <a:gd name="connsiteX532" fmla="*/ 731987 w 1023988"/>
                              <a:gd name="connsiteY532" fmla="*/ 196681 h 441950"/>
                              <a:gd name="connsiteX533" fmla="*/ 731987 w 1023988"/>
                              <a:gd name="connsiteY533" fmla="*/ 191918 h 441950"/>
                              <a:gd name="connsiteX534" fmla="*/ 729754 w 1023988"/>
                              <a:gd name="connsiteY534" fmla="*/ 184774 h 441950"/>
                              <a:gd name="connsiteX535" fmla="*/ 731987 w 1023988"/>
                              <a:gd name="connsiteY535" fmla="*/ 184774 h 441950"/>
                              <a:gd name="connsiteX536" fmla="*/ 734219 w 1023988"/>
                              <a:gd name="connsiteY536" fmla="*/ 182393 h 441950"/>
                              <a:gd name="connsiteX537" fmla="*/ 107207 w 1023988"/>
                              <a:gd name="connsiteY537" fmla="*/ 182393 h 441950"/>
                              <a:gd name="connsiteX538" fmla="*/ 109589 w 1023988"/>
                              <a:gd name="connsiteY538" fmla="*/ 187155 h 441950"/>
                              <a:gd name="connsiteX539" fmla="*/ 104826 w 1023988"/>
                              <a:gd name="connsiteY539" fmla="*/ 187155 h 441950"/>
                              <a:gd name="connsiteX540" fmla="*/ 107207 w 1023988"/>
                              <a:gd name="connsiteY540" fmla="*/ 182393 h 441950"/>
                              <a:gd name="connsiteX541" fmla="*/ 239128 w 1023988"/>
                              <a:gd name="connsiteY541" fmla="*/ 176440 h 441950"/>
                              <a:gd name="connsiteX542" fmla="*/ 247701 w 1023988"/>
                              <a:gd name="connsiteY542" fmla="*/ 182691 h 441950"/>
                              <a:gd name="connsiteX543" fmla="*/ 243414 w 1023988"/>
                              <a:gd name="connsiteY543" fmla="*/ 182691 h 441950"/>
                              <a:gd name="connsiteX544" fmla="*/ 239128 w 1023988"/>
                              <a:gd name="connsiteY544" fmla="*/ 182691 h 441950"/>
                              <a:gd name="connsiteX545" fmla="*/ 239128 w 1023988"/>
                              <a:gd name="connsiteY545" fmla="*/ 176440 h 441950"/>
                              <a:gd name="connsiteX546" fmla="*/ 104826 w 1023988"/>
                              <a:gd name="connsiteY546" fmla="*/ 176440 h 441950"/>
                              <a:gd name="connsiteX547" fmla="*/ 109589 w 1023988"/>
                              <a:gd name="connsiteY547" fmla="*/ 184775 h 441950"/>
                              <a:gd name="connsiteX548" fmla="*/ 104826 w 1023988"/>
                              <a:gd name="connsiteY548" fmla="*/ 176440 h 441950"/>
                              <a:gd name="connsiteX549" fmla="*/ 209600 w 1023988"/>
                              <a:gd name="connsiteY549" fmla="*/ 159771 h 441950"/>
                              <a:gd name="connsiteX550" fmla="*/ 211982 w 1023988"/>
                              <a:gd name="connsiteY550" fmla="*/ 162152 h 441950"/>
                              <a:gd name="connsiteX551" fmla="*/ 209600 w 1023988"/>
                              <a:gd name="connsiteY551" fmla="*/ 162152 h 441950"/>
                              <a:gd name="connsiteX552" fmla="*/ 209600 w 1023988"/>
                              <a:gd name="connsiteY552" fmla="*/ 159771 h 441950"/>
                              <a:gd name="connsiteX553" fmla="*/ 729903 w 1023988"/>
                              <a:gd name="connsiteY553" fmla="*/ 157390 h 441950"/>
                              <a:gd name="connsiteX554" fmla="*/ 732284 w 1023988"/>
                              <a:gd name="connsiteY554" fmla="*/ 157390 h 441950"/>
                              <a:gd name="connsiteX555" fmla="*/ 732284 w 1023988"/>
                              <a:gd name="connsiteY555" fmla="*/ 159771 h 441950"/>
                              <a:gd name="connsiteX556" fmla="*/ 211982 w 1023988"/>
                              <a:gd name="connsiteY556" fmla="*/ 155009 h 441950"/>
                              <a:gd name="connsiteX557" fmla="*/ 215554 w 1023988"/>
                              <a:gd name="connsiteY557" fmla="*/ 157390 h 441950"/>
                              <a:gd name="connsiteX558" fmla="*/ 215554 w 1023988"/>
                              <a:gd name="connsiteY558" fmla="*/ 159772 h 441950"/>
                              <a:gd name="connsiteX559" fmla="*/ 211982 w 1023988"/>
                              <a:gd name="connsiteY559" fmla="*/ 155009 h 441950"/>
                              <a:gd name="connsiteX560" fmla="*/ 202754 w 1023988"/>
                              <a:gd name="connsiteY560" fmla="*/ 148847 h 441950"/>
                              <a:gd name="connsiteX561" fmla="*/ 209600 w 1023988"/>
                              <a:gd name="connsiteY561" fmla="*/ 155009 h 441950"/>
                              <a:gd name="connsiteX562" fmla="*/ 203647 w 1023988"/>
                              <a:gd name="connsiteY562" fmla="*/ 152062 h 441950"/>
                              <a:gd name="connsiteX563" fmla="*/ 200260 w 1023988"/>
                              <a:gd name="connsiteY563" fmla="*/ 151300 h 441950"/>
                              <a:gd name="connsiteX564" fmla="*/ 207220 w 1023988"/>
                              <a:gd name="connsiteY564" fmla="*/ 157390 h 441950"/>
                              <a:gd name="connsiteX565" fmla="*/ 195313 w 1023988"/>
                              <a:gd name="connsiteY565" fmla="*/ 155306 h 441950"/>
                              <a:gd name="connsiteX566" fmla="*/ 195313 w 1023988"/>
                              <a:gd name="connsiteY566" fmla="*/ 149055 h 441950"/>
                              <a:gd name="connsiteX567" fmla="*/ 198468 w 1023988"/>
                              <a:gd name="connsiteY567" fmla="*/ 150435 h 441950"/>
                              <a:gd name="connsiteX568" fmla="*/ 234931 w 1023988"/>
                              <a:gd name="connsiteY568" fmla="*/ 148386 h 441950"/>
                              <a:gd name="connsiteX569" fmla="*/ 240557 w 1023988"/>
                              <a:gd name="connsiteY569" fmla="*/ 150841 h 441950"/>
                              <a:gd name="connsiteX570" fmla="*/ 236270 w 1023988"/>
                              <a:gd name="connsiteY570" fmla="*/ 153024 h 441950"/>
                              <a:gd name="connsiteX571" fmla="*/ 234127 w 1023988"/>
                              <a:gd name="connsiteY571" fmla="*/ 150841 h 441950"/>
                              <a:gd name="connsiteX572" fmla="*/ 234931 w 1023988"/>
                              <a:gd name="connsiteY572" fmla="*/ 148386 h 441950"/>
                              <a:gd name="connsiteX573" fmla="*/ 226566 w 1023988"/>
                              <a:gd name="connsiteY573" fmla="*/ 147567 h 441950"/>
                              <a:gd name="connsiteX574" fmla="*/ 229841 w 1023988"/>
                              <a:gd name="connsiteY574" fmla="*/ 149055 h 441950"/>
                              <a:gd name="connsiteX575" fmla="*/ 225078 w 1023988"/>
                              <a:gd name="connsiteY575" fmla="*/ 151437 h 441950"/>
                              <a:gd name="connsiteX576" fmla="*/ 226566 w 1023988"/>
                              <a:gd name="connsiteY576" fmla="*/ 147567 h 441950"/>
                              <a:gd name="connsiteX577" fmla="*/ 86456 w 1023988"/>
                              <a:gd name="connsiteY577" fmla="*/ 139530 h 441950"/>
                              <a:gd name="connsiteX578" fmla="*/ 95301 w 1023988"/>
                              <a:gd name="connsiteY578" fmla="*/ 150895 h 441950"/>
                              <a:gd name="connsiteX579" fmla="*/ 90878 w 1023988"/>
                              <a:gd name="connsiteY579" fmla="*/ 159988 h 441950"/>
                              <a:gd name="connsiteX580" fmla="*/ 88667 w 1023988"/>
                              <a:gd name="connsiteY580" fmla="*/ 155442 h 441950"/>
                              <a:gd name="connsiteX581" fmla="*/ 84244 w 1023988"/>
                              <a:gd name="connsiteY581" fmla="*/ 150895 h 441950"/>
                              <a:gd name="connsiteX582" fmla="*/ 79822 w 1023988"/>
                              <a:gd name="connsiteY582" fmla="*/ 141803 h 441950"/>
                              <a:gd name="connsiteX583" fmla="*/ 86456 w 1023988"/>
                              <a:gd name="connsiteY583" fmla="*/ 139530 h 441950"/>
                              <a:gd name="connsiteX584" fmla="*/ 184597 w 1023988"/>
                              <a:gd name="connsiteY584" fmla="*/ 137149 h 441950"/>
                              <a:gd name="connsiteX585" fmla="*/ 192932 w 1023988"/>
                              <a:gd name="connsiteY585" fmla="*/ 139530 h 441950"/>
                              <a:gd name="connsiteX586" fmla="*/ 192932 w 1023988"/>
                              <a:gd name="connsiteY586" fmla="*/ 144293 h 441950"/>
                              <a:gd name="connsiteX587" fmla="*/ 189142 w 1023988"/>
                              <a:gd name="connsiteY587" fmla="*/ 142127 h 441950"/>
                              <a:gd name="connsiteX588" fmla="*/ 192932 w 1023988"/>
                              <a:gd name="connsiteY588" fmla="*/ 146674 h 441950"/>
                              <a:gd name="connsiteX589" fmla="*/ 192932 w 1023988"/>
                              <a:gd name="connsiteY589" fmla="*/ 153818 h 441950"/>
                              <a:gd name="connsiteX590" fmla="*/ 189009 w 1023988"/>
                              <a:gd name="connsiteY590" fmla="*/ 142051 h 441950"/>
                              <a:gd name="connsiteX591" fmla="*/ 188764 w 1023988"/>
                              <a:gd name="connsiteY591" fmla="*/ 141912 h 441950"/>
                              <a:gd name="connsiteX592" fmla="*/ 184597 w 1023988"/>
                              <a:gd name="connsiteY592" fmla="*/ 137149 h 441950"/>
                              <a:gd name="connsiteX593" fmla="*/ 677805 w 1023988"/>
                              <a:gd name="connsiteY593" fmla="*/ 134769 h 441950"/>
                              <a:gd name="connsiteX594" fmla="*/ 682376 w 1023988"/>
                              <a:gd name="connsiteY594" fmla="*/ 134769 h 441950"/>
                              <a:gd name="connsiteX595" fmla="*/ 684661 w 1023988"/>
                              <a:gd name="connsiteY595" fmla="*/ 139323 h 441950"/>
                              <a:gd name="connsiteX596" fmla="*/ 675520 w 1023988"/>
                              <a:gd name="connsiteY596" fmla="*/ 152985 h 441950"/>
                              <a:gd name="connsiteX597" fmla="*/ 668664 w 1023988"/>
                              <a:gd name="connsiteY597" fmla="*/ 162094 h 441950"/>
                              <a:gd name="connsiteX598" fmla="*/ 641241 w 1023988"/>
                              <a:gd name="connsiteY598" fmla="*/ 166648 h 441950"/>
                              <a:gd name="connsiteX599" fmla="*/ 627530 w 1023988"/>
                              <a:gd name="connsiteY599" fmla="*/ 164371 h 441950"/>
                              <a:gd name="connsiteX600" fmla="*/ 611533 w 1023988"/>
                              <a:gd name="connsiteY600" fmla="*/ 164371 h 441950"/>
                              <a:gd name="connsiteX601" fmla="*/ 602392 w 1023988"/>
                              <a:gd name="connsiteY601" fmla="*/ 164371 h 441950"/>
                              <a:gd name="connsiteX602" fmla="*/ 595536 w 1023988"/>
                              <a:gd name="connsiteY602" fmla="*/ 164371 h 441950"/>
                              <a:gd name="connsiteX603" fmla="*/ 581825 w 1023988"/>
                              <a:gd name="connsiteY603" fmla="*/ 164371 h 441950"/>
                              <a:gd name="connsiteX604" fmla="*/ 572684 w 1023988"/>
                              <a:gd name="connsiteY604" fmla="*/ 173479 h 441950"/>
                              <a:gd name="connsiteX605" fmla="*/ 577254 w 1023988"/>
                              <a:gd name="connsiteY605" fmla="*/ 198527 h 441950"/>
                              <a:gd name="connsiteX606" fmla="*/ 581825 w 1023988"/>
                              <a:gd name="connsiteY606" fmla="*/ 200804 h 441950"/>
                              <a:gd name="connsiteX607" fmla="*/ 584110 w 1023988"/>
                              <a:gd name="connsiteY607" fmla="*/ 205358 h 441950"/>
                              <a:gd name="connsiteX608" fmla="*/ 590966 w 1023988"/>
                              <a:gd name="connsiteY608" fmla="*/ 209912 h 441950"/>
                              <a:gd name="connsiteX609" fmla="*/ 597822 w 1023988"/>
                              <a:gd name="connsiteY609" fmla="*/ 205358 h 441950"/>
                              <a:gd name="connsiteX610" fmla="*/ 606963 w 1023988"/>
                              <a:gd name="connsiteY610" fmla="*/ 196250 h 441950"/>
                              <a:gd name="connsiteX611" fmla="*/ 618389 w 1023988"/>
                              <a:gd name="connsiteY611" fmla="*/ 196250 h 441950"/>
                              <a:gd name="connsiteX612" fmla="*/ 634385 w 1023988"/>
                              <a:gd name="connsiteY612" fmla="*/ 193973 h 441950"/>
                              <a:gd name="connsiteX613" fmla="*/ 629815 w 1023988"/>
                              <a:gd name="connsiteY613" fmla="*/ 191696 h 441950"/>
                              <a:gd name="connsiteX614" fmla="*/ 645812 w 1023988"/>
                              <a:gd name="connsiteY614" fmla="*/ 191696 h 441950"/>
                              <a:gd name="connsiteX615" fmla="*/ 643526 w 1023988"/>
                              <a:gd name="connsiteY615" fmla="*/ 200804 h 441950"/>
                              <a:gd name="connsiteX616" fmla="*/ 638956 w 1023988"/>
                              <a:gd name="connsiteY616" fmla="*/ 196250 h 441950"/>
                              <a:gd name="connsiteX617" fmla="*/ 620674 w 1023988"/>
                              <a:gd name="connsiteY617" fmla="*/ 212189 h 441950"/>
                              <a:gd name="connsiteX618" fmla="*/ 609248 w 1023988"/>
                              <a:gd name="connsiteY618" fmla="*/ 219021 h 441950"/>
                              <a:gd name="connsiteX619" fmla="*/ 600107 w 1023988"/>
                              <a:gd name="connsiteY619" fmla="*/ 219021 h 441950"/>
                              <a:gd name="connsiteX620" fmla="*/ 600107 w 1023988"/>
                              <a:gd name="connsiteY620" fmla="*/ 223575 h 441950"/>
                              <a:gd name="connsiteX621" fmla="*/ 606963 w 1023988"/>
                              <a:gd name="connsiteY621" fmla="*/ 228129 h 441950"/>
                              <a:gd name="connsiteX622" fmla="*/ 611533 w 1023988"/>
                              <a:gd name="connsiteY622" fmla="*/ 237237 h 441950"/>
                              <a:gd name="connsiteX623" fmla="*/ 613818 w 1023988"/>
                              <a:gd name="connsiteY623" fmla="*/ 241791 h 441950"/>
                              <a:gd name="connsiteX624" fmla="*/ 618389 w 1023988"/>
                              <a:gd name="connsiteY624" fmla="*/ 246346 h 441950"/>
                              <a:gd name="connsiteX625" fmla="*/ 620674 w 1023988"/>
                              <a:gd name="connsiteY625" fmla="*/ 250900 h 441950"/>
                              <a:gd name="connsiteX626" fmla="*/ 622959 w 1023988"/>
                              <a:gd name="connsiteY626" fmla="*/ 253177 h 441950"/>
                              <a:gd name="connsiteX627" fmla="*/ 620674 w 1023988"/>
                              <a:gd name="connsiteY627" fmla="*/ 260008 h 441950"/>
                              <a:gd name="connsiteX628" fmla="*/ 618389 w 1023988"/>
                              <a:gd name="connsiteY628" fmla="*/ 257731 h 441950"/>
                              <a:gd name="connsiteX629" fmla="*/ 620674 w 1023988"/>
                              <a:gd name="connsiteY629" fmla="*/ 266839 h 441950"/>
                              <a:gd name="connsiteX630" fmla="*/ 625244 w 1023988"/>
                              <a:gd name="connsiteY630" fmla="*/ 271393 h 441950"/>
                              <a:gd name="connsiteX631" fmla="*/ 625244 w 1023988"/>
                              <a:gd name="connsiteY631" fmla="*/ 273670 h 441950"/>
                              <a:gd name="connsiteX632" fmla="*/ 629815 w 1023988"/>
                              <a:gd name="connsiteY632" fmla="*/ 273670 h 441950"/>
                              <a:gd name="connsiteX633" fmla="*/ 627530 w 1023988"/>
                              <a:gd name="connsiteY633" fmla="*/ 280502 h 441950"/>
                              <a:gd name="connsiteX634" fmla="*/ 622959 w 1023988"/>
                              <a:gd name="connsiteY634" fmla="*/ 282779 h 441950"/>
                              <a:gd name="connsiteX635" fmla="*/ 613818 w 1023988"/>
                              <a:gd name="connsiteY635" fmla="*/ 287333 h 441950"/>
                              <a:gd name="connsiteX636" fmla="*/ 611533 w 1023988"/>
                              <a:gd name="connsiteY636" fmla="*/ 294164 h 441950"/>
                              <a:gd name="connsiteX637" fmla="*/ 602392 w 1023988"/>
                              <a:gd name="connsiteY637" fmla="*/ 291887 h 441950"/>
                              <a:gd name="connsiteX638" fmla="*/ 602392 w 1023988"/>
                              <a:gd name="connsiteY638" fmla="*/ 273670 h 441950"/>
                              <a:gd name="connsiteX639" fmla="*/ 590966 w 1023988"/>
                              <a:gd name="connsiteY639" fmla="*/ 255454 h 441950"/>
                              <a:gd name="connsiteX640" fmla="*/ 590966 w 1023988"/>
                              <a:gd name="connsiteY640" fmla="*/ 239514 h 441950"/>
                              <a:gd name="connsiteX641" fmla="*/ 574969 w 1023988"/>
                              <a:gd name="connsiteY641" fmla="*/ 250900 h 441950"/>
                              <a:gd name="connsiteX642" fmla="*/ 577254 w 1023988"/>
                              <a:gd name="connsiteY642" fmla="*/ 257731 h 441950"/>
                              <a:gd name="connsiteX643" fmla="*/ 577254 w 1023988"/>
                              <a:gd name="connsiteY643" fmla="*/ 266839 h 441950"/>
                              <a:gd name="connsiteX644" fmla="*/ 577254 w 1023988"/>
                              <a:gd name="connsiteY644" fmla="*/ 280502 h 441950"/>
                              <a:gd name="connsiteX645" fmla="*/ 574969 w 1023988"/>
                              <a:gd name="connsiteY645" fmla="*/ 298718 h 441950"/>
                              <a:gd name="connsiteX646" fmla="*/ 577254 w 1023988"/>
                              <a:gd name="connsiteY646" fmla="*/ 312381 h 441950"/>
                              <a:gd name="connsiteX647" fmla="*/ 568113 w 1023988"/>
                              <a:gd name="connsiteY647" fmla="*/ 312381 h 441950"/>
                              <a:gd name="connsiteX648" fmla="*/ 563543 w 1023988"/>
                              <a:gd name="connsiteY648" fmla="*/ 314658 h 441950"/>
                              <a:gd name="connsiteX649" fmla="*/ 554402 w 1023988"/>
                              <a:gd name="connsiteY649" fmla="*/ 312381 h 441950"/>
                              <a:gd name="connsiteX650" fmla="*/ 554402 w 1023988"/>
                              <a:gd name="connsiteY650" fmla="*/ 300995 h 441950"/>
                              <a:gd name="connsiteX651" fmla="*/ 558972 w 1023988"/>
                              <a:gd name="connsiteY651" fmla="*/ 285056 h 441950"/>
                              <a:gd name="connsiteX652" fmla="*/ 558972 w 1023988"/>
                              <a:gd name="connsiteY652" fmla="*/ 269116 h 441950"/>
                              <a:gd name="connsiteX653" fmla="*/ 556687 w 1023988"/>
                              <a:gd name="connsiteY653" fmla="*/ 260008 h 441950"/>
                              <a:gd name="connsiteX654" fmla="*/ 547546 w 1023988"/>
                              <a:gd name="connsiteY654" fmla="*/ 262285 h 441950"/>
                              <a:gd name="connsiteX655" fmla="*/ 545261 w 1023988"/>
                              <a:gd name="connsiteY655" fmla="*/ 248623 h 441950"/>
                              <a:gd name="connsiteX656" fmla="*/ 542976 w 1023988"/>
                              <a:gd name="connsiteY656" fmla="*/ 244068 h 441950"/>
                              <a:gd name="connsiteX657" fmla="*/ 552117 w 1023988"/>
                              <a:gd name="connsiteY657" fmla="*/ 232683 h 441950"/>
                              <a:gd name="connsiteX658" fmla="*/ 556687 w 1023988"/>
                              <a:gd name="connsiteY658" fmla="*/ 221298 h 441950"/>
                              <a:gd name="connsiteX659" fmla="*/ 556687 w 1023988"/>
                              <a:gd name="connsiteY659" fmla="*/ 209912 h 441950"/>
                              <a:gd name="connsiteX660" fmla="*/ 565828 w 1023988"/>
                              <a:gd name="connsiteY660" fmla="*/ 191696 h 441950"/>
                              <a:gd name="connsiteX661" fmla="*/ 568113 w 1023988"/>
                              <a:gd name="connsiteY661" fmla="*/ 196250 h 441950"/>
                              <a:gd name="connsiteX662" fmla="*/ 565828 w 1023988"/>
                              <a:gd name="connsiteY662" fmla="*/ 184865 h 441950"/>
                              <a:gd name="connsiteX663" fmla="*/ 563543 w 1023988"/>
                              <a:gd name="connsiteY663" fmla="*/ 175756 h 441950"/>
                              <a:gd name="connsiteX664" fmla="*/ 565828 w 1023988"/>
                              <a:gd name="connsiteY664" fmla="*/ 178033 h 441950"/>
                              <a:gd name="connsiteX665" fmla="*/ 570399 w 1023988"/>
                              <a:gd name="connsiteY665" fmla="*/ 164371 h 441950"/>
                              <a:gd name="connsiteX666" fmla="*/ 572684 w 1023988"/>
                              <a:gd name="connsiteY666" fmla="*/ 157540 h 441950"/>
                              <a:gd name="connsiteX667" fmla="*/ 577254 w 1023988"/>
                              <a:gd name="connsiteY667" fmla="*/ 152985 h 441950"/>
                              <a:gd name="connsiteX668" fmla="*/ 588681 w 1023988"/>
                              <a:gd name="connsiteY668" fmla="*/ 146154 h 441950"/>
                              <a:gd name="connsiteX669" fmla="*/ 600107 w 1023988"/>
                              <a:gd name="connsiteY669" fmla="*/ 146154 h 441950"/>
                              <a:gd name="connsiteX670" fmla="*/ 606963 w 1023988"/>
                              <a:gd name="connsiteY670" fmla="*/ 150708 h 441950"/>
                              <a:gd name="connsiteX671" fmla="*/ 616103 w 1023988"/>
                              <a:gd name="connsiteY671" fmla="*/ 150708 h 441950"/>
                              <a:gd name="connsiteX672" fmla="*/ 632100 w 1023988"/>
                              <a:gd name="connsiteY672" fmla="*/ 155263 h 441950"/>
                              <a:gd name="connsiteX673" fmla="*/ 638956 w 1023988"/>
                              <a:gd name="connsiteY673" fmla="*/ 152985 h 441950"/>
                              <a:gd name="connsiteX674" fmla="*/ 650382 w 1023988"/>
                              <a:gd name="connsiteY674" fmla="*/ 155263 h 441950"/>
                              <a:gd name="connsiteX675" fmla="*/ 664094 w 1023988"/>
                              <a:gd name="connsiteY675" fmla="*/ 148431 h 441950"/>
                              <a:gd name="connsiteX676" fmla="*/ 668664 w 1023988"/>
                              <a:gd name="connsiteY676" fmla="*/ 146154 h 441950"/>
                              <a:gd name="connsiteX677" fmla="*/ 673235 w 1023988"/>
                              <a:gd name="connsiteY677" fmla="*/ 141600 h 441950"/>
                              <a:gd name="connsiteX678" fmla="*/ 677805 w 1023988"/>
                              <a:gd name="connsiteY678" fmla="*/ 134769 h 441950"/>
                              <a:gd name="connsiteX679" fmla="*/ 170310 w 1023988"/>
                              <a:gd name="connsiteY679" fmla="*/ 128339 h 441950"/>
                              <a:gd name="connsiteX680" fmla="*/ 177454 w 1023988"/>
                              <a:gd name="connsiteY680" fmla="*/ 128339 h 441950"/>
                              <a:gd name="connsiteX681" fmla="*/ 175072 w 1023988"/>
                              <a:gd name="connsiteY681" fmla="*/ 134769 h 441950"/>
                              <a:gd name="connsiteX682" fmla="*/ 170310 w 1023988"/>
                              <a:gd name="connsiteY682" fmla="*/ 128339 h 441950"/>
                              <a:gd name="connsiteX683" fmla="*/ 743680 w 1023988"/>
                              <a:gd name="connsiteY683" fmla="*/ 124053 h 441950"/>
                              <a:gd name="connsiteX684" fmla="*/ 741384 w 1023988"/>
                              <a:gd name="connsiteY684" fmla="*/ 128599 h 441950"/>
                              <a:gd name="connsiteX685" fmla="*/ 743680 w 1023988"/>
                              <a:gd name="connsiteY685" fmla="*/ 135418 h 441950"/>
                              <a:gd name="connsiteX686" fmla="*/ 739088 w 1023988"/>
                              <a:gd name="connsiteY686" fmla="*/ 149056 h 441950"/>
                              <a:gd name="connsiteX687" fmla="*/ 736791 w 1023988"/>
                              <a:gd name="connsiteY687" fmla="*/ 153602 h 441950"/>
                              <a:gd name="connsiteX688" fmla="*/ 741384 w 1023988"/>
                              <a:gd name="connsiteY688" fmla="*/ 155875 h 441950"/>
                              <a:gd name="connsiteX689" fmla="*/ 745976 w 1023988"/>
                              <a:gd name="connsiteY689" fmla="*/ 149056 h 441950"/>
                              <a:gd name="connsiteX690" fmla="*/ 745976 w 1023988"/>
                              <a:gd name="connsiteY690" fmla="*/ 146783 h 441950"/>
                              <a:gd name="connsiteX691" fmla="*/ 759754 w 1023988"/>
                              <a:gd name="connsiteY691" fmla="*/ 137691 h 441950"/>
                              <a:gd name="connsiteX692" fmla="*/ 759754 w 1023988"/>
                              <a:gd name="connsiteY692" fmla="*/ 146783 h 441950"/>
                              <a:gd name="connsiteX693" fmla="*/ 750569 w 1023988"/>
                              <a:gd name="connsiteY693" fmla="*/ 155875 h 441950"/>
                              <a:gd name="connsiteX694" fmla="*/ 757457 w 1023988"/>
                              <a:gd name="connsiteY694" fmla="*/ 162694 h 441950"/>
                              <a:gd name="connsiteX695" fmla="*/ 762050 w 1023988"/>
                              <a:gd name="connsiteY695" fmla="*/ 169513 h 441950"/>
                              <a:gd name="connsiteX696" fmla="*/ 748272 w 1023988"/>
                              <a:gd name="connsiteY696" fmla="*/ 164967 h 441950"/>
                              <a:gd name="connsiteX697" fmla="*/ 741384 w 1023988"/>
                              <a:gd name="connsiteY697" fmla="*/ 171787 h 441950"/>
                              <a:gd name="connsiteX698" fmla="*/ 752865 w 1023988"/>
                              <a:gd name="connsiteY698" fmla="*/ 196790 h 441950"/>
                              <a:gd name="connsiteX699" fmla="*/ 743680 w 1023988"/>
                              <a:gd name="connsiteY699" fmla="*/ 189971 h 441950"/>
                              <a:gd name="connsiteX700" fmla="*/ 739088 w 1023988"/>
                              <a:gd name="connsiteY700" fmla="*/ 183152 h 441950"/>
                              <a:gd name="connsiteX701" fmla="*/ 736791 w 1023988"/>
                              <a:gd name="connsiteY701" fmla="*/ 176333 h 441950"/>
                              <a:gd name="connsiteX702" fmla="*/ 736791 w 1023988"/>
                              <a:gd name="connsiteY702" fmla="*/ 169513 h 441950"/>
                              <a:gd name="connsiteX703" fmla="*/ 734495 w 1023988"/>
                              <a:gd name="connsiteY703" fmla="*/ 162694 h 441950"/>
                              <a:gd name="connsiteX704" fmla="*/ 736791 w 1023988"/>
                              <a:gd name="connsiteY704" fmla="*/ 155875 h 441950"/>
                              <a:gd name="connsiteX705" fmla="*/ 734495 w 1023988"/>
                              <a:gd name="connsiteY705" fmla="*/ 153602 h 441950"/>
                              <a:gd name="connsiteX706" fmla="*/ 732199 w 1023988"/>
                              <a:gd name="connsiteY706" fmla="*/ 149056 h 441950"/>
                              <a:gd name="connsiteX707" fmla="*/ 734495 w 1023988"/>
                              <a:gd name="connsiteY707" fmla="*/ 133145 h 441950"/>
                              <a:gd name="connsiteX708" fmla="*/ 743680 w 1023988"/>
                              <a:gd name="connsiteY708" fmla="*/ 124053 h 441950"/>
                              <a:gd name="connsiteX709" fmla="*/ 754906 w 1023988"/>
                              <a:gd name="connsiteY709" fmla="*/ 112146 h 441950"/>
                              <a:gd name="connsiteX710" fmla="*/ 750144 w 1023988"/>
                              <a:gd name="connsiteY710" fmla="*/ 126434 h 441950"/>
                              <a:gd name="connsiteX711" fmla="*/ 750144 w 1023988"/>
                              <a:gd name="connsiteY711" fmla="*/ 116909 h 441950"/>
                              <a:gd name="connsiteX712" fmla="*/ 754906 w 1023988"/>
                              <a:gd name="connsiteY712" fmla="*/ 112146 h 441950"/>
                              <a:gd name="connsiteX713" fmla="*/ 49887 w 1023988"/>
                              <a:gd name="connsiteY713" fmla="*/ 106023 h 441950"/>
                              <a:gd name="connsiteX714" fmla="*/ 52098 w 1023988"/>
                              <a:gd name="connsiteY714" fmla="*/ 106023 h 441950"/>
                              <a:gd name="connsiteX715" fmla="*/ 54310 w 1023988"/>
                              <a:gd name="connsiteY715" fmla="*/ 110446 h 441950"/>
                              <a:gd name="connsiteX716" fmla="*/ 58732 w 1023988"/>
                              <a:gd name="connsiteY716" fmla="*/ 112657 h 441950"/>
                              <a:gd name="connsiteX717" fmla="*/ 63155 w 1023988"/>
                              <a:gd name="connsiteY717" fmla="*/ 117080 h 441950"/>
                              <a:gd name="connsiteX718" fmla="*/ 60943 w 1023988"/>
                              <a:gd name="connsiteY718" fmla="*/ 117080 h 441950"/>
                              <a:gd name="connsiteX719" fmla="*/ 49887 w 1023988"/>
                              <a:gd name="connsiteY719" fmla="*/ 110446 h 441950"/>
                              <a:gd name="connsiteX720" fmla="*/ 49887 w 1023988"/>
                              <a:gd name="connsiteY720" fmla="*/ 106023 h 441950"/>
                              <a:gd name="connsiteX721" fmla="*/ 687042 w 1023988"/>
                              <a:gd name="connsiteY721" fmla="*/ 87143 h 441950"/>
                              <a:gd name="connsiteX722" fmla="*/ 691804 w 1023988"/>
                              <a:gd name="connsiteY722" fmla="*/ 94287 h 441950"/>
                              <a:gd name="connsiteX723" fmla="*/ 687042 w 1023988"/>
                              <a:gd name="connsiteY723" fmla="*/ 87143 h 441950"/>
                              <a:gd name="connsiteX724" fmla="*/ 716126 w 1023988"/>
                              <a:gd name="connsiteY724" fmla="*/ 72005 h 441950"/>
                              <a:gd name="connsiteX725" fmla="*/ 716806 w 1023988"/>
                              <a:gd name="connsiteY725" fmla="*/ 74046 h 441950"/>
                              <a:gd name="connsiteX726" fmla="*/ 714425 w 1023988"/>
                              <a:gd name="connsiteY726" fmla="*/ 78809 h 441950"/>
                              <a:gd name="connsiteX727" fmla="*/ 479724 w 1023988"/>
                              <a:gd name="connsiteY727" fmla="*/ 69284 h 441950"/>
                              <a:gd name="connsiteX728" fmla="*/ 488808 w 1023988"/>
                              <a:gd name="connsiteY728" fmla="*/ 69284 h 441950"/>
                              <a:gd name="connsiteX729" fmla="*/ 495620 w 1023988"/>
                              <a:gd name="connsiteY729" fmla="*/ 69284 h 441950"/>
                              <a:gd name="connsiteX730" fmla="*/ 506974 w 1023988"/>
                              <a:gd name="connsiteY730" fmla="*/ 69284 h 441950"/>
                              <a:gd name="connsiteX731" fmla="*/ 518328 w 1023988"/>
                              <a:gd name="connsiteY731" fmla="*/ 73842 h 441950"/>
                              <a:gd name="connsiteX732" fmla="*/ 513786 w 1023988"/>
                              <a:gd name="connsiteY732" fmla="*/ 76120 h 441950"/>
                              <a:gd name="connsiteX733" fmla="*/ 516057 w 1023988"/>
                              <a:gd name="connsiteY733" fmla="*/ 80678 h 441950"/>
                              <a:gd name="connsiteX734" fmla="*/ 520599 w 1023988"/>
                              <a:gd name="connsiteY734" fmla="*/ 82957 h 441950"/>
                              <a:gd name="connsiteX735" fmla="*/ 522869 w 1023988"/>
                              <a:gd name="connsiteY735" fmla="*/ 85236 h 441950"/>
                              <a:gd name="connsiteX736" fmla="*/ 516057 w 1023988"/>
                              <a:gd name="connsiteY736" fmla="*/ 82957 h 441950"/>
                              <a:gd name="connsiteX737" fmla="*/ 516057 w 1023988"/>
                              <a:gd name="connsiteY737" fmla="*/ 87514 h 441950"/>
                              <a:gd name="connsiteX738" fmla="*/ 506974 w 1023988"/>
                              <a:gd name="connsiteY738" fmla="*/ 87514 h 441950"/>
                              <a:gd name="connsiteX739" fmla="*/ 513630 w 1023988"/>
                              <a:gd name="connsiteY739" fmla="*/ 90855 h 441950"/>
                              <a:gd name="connsiteX740" fmla="*/ 516057 w 1023988"/>
                              <a:gd name="connsiteY740" fmla="*/ 92072 h 441950"/>
                              <a:gd name="connsiteX741" fmla="*/ 511515 w 1023988"/>
                              <a:gd name="connsiteY741" fmla="*/ 96630 h 441950"/>
                              <a:gd name="connsiteX742" fmla="*/ 518328 w 1023988"/>
                              <a:gd name="connsiteY742" fmla="*/ 101187 h 441950"/>
                              <a:gd name="connsiteX743" fmla="*/ 518328 w 1023988"/>
                              <a:gd name="connsiteY743" fmla="*/ 105745 h 441950"/>
                              <a:gd name="connsiteX744" fmla="*/ 520599 w 1023988"/>
                              <a:gd name="connsiteY744" fmla="*/ 105745 h 441950"/>
                              <a:gd name="connsiteX745" fmla="*/ 522869 w 1023988"/>
                              <a:gd name="connsiteY745" fmla="*/ 110303 h 441950"/>
                              <a:gd name="connsiteX746" fmla="*/ 529682 w 1023988"/>
                              <a:gd name="connsiteY746" fmla="*/ 117139 h 441950"/>
                              <a:gd name="connsiteX747" fmla="*/ 522869 w 1023988"/>
                              <a:gd name="connsiteY747" fmla="*/ 126255 h 441950"/>
                              <a:gd name="connsiteX748" fmla="*/ 525140 w 1023988"/>
                              <a:gd name="connsiteY748" fmla="*/ 130812 h 441950"/>
                              <a:gd name="connsiteX749" fmla="*/ 534223 w 1023988"/>
                              <a:gd name="connsiteY749" fmla="*/ 137649 h 441950"/>
                              <a:gd name="connsiteX750" fmla="*/ 538765 w 1023988"/>
                              <a:gd name="connsiteY750" fmla="*/ 142206 h 441950"/>
                              <a:gd name="connsiteX751" fmla="*/ 547848 w 1023988"/>
                              <a:gd name="connsiteY751" fmla="*/ 151322 h 441950"/>
                              <a:gd name="connsiteX752" fmla="*/ 550119 w 1023988"/>
                              <a:gd name="connsiteY752" fmla="*/ 153601 h 441950"/>
                              <a:gd name="connsiteX753" fmla="*/ 541036 w 1023988"/>
                              <a:gd name="connsiteY753" fmla="*/ 155879 h 441950"/>
                              <a:gd name="connsiteX754" fmla="*/ 527411 w 1023988"/>
                              <a:gd name="connsiteY754" fmla="*/ 151322 h 441950"/>
                              <a:gd name="connsiteX755" fmla="*/ 525140 w 1023988"/>
                              <a:gd name="connsiteY755" fmla="*/ 155879 h 441950"/>
                              <a:gd name="connsiteX756" fmla="*/ 520599 w 1023988"/>
                              <a:gd name="connsiteY756" fmla="*/ 164995 h 441950"/>
                              <a:gd name="connsiteX757" fmla="*/ 516057 w 1023988"/>
                              <a:gd name="connsiteY757" fmla="*/ 190062 h 441950"/>
                              <a:gd name="connsiteX758" fmla="*/ 520599 w 1023988"/>
                              <a:gd name="connsiteY758" fmla="*/ 187783 h 441950"/>
                              <a:gd name="connsiteX759" fmla="*/ 518328 w 1023988"/>
                              <a:gd name="connsiteY759" fmla="*/ 192341 h 441950"/>
                              <a:gd name="connsiteX760" fmla="*/ 518328 w 1023988"/>
                              <a:gd name="connsiteY760" fmla="*/ 194619 h 441950"/>
                              <a:gd name="connsiteX761" fmla="*/ 513786 w 1023988"/>
                              <a:gd name="connsiteY761" fmla="*/ 196898 h 441950"/>
                              <a:gd name="connsiteX762" fmla="*/ 500162 w 1023988"/>
                              <a:gd name="connsiteY762" fmla="*/ 201456 h 441950"/>
                              <a:gd name="connsiteX763" fmla="*/ 497891 w 1023988"/>
                              <a:gd name="connsiteY763" fmla="*/ 210571 h 441950"/>
                              <a:gd name="connsiteX764" fmla="*/ 495620 w 1023988"/>
                              <a:gd name="connsiteY764" fmla="*/ 215129 h 441950"/>
                              <a:gd name="connsiteX765" fmla="*/ 491078 w 1023988"/>
                              <a:gd name="connsiteY765" fmla="*/ 219687 h 441950"/>
                              <a:gd name="connsiteX766" fmla="*/ 491078 w 1023988"/>
                              <a:gd name="connsiteY766" fmla="*/ 228802 h 441950"/>
                              <a:gd name="connsiteX767" fmla="*/ 497891 w 1023988"/>
                              <a:gd name="connsiteY767" fmla="*/ 231081 h 441950"/>
                              <a:gd name="connsiteX768" fmla="*/ 495620 w 1023988"/>
                              <a:gd name="connsiteY768" fmla="*/ 237917 h 441950"/>
                              <a:gd name="connsiteX769" fmla="*/ 491078 w 1023988"/>
                              <a:gd name="connsiteY769" fmla="*/ 237917 h 441950"/>
                              <a:gd name="connsiteX770" fmla="*/ 486537 w 1023988"/>
                              <a:gd name="connsiteY770" fmla="*/ 247032 h 441950"/>
                              <a:gd name="connsiteX771" fmla="*/ 488808 w 1023988"/>
                              <a:gd name="connsiteY771" fmla="*/ 253869 h 441950"/>
                              <a:gd name="connsiteX772" fmla="*/ 486368 w 1023988"/>
                              <a:gd name="connsiteY772" fmla="*/ 257337 h 441950"/>
                              <a:gd name="connsiteX773" fmla="*/ 489397 w 1023988"/>
                              <a:gd name="connsiteY773" fmla="*/ 256079 h 441950"/>
                              <a:gd name="connsiteX774" fmla="*/ 491778 w 1023988"/>
                              <a:gd name="connsiteY774" fmla="*/ 267324 h 441950"/>
                              <a:gd name="connsiteX775" fmla="*/ 487015 w 1023988"/>
                              <a:gd name="connsiteY775" fmla="*/ 274071 h 441950"/>
                              <a:gd name="connsiteX776" fmla="*/ 484634 w 1023988"/>
                              <a:gd name="connsiteY776" fmla="*/ 263388 h 441950"/>
                              <a:gd name="connsiteX777" fmla="*/ 485506 w 1023988"/>
                              <a:gd name="connsiteY777" fmla="*/ 258562 h 441950"/>
                              <a:gd name="connsiteX778" fmla="*/ 485402 w 1023988"/>
                              <a:gd name="connsiteY778" fmla="*/ 258711 h 441950"/>
                              <a:gd name="connsiteX779" fmla="*/ 481995 w 1023988"/>
                              <a:gd name="connsiteY779" fmla="*/ 265263 h 441950"/>
                              <a:gd name="connsiteX780" fmla="*/ 466100 w 1023988"/>
                              <a:gd name="connsiteY780" fmla="*/ 272100 h 441950"/>
                              <a:gd name="connsiteX781" fmla="*/ 454746 w 1023988"/>
                              <a:gd name="connsiteY781" fmla="*/ 276657 h 441950"/>
                              <a:gd name="connsiteX782" fmla="*/ 454746 w 1023988"/>
                              <a:gd name="connsiteY782" fmla="*/ 267542 h 441950"/>
                              <a:gd name="connsiteX783" fmla="*/ 452475 w 1023988"/>
                              <a:gd name="connsiteY783" fmla="*/ 258427 h 441950"/>
                              <a:gd name="connsiteX784" fmla="*/ 447933 w 1023988"/>
                              <a:gd name="connsiteY784" fmla="*/ 256148 h 441950"/>
                              <a:gd name="connsiteX785" fmla="*/ 443392 w 1023988"/>
                              <a:gd name="connsiteY785" fmla="*/ 253869 h 441950"/>
                              <a:gd name="connsiteX786" fmla="*/ 432038 w 1023988"/>
                              <a:gd name="connsiteY786" fmla="*/ 260705 h 441950"/>
                              <a:gd name="connsiteX787" fmla="*/ 432038 w 1023988"/>
                              <a:gd name="connsiteY787" fmla="*/ 256148 h 441950"/>
                              <a:gd name="connsiteX788" fmla="*/ 425226 w 1023988"/>
                              <a:gd name="connsiteY788" fmla="*/ 253869 h 441950"/>
                              <a:gd name="connsiteX789" fmla="*/ 420684 w 1023988"/>
                              <a:gd name="connsiteY789" fmla="*/ 247032 h 441950"/>
                              <a:gd name="connsiteX790" fmla="*/ 411601 w 1023988"/>
                              <a:gd name="connsiteY790" fmla="*/ 258427 h 441950"/>
                              <a:gd name="connsiteX791" fmla="*/ 402518 w 1023988"/>
                              <a:gd name="connsiteY791" fmla="*/ 258427 h 441950"/>
                              <a:gd name="connsiteX792" fmla="*/ 393435 w 1023988"/>
                              <a:gd name="connsiteY792" fmla="*/ 260705 h 441950"/>
                              <a:gd name="connsiteX793" fmla="*/ 391164 w 1023988"/>
                              <a:gd name="connsiteY793" fmla="*/ 244754 h 441950"/>
                              <a:gd name="connsiteX794" fmla="*/ 384352 w 1023988"/>
                              <a:gd name="connsiteY794" fmla="*/ 247032 h 441950"/>
                              <a:gd name="connsiteX795" fmla="*/ 379810 w 1023988"/>
                              <a:gd name="connsiteY795" fmla="*/ 251590 h 441950"/>
                              <a:gd name="connsiteX796" fmla="*/ 371552 w 1023988"/>
                              <a:gd name="connsiteY796" fmla="*/ 249519 h 441950"/>
                              <a:gd name="connsiteX797" fmla="*/ 375268 w 1023988"/>
                              <a:gd name="connsiteY797" fmla="*/ 247032 h 441950"/>
                              <a:gd name="connsiteX798" fmla="*/ 370727 w 1023988"/>
                              <a:gd name="connsiteY798" fmla="*/ 249311 h 441950"/>
                              <a:gd name="connsiteX799" fmla="*/ 371552 w 1023988"/>
                              <a:gd name="connsiteY799" fmla="*/ 249519 h 441950"/>
                              <a:gd name="connsiteX800" fmla="*/ 368456 w 1023988"/>
                              <a:gd name="connsiteY800" fmla="*/ 251590 h 441950"/>
                              <a:gd name="connsiteX801" fmla="*/ 361644 w 1023988"/>
                              <a:gd name="connsiteY801" fmla="*/ 249311 h 441950"/>
                              <a:gd name="connsiteX802" fmla="*/ 359373 w 1023988"/>
                              <a:gd name="connsiteY802" fmla="*/ 235638 h 441950"/>
                              <a:gd name="connsiteX803" fmla="*/ 357102 w 1023988"/>
                              <a:gd name="connsiteY803" fmla="*/ 226523 h 441950"/>
                              <a:gd name="connsiteX804" fmla="*/ 354831 w 1023988"/>
                              <a:gd name="connsiteY804" fmla="*/ 219687 h 441950"/>
                              <a:gd name="connsiteX805" fmla="*/ 357102 w 1023988"/>
                              <a:gd name="connsiteY805" fmla="*/ 215129 h 441950"/>
                              <a:gd name="connsiteX806" fmla="*/ 357102 w 1023988"/>
                              <a:gd name="connsiteY806" fmla="*/ 208292 h 441950"/>
                              <a:gd name="connsiteX807" fmla="*/ 354831 w 1023988"/>
                              <a:gd name="connsiteY807" fmla="*/ 203735 h 441950"/>
                              <a:gd name="connsiteX808" fmla="*/ 350290 w 1023988"/>
                              <a:gd name="connsiteY808" fmla="*/ 196898 h 441950"/>
                              <a:gd name="connsiteX809" fmla="*/ 348019 w 1023988"/>
                              <a:gd name="connsiteY809" fmla="*/ 199177 h 441950"/>
                              <a:gd name="connsiteX810" fmla="*/ 341207 w 1023988"/>
                              <a:gd name="connsiteY810" fmla="*/ 196898 h 441950"/>
                              <a:gd name="connsiteX811" fmla="*/ 341207 w 1023988"/>
                              <a:gd name="connsiteY811" fmla="*/ 194619 h 441950"/>
                              <a:gd name="connsiteX812" fmla="*/ 345748 w 1023988"/>
                              <a:gd name="connsiteY812" fmla="*/ 194619 h 441950"/>
                              <a:gd name="connsiteX813" fmla="*/ 341207 w 1023988"/>
                              <a:gd name="connsiteY813" fmla="*/ 190062 h 441950"/>
                              <a:gd name="connsiteX814" fmla="*/ 336665 w 1023988"/>
                              <a:gd name="connsiteY814" fmla="*/ 190062 h 441950"/>
                              <a:gd name="connsiteX815" fmla="*/ 338936 w 1023988"/>
                              <a:gd name="connsiteY815" fmla="*/ 180946 h 441950"/>
                              <a:gd name="connsiteX816" fmla="*/ 338936 w 1023988"/>
                              <a:gd name="connsiteY816" fmla="*/ 176389 h 441950"/>
                              <a:gd name="connsiteX817" fmla="*/ 332124 w 1023988"/>
                              <a:gd name="connsiteY817" fmla="*/ 164995 h 441950"/>
                              <a:gd name="connsiteX818" fmla="*/ 332124 w 1023988"/>
                              <a:gd name="connsiteY818" fmla="*/ 155879 h 441950"/>
                              <a:gd name="connsiteX819" fmla="*/ 334394 w 1023988"/>
                              <a:gd name="connsiteY819" fmla="*/ 149043 h 441950"/>
                              <a:gd name="connsiteX820" fmla="*/ 336990 w 1023988"/>
                              <a:gd name="connsiteY820" fmla="*/ 145136 h 441950"/>
                              <a:gd name="connsiteX821" fmla="*/ 336665 w 1023988"/>
                              <a:gd name="connsiteY821" fmla="*/ 146764 h 441950"/>
                              <a:gd name="connsiteX822" fmla="*/ 338936 w 1023988"/>
                              <a:gd name="connsiteY822" fmla="*/ 142206 h 441950"/>
                              <a:gd name="connsiteX823" fmla="*/ 336990 w 1023988"/>
                              <a:gd name="connsiteY823" fmla="*/ 145136 h 441950"/>
                              <a:gd name="connsiteX824" fmla="*/ 338936 w 1023988"/>
                              <a:gd name="connsiteY824" fmla="*/ 135370 h 441950"/>
                              <a:gd name="connsiteX825" fmla="*/ 341207 w 1023988"/>
                              <a:gd name="connsiteY825" fmla="*/ 130812 h 441950"/>
                              <a:gd name="connsiteX826" fmla="*/ 348019 w 1023988"/>
                              <a:gd name="connsiteY826" fmla="*/ 126255 h 441950"/>
                              <a:gd name="connsiteX827" fmla="*/ 348019 w 1023988"/>
                              <a:gd name="connsiteY827" fmla="*/ 133091 h 441950"/>
                              <a:gd name="connsiteX828" fmla="*/ 350290 w 1023988"/>
                              <a:gd name="connsiteY828" fmla="*/ 139928 h 441950"/>
                              <a:gd name="connsiteX829" fmla="*/ 361644 w 1023988"/>
                              <a:gd name="connsiteY829" fmla="*/ 151322 h 441950"/>
                              <a:gd name="connsiteX830" fmla="*/ 368456 w 1023988"/>
                              <a:gd name="connsiteY830" fmla="*/ 153601 h 441950"/>
                              <a:gd name="connsiteX831" fmla="*/ 377539 w 1023988"/>
                              <a:gd name="connsiteY831" fmla="*/ 151322 h 441950"/>
                              <a:gd name="connsiteX832" fmla="*/ 393435 w 1023988"/>
                              <a:gd name="connsiteY832" fmla="*/ 151322 h 441950"/>
                              <a:gd name="connsiteX833" fmla="*/ 400247 w 1023988"/>
                              <a:gd name="connsiteY833" fmla="*/ 149043 h 441950"/>
                              <a:gd name="connsiteX834" fmla="*/ 404789 w 1023988"/>
                              <a:gd name="connsiteY834" fmla="*/ 139928 h 441950"/>
                              <a:gd name="connsiteX835" fmla="*/ 420684 w 1023988"/>
                              <a:gd name="connsiteY835" fmla="*/ 139928 h 441950"/>
                              <a:gd name="connsiteX836" fmla="*/ 436580 w 1023988"/>
                              <a:gd name="connsiteY836" fmla="*/ 144485 h 441950"/>
                              <a:gd name="connsiteX837" fmla="*/ 445663 w 1023988"/>
                              <a:gd name="connsiteY837" fmla="*/ 142206 h 441950"/>
                              <a:gd name="connsiteX838" fmla="*/ 450204 w 1023988"/>
                              <a:gd name="connsiteY838" fmla="*/ 139928 h 441950"/>
                              <a:gd name="connsiteX839" fmla="*/ 454746 w 1023988"/>
                              <a:gd name="connsiteY839" fmla="*/ 139928 h 441950"/>
                              <a:gd name="connsiteX840" fmla="*/ 459287 w 1023988"/>
                              <a:gd name="connsiteY840" fmla="*/ 126255 h 441950"/>
                              <a:gd name="connsiteX841" fmla="*/ 468371 w 1023988"/>
                              <a:gd name="connsiteY841" fmla="*/ 114860 h 441950"/>
                              <a:gd name="connsiteX842" fmla="*/ 468371 w 1023988"/>
                              <a:gd name="connsiteY842" fmla="*/ 103466 h 441950"/>
                              <a:gd name="connsiteX843" fmla="*/ 475183 w 1023988"/>
                              <a:gd name="connsiteY843" fmla="*/ 92072 h 441950"/>
                              <a:gd name="connsiteX844" fmla="*/ 475183 w 1023988"/>
                              <a:gd name="connsiteY844" fmla="*/ 82957 h 441950"/>
                              <a:gd name="connsiteX845" fmla="*/ 477454 w 1023988"/>
                              <a:gd name="connsiteY845" fmla="*/ 73842 h 441950"/>
                              <a:gd name="connsiteX846" fmla="*/ 479724 w 1023988"/>
                              <a:gd name="connsiteY846" fmla="*/ 69284 h 441950"/>
                              <a:gd name="connsiteX847" fmla="*/ 714425 w 1023988"/>
                              <a:gd name="connsiteY847" fmla="*/ 66902 h 441950"/>
                              <a:gd name="connsiteX848" fmla="*/ 716806 w 1023988"/>
                              <a:gd name="connsiteY848" fmla="*/ 69284 h 441950"/>
                              <a:gd name="connsiteX849" fmla="*/ 716126 w 1023988"/>
                              <a:gd name="connsiteY849" fmla="*/ 72005 h 441950"/>
                              <a:gd name="connsiteX850" fmla="*/ 36304 w 1023988"/>
                              <a:gd name="connsiteY850" fmla="*/ 39414 h 441950"/>
                              <a:gd name="connsiteX851" fmla="*/ 49936 w 1023988"/>
                              <a:gd name="connsiteY851" fmla="*/ 43969 h 441950"/>
                              <a:gd name="connsiteX852" fmla="*/ 61296 w 1023988"/>
                              <a:gd name="connsiteY852" fmla="*/ 48523 h 441950"/>
                              <a:gd name="connsiteX853" fmla="*/ 72656 w 1023988"/>
                              <a:gd name="connsiteY853" fmla="*/ 46246 h 441950"/>
                              <a:gd name="connsiteX854" fmla="*/ 77200 w 1023988"/>
                              <a:gd name="connsiteY854" fmla="*/ 48523 h 441950"/>
                              <a:gd name="connsiteX855" fmla="*/ 84016 w 1023988"/>
                              <a:gd name="connsiteY855" fmla="*/ 48523 h 441950"/>
                              <a:gd name="connsiteX856" fmla="*/ 95376 w 1023988"/>
                              <a:gd name="connsiteY856" fmla="*/ 59910 h 441950"/>
                              <a:gd name="connsiteX857" fmla="*/ 99920 w 1023988"/>
                              <a:gd name="connsiteY857" fmla="*/ 66742 h 441950"/>
                              <a:gd name="connsiteX858" fmla="*/ 102192 w 1023988"/>
                              <a:gd name="connsiteY858" fmla="*/ 75851 h 441950"/>
                              <a:gd name="connsiteX859" fmla="*/ 111280 w 1023988"/>
                              <a:gd name="connsiteY859" fmla="*/ 80406 h 441950"/>
                              <a:gd name="connsiteX860" fmla="*/ 113552 w 1023988"/>
                              <a:gd name="connsiteY860" fmla="*/ 84960 h 441950"/>
                              <a:gd name="connsiteX861" fmla="*/ 118097 w 1023988"/>
                              <a:gd name="connsiteY861" fmla="*/ 87238 h 441950"/>
                              <a:gd name="connsiteX862" fmla="*/ 129457 w 1023988"/>
                              <a:gd name="connsiteY862" fmla="*/ 96347 h 441950"/>
                              <a:gd name="connsiteX863" fmla="*/ 138545 w 1023988"/>
                              <a:gd name="connsiteY863" fmla="*/ 103179 h 441950"/>
                              <a:gd name="connsiteX864" fmla="*/ 140817 w 1023988"/>
                              <a:gd name="connsiteY864" fmla="*/ 112288 h 441950"/>
                              <a:gd name="connsiteX865" fmla="*/ 143089 w 1023988"/>
                              <a:gd name="connsiteY865" fmla="*/ 114565 h 441950"/>
                              <a:gd name="connsiteX866" fmla="*/ 143089 w 1023988"/>
                              <a:gd name="connsiteY866" fmla="*/ 110011 h 441950"/>
                              <a:gd name="connsiteX867" fmla="*/ 149905 w 1023988"/>
                              <a:gd name="connsiteY867" fmla="*/ 121397 h 441950"/>
                              <a:gd name="connsiteX868" fmla="*/ 156721 w 1023988"/>
                              <a:gd name="connsiteY868" fmla="*/ 125952 h 441950"/>
                              <a:gd name="connsiteX869" fmla="*/ 161265 w 1023988"/>
                              <a:gd name="connsiteY869" fmla="*/ 130507 h 441950"/>
                              <a:gd name="connsiteX870" fmla="*/ 156721 w 1023988"/>
                              <a:gd name="connsiteY870" fmla="*/ 121397 h 441950"/>
                              <a:gd name="connsiteX871" fmla="*/ 168081 w 1023988"/>
                              <a:gd name="connsiteY871" fmla="*/ 125952 h 441950"/>
                              <a:gd name="connsiteX872" fmla="*/ 172625 w 1023988"/>
                              <a:gd name="connsiteY872" fmla="*/ 135061 h 441950"/>
                              <a:gd name="connsiteX873" fmla="*/ 179441 w 1023988"/>
                              <a:gd name="connsiteY873" fmla="*/ 135061 h 441950"/>
                              <a:gd name="connsiteX874" fmla="*/ 183985 w 1023988"/>
                              <a:gd name="connsiteY874" fmla="*/ 139616 h 441950"/>
                              <a:gd name="connsiteX875" fmla="*/ 188529 w 1023988"/>
                              <a:gd name="connsiteY875" fmla="*/ 153280 h 441950"/>
                              <a:gd name="connsiteX876" fmla="*/ 195345 w 1023988"/>
                              <a:gd name="connsiteY876" fmla="*/ 157834 h 441950"/>
                              <a:gd name="connsiteX877" fmla="*/ 199889 w 1023988"/>
                              <a:gd name="connsiteY877" fmla="*/ 157834 h 441950"/>
                              <a:gd name="connsiteX878" fmla="*/ 193073 w 1023988"/>
                              <a:gd name="connsiteY878" fmla="*/ 169221 h 441950"/>
                              <a:gd name="connsiteX879" fmla="*/ 206705 w 1023988"/>
                              <a:gd name="connsiteY879" fmla="*/ 166944 h 441950"/>
                              <a:gd name="connsiteX880" fmla="*/ 218065 w 1023988"/>
                              <a:gd name="connsiteY880" fmla="*/ 166944 h 441950"/>
                              <a:gd name="connsiteX881" fmla="*/ 222609 w 1023988"/>
                              <a:gd name="connsiteY881" fmla="*/ 176053 h 441950"/>
                              <a:gd name="connsiteX882" fmla="*/ 218065 w 1023988"/>
                              <a:gd name="connsiteY882" fmla="*/ 178330 h 441950"/>
                              <a:gd name="connsiteX883" fmla="*/ 211249 w 1023988"/>
                              <a:gd name="connsiteY883" fmla="*/ 182885 h 441950"/>
                              <a:gd name="connsiteX884" fmla="*/ 215793 w 1023988"/>
                              <a:gd name="connsiteY884" fmla="*/ 182885 h 441950"/>
                              <a:gd name="connsiteX885" fmla="*/ 213521 w 1023988"/>
                              <a:gd name="connsiteY885" fmla="*/ 185162 h 441950"/>
                              <a:gd name="connsiteX886" fmla="*/ 218065 w 1023988"/>
                              <a:gd name="connsiteY886" fmla="*/ 187439 h 441950"/>
                              <a:gd name="connsiteX887" fmla="*/ 213521 w 1023988"/>
                              <a:gd name="connsiteY887" fmla="*/ 187439 h 441950"/>
                              <a:gd name="connsiteX888" fmla="*/ 215793 w 1023988"/>
                              <a:gd name="connsiteY888" fmla="*/ 196549 h 441950"/>
                              <a:gd name="connsiteX889" fmla="*/ 222609 w 1023988"/>
                              <a:gd name="connsiteY889" fmla="*/ 201103 h 441950"/>
                              <a:gd name="connsiteX890" fmla="*/ 233969 w 1023988"/>
                              <a:gd name="connsiteY890" fmla="*/ 203380 h 441950"/>
                              <a:gd name="connsiteX891" fmla="*/ 238514 w 1023988"/>
                              <a:gd name="connsiteY891" fmla="*/ 219322 h 441950"/>
                              <a:gd name="connsiteX892" fmla="*/ 240786 w 1023988"/>
                              <a:gd name="connsiteY892" fmla="*/ 223876 h 441950"/>
                              <a:gd name="connsiteX893" fmla="*/ 245330 w 1023988"/>
                              <a:gd name="connsiteY893" fmla="*/ 228431 h 441950"/>
                              <a:gd name="connsiteX894" fmla="*/ 238514 w 1023988"/>
                              <a:gd name="connsiteY894" fmla="*/ 235263 h 441950"/>
                              <a:gd name="connsiteX895" fmla="*/ 238514 w 1023988"/>
                              <a:gd name="connsiteY895" fmla="*/ 242095 h 441950"/>
                              <a:gd name="connsiteX896" fmla="*/ 245330 w 1023988"/>
                              <a:gd name="connsiteY896" fmla="*/ 232985 h 441950"/>
                              <a:gd name="connsiteX897" fmla="*/ 261234 w 1023988"/>
                              <a:gd name="connsiteY897" fmla="*/ 235263 h 441950"/>
                              <a:gd name="connsiteX898" fmla="*/ 265778 w 1023988"/>
                              <a:gd name="connsiteY898" fmla="*/ 246649 h 441950"/>
                              <a:gd name="connsiteX899" fmla="*/ 270322 w 1023988"/>
                              <a:gd name="connsiteY899" fmla="*/ 251204 h 441950"/>
                              <a:gd name="connsiteX900" fmla="*/ 268050 w 1023988"/>
                              <a:gd name="connsiteY900" fmla="*/ 258036 h 441950"/>
                              <a:gd name="connsiteX901" fmla="*/ 263506 w 1023988"/>
                              <a:gd name="connsiteY901" fmla="*/ 264868 h 441950"/>
                              <a:gd name="connsiteX902" fmla="*/ 265778 w 1023988"/>
                              <a:gd name="connsiteY902" fmla="*/ 269422 h 441950"/>
                              <a:gd name="connsiteX903" fmla="*/ 263506 w 1023988"/>
                              <a:gd name="connsiteY903" fmla="*/ 278532 h 441950"/>
                              <a:gd name="connsiteX904" fmla="*/ 265778 w 1023988"/>
                              <a:gd name="connsiteY904" fmla="*/ 283086 h 441950"/>
                              <a:gd name="connsiteX905" fmla="*/ 263506 w 1023988"/>
                              <a:gd name="connsiteY905" fmla="*/ 294473 h 441950"/>
                              <a:gd name="connsiteX906" fmla="*/ 263506 w 1023988"/>
                              <a:gd name="connsiteY906" fmla="*/ 310414 h 441950"/>
                              <a:gd name="connsiteX907" fmla="*/ 261234 w 1023988"/>
                              <a:gd name="connsiteY907" fmla="*/ 319523 h 441950"/>
                              <a:gd name="connsiteX908" fmla="*/ 249874 w 1023988"/>
                              <a:gd name="connsiteY908" fmla="*/ 310414 h 441950"/>
                              <a:gd name="connsiteX909" fmla="*/ 240786 w 1023988"/>
                              <a:gd name="connsiteY909" fmla="*/ 312691 h 441950"/>
                              <a:gd name="connsiteX910" fmla="*/ 233969 w 1023988"/>
                              <a:gd name="connsiteY910" fmla="*/ 312691 h 441950"/>
                              <a:gd name="connsiteX911" fmla="*/ 238514 w 1023988"/>
                              <a:gd name="connsiteY911" fmla="*/ 319523 h 441950"/>
                              <a:gd name="connsiteX912" fmla="*/ 229425 w 1023988"/>
                              <a:gd name="connsiteY912" fmla="*/ 314969 h 441950"/>
                              <a:gd name="connsiteX913" fmla="*/ 229425 w 1023988"/>
                              <a:gd name="connsiteY913" fmla="*/ 312691 h 441950"/>
                              <a:gd name="connsiteX914" fmla="*/ 224881 w 1023988"/>
                              <a:gd name="connsiteY914" fmla="*/ 308137 h 441950"/>
                              <a:gd name="connsiteX915" fmla="*/ 222609 w 1023988"/>
                              <a:gd name="connsiteY915" fmla="*/ 303582 h 441950"/>
                              <a:gd name="connsiteX916" fmla="*/ 215793 w 1023988"/>
                              <a:gd name="connsiteY916" fmla="*/ 296750 h 441950"/>
                              <a:gd name="connsiteX917" fmla="*/ 204433 w 1023988"/>
                              <a:gd name="connsiteY917" fmla="*/ 287641 h 441950"/>
                              <a:gd name="connsiteX918" fmla="*/ 193073 w 1023988"/>
                              <a:gd name="connsiteY918" fmla="*/ 276254 h 441950"/>
                              <a:gd name="connsiteX919" fmla="*/ 186257 w 1023988"/>
                              <a:gd name="connsiteY919" fmla="*/ 267145 h 441950"/>
                              <a:gd name="connsiteX920" fmla="*/ 177169 w 1023988"/>
                              <a:gd name="connsiteY920" fmla="*/ 255759 h 441950"/>
                              <a:gd name="connsiteX921" fmla="*/ 170353 w 1023988"/>
                              <a:gd name="connsiteY921" fmla="*/ 246649 h 441950"/>
                              <a:gd name="connsiteX922" fmla="*/ 161265 w 1023988"/>
                              <a:gd name="connsiteY922" fmla="*/ 237540 h 441950"/>
                              <a:gd name="connsiteX923" fmla="*/ 158993 w 1023988"/>
                              <a:gd name="connsiteY923" fmla="*/ 223876 h 441950"/>
                              <a:gd name="connsiteX924" fmla="*/ 152177 w 1023988"/>
                              <a:gd name="connsiteY924" fmla="*/ 210212 h 441950"/>
                              <a:gd name="connsiteX925" fmla="*/ 147633 w 1023988"/>
                              <a:gd name="connsiteY925" fmla="*/ 203380 h 441950"/>
                              <a:gd name="connsiteX926" fmla="*/ 149905 w 1023988"/>
                              <a:gd name="connsiteY926" fmla="*/ 201103 h 441950"/>
                              <a:gd name="connsiteX927" fmla="*/ 136273 w 1023988"/>
                              <a:gd name="connsiteY927" fmla="*/ 180607 h 441950"/>
                              <a:gd name="connsiteX928" fmla="*/ 127185 w 1023988"/>
                              <a:gd name="connsiteY928" fmla="*/ 171498 h 441950"/>
                              <a:gd name="connsiteX929" fmla="*/ 122641 w 1023988"/>
                              <a:gd name="connsiteY929" fmla="*/ 166944 h 441950"/>
                              <a:gd name="connsiteX930" fmla="*/ 118097 w 1023988"/>
                              <a:gd name="connsiteY930" fmla="*/ 153280 h 441950"/>
                              <a:gd name="connsiteX931" fmla="*/ 113552 w 1023988"/>
                              <a:gd name="connsiteY931" fmla="*/ 139616 h 441950"/>
                              <a:gd name="connsiteX932" fmla="*/ 113552 w 1023988"/>
                              <a:gd name="connsiteY932" fmla="*/ 132784 h 441950"/>
                              <a:gd name="connsiteX933" fmla="*/ 104464 w 1023988"/>
                              <a:gd name="connsiteY933" fmla="*/ 128229 h 441950"/>
                              <a:gd name="connsiteX934" fmla="*/ 99920 w 1023988"/>
                              <a:gd name="connsiteY934" fmla="*/ 123675 h 441950"/>
                              <a:gd name="connsiteX935" fmla="*/ 90832 w 1023988"/>
                              <a:gd name="connsiteY935" fmla="*/ 116843 h 441950"/>
                              <a:gd name="connsiteX936" fmla="*/ 86288 w 1023988"/>
                              <a:gd name="connsiteY936" fmla="*/ 105456 h 441950"/>
                              <a:gd name="connsiteX937" fmla="*/ 77200 w 1023988"/>
                              <a:gd name="connsiteY937" fmla="*/ 94070 h 441950"/>
                              <a:gd name="connsiteX938" fmla="*/ 68112 w 1023988"/>
                              <a:gd name="connsiteY938" fmla="*/ 84960 h 441950"/>
                              <a:gd name="connsiteX939" fmla="*/ 61296 w 1023988"/>
                              <a:gd name="connsiteY939" fmla="*/ 80406 h 441950"/>
                              <a:gd name="connsiteX940" fmla="*/ 36304 w 1023988"/>
                              <a:gd name="connsiteY940" fmla="*/ 39414 h 441950"/>
                              <a:gd name="connsiteX941" fmla="*/ 34578 w 1023988"/>
                              <a:gd name="connsiteY941" fmla="*/ 32374 h 441950"/>
                              <a:gd name="connsiteX942" fmla="*/ 36364 w 1023988"/>
                              <a:gd name="connsiteY942" fmla="*/ 34756 h 441950"/>
                              <a:gd name="connsiteX943" fmla="*/ 34578 w 1023988"/>
                              <a:gd name="connsiteY943" fmla="*/ 32374 h 441950"/>
                              <a:gd name="connsiteX944" fmla="*/ 4813 w 1023988"/>
                              <a:gd name="connsiteY944" fmla="*/ 1021 h 441950"/>
                              <a:gd name="connsiteX945" fmla="*/ 4813 w 1023988"/>
                              <a:gd name="connsiteY945" fmla="*/ 9752 h 441950"/>
                              <a:gd name="connsiteX946" fmla="*/ 4813 w 1023988"/>
                              <a:gd name="connsiteY946" fmla="*/ 1021 h 44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Lst>
                            <a:rect l="l" t="t" r="r" b="b"/>
                            <a:pathLst>
                              <a:path w="1023988" h="441950">
                                <a:moveTo>
                                  <a:pt x="630090" y="433615"/>
                                </a:moveTo>
                                <a:cubicBezTo>
                                  <a:pt x="632273" y="433615"/>
                                  <a:pt x="632273" y="435699"/>
                                  <a:pt x="632273" y="435699"/>
                                </a:cubicBezTo>
                                <a:cubicBezTo>
                                  <a:pt x="630090" y="437783"/>
                                  <a:pt x="623541" y="439866"/>
                                  <a:pt x="621359" y="441950"/>
                                </a:cubicBezTo>
                                <a:cubicBezTo>
                                  <a:pt x="619176" y="441950"/>
                                  <a:pt x="619176" y="439866"/>
                                  <a:pt x="621359" y="437783"/>
                                </a:cubicBezTo>
                                <a:cubicBezTo>
                                  <a:pt x="625724" y="437783"/>
                                  <a:pt x="627907" y="433615"/>
                                  <a:pt x="630090" y="433615"/>
                                </a:cubicBezTo>
                                <a:close/>
                                <a:moveTo>
                                  <a:pt x="602507" y="430838"/>
                                </a:moveTo>
                                <a:cubicBezTo>
                                  <a:pt x="602507" y="430838"/>
                                  <a:pt x="602507" y="430838"/>
                                  <a:pt x="602507" y="432822"/>
                                </a:cubicBezTo>
                                <a:cubicBezTo>
                                  <a:pt x="600125" y="434807"/>
                                  <a:pt x="597744" y="434807"/>
                                  <a:pt x="595363" y="434807"/>
                                </a:cubicBezTo>
                                <a:cubicBezTo>
                                  <a:pt x="595363" y="434807"/>
                                  <a:pt x="595363" y="434807"/>
                                  <a:pt x="595363" y="432822"/>
                                </a:cubicBezTo>
                                <a:cubicBezTo>
                                  <a:pt x="597744" y="432822"/>
                                  <a:pt x="600125" y="428853"/>
                                  <a:pt x="602507" y="430838"/>
                                </a:cubicBezTo>
                                <a:close/>
                                <a:moveTo>
                                  <a:pt x="650607" y="407580"/>
                                </a:moveTo>
                                <a:lnTo>
                                  <a:pt x="652645" y="408137"/>
                                </a:lnTo>
                                <a:lnTo>
                                  <a:pt x="652989" y="408137"/>
                                </a:lnTo>
                                <a:lnTo>
                                  <a:pt x="652512" y="407719"/>
                                </a:lnTo>
                                <a:close/>
                                <a:moveTo>
                                  <a:pt x="552938" y="403849"/>
                                </a:moveTo>
                                <a:cubicBezTo>
                                  <a:pt x="552938" y="403849"/>
                                  <a:pt x="552938" y="403849"/>
                                  <a:pt x="561962" y="403849"/>
                                </a:cubicBezTo>
                                <a:cubicBezTo>
                                  <a:pt x="561962" y="403849"/>
                                  <a:pt x="561962" y="403849"/>
                                  <a:pt x="568730" y="412977"/>
                                </a:cubicBezTo>
                                <a:cubicBezTo>
                                  <a:pt x="570986" y="412977"/>
                                  <a:pt x="573242" y="412977"/>
                                  <a:pt x="575498" y="417542"/>
                                </a:cubicBezTo>
                                <a:cubicBezTo>
                                  <a:pt x="582266" y="424388"/>
                                  <a:pt x="568730" y="431234"/>
                                  <a:pt x="564218" y="424388"/>
                                </a:cubicBezTo>
                                <a:cubicBezTo>
                                  <a:pt x="559706" y="419824"/>
                                  <a:pt x="555194" y="415260"/>
                                  <a:pt x="550682" y="415260"/>
                                </a:cubicBezTo>
                                <a:cubicBezTo>
                                  <a:pt x="546171" y="412977"/>
                                  <a:pt x="541659" y="415260"/>
                                  <a:pt x="539403" y="408413"/>
                                </a:cubicBezTo>
                                <a:cubicBezTo>
                                  <a:pt x="543915" y="403849"/>
                                  <a:pt x="548427" y="408413"/>
                                  <a:pt x="552938" y="403849"/>
                                </a:cubicBezTo>
                                <a:close/>
                                <a:moveTo>
                                  <a:pt x="668388" y="394325"/>
                                </a:moveTo>
                                <a:cubicBezTo>
                                  <a:pt x="668388" y="394325"/>
                                  <a:pt x="675135" y="394325"/>
                                  <a:pt x="670637" y="401231"/>
                                </a:cubicBezTo>
                                <a:cubicBezTo>
                                  <a:pt x="670637" y="403533"/>
                                  <a:pt x="670637" y="405835"/>
                                  <a:pt x="672886" y="405835"/>
                                </a:cubicBezTo>
                                <a:cubicBezTo>
                                  <a:pt x="670637" y="408137"/>
                                  <a:pt x="670637" y="408137"/>
                                  <a:pt x="670637" y="408137"/>
                                </a:cubicBezTo>
                                <a:cubicBezTo>
                                  <a:pt x="666139" y="408137"/>
                                  <a:pt x="670637" y="405835"/>
                                  <a:pt x="668388" y="410439"/>
                                </a:cubicBezTo>
                                <a:cubicBezTo>
                                  <a:pt x="668388" y="412741"/>
                                  <a:pt x="663890" y="417344"/>
                                  <a:pt x="661641" y="419646"/>
                                </a:cubicBezTo>
                                <a:cubicBezTo>
                                  <a:pt x="657143" y="421948"/>
                                  <a:pt x="657143" y="424250"/>
                                  <a:pt x="650396" y="424250"/>
                                </a:cubicBezTo>
                                <a:cubicBezTo>
                                  <a:pt x="648147" y="424250"/>
                                  <a:pt x="645898" y="428854"/>
                                  <a:pt x="641401" y="428854"/>
                                </a:cubicBezTo>
                                <a:cubicBezTo>
                                  <a:pt x="639152" y="428854"/>
                                  <a:pt x="636903" y="428854"/>
                                  <a:pt x="634654" y="428854"/>
                                </a:cubicBezTo>
                                <a:cubicBezTo>
                                  <a:pt x="634654" y="424250"/>
                                  <a:pt x="641401" y="424250"/>
                                  <a:pt x="641401" y="421948"/>
                                </a:cubicBezTo>
                                <a:cubicBezTo>
                                  <a:pt x="639152" y="421948"/>
                                  <a:pt x="639152" y="421948"/>
                                  <a:pt x="636903" y="419646"/>
                                </a:cubicBezTo>
                                <a:cubicBezTo>
                                  <a:pt x="638027" y="418495"/>
                                  <a:pt x="640276" y="415618"/>
                                  <a:pt x="642244" y="412741"/>
                                </a:cubicBezTo>
                                <a:lnTo>
                                  <a:pt x="645869" y="405891"/>
                                </a:lnTo>
                                <a:lnTo>
                                  <a:pt x="645369" y="405636"/>
                                </a:lnTo>
                                <a:lnTo>
                                  <a:pt x="657039" y="401551"/>
                                </a:lnTo>
                                <a:lnTo>
                                  <a:pt x="657143" y="401231"/>
                                </a:lnTo>
                                <a:cubicBezTo>
                                  <a:pt x="668388" y="398929"/>
                                  <a:pt x="661641" y="396627"/>
                                  <a:pt x="668388" y="394325"/>
                                </a:cubicBezTo>
                                <a:close/>
                                <a:moveTo>
                                  <a:pt x="467967" y="387180"/>
                                </a:moveTo>
                                <a:cubicBezTo>
                                  <a:pt x="467967" y="389561"/>
                                  <a:pt x="467967" y="389561"/>
                                  <a:pt x="467967" y="389561"/>
                                </a:cubicBezTo>
                                <a:cubicBezTo>
                                  <a:pt x="467967" y="389561"/>
                                  <a:pt x="467967" y="389561"/>
                                  <a:pt x="466776" y="389561"/>
                                </a:cubicBezTo>
                                <a:cubicBezTo>
                                  <a:pt x="466776" y="389561"/>
                                  <a:pt x="466776" y="389561"/>
                                  <a:pt x="467967" y="387180"/>
                                </a:cubicBezTo>
                                <a:close/>
                                <a:moveTo>
                                  <a:pt x="554882" y="384799"/>
                                </a:moveTo>
                                <a:cubicBezTo>
                                  <a:pt x="554882" y="384799"/>
                                  <a:pt x="554882" y="384799"/>
                                  <a:pt x="557263" y="384799"/>
                                </a:cubicBezTo>
                                <a:cubicBezTo>
                                  <a:pt x="557263" y="387180"/>
                                  <a:pt x="557263" y="391943"/>
                                  <a:pt x="554882" y="389562"/>
                                </a:cubicBezTo>
                                <a:cubicBezTo>
                                  <a:pt x="554882" y="389562"/>
                                  <a:pt x="554882" y="387180"/>
                                  <a:pt x="554882" y="384799"/>
                                </a:cubicBezTo>
                                <a:close/>
                                <a:moveTo>
                                  <a:pt x="625128" y="382418"/>
                                </a:moveTo>
                                <a:cubicBezTo>
                                  <a:pt x="627509" y="382418"/>
                                  <a:pt x="627509" y="382418"/>
                                  <a:pt x="629891" y="382418"/>
                                </a:cubicBezTo>
                                <a:cubicBezTo>
                                  <a:pt x="627509" y="382418"/>
                                  <a:pt x="627509" y="382418"/>
                                  <a:pt x="627509" y="384799"/>
                                </a:cubicBezTo>
                                <a:cubicBezTo>
                                  <a:pt x="627509" y="384799"/>
                                  <a:pt x="627509" y="384799"/>
                                  <a:pt x="625128" y="382418"/>
                                </a:cubicBezTo>
                                <a:close/>
                                <a:moveTo>
                                  <a:pt x="552500" y="381228"/>
                                </a:moveTo>
                                <a:cubicBezTo>
                                  <a:pt x="557263" y="383213"/>
                                  <a:pt x="550119" y="385197"/>
                                  <a:pt x="550119" y="387182"/>
                                </a:cubicBezTo>
                                <a:cubicBezTo>
                                  <a:pt x="550119" y="385197"/>
                                  <a:pt x="550119" y="383213"/>
                                  <a:pt x="552500" y="381228"/>
                                </a:cubicBezTo>
                                <a:close/>
                                <a:moveTo>
                                  <a:pt x="629891" y="378847"/>
                                </a:moveTo>
                                <a:cubicBezTo>
                                  <a:pt x="632272" y="378847"/>
                                  <a:pt x="637035" y="376465"/>
                                  <a:pt x="634653" y="378847"/>
                                </a:cubicBezTo>
                                <a:cubicBezTo>
                                  <a:pt x="634653" y="381228"/>
                                  <a:pt x="629891" y="381228"/>
                                  <a:pt x="629891" y="381228"/>
                                </a:cubicBezTo>
                                <a:cubicBezTo>
                                  <a:pt x="629891" y="381228"/>
                                  <a:pt x="629891" y="378847"/>
                                  <a:pt x="629891" y="378847"/>
                                </a:cubicBezTo>
                                <a:close/>
                                <a:moveTo>
                                  <a:pt x="643328" y="377086"/>
                                </a:moveTo>
                                <a:cubicBezTo>
                                  <a:pt x="644434" y="376267"/>
                                  <a:pt x="645540" y="376267"/>
                                  <a:pt x="647751" y="378450"/>
                                </a:cubicBezTo>
                                <a:cubicBezTo>
                                  <a:pt x="645539" y="378450"/>
                                  <a:pt x="638906" y="380633"/>
                                  <a:pt x="638906" y="384998"/>
                                </a:cubicBezTo>
                                <a:cubicBezTo>
                                  <a:pt x="638906" y="384998"/>
                                  <a:pt x="632272" y="387181"/>
                                  <a:pt x="634483" y="382815"/>
                                </a:cubicBezTo>
                                <a:cubicBezTo>
                                  <a:pt x="634483" y="380633"/>
                                  <a:pt x="636694" y="380633"/>
                                  <a:pt x="638906" y="380633"/>
                                </a:cubicBezTo>
                                <a:cubicBezTo>
                                  <a:pt x="641117" y="379541"/>
                                  <a:pt x="642223" y="377904"/>
                                  <a:pt x="643328" y="377086"/>
                                </a:cubicBezTo>
                                <a:close/>
                                <a:moveTo>
                                  <a:pt x="966839" y="376465"/>
                                </a:moveTo>
                                <a:cubicBezTo>
                                  <a:pt x="969220" y="374084"/>
                                  <a:pt x="969220" y="378847"/>
                                  <a:pt x="971601" y="381228"/>
                                </a:cubicBezTo>
                                <a:cubicBezTo>
                                  <a:pt x="971601" y="381228"/>
                                  <a:pt x="971601" y="381228"/>
                                  <a:pt x="969220" y="381228"/>
                                </a:cubicBezTo>
                                <a:cubicBezTo>
                                  <a:pt x="964457" y="381228"/>
                                  <a:pt x="962076" y="378847"/>
                                  <a:pt x="966839" y="376465"/>
                                </a:cubicBezTo>
                                <a:close/>
                                <a:moveTo>
                                  <a:pt x="514401" y="376465"/>
                                </a:moveTo>
                                <a:cubicBezTo>
                                  <a:pt x="514401" y="376465"/>
                                  <a:pt x="512019" y="378847"/>
                                  <a:pt x="512019" y="381228"/>
                                </a:cubicBezTo>
                                <a:cubicBezTo>
                                  <a:pt x="509638" y="378847"/>
                                  <a:pt x="509638" y="374084"/>
                                  <a:pt x="514401" y="376465"/>
                                </a:cubicBezTo>
                                <a:close/>
                                <a:moveTo>
                                  <a:pt x="739429" y="376465"/>
                                </a:moveTo>
                                <a:lnTo>
                                  <a:pt x="741810" y="376465"/>
                                </a:lnTo>
                                <a:lnTo>
                                  <a:pt x="739429" y="378846"/>
                                </a:lnTo>
                                <a:close/>
                                <a:moveTo>
                                  <a:pt x="654895" y="376465"/>
                                </a:moveTo>
                                <a:cubicBezTo>
                                  <a:pt x="657276" y="378549"/>
                                  <a:pt x="654895" y="382716"/>
                                  <a:pt x="652513" y="384800"/>
                                </a:cubicBezTo>
                                <a:cubicBezTo>
                                  <a:pt x="650132" y="382716"/>
                                  <a:pt x="650132" y="382716"/>
                                  <a:pt x="647751" y="382716"/>
                                </a:cubicBezTo>
                                <a:cubicBezTo>
                                  <a:pt x="647751" y="380633"/>
                                  <a:pt x="647751" y="380633"/>
                                  <a:pt x="650132" y="378549"/>
                                </a:cubicBezTo>
                                <a:cubicBezTo>
                                  <a:pt x="652513" y="378549"/>
                                  <a:pt x="654895" y="378549"/>
                                  <a:pt x="654895" y="376465"/>
                                </a:cubicBezTo>
                                <a:close/>
                                <a:moveTo>
                                  <a:pt x="483985" y="376465"/>
                                </a:moveTo>
                                <a:cubicBezTo>
                                  <a:pt x="488531" y="376465"/>
                                  <a:pt x="495351" y="378698"/>
                                  <a:pt x="493078" y="383163"/>
                                </a:cubicBezTo>
                                <a:cubicBezTo>
                                  <a:pt x="490805" y="385395"/>
                                  <a:pt x="486258" y="389860"/>
                                  <a:pt x="488531" y="394325"/>
                                </a:cubicBezTo>
                                <a:cubicBezTo>
                                  <a:pt x="486258" y="392093"/>
                                  <a:pt x="470347" y="394325"/>
                                  <a:pt x="474893" y="389860"/>
                                </a:cubicBezTo>
                                <a:cubicBezTo>
                                  <a:pt x="477166" y="392093"/>
                                  <a:pt x="479439" y="387628"/>
                                  <a:pt x="479439" y="385395"/>
                                </a:cubicBezTo>
                                <a:cubicBezTo>
                                  <a:pt x="479439" y="380930"/>
                                  <a:pt x="481712" y="378698"/>
                                  <a:pt x="483985" y="376465"/>
                                </a:cubicBezTo>
                                <a:close/>
                                <a:moveTo>
                                  <a:pt x="732285" y="374084"/>
                                </a:moveTo>
                                <a:cubicBezTo>
                                  <a:pt x="734666" y="374084"/>
                                  <a:pt x="737048" y="374084"/>
                                  <a:pt x="739429" y="374084"/>
                                </a:cubicBezTo>
                                <a:cubicBezTo>
                                  <a:pt x="737048" y="378847"/>
                                  <a:pt x="729904" y="376466"/>
                                  <a:pt x="732285" y="374084"/>
                                </a:cubicBezTo>
                                <a:close/>
                                <a:moveTo>
                                  <a:pt x="659508" y="374084"/>
                                </a:moveTo>
                                <a:cubicBezTo>
                                  <a:pt x="661741" y="374084"/>
                                  <a:pt x="663973" y="376168"/>
                                  <a:pt x="666206" y="376168"/>
                                </a:cubicBezTo>
                                <a:cubicBezTo>
                                  <a:pt x="668438" y="376168"/>
                                  <a:pt x="670671" y="374084"/>
                                  <a:pt x="670671" y="376168"/>
                                </a:cubicBezTo>
                                <a:cubicBezTo>
                                  <a:pt x="675136" y="376168"/>
                                  <a:pt x="675136" y="378252"/>
                                  <a:pt x="672903" y="380335"/>
                                </a:cubicBezTo>
                                <a:cubicBezTo>
                                  <a:pt x="668438" y="382419"/>
                                  <a:pt x="661741" y="382419"/>
                                  <a:pt x="657276" y="382419"/>
                                </a:cubicBezTo>
                                <a:cubicBezTo>
                                  <a:pt x="657276" y="380335"/>
                                  <a:pt x="659508" y="378252"/>
                                  <a:pt x="661741" y="376168"/>
                                </a:cubicBezTo>
                                <a:cubicBezTo>
                                  <a:pt x="657276" y="378252"/>
                                  <a:pt x="659508" y="376168"/>
                                  <a:pt x="659508" y="374084"/>
                                </a:cubicBezTo>
                                <a:close/>
                                <a:moveTo>
                                  <a:pt x="445252" y="373965"/>
                                </a:moveTo>
                                <a:cubicBezTo>
                                  <a:pt x="449832" y="376228"/>
                                  <a:pt x="454411" y="376228"/>
                                  <a:pt x="458991" y="373965"/>
                                </a:cubicBezTo>
                                <a:cubicBezTo>
                                  <a:pt x="463570" y="371703"/>
                                  <a:pt x="468149" y="376228"/>
                                  <a:pt x="470439" y="378490"/>
                                </a:cubicBezTo>
                                <a:cubicBezTo>
                                  <a:pt x="472729" y="383014"/>
                                  <a:pt x="465860" y="385276"/>
                                  <a:pt x="463570" y="385276"/>
                                </a:cubicBezTo>
                                <a:cubicBezTo>
                                  <a:pt x="463570" y="385276"/>
                                  <a:pt x="456701" y="394325"/>
                                  <a:pt x="456701" y="392063"/>
                                </a:cubicBezTo>
                                <a:cubicBezTo>
                                  <a:pt x="456701" y="389801"/>
                                  <a:pt x="461280" y="389801"/>
                                  <a:pt x="458991" y="387539"/>
                                </a:cubicBezTo>
                                <a:cubicBezTo>
                                  <a:pt x="456701" y="385276"/>
                                  <a:pt x="454411" y="383014"/>
                                  <a:pt x="452122" y="383014"/>
                                </a:cubicBezTo>
                                <a:cubicBezTo>
                                  <a:pt x="449832" y="380752"/>
                                  <a:pt x="442963" y="378490"/>
                                  <a:pt x="445252" y="373965"/>
                                </a:cubicBezTo>
                                <a:close/>
                                <a:moveTo>
                                  <a:pt x="625642" y="373867"/>
                                </a:moveTo>
                                <a:cubicBezTo>
                                  <a:pt x="627058" y="375004"/>
                                  <a:pt x="628758" y="377277"/>
                                  <a:pt x="629891" y="378413"/>
                                </a:cubicBezTo>
                                <a:cubicBezTo>
                                  <a:pt x="625359" y="378413"/>
                                  <a:pt x="627625" y="382960"/>
                                  <a:pt x="623093" y="380687"/>
                                </a:cubicBezTo>
                                <a:cubicBezTo>
                                  <a:pt x="625359" y="389779"/>
                                  <a:pt x="611762" y="387506"/>
                                  <a:pt x="607230" y="389779"/>
                                </a:cubicBezTo>
                                <a:cubicBezTo>
                                  <a:pt x="602698" y="392052"/>
                                  <a:pt x="598166" y="394325"/>
                                  <a:pt x="593634" y="389779"/>
                                </a:cubicBezTo>
                                <a:cubicBezTo>
                                  <a:pt x="593634" y="394325"/>
                                  <a:pt x="589102" y="392052"/>
                                  <a:pt x="586836" y="394325"/>
                                </a:cubicBezTo>
                                <a:cubicBezTo>
                                  <a:pt x="584570" y="394325"/>
                                  <a:pt x="582304" y="392052"/>
                                  <a:pt x="580038" y="392052"/>
                                </a:cubicBezTo>
                                <a:cubicBezTo>
                                  <a:pt x="577772" y="392052"/>
                                  <a:pt x="573240" y="389779"/>
                                  <a:pt x="570974" y="392052"/>
                                </a:cubicBezTo>
                                <a:cubicBezTo>
                                  <a:pt x="568708" y="392052"/>
                                  <a:pt x="564176" y="389779"/>
                                  <a:pt x="564176" y="392052"/>
                                </a:cubicBezTo>
                                <a:cubicBezTo>
                                  <a:pt x="559644" y="394325"/>
                                  <a:pt x="559644" y="389779"/>
                                  <a:pt x="559644" y="387506"/>
                                </a:cubicBezTo>
                                <a:cubicBezTo>
                                  <a:pt x="559644" y="382960"/>
                                  <a:pt x="561910" y="382960"/>
                                  <a:pt x="564176" y="380687"/>
                                </a:cubicBezTo>
                                <a:cubicBezTo>
                                  <a:pt x="570974" y="378413"/>
                                  <a:pt x="570974" y="376140"/>
                                  <a:pt x="577772" y="378413"/>
                                </a:cubicBezTo>
                                <a:cubicBezTo>
                                  <a:pt x="582304" y="378413"/>
                                  <a:pt x="589102" y="380687"/>
                                  <a:pt x="591368" y="382960"/>
                                </a:cubicBezTo>
                                <a:cubicBezTo>
                                  <a:pt x="593634" y="382960"/>
                                  <a:pt x="595900" y="385233"/>
                                  <a:pt x="595900" y="385233"/>
                                </a:cubicBezTo>
                                <a:cubicBezTo>
                                  <a:pt x="598166" y="382960"/>
                                  <a:pt x="598166" y="382960"/>
                                  <a:pt x="598166" y="382960"/>
                                </a:cubicBezTo>
                                <a:cubicBezTo>
                                  <a:pt x="602698" y="385233"/>
                                  <a:pt x="604964" y="380687"/>
                                  <a:pt x="607230" y="382960"/>
                                </a:cubicBezTo>
                                <a:cubicBezTo>
                                  <a:pt x="609496" y="385233"/>
                                  <a:pt x="614029" y="389779"/>
                                  <a:pt x="616295" y="382960"/>
                                </a:cubicBezTo>
                                <a:cubicBezTo>
                                  <a:pt x="618561" y="380687"/>
                                  <a:pt x="625359" y="380687"/>
                                  <a:pt x="627625" y="376140"/>
                                </a:cubicBezTo>
                                <a:cubicBezTo>
                                  <a:pt x="625359" y="376140"/>
                                  <a:pt x="625359" y="376140"/>
                                  <a:pt x="623093" y="376140"/>
                                </a:cubicBezTo>
                                <a:cubicBezTo>
                                  <a:pt x="623093" y="372731"/>
                                  <a:pt x="624226" y="372731"/>
                                  <a:pt x="625642" y="373867"/>
                                </a:cubicBezTo>
                                <a:close/>
                                <a:moveTo>
                                  <a:pt x="518009" y="373700"/>
                                </a:moveTo>
                                <a:cubicBezTo>
                                  <a:pt x="519683" y="372844"/>
                                  <a:pt x="521916" y="372844"/>
                                  <a:pt x="523032" y="373985"/>
                                </a:cubicBezTo>
                                <a:cubicBezTo>
                                  <a:pt x="525265" y="376267"/>
                                  <a:pt x="527497" y="380831"/>
                                  <a:pt x="529730" y="378549"/>
                                </a:cubicBezTo>
                                <a:cubicBezTo>
                                  <a:pt x="531962" y="373985"/>
                                  <a:pt x="534194" y="380831"/>
                                  <a:pt x="536427" y="383114"/>
                                </a:cubicBezTo>
                                <a:cubicBezTo>
                                  <a:pt x="536427" y="380831"/>
                                  <a:pt x="538659" y="376267"/>
                                  <a:pt x="540892" y="380831"/>
                                </a:cubicBezTo>
                                <a:cubicBezTo>
                                  <a:pt x="543124" y="380831"/>
                                  <a:pt x="543124" y="389960"/>
                                  <a:pt x="545357" y="385396"/>
                                </a:cubicBezTo>
                                <a:cubicBezTo>
                                  <a:pt x="545357" y="392242"/>
                                  <a:pt x="538659" y="387678"/>
                                  <a:pt x="534194" y="389960"/>
                                </a:cubicBezTo>
                                <a:cubicBezTo>
                                  <a:pt x="536427" y="389960"/>
                                  <a:pt x="538659" y="389960"/>
                                  <a:pt x="538659" y="392242"/>
                                </a:cubicBezTo>
                                <a:cubicBezTo>
                                  <a:pt x="536427" y="392242"/>
                                  <a:pt x="536427" y="389960"/>
                                  <a:pt x="534194" y="392242"/>
                                </a:cubicBezTo>
                                <a:cubicBezTo>
                                  <a:pt x="531962" y="392242"/>
                                  <a:pt x="531962" y="392242"/>
                                  <a:pt x="529730" y="392242"/>
                                </a:cubicBezTo>
                                <a:cubicBezTo>
                                  <a:pt x="527497" y="389960"/>
                                  <a:pt x="529730" y="387678"/>
                                  <a:pt x="529730" y="385396"/>
                                </a:cubicBezTo>
                                <a:cubicBezTo>
                                  <a:pt x="527497" y="389960"/>
                                  <a:pt x="523032" y="392242"/>
                                  <a:pt x="518567" y="394524"/>
                                </a:cubicBezTo>
                                <a:cubicBezTo>
                                  <a:pt x="514102" y="392242"/>
                                  <a:pt x="509637" y="396806"/>
                                  <a:pt x="507405" y="396806"/>
                                </a:cubicBezTo>
                                <a:cubicBezTo>
                                  <a:pt x="502940" y="396806"/>
                                  <a:pt x="502940" y="396806"/>
                                  <a:pt x="500708" y="396806"/>
                                </a:cubicBezTo>
                                <a:cubicBezTo>
                                  <a:pt x="500708" y="399088"/>
                                  <a:pt x="498475" y="399088"/>
                                  <a:pt x="498475" y="399088"/>
                                </a:cubicBezTo>
                                <a:cubicBezTo>
                                  <a:pt x="496243" y="396806"/>
                                  <a:pt x="491778" y="394524"/>
                                  <a:pt x="494010" y="392242"/>
                                </a:cubicBezTo>
                                <a:cubicBezTo>
                                  <a:pt x="496243" y="389960"/>
                                  <a:pt x="494010" y="387678"/>
                                  <a:pt x="496243" y="385396"/>
                                </a:cubicBezTo>
                                <a:cubicBezTo>
                                  <a:pt x="498475" y="380831"/>
                                  <a:pt x="509637" y="378549"/>
                                  <a:pt x="514102" y="383114"/>
                                </a:cubicBezTo>
                                <a:cubicBezTo>
                                  <a:pt x="516335" y="385396"/>
                                  <a:pt x="516335" y="389960"/>
                                  <a:pt x="518567" y="389960"/>
                                </a:cubicBezTo>
                                <a:cubicBezTo>
                                  <a:pt x="520800" y="387678"/>
                                  <a:pt x="525265" y="387678"/>
                                  <a:pt x="527497" y="385396"/>
                                </a:cubicBezTo>
                                <a:cubicBezTo>
                                  <a:pt x="523032" y="383114"/>
                                  <a:pt x="518567" y="383114"/>
                                  <a:pt x="516335" y="378549"/>
                                </a:cubicBezTo>
                                <a:cubicBezTo>
                                  <a:pt x="515219" y="376267"/>
                                  <a:pt x="516335" y="374556"/>
                                  <a:pt x="518009" y="373700"/>
                                </a:cubicBezTo>
                                <a:close/>
                                <a:moveTo>
                                  <a:pt x="770385" y="366940"/>
                                </a:moveTo>
                                <a:cubicBezTo>
                                  <a:pt x="775147" y="364559"/>
                                  <a:pt x="777529" y="371703"/>
                                  <a:pt x="772766" y="371703"/>
                                </a:cubicBezTo>
                                <a:cubicBezTo>
                                  <a:pt x="770385" y="371703"/>
                                  <a:pt x="770385" y="366940"/>
                                  <a:pt x="770385" y="366940"/>
                                </a:cubicBezTo>
                                <a:close/>
                                <a:moveTo>
                                  <a:pt x="706105" y="361880"/>
                                </a:moveTo>
                                <a:cubicBezTo>
                                  <a:pt x="708085" y="361582"/>
                                  <a:pt x="709782" y="362177"/>
                                  <a:pt x="712044" y="364559"/>
                                </a:cubicBezTo>
                                <a:cubicBezTo>
                                  <a:pt x="707519" y="364559"/>
                                  <a:pt x="705257" y="369321"/>
                                  <a:pt x="702995" y="369321"/>
                                </a:cubicBezTo>
                                <a:cubicBezTo>
                                  <a:pt x="696208" y="369321"/>
                                  <a:pt x="693946" y="366940"/>
                                  <a:pt x="689422" y="371702"/>
                                </a:cubicBezTo>
                                <a:cubicBezTo>
                                  <a:pt x="689422" y="369321"/>
                                  <a:pt x="691684" y="364559"/>
                                  <a:pt x="693946" y="364559"/>
                                </a:cubicBezTo>
                                <a:cubicBezTo>
                                  <a:pt x="693946" y="362177"/>
                                  <a:pt x="696208" y="364559"/>
                                  <a:pt x="698471" y="364559"/>
                                </a:cubicBezTo>
                                <a:cubicBezTo>
                                  <a:pt x="701864" y="363368"/>
                                  <a:pt x="704126" y="362177"/>
                                  <a:pt x="706105" y="361880"/>
                                </a:cubicBezTo>
                                <a:close/>
                                <a:moveTo>
                                  <a:pt x="966839" y="357362"/>
                                </a:moveTo>
                                <a:cubicBezTo>
                                  <a:pt x="969061" y="357930"/>
                                  <a:pt x="970728" y="359635"/>
                                  <a:pt x="972951" y="363044"/>
                                </a:cubicBezTo>
                                <a:cubicBezTo>
                                  <a:pt x="975173" y="365317"/>
                                  <a:pt x="966283" y="374410"/>
                                  <a:pt x="966283" y="376683"/>
                                </a:cubicBezTo>
                                <a:cubicBezTo>
                                  <a:pt x="961838" y="378956"/>
                                  <a:pt x="959616" y="381229"/>
                                  <a:pt x="955170" y="381229"/>
                                </a:cubicBezTo>
                                <a:cubicBezTo>
                                  <a:pt x="950725" y="381229"/>
                                  <a:pt x="946280" y="381229"/>
                                  <a:pt x="941835" y="381229"/>
                                </a:cubicBezTo>
                                <a:cubicBezTo>
                                  <a:pt x="941835" y="381229"/>
                                  <a:pt x="941835" y="381229"/>
                                  <a:pt x="944058" y="378956"/>
                                </a:cubicBezTo>
                                <a:cubicBezTo>
                                  <a:pt x="946280" y="372137"/>
                                  <a:pt x="948503" y="363044"/>
                                  <a:pt x="957393" y="358498"/>
                                </a:cubicBezTo>
                                <a:cubicBezTo>
                                  <a:pt x="961838" y="357362"/>
                                  <a:pt x="964616" y="356793"/>
                                  <a:pt x="966839" y="357362"/>
                                </a:cubicBezTo>
                                <a:close/>
                                <a:moveTo>
                                  <a:pt x="804914" y="356225"/>
                                </a:moveTo>
                                <a:cubicBezTo>
                                  <a:pt x="802532" y="358011"/>
                                  <a:pt x="802532" y="358011"/>
                                  <a:pt x="802532" y="358011"/>
                                </a:cubicBezTo>
                                <a:cubicBezTo>
                                  <a:pt x="800151" y="358011"/>
                                  <a:pt x="800151" y="358011"/>
                                  <a:pt x="800151" y="358011"/>
                                </a:cubicBezTo>
                                <a:cubicBezTo>
                                  <a:pt x="802532" y="359797"/>
                                  <a:pt x="804914" y="358011"/>
                                  <a:pt x="804914" y="356225"/>
                                </a:cubicBezTo>
                                <a:close/>
                                <a:moveTo>
                                  <a:pt x="579885" y="346699"/>
                                </a:moveTo>
                                <a:cubicBezTo>
                                  <a:pt x="579885" y="346699"/>
                                  <a:pt x="579885" y="346699"/>
                                  <a:pt x="582266" y="349081"/>
                                </a:cubicBezTo>
                                <a:cubicBezTo>
                                  <a:pt x="582266" y="349081"/>
                                  <a:pt x="582266" y="349081"/>
                                  <a:pt x="579885" y="351462"/>
                                </a:cubicBezTo>
                                <a:cubicBezTo>
                                  <a:pt x="579885" y="349081"/>
                                  <a:pt x="579885" y="349081"/>
                                  <a:pt x="579885" y="346699"/>
                                </a:cubicBezTo>
                                <a:close/>
                                <a:moveTo>
                                  <a:pt x="435659" y="343723"/>
                                </a:moveTo>
                                <a:cubicBezTo>
                                  <a:pt x="437669" y="343723"/>
                                  <a:pt x="439391" y="344318"/>
                                  <a:pt x="439391" y="346700"/>
                                </a:cubicBezTo>
                                <a:cubicBezTo>
                                  <a:pt x="437095" y="346700"/>
                                  <a:pt x="434798" y="346700"/>
                                  <a:pt x="434798" y="349081"/>
                                </a:cubicBezTo>
                                <a:cubicBezTo>
                                  <a:pt x="432502" y="349081"/>
                                  <a:pt x="430206" y="349081"/>
                                  <a:pt x="430206" y="351462"/>
                                </a:cubicBezTo>
                                <a:cubicBezTo>
                                  <a:pt x="425613" y="351462"/>
                                  <a:pt x="421021" y="353843"/>
                                  <a:pt x="418725" y="351462"/>
                                </a:cubicBezTo>
                                <a:cubicBezTo>
                                  <a:pt x="416429" y="353843"/>
                                  <a:pt x="411836" y="351462"/>
                                  <a:pt x="409540" y="349081"/>
                                </a:cubicBezTo>
                                <a:cubicBezTo>
                                  <a:pt x="407244" y="349081"/>
                                  <a:pt x="411836" y="344318"/>
                                  <a:pt x="414132" y="344318"/>
                                </a:cubicBezTo>
                                <a:cubicBezTo>
                                  <a:pt x="418725" y="341937"/>
                                  <a:pt x="425613" y="344318"/>
                                  <a:pt x="430206" y="344318"/>
                                </a:cubicBezTo>
                                <a:cubicBezTo>
                                  <a:pt x="431354" y="344318"/>
                                  <a:pt x="433650" y="343723"/>
                                  <a:pt x="435659" y="343723"/>
                                </a:cubicBezTo>
                                <a:close/>
                                <a:moveTo>
                                  <a:pt x="464097" y="341937"/>
                                </a:moveTo>
                                <a:cubicBezTo>
                                  <a:pt x="466180" y="341937"/>
                                  <a:pt x="468264" y="341937"/>
                                  <a:pt x="470348" y="344319"/>
                                </a:cubicBezTo>
                                <a:cubicBezTo>
                                  <a:pt x="468264" y="344319"/>
                                  <a:pt x="466180" y="344319"/>
                                  <a:pt x="464097" y="346700"/>
                                </a:cubicBezTo>
                                <a:cubicBezTo>
                                  <a:pt x="462013" y="344319"/>
                                  <a:pt x="464097" y="344319"/>
                                  <a:pt x="464097" y="341937"/>
                                </a:cubicBezTo>
                                <a:close/>
                                <a:moveTo>
                                  <a:pt x="871248" y="326459"/>
                                </a:moveTo>
                                <a:cubicBezTo>
                                  <a:pt x="875671" y="330957"/>
                                  <a:pt x="882305" y="339953"/>
                                  <a:pt x="873460" y="344451"/>
                                </a:cubicBezTo>
                                <a:cubicBezTo>
                                  <a:pt x="866826" y="346700"/>
                                  <a:pt x="869037" y="335455"/>
                                  <a:pt x="871248" y="335455"/>
                                </a:cubicBezTo>
                                <a:cubicBezTo>
                                  <a:pt x="869037" y="333206"/>
                                  <a:pt x="871248" y="328708"/>
                                  <a:pt x="871248" y="326459"/>
                                </a:cubicBezTo>
                                <a:close/>
                                <a:moveTo>
                                  <a:pt x="873440" y="323321"/>
                                </a:moveTo>
                                <a:cubicBezTo>
                                  <a:pt x="873440" y="323321"/>
                                  <a:pt x="873440" y="325594"/>
                                  <a:pt x="875689" y="327867"/>
                                </a:cubicBezTo>
                                <a:cubicBezTo>
                                  <a:pt x="880187" y="332413"/>
                                  <a:pt x="864444" y="321047"/>
                                  <a:pt x="873440" y="323321"/>
                                </a:cubicBezTo>
                                <a:close/>
                                <a:moveTo>
                                  <a:pt x="265885" y="321196"/>
                                </a:moveTo>
                                <a:cubicBezTo>
                                  <a:pt x="267021" y="319775"/>
                                  <a:pt x="268158" y="319207"/>
                                  <a:pt x="268158" y="321480"/>
                                </a:cubicBezTo>
                                <a:cubicBezTo>
                                  <a:pt x="270431" y="321480"/>
                                  <a:pt x="279523" y="321480"/>
                                  <a:pt x="281796" y="323753"/>
                                </a:cubicBezTo>
                                <a:cubicBezTo>
                                  <a:pt x="284069" y="326026"/>
                                  <a:pt x="286342" y="323753"/>
                                  <a:pt x="288615" y="321480"/>
                                </a:cubicBezTo>
                                <a:cubicBezTo>
                                  <a:pt x="290888" y="321480"/>
                                  <a:pt x="293161" y="321480"/>
                                  <a:pt x="295434" y="323753"/>
                                </a:cubicBezTo>
                                <a:cubicBezTo>
                                  <a:pt x="297707" y="326026"/>
                                  <a:pt x="299980" y="328299"/>
                                  <a:pt x="302253" y="328299"/>
                                </a:cubicBezTo>
                                <a:cubicBezTo>
                                  <a:pt x="306799" y="326026"/>
                                  <a:pt x="309072" y="330572"/>
                                  <a:pt x="311345" y="330572"/>
                                </a:cubicBezTo>
                                <a:cubicBezTo>
                                  <a:pt x="313618" y="330572"/>
                                  <a:pt x="313618" y="326026"/>
                                  <a:pt x="315891" y="330572"/>
                                </a:cubicBezTo>
                                <a:cubicBezTo>
                                  <a:pt x="320437" y="335118"/>
                                  <a:pt x="320437" y="346484"/>
                                  <a:pt x="329529" y="341937"/>
                                </a:cubicBezTo>
                                <a:cubicBezTo>
                                  <a:pt x="331802" y="341937"/>
                                  <a:pt x="334075" y="344210"/>
                                  <a:pt x="336348" y="344210"/>
                                </a:cubicBezTo>
                                <a:cubicBezTo>
                                  <a:pt x="340894" y="344210"/>
                                  <a:pt x="343167" y="344210"/>
                                  <a:pt x="347713" y="344210"/>
                                </a:cubicBezTo>
                                <a:cubicBezTo>
                                  <a:pt x="347713" y="344210"/>
                                  <a:pt x="349986" y="344210"/>
                                  <a:pt x="352259" y="344210"/>
                                </a:cubicBezTo>
                                <a:cubicBezTo>
                                  <a:pt x="354532" y="344210"/>
                                  <a:pt x="356805" y="344210"/>
                                  <a:pt x="359078" y="346484"/>
                                </a:cubicBezTo>
                                <a:cubicBezTo>
                                  <a:pt x="361351" y="346484"/>
                                  <a:pt x="363624" y="341937"/>
                                  <a:pt x="365897" y="337391"/>
                                </a:cubicBezTo>
                                <a:cubicBezTo>
                                  <a:pt x="368170" y="330572"/>
                                  <a:pt x="372716" y="330572"/>
                                  <a:pt x="374989" y="337391"/>
                                </a:cubicBezTo>
                                <a:cubicBezTo>
                                  <a:pt x="377262" y="339664"/>
                                  <a:pt x="381808" y="339664"/>
                                  <a:pt x="381808" y="337391"/>
                                </a:cubicBezTo>
                                <a:cubicBezTo>
                                  <a:pt x="384081" y="335118"/>
                                  <a:pt x="386354" y="339664"/>
                                  <a:pt x="388627" y="341937"/>
                                </a:cubicBezTo>
                                <a:cubicBezTo>
                                  <a:pt x="390900" y="341937"/>
                                  <a:pt x="393173" y="341937"/>
                                  <a:pt x="393173" y="341937"/>
                                </a:cubicBezTo>
                                <a:cubicBezTo>
                                  <a:pt x="395446" y="344210"/>
                                  <a:pt x="395446" y="344210"/>
                                  <a:pt x="397720" y="344210"/>
                                </a:cubicBezTo>
                                <a:cubicBezTo>
                                  <a:pt x="399993" y="344210"/>
                                  <a:pt x="404539" y="344210"/>
                                  <a:pt x="406812" y="344210"/>
                                </a:cubicBezTo>
                                <a:cubicBezTo>
                                  <a:pt x="406812" y="346484"/>
                                  <a:pt x="409085" y="348757"/>
                                  <a:pt x="406812" y="353303"/>
                                </a:cubicBezTo>
                                <a:cubicBezTo>
                                  <a:pt x="411358" y="348757"/>
                                  <a:pt x="409085" y="357849"/>
                                  <a:pt x="409085" y="360122"/>
                                </a:cubicBezTo>
                                <a:cubicBezTo>
                                  <a:pt x="411358" y="362395"/>
                                  <a:pt x="415904" y="364668"/>
                                  <a:pt x="418177" y="364668"/>
                                </a:cubicBezTo>
                                <a:cubicBezTo>
                                  <a:pt x="422723" y="366941"/>
                                  <a:pt x="427269" y="364668"/>
                                  <a:pt x="429542" y="364668"/>
                                </a:cubicBezTo>
                                <a:cubicBezTo>
                                  <a:pt x="434088" y="364668"/>
                                  <a:pt x="436361" y="362395"/>
                                  <a:pt x="440907" y="364668"/>
                                </a:cubicBezTo>
                                <a:cubicBezTo>
                                  <a:pt x="443180" y="364668"/>
                                  <a:pt x="445453" y="364668"/>
                                  <a:pt x="445453" y="369214"/>
                                </a:cubicBezTo>
                                <a:cubicBezTo>
                                  <a:pt x="445453" y="373760"/>
                                  <a:pt x="440907" y="378306"/>
                                  <a:pt x="443180" y="385125"/>
                                </a:cubicBezTo>
                                <a:cubicBezTo>
                                  <a:pt x="445453" y="385125"/>
                                  <a:pt x="447726" y="389671"/>
                                  <a:pt x="447726" y="389671"/>
                                </a:cubicBezTo>
                                <a:cubicBezTo>
                                  <a:pt x="445453" y="391944"/>
                                  <a:pt x="440907" y="389671"/>
                                  <a:pt x="443180" y="387398"/>
                                </a:cubicBezTo>
                                <a:cubicBezTo>
                                  <a:pt x="443180" y="387398"/>
                                  <a:pt x="431815" y="385125"/>
                                  <a:pt x="431815" y="385125"/>
                                </a:cubicBezTo>
                                <a:cubicBezTo>
                                  <a:pt x="424996" y="382852"/>
                                  <a:pt x="418177" y="376033"/>
                                  <a:pt x="413631" y="378306"/>
                                </a:cubicBezTo>
                                <a:cubicBezTo>
                                  <a:pt x="406812" y="382852"/>
                                  <a:pt x="397720" y="378306"/>
                                  <a:pt x="390900" y="378306"/>
                                </a:cubicBezTo>
                                <a:cubicBezTo>
                                  <a:pt x="386354" y="378306"/>
                                  <a:pt x="384081" y="380579"/>
                                  <a:pt x="381808" y="378306"/>
                                </a:cubicBezTo>
                                <a:cubicBezTo>
                                  <a:pt x="377262" y="376033"/>
                                  <a:pt x="372716" y="376033"/>
                                  <a:pt x="368170" y="376033"/>
                                </a:cubicBezTo>
                                <a:cubicBezTo>
                                  <a:pt x="359078" y="373760"/>
                                  <a:pt x="352259" y="369214"/>
                                  <a:pt x="343167" y="366941"/>
                                </a:cubicBezTo>
                                <a:lnTo>
                                  <a:pt x="328916" y="364091"/>
                                </a:lnTo>
                                <a:lnTo>
                                  <a:pt x="320437" y="362395"/>
                                </a:lnTo>
                                <a:cubicBezTo>
                                  <a:pt x="318164" y="362395"/>
                                  <a:pt x="318164" y="364668"/>
                                  <a:pt x="315891" y="366941"/>
                                </a:cubicBezTo>
                                <a:cubicBezTo>
                                  <a:pt x="313618" y="366941"/>
                                  <a:pt x="311345" y="366941"/>
                                  <a:pt x="309072" y="364668"/>
                                </a:cubicBezTo>
                                <a:cubicBezTo>
                                  <a:pt x="304526" y="364668"/>
                                  <a:pt x="297707" y="360122"/>
                                  <a:pt x="293161" y="357849"/>
                                </a:cubicBezTo>
                                <a:cubicBezTo>
                                  <a:pt x="288615" y="357849"/>
                                  <a:pt x="272704" y="357849"/>
                                  <a:pt x="272704" y="353303"/>
                                </a:cubicBezTo>
                                <a:cubicBezTo>
                                  <a:pt x="272704" y="351030"/>
                                  <a:pt x="277250" y="348757"/>
                                  <a:pt x="274977" y="346484"/>
                                </a:cubicBezTo>
                                <a:cubicBezTo>
                                  <a:pt x="272704" y="346484"/>
                                  <a:pt x="270431" y="346484"/>
                                  <a:pt x="268158" y="344210"/>
                                </a:cubicBezTo>
                                <a:cubicBezTo>
                                  <a:pt x="263612" y="339664"/>
                                  <a:pt x="254520" y="344210"/>
                                  <a:pt x="247701" y="341937"/>
                                </a:cubicBezTo>
                                <a:cubicBezTo>
                                  <a:pt x="249974" y="339664"/>
                                  <a:pt x="252247" y="339664"/>
                                  <a:pt x="254520" y="341937"/>
                                </a:cubicBezTo>
                                <a:cubicBezTo>
                                  <a:pt x="254520" y="339664"/>
                                  <a:pt x="256793" y="337391"/>
                                  <a:pt x="256793" y="332845"/>
                                </a:cubicBezTo>
                                <a:cubicBezTo>
                                  <a:pt x="261339" y="337391"/>
                                  <a:pt x="261339" y="328299"/>
                                  <a:pt x="263612" y="326026"/>
                                </a:cubicBezTo>
                                <a:cubicBezTo>
                                  <a:pt x="263612" y="324889"/>
                                  <a:pt x="264748" y="322616"/>
                                  <a:pt x="265885" y="321196"/>
                                </a:cubicBezTo>
                                <a:close/>
                                <a:moveTo>
                                  <a:pt x="577503" y="316934"/>
                                </a:moveTo>
                                <a:cubicBezTo>
                                  <a:pt x="579885" y="323568"/>
                                  <a:pt x="577503" y="327990"/>
                                  <a:pt x="577503" y="332413"/>
                                </a:cubicBezTo>
                                <a:cubicBezTo>
                                  <a:pt x="575122" y="330202"/>
                                  <a:pt x="575122" y="319145"/>
                                  <a:pt x="577503" y="316934"/>
                                </a:cubicBezTo>
                                <a:close/>
                                <a:moveTo>
                                  <a:pt x="839442" y="314553"/>
                                </a:moveTo>
                                <a:cubicBezTo>
                                  <a:pt x="841823" y="314553"/>
                                  <a:pt x="841823" y="314553"/>
                                  <a:pt x="841823" y="314553"/>
                                </a:cubicBezTo>
                                <a:cubicBezTo>
                                  <a:pt x="841823" y="314553"/>
                                  <a:pt x="844205" y="321697"/>
                                  <a:pt x="841823" y="321697"/>
                                </a:cubicBezTo>
                                <a:cubicBezTo>
                                  <a:pt x="839442" y="319316"/>
                                  <a:pt x="841823" y="314553"/>
                                  <a:pt x="839442" y="314553"/>
                                </a:cubicBezTo>
                                <a:close/>
                                <a:moveTo>
                                  <a:pt x="880187" y="309682"/>
                                </a:moveTo>
                                <a:cubicBezTo>
                                  <a:pt x="882436" y="307409"/>
                                  <a:pt x="884685" y="311955"/>
                                  <a:pt x="884685" y="314228"/>
                                </a:cubicBezTo>
                                <a:cubicBezTo>
                                  <a:pt x="884685" y="318774"/>
                                  <a:pt x="884685" y="323321"/>
                                  <a:pt x="884685" y="325594"/>
                                </a:cubicBezTo>
                                <a:cubicBezTo>
                                  <a:pt x="884685" y="332413"/>
                                  <a:pt x="880187" y="330140"/>
                                  <a:pt x="875689" y="327867"/>
                                </a:cubicBezTo>
                                <a:cubicBezTo>
                                  <a:pt x="875689" y="325594"/>
                                  <a:pt x="875689" y="321047"/>
                                  <a:pt x="875689" y="318774"/>
                                </a:cubicBezTo>
                                <a:cubicBezTo>
                                  <a:pt x="877938" y="314228"/>
                                  <a:pt x="873440" y="316501"/>
                                  <a:pt x="875689" y="314228"/>
                                </a:cubicBezTo>
                                <a:cubicBezTo>
                                  <a:pt x="877938" y="316501"/>
                                  <a:pt x="880187" y="311955"/>
                                  <a:pt x="880187" y="309682"/>
                                </a:cubicBezTo>
                                <a:close/>
                                <a:moveTo>
                                  <a:pt x="852539" y="306219"/>
                                </a:moveTo>
                                <a:cubicBezTo>
                                  <a:pt x="850455" y="310641"/>
                                  <a:pt x="846288" y="319487"/>
                                  <a:pt x="844204" y="321698"/>
                                </a:cubicBezTo>
                                <a:cubicBezTo>
                                  <a:pt x="844204" y="319487"/>
                                  <a:pt x="846288" y="317275"/>
                                  <a:pt x="848371" y="312853"/>
                                </a:cubicBezTo>
                                <a:cubicBezTo>
                                  <a:pt x="848371" y="310641"/>
                                  <a:pt x="848371" y="308430"/>
                                  <a:pt x="852539" y="306219"/>
                                </a:cubicBezTo>
                                <a:close/>
                                <a:moveTo>
                                  <a:pt x="184597" y="305822"/>
                                </a:moveTo>
                                <a:cubicBezTo>
                                  <a:pt x="184597" y="303837"/>
                                  <a:pt x="188169" y="307806"/>
                                  <a:pt x="188169" y="309791"/>
                                </a:cubicBezTo>
                                <a:cubicBezTo>
                                  <a:pt x="186383" y="309791"/>
                                  <a:pt x="184597" y="307806"/>
                                  <a:pt x="184597" y="305822"/>
                                </a:cubicBezTo>
                                <a:close/>
                                <a:moveTo>
                                  <a:pt x="612032" y="299075"/>
                                </a:moveTo>
                                <a:cubicBezTo>
                                  <a:pt x="612032" y="301218"/>
                                  <a:pt x="612032" y="307648"/>
                                  <a:pt x="612032" y="309791"/>
                                </a:cubicBezTo>
                                <a:cubicBezTo>
                                  <a:pt x="609650" y="309791"/>
                                  <a:pt x="604888" y="301218"/>
                                  <a:pt x="612032" y="299075"/>
                                </a:cubicBezTo>
                                <a:close/>
                                <a:moveTo>
                                  <a:pt x="625525" y="289418"/>
                                </a:moveTo>
                                <a:cubicBezTo>
                                  <a:pt x="629891" y="287169"/>
                                  <a:pt x="627708" y="296165"/>
                                  <a:pt x="627708" y="296165"/>
                                </a:cubicBezTo>
                                <a:cubicBezTo>
                                  <a:pt x="625525" y="298414"/>
                                  <a:pt x="623342" y="300663"/>
                                  <a:pt x="625525" y="302912"/>
                                </a:cubicBezTo>
                                <a:cubicBezTo>
                                  <a:pt x="625525" y="305161"/>
                                  <a:pt x="623342" y="307410"/>
                                  <a:pt x="623342" y="307410"/>
                                </a:cubicBezTo>
                                <a:cubicBezTo>
                                  <a:pt x="623342" y="307410"/>
                                  <a:pt x="623342" y="305161"/>
                                  <a:pt x="621159" y="305161"/>
                                </a:cubicBezTo>
                                <a:cubicBezTo>
                                  <a:pt x="621159" y="307410"/>
                                  <a:pt x="618977" y="307410"/>
                                  <a:pt x="616794" y="305161"/>
                                </a:cubicBezTo>
                                <a:cubicBezTo>
                                  <a:pt x="616794" y="305161"/>
                                  <a:pt x="618977" y="300663"/>
                                  <a:pt x="618977" y="300663"/>
                                </a:cubicBezTo>
                                <a:cubicBezTo>
                                  <a:pt x="621159" y="298414"/>
                                  <a:pt x="616794" y="293916"/>
                                  <a:pt x="621159" y="291667"/>
                                </a:cubicBezTo>
                                <a:cubicBezTo>
                                  <a:pt x="621159" y="291667"/>
                                  <a:pt x="623342" y="289418"/>
                                  <a:pt x="625525" y="289418"/>
                                </a:cubicBezTo>
                                <a:close/>
                                <a:moveTo>
                                  <a:pt x="634654" y="282406"/>
                                </a:moveTo>
                                <a:cubicBezTo>
                                  <a:pt x="634654" y="286998"/>
                                  <a:pt x="639417" y="289295"/>
                                  <a:pt x="637035" y="291591"/>
                                </a:cubicBezTo>
                                <a:cubicBezTo>
                                  <a:pt x="637035" y="286998"/>
                                  <a:pt x="634654" y="293887"/>
                                  <a:pt x="632273" y="293887"/>
                                </a:cubicBezTo>
                                <a:cubicBezTo>
                                  <a:pt x="632273" y="296183"/>
                                  <a:pt x="632273" y="300776"/>
                                  <a:pt x="632273" y="303072"/>
                                </a:cubicBezTo>
                                <a:cubicBezTo>
                                  <a:pt x="634654" y="300776"/>
                                  <a:pt x="639417" y="303072"/>
                                  <a:pt x="637035" y="305368"/>
                                </a:cubicBezTo>
                                <a:cubicBezTo>
                                  <a:pt x="634654" y="307664"/>
                                  <a:pt x="632273" y="307664"/>
                                  <a:pt x="629892" y="307664"/>
                                </a:cubicBezTo>
                                <a:cubicBezTo>
                                  <a:pt x="629892" y="309960"/>
                                  <a:pt x="629892" y="312257"/>
                                  <a:pt x="627510" y="314553"/>
                                </a:cubicBezTo>
                                <a:cubicBezTo>
                                  <a:pt x="625129" y="312257"/>
                                  <a:pt x="622748" y="312257"/>
                                  <a:pt x="625129" y="307664"/>
                                </a:cubicBezTo>
                                <a:cubicBezTo>
                                  <a:pt x="625129" y="305368"/>
                                  <a:pt x="627510" y="303072"/>
                                  <a:pt x="627510" y="298479"/>
                                </a:cubicBezTo>
                                <a:cubicBezTo>
                                  <a:pt x="627510" y="293887"/>
                                  <a:pt x="629892" y="282406"/>
                                  <a:pt x="634654" y="282406"/>
                                </a:cubicBezTo>
                                <a:close/>
                                <a:moveTo>
                                  <a:pt x="634654" y="274071"/>
                                </a:moveTo>
                                <a:cubicBezTo>
                                  <a:pt x="641798" y="274071"/>
                                  <a:pt x="639417" y="281215"/>
                                  <a:pt x="634654" y="278834"/>
                                </a:cubicBezTo>
                                <a:cubicBezTo>
                                  <a:pt x="632273" y="278834"/>
                                  <a:pt x="632273" y="274071"/>
                                  <a:pt x="634654" y="274071"/>
                                </a:cubicBezTo>
                                <a:close/>
                                <a:moveTo>
                                  <a:pt x="752525" y="262165"/>
                                </a:moveTo>
                                <a:cubicBezTo>
                                  <a:pt x="752525" y="262165"/>
                                  <a:pt x="752525" y="262165"/>
                                  <a:pt x="754907" y="262165"/>
                                </a:cubicBezTo>
                                <a:cubicBezTo>
                                  <a:pt x="752525" y="262165"/>
                                  <a:pt x="752525" y="264546"/>
                                  <a:pt x="752525" y="264546"/>
                                </a:cubicBezTo>
                                <a:cubicBezTo>
                                  <a:pt x="750144" y="262165"/>
                                  <a:pt x="750144" y="262165"/>
                                  <a:pt x="752525" y="262165"/>
                                </a:cubicBezTo>
                                <a:close/>
                                <a:moveTo>
                                  <a:pt x="743714" y="262165"/>
                                </a:moveTo>
                                <a:cubicBezTo>
                                  <a:pt x="745857" y="264546"/>
                                  <a:pt x="745857" y="262165"/>
                                  <a:pt x="748001" y="262165"/>
                                </a:cubicBezTo>
                                <a:cubicBezTo>
                                  <a:pt x="750144" y="264546"/>
                                  <a:pt x="743714" y="269309"/>
                                  <a:pt x="745857" y="264546"/>
                                </a:cubicBezTo>
                                <a:cubicBezTo>
                                  <a:pt x="743714" y="264546"/>
                                  <a:pt x="743714" y="266928"/>
                                  <a:pt x="741571" y="266928"/>
                                </a:cubicBezTo>
                                <a:cubicBezTo>
                                  <a:pt x="739428" y="266928"/>
                                  <a:pt x="741571" y="264546"/>
                                  <a:pt x="743714" y="262165"/>
                                </a:cubicBezTo>
                                <a:close/>
                                <a:moveTo>
                                  <a:pt x="737047" y="253830"/>
                                </a:moveTo>
                                <a:cubicBezTo>
                                  <a:pt x="737047" y="253830"/>
                                  <a:pt x="737047" y="253830"/>
                                  <a:pt x="739428" y="256211"/>
                                </a:cubicBezTo>
                                <a:cubicBezTo>
                                  <a:pt x="739428" y="256211"/>
                                  <a:pt x="739428" y="256211"/>
                                  <a:pt x="737047" y="256211"/>
                                </a:cubicBezTo>
                                <a:cubicBezTo>
                                  <a:pt x="737047" y="256211"/>
                                  <a:pt x="737047" y="253830"/>
                                  <a:pt x="737047" y="253830"/>
                                </a:cubicBezTo>
                                <a:close/>
                                <a:moveTo>
                                  <a:pt x="704626" y="251450"/>
                                </a:moveTo>
                                <a:cubicBezTo>
                                  <a:pt x="709205" y="251450"/>
                                  <a:pt x="711495" y="251450"/>
                                  <a:pt x="716074" y="251450"/>
                                </a:cubicBezTo>
                                <a:cubicBezTo>
                                  <a:pt x="718364" y="251450"/>
                                  <a:pt x="725233" y="253682"/>
                                  <a:pt x="722943" y="258147"/>
                                </a:cubicBezTo>
                                <a:cubicBezTo>
                                  <a:pt x="725233" y="258147"/>
                                  <a:pt x="727523" y="260380"/>
                                  <a:pt x="725233" y="264845"/>
                                </a:cubicBezTo>
                                <a:cubicBezTo>
                                  <a:pt x="722943" y="267077"/>
                                  <a:pt x="716074" y="267077"/>
                                  <a:pt x="713785" y="269310"/>
                                </a:cubicBezTo>
                                <a:cubicBezTo>
                                  <a:pt x="709205" y="267077"/>
                                  <a:pt x="702336" y="264845"/>
                                  <a:pt x="700046" y="260380"/>
                                </a:cubicBezTo>
                                <a:cubicBezTo>
                                  <a:pt x="697757" y="255915"/>
                                  <a:pt x="700046" y="253682"/>
                                  <a:pt x="704626" y="251450"/>
                                </a:cubicBezTo>
                                <a:close/>
                                <a:moveTo>
                                  <a:pt x="284610" y="246687"/>
                                </a:moveTo>
                                <a:cubicBezTo>
                                  <a:pt x="284610" y="246687"/>
                                  <a:pt x="284610" y="246687"/>
                                  <a:pt x="286991" y="246687"/>
                                </a:cubicBezTo>
                                <a:cubicBezTo>
                                  <a:pt x="286991" y="246687"/>
                                  <a:pt x="286991" y="246687"/>
                                  <a:pt x="289373" y="249068"/>
                                </a:cubicBezTo>
                                <a:cubicBezTo>
                                  <a:pt x="286991" y="249068"/>
                                  <a:pt x="284610" y="249068"/>
                                  <a:pt x="284610" y="246687"/>
                                </a:cubicBezTo>
                                <a:close/>
                                <a:moveTo>
                                  <a:pt x="764193" y="244305"/>
                                </a:moveTo>
                                <a:cubicBezTo>
                                  <a:pt x="766455" y="246587"/>
                                  <a:pt x="766455" y="248869"/>
                                  <a:pt x="768718" y="246587"/>
                                </a:cubicBezTo>
                                <a:cubicBezTo>
                                  <a:pt x="770980" y="246587"/>
                                  <a:pt x="773242" y="244305"/>
                                  <a:pt x="775504" y="244305"/>
                                </a:cubicBezTo>
                                <a:cubicBezTo>
                                  <a:pt x="777766" y="244305"/>
                                  <a:pt x="782291" y="246587"/>
                                  <a:pt x="784553" y="246587"/>
                                </a:cubicBezTo>
                                <a:cubicBezTo>
                                  <a:pt x="786815" y="248869"/>
                                  <a:pt x="789077" y="248869"/>
                                  <a:pt x="791340" y="248869"/>
                                </a:cubicBezTo>
                                <a:cubicBezTo>
                                  <a:pt x="793602" y="248869"/>
                                  <a:pt x="793602" y="251151"/>
                                  <a:pt x="795864" y="251151"/>
                                </a:cubicBezTo>
                                <a:cubicBezTo>
                                  <a:pt x="798126" y="253433"/>
                                  <a:pt x="798126" y="255715"/>
                                  <a:pt x="800388" y="257997"/>
                                </a:cubicBezTo>
                                <a:cubicBezTo>
                                  <a:pt x="800388" y="260279"/>
                                  <a:pt x="802651" y="260279"/>
                                  <a:pt x="802651" y="262562"/>
                                </a:cubicBezTo>
                                <a:cubicBezTo>
                                  <a:pt x="804913" y="267126"/>
                                  <a:pt x="802651" y="271690"/>
                                  <a:pt x="798126" y="269408"/>
                                </a:cubicBezTo>
                                <a:cubicBezTo>
                                  <a:pt x="793602" y="264844"/>
                                  <a:pt x="789077" y="262562"/>
                                  <a:pt x="784553" y="260279"/>
                                </a:cubicBezTo>
                                <a:cubicBezTo>
                                  <a:pt x="784553" y="257997"/>
                                  <a:pt x="777766" y="255715"/>
                                  <a:pt x="775504" y="257997"/>
                                </a:cubicBezTo>
                                <a:cubicBezTo>
                                  <a:pt x="775504" y="262562"/>
                                  <a:pt x="764193" y="257997"/>
                                  <a:pt x="764193" y="257997"/>
                                </a:cubicBezTo>
                                <a:cubicBezTo>
                                  <a:pt x="766455" y="251151"/>
                                  <a:pt x="755144" y="260279"/>
                                  <a:pt x="752882" y="260279"/>
                                </a:cubicBezTo>
                                <a:cubicBezTo>
                                  <a:pt x="750620" y="260279"/>
                                  <a:pt x="746096" y="255715"/>
                                  <a:pt x="748358" y="251151"/>
                                </a:cubicBezTo>
                                <a:cubicBezTo>
                                  <a:pt x="743833" y="251151"/>
                                  <a:pt x="741571" y="260279"/>
                                  <a:pt x="741571" y="262562"/>
                                </a:cubicBezTo>
                                <a:cubicBezTo>
                                  <a:pt x="737047" y="251151"/>
                                  <a:pt x="748358" y="244305"/>
                                  <a:pt x="757407" y="246587"/>
                                </a:cubicBezTo>
                                <a:cubicBezTo>
                                  <a:pt x="757407" y="246587"/>
                                  <a:pt x="764193" y="244305"/>
                                  <a:pt x="764193" y="244305"/>
                                </a:cubicBezTo>
                                <a:close/>
                                <a:moveTo>
                                  <a:pt x="145306" y="244305"/>
                                </a:moveTo>
                                <a:cubicBezTo>
                                  <a:pt x="147688" y="244305"/>
                                  <a:pt x="147688" y="248671"/>
                                  <a:pt x="150069" y="248671"/>
                                </a:cubicBezTo>
                                <a:cubicBezTo>
                                  <a:pt x="150069" y="250853"/>
                                  <a:pt x="147688" y="250853"/>
                                  <a:pt x="147688" y="253036"/>
                                </a:cubicBezTo>
                                <a:cubicBezTo>
                                  <a:pt x="147688" y="255219"/>
                                  <a:pt x="150069" y="255219"/>
                                  <a:pt x="150069" y="257402"/>
                                </a:cubicBezTo>
                                <a:cubicBezTo>
                                  <a:pt x="147688" y="255219"/>
                                  <a:pt x="140544" y="246488"/>
                                  <a:pt x="145306" y="244305"/>
                                </a:cubicBezTo>
                                <a:close/>
                                <a:moveTo>
                                  <a:pt x="306891" y="237162"/>
                                </a:moveTo>
                                <a:cubicBezTo>
                                  <a:pt x="309103" y="237162"/>
                                  <a:pt x="317948" y="239543"/>
                                  <a:pt x="317948" y="244306"/>
                                </a:cubicBezTo>
                                <a:cubicBezTo>
                                  <a:pt x="317948" y="246687"/>
                                  <a:pt x="315736" y="251449"/>
                                  <a:pt x="313525" y="253831"/>
                                </a:cubicBezTo>
                                <a:cubicBezTo>
                                  <a:pt x="311314" y="256212"/>
                                  <a:pt x="309103" y="251449"/>
                                  <a:pt x="306891" y="251449"/>
                                </a:cubicBezTo>
                                <a:cubicBezTo>
                                  <a:pt x="309103" y="256212"/>
                                  <a:pt x="302469" y="253831"/>
                                  <a:pt x="302469" y="249068"/>
                                </a:cubicBezTo>
                                <a:cubicBezTo>
                                  <a:pt x="302469" y="246687"/>
                                  <a:pt x="302469" y="241924"/>
                                  <a:pt x="306891" y="237162"/>
                                </a:cubicBezTo>
                                <a:close/>
                                <a:moveTo>
                                  <a:pt x="138163" y="237162"/>
                                </a:moveTo>
                                <a:cubicBezTo>
                                  <a:pt x="140544" y="237162"/>
                                  <a:pt x="145307" y="241924"/>
                                  <a:pt x="142925" y="244306"/>
                                </a:cubicBezTo>
                                <a:cubicBezTo>
                                  <a:pt x="142925" y="244306"/>
                                  <a:pt x="140544" y="246687"/>
                                  <a:pt x="138163" y="244306"/>
                                </a:cubicBezTo>
                                <a:cubicBezTo>
                                  <a:pt x="140544" y="241924"/>
                                  <a:pt x="138163" y="239543"/>
                                  <a:pt x="138163" y="237162"/>
                                </a:cubicBezTo>
                                <a:close/>
                                <a:moveTo>
                                  <a:pt x="129828" y="226149"/>
                                </a:moveTo>
                                <a:cubicBezTo>
                                  <a:pt x="134591" y="224065"/>
                                  <a:pt x="136972" y="232400"/>
                                  <a:pt x="136972" y="232400"/>
                                </a:cubicBezTo>
                                <a:cubicBezTo>
                                  <a:pt x="136972" y="232400"/>
                                  <a:pt x="127447" y="228232"/>
                                  <a:pt x="129828" y="226149"/>
                                </a:cubicBezTo>
                                <a:close/>
                                <a:moveTo>
                                  <a:pt x="700138" y="224065"/>
                                </a:moveTo>
                                <a:cubicBezTo>
                                  <a:pt x="700138" y="226248"/>
                                  <a:pt x="702520" y="234979"/>
                                  <a:pt x="700138" y="237162"/>
                                </a:cubicBezTo>
                                <a:cubicBezTo>
                                  <a:pt x="697757" y="234979"/>
                                  <a:pt x="695376" y="226248"/>
                                  <a:pt x="700138" y="224065"/>
                                </a:cubicBezTo>
                                <a:close/>
                                <a:moveTo>
                                  <a:pt x="689184" y="219303"/>
                                </a:moveTo>
                                <a:cubicBezTo>
                                  <a:pt x="693709" y="221684"/>
                                  <a:pt x="700495" y="219303"/>
                                  <a:pt x="707282" y="219303"/>
                                </a:cubicBezTo>
                                <a:cubicBezTo>
                                  <a:pt x="702757" y="224066"/>
                                  <a:pt x="698233" y="224066"/>
                                  <a:pt x="693709" y="224066"/>
                                </a:cubicBezTo>
                                <a:cubicBezTo>
                                  <a:pt x="693709" y="224066"/>
                                  <a:pt x="684660" y="221684"/>
                                  <a:pt x="689184" y="219303"/>
                                </a:cubicBezTo>
                                <a:close/>
                                <a:moveTo>
                                  <a:pt x="788839" y="218707"/>
                                </a:moveTo>
                                <a:cubicBezTo>
                                  <a:pt x="791568" y="217516"/>
                                  <a:pt x="794296" y="216921"/>
                                  <a:pt x="795388" y="219302"/>
                                </a:cubicBezTo>
                                <a:cubicBezTo>
                                  <a:pt x="795388" y="221683"/>
                                  <a:pt x="793205" y="224065"/>
                                  <a:pt x="795388" y="226446"/>
                                </a:cubicBezTo>
                                <a:cubicBezTo>
                                  <a:pt x="793205" y="224065"/>
                                  <a:pt x="791022" y="226446"/>
                                  <a:pt x="791022" y="226446"/>
                                </a:cubicBezTo>
                                <a:cubicBezTo>
                                  <a:pt x="788839" y="226446"/>
                                  <a:pt x="788839" y="226446"/>
                                  <a:pt x="786656" y="226446"/>
                                </a:cubicBezTo>
                                <a:cubicBezTo>
                                  <a:pt x="784474" y="226446"/>
                                  <a:pt x="782291" y="224065"/>
                                  <a:pt x="782291" y="221683"/>
                                </a:cubicBezTo>
                                <a:cubicBezTo>
                                  <a:pt x="783382" y="221683"/>
                                  <a:pt x="786111" y="219898"/>
                                  <a:pt x="788839" y="218707"/>
                                </a:cubicBezTo>
                                <a:close/>
                                <a:moveTo>
                                  <a:pt x="666681" y="216921"/>
                                </a:moveTo>
                                <a:cubicBezTo>
                                  <a:pt x="671205" y="214540"/>
                                  <a:pt x="680254" y="221683"/>
                                  <a:pt x="682516" y="216921"/>
                                </a:cubicBezTo>
                                <a:cubicBezTo>
                                  <a:pt x="682516" y="219302"/>
                                  <a:pt x="684779" y="219302"/>
                                  <a:pt x="687041" y="219302"/>
                                </a:cubicBezTo>
                                <a:cubicBezTo>
                                  <a:pt x="684779" y="224065"/>
                                  <a:pt x="680254" y="221683"/>
                                  <a:pt x="677992" y="224065"/>
                                </a:cubicBezTo>
                                <a:cubicBezTo>
                                  <a:pt x="677992" y="224065"/>
                                  <a:pt x="675730" y="224065"/>
                                  <a:pt x="675730" y="221683"/>
                                </a:cubicBezTo>
                                <a:cubicBezTo>
                                  <a:pt x="673468" y="224065"/>
                                  <a:pt x="673468" y="224065"/>
                                  <a:pt x="673468" y="224065"/>
                                </a:cubicBezTo>
                                <a:cubicBezTo>
                                  <a:pt x="666681" y="226446"/>
                                  <a:pt x="664419" y="221683"/>
                                  <a:pt x="666681" y="216921"/>
                                </a:cubicBezTo>
                                <a:close/>
                                <a:moveTo>
                                  <a:pt x="329853" y="214540"/>
                                </a:moveTo>
                                <a:cubicBezTo>
                                  <a:pt x="332234" y="212159"/>
                                  <a:pt x="332234" y="212159"/>
                                  <a:pt x="334616" y="214540"/>
                                </a:cubicBezTo>
                                <a:cubicBezTo>
                                  <a:pt x="334616" y="214540"/>
                                  <a:pt x="334616" y="214540"/>
                                  <a:pt x="332234" y="216922"/>
                                </a:cubicBezTo>
                                <a:cubicBezTo>
                                  <a:pt x="332234" y="216922"/>
                                  <a:pt x="332234" y="216922"/>
                                  <a:pt x="329853" y="214540"/>
                                </a:cubicBezTo>
                                <a:close/>
                                <a:moveTo>
                                  <a:pt x="904926" y="214540"/>
                                </a:moveTo>
                                <a:cubicBezTo>
                                  <a:pt x="911795" y="214540"/>
                                  <a:pt x="916375" y="216921"/>
                                  <a:pt x="923244" y="216921"/>
                                </a:cubicBezTo>
                                <a:cubicBezTo>
                                  <a:pt x="927823" y="216921"/>
                                  <a:pt x="932403" y="216921"/>
                                  <a:pt x="934692" y="221684"/>
                                </a:cubicBezTo>
                                <a:cubicBezTo>
                                  <a:pt x="932403" y="219302"/>
                                  <a:pt x="930113" y="221684"/>
                                  <a:pt x="925533" y="221684"/>
                                </a:cubicBezTo>
                                <a:cubicBezTo>
                                  <a:pt x="923244" y="224065"/>
                                  <a:pt x="920954" y="221684"/>
                                  <a:pt x="918664" y="221684"/>
                                </a:cubicBezTo>
                                <a:cubicBezTo>
                                  <a:pt x="914085" y="219302"/>
                                  <a:pt x="909506" y="216921"/>
                                  <a:pt x="904926" y="216921"/>
                                </a:cubicBezTo>
                                <a:cubicBezTo>
                                  <a:pt x="904926" y="216921"/>
                                  <a:pt x="904926" y="216921"/>
                                  <a:pt x="904926" y="214540"/>
                                </a:cubicBezTo>
                                <a:close/>
                                <a:moveTo>
                                  <a:pt x="257147" y="213128"/>
                                </a:moveTo>
                                <a:cubicBezTo>
                                  <a:pt x="260174" y="212475"/>
                                  <a:pt x="264500" y="219005"/>
                                  <a:pt x="266230" y="219005"/>
                                </a:cubicBezTo>
                                <a:cubicBezTo>
                                  <a:pt x="261616" y="214361"/>
                                  <a:pt x="266230" y="209718"/>
                                  <a:pt x="270844" y="214361"/>
                                </a:cubicBezTo>
                                <a:cubicBezTo>
                                  <a:pt x="273151" y="216683"/>
                                  <a:pt x="273151" y="221326"/>
                                  <a:pt x="273151" y="223648"/>
                                </a:cubicBezTo>
                                <a:cubicBezTo>
                                  <a:pt x="273151" y="228292"/>
                                  <a:pt x="273151" y="232935"/>
                                  <a:pt x="277764" y="235257"/>
                                </a:cubicBezTo>
                                <a:cubicBezTo>
                                  <a:pt x="280071" y="237579"/>
                                  <a:pt x="284685" y="237579"/>
                                  <a:pt x="286992" y="239900"/>
                                </a:cubicBezTo>
                                <a:cubicBezTo>
                                  <a:pt x="284685" y="239900"/>
                                  <a:pt x="282378" y="244544"/>
                                  <a:pt x="282378" y="246866"/>
                                </a:cubicBezTo>
                                <a:cubicBezTo>
                                  <a:pt x="282378" y="249187"/>
                                  <a:pt x="286992" y="249187"/>
                                  <a:pt x="284685" y="251509"/>
                                </a:cubicBezTo>
                                <a:cubicBezTo>
                                  <a:pt x="282378" y="253831"/>
                                  <a:pt x="273151" y="246866"/>
                                  <a:pt x="270844" y="246866"/>
                                </a:cubicBezTo>
                                <a:cubicBezTo>
                                  <a:pt x="266230" y="242222"/>
                                  <a:pt x="268537" y="242222"/>
                                  <a:pt x="268537" y="237579"/>
                                </a:cubicBezTo>
                                <a:cubicBezTo>
                                  <a:pt x="268537" y="235257"/>
                                  <a:pt x="266230" y="232935"/>
                                  <a:pt x="266230" y="230613"/>
                                </a:cubicBezTo>
                                <a:cubicBezTo>
                                  <a:pt x="263923" y="228292"/>
                                  <a:pt x="261616" y="225970"/>
                                  <a:pt x="259309" y="228292"/>
                                </a:cubicBezTo>
                                <a:cubicBezTo>
                                  <a:pt x="254696" y="228292"/>
                                  <a:pt x="252389" y="225970"/>
                                  <a:pt x="250082" y="223648"/>
                                </a:cubicBezTo>
                                <a:cubicBezTo>
                                  <a:pt x="252389" y="221326"/>
                                  <a:pt x="257002" y="221326"/>
                                  <a:pt x="254696" y="216683"/>
                                </a:cubicBezTo>
                                <a:cubicBezTo>
                                  <a:pt x="255272" y="214361"/>
                                  <a:pt x="256137" y="213345"/>
                                  <a:pt x="257147" y="213128"/>
                                </a:cubicBezTo>
                                <a:close/>
                                <a:moveTo>
                                  <a:pt x="732152" y="209777"/>
                                </a:moveTo>
                                <a:cubicBezTo>
                                  <a:pt x="736650" y="207396"/>
                                  <a:pt x="738899" y="209777"/>
                                  <a:pt x="741148" y="212158"/>
                                </a:cubicBezTo>
                                <a:cubicBezTo>
                                  <a:pt x="743397" y="212158"/>
                                  <a:pt x="750144" y="219302"/>
                                  <a:pt x="743397" y="216921"/>
                                </a:cubicBezTo>
                                <a:cubicBezTo>
                                  <a:pt x="741148" y="216921"/>
                                  <a:pt x="741148" y="216921"/>
                                  <a:pt x="738899" y="216921"/>
                                </a:cubicBezTo>
                                <a:cubicBezTo>
                                  <a:pt x="736650" y="216921"/>
                                  <a:pt x="736650" y="219302"/>
                                  <a:pt x="734401" y="219302"/>
                                </a:cubicBezTo>
                                <a:cubicBezTo>
                                  <a:pt x="729903" y="216921"/>
                                  <a:pt x="729903" y="212158"/>
                                  <a:pt x="732152" y="209777"/>
                                </a:cubicBezTo>
                                <a:close/>
                                <a:moveTo>
                                  <a:pt x="634505" y="205866"/>
                                </a:moveTo>
                                <a:cubicBezTo>
                                  <a:pt x="636738" y="203655"/>
                                  <a:pt x="636738" y="203655"/>
                                  <a:pt x="638970" y="205866"/>
                                </a:cubicBezTo>
                                <a:cubicBezTo>
                                  <a:pt x="643435" y="205866"/>
                                  <a:pt x="638970" y="208078"/>
                                  <a:pt x="641203" y="210289"/>
                                </a:cubicBezTo>
                                <a:cubicBezTo>
                                  <a:pt x="647900" y="201444"/>
                                  <a:pt x="650133" y="214712"/>
                                  <a:pt x="641203" y="212500"/>
                                </a:cubicBezTo>
                                <a:cubicBezTo>
                                  <a:pt x="641203" y="212500"/>
                                  <a:pt x="641203" y="214712"/>
                                  <a:pt x="641203" y="216923"/>
                                </a:cubicBezTo>
                                <a:cubicBezTo>
                                  <a:pt x="638970" y="214712"/>
                                  <a:pt x="641203" y="210289"/>
                                  <a:pt x="638970" y="210289"/>
                                </a:cubicBezTo>
                                <a:cubicBezTo>
                                  <a:pt x="636738" y="212500"/>
                                  <a:pt x="636738" y="214712"/>
                                  <a:pt x="634505" y="214712"/>
                                </a:cubicBezTo>
                                <a:cubicBezTo>
                                  <a:pt x="632273" y="212500"/>
                                  <a:pt x="632273" y="208078"/>
                                  <a:pt x="634505" y="205866"/>
                                </a:cubicBezTo>
                                <a:close/>
                                <a:moveTo>
                                  <a:pt x="345034" y="200966"/>
                                </a:moveTo>
                                <a:cubicBezTo>
                                  <a:pt x="346522" y="199359"/>
                                  <a:pt x="348903" y="198823"/>
                                  <a:pt x="350094" y="200966"/>
                                </a:cubicBezTo>
                                <a:cubicBezTo>
                                  <a:pt x="352475" y="205253"/>
                                  <a:pt x="347712" y="205253"/>
                                  <a:pt x="345331" y="207396"/>
                                </a:cubicBezTo>
                                <a:cubicBezTo>
                                  <a:pt x="342950" y="205253"/>
                                  <a:pt x="343545" y="202574"/>
                                  <a:pt x="345034" y="200966"/>
                                </a:cubicBezTo>
                                <a:close/>
                                <a:moveTo>
                                  <a:pt x="894211" y="199062"/>
                                </a:moveTo>
                                <a:cubicBezTo>
                                  <a:pt x="894211" y="199062"/>
                                  <a:pt x="896592" y="203825"/>
                                  <a:pt x="894211" y="203825"/>
                                </a:cubicBezTo>
                                <a:cubicBezTo>
                                  <a:pt x="891830" y="206206"/>
                                  <a:pt x="889448" y="199062"/>
                                  <a:pt x="894211" y="199062"/>
                                </a:cubicBezTo>
                                <a:close/>
                                <a:moveTo>
                                  <a:pt x="116335" y="199062"/>
                                </a:moveTo>
                                <a:cubicBezTo>
                                  <a:pt x="116335" y="203560"/>
                                  <a:pt x="129829" y="219303"/>
                                  <a:pt x="120833" y="219303"/>
                                </a:cubicBezTo>
                                <a:cubicBezTo>
                                  <a:pt x="116335" y="219303"/>
                                  <a:pt x="114086" y="212556"/>
                                  <a:pt x="111837" y="208058"/>
                                </a:cubicBezTo>
                                <a:cubicBezTo>
                                  <a:pt x="109588" y="205809"/>
                                  <a:pt x="111837" y="201311"/>
                                  <a:pt x="111837" y="201311"/>
                                </a:cubicBezTo>
                                <a:cubicBezTo>
                                  <a:pt x="114086" y="199062"/>
                                  <a:pt x="116335" y="199062"/>
                                  <a:pt x="116335" y="199062"/>
                                </a:cubicBezTo>
                                <a:close/>
                                <a:moveTo>
                                  <a:pt x="902544" y="191919"/>
                                </a:moveTo>
                                <a:cubicBezTo>
                                  <a:pt x="904925" y="191919"/>
                                  <a:pt x="912069" y="191919"/>
                                  <a:pt x="909688" y="196682"/>
                                </a:cubicBezTo>
                                <a:cubicBezTo>
                                  <a:pt x="907307" y="199063"/>
                                  <a:pt x="902544" y="194300"/>
                                  <a:pt x="902544" y="191919"/>
                                </a:cubicBezTo>
                                <a:close/>
                                <a:moveTo>
                                  <a:pt x="727522" y="191918"/>
                                </a:moveTo>
                                <a:cubicBezTo>
                                  <a:pt x="727522" y="191918"/>
                                  <a:pt x="729904" y="194299"/>
                                  <a:pt x="729904" y="194299"/>
                                </a:cubicBezTo>
                                <a:cubicBezTo>
                                  <a:pt x="727522" y="196681"/>
                                  <a:pt x="725141" y="191918"/>
                                  <a:pt x="727522" y="191918"/>
                                </a:cubicBezTo>
                                <a:close/>
                                <a:moveTo>
                                  <a:pt x="234306" y="184774"/>
                                </a:moveTo>
                                <a:cubicBezTo>
                                  <a:pt x="234306" y="184774"/>
                                  <a:pt x="236389" y="184774"/>
                                  <a:pt x="236389" y="184774"/>
                                </a:cubicBezTo>
                                <a:cubicBezTo>
                                  <a:pt x="240557" y="184774"/>
                                  <a:pt x="238473" y="187155"/>
                                  <a:pt x="238473" y="191918"/>
                                </a:cubicBezTo>
                                <a:cubicBezTo>
                                  <a:pt x="236389" y="189537"/>
                                  <a:pt x="234306" y="189537"/>
                                  <a:pt x="234306" y="191918"/>
                                </a:cubicBezTo>
                                <a:cubicBezTo>
                                  <a:pt x="234306" y="191918"/>
                                  <a:pt x="232222" y="187155"/>
                                  <a:pt x="234306" y="184774"/>
                                </a:cubicBezTo>
                                <a:close/>
                                <a:moveTo>
                                  <a:pt x="845989" y="184675"/>
                                </a:moveTo>
                                <a:cubicBezTo>
                                  <a:pt x="852835" y="186956"/>
                                  <a:pt x="855117" y="191518"/>
                                  <a:pt x="859682" y="193799"/>
                                </a:cubicBezTo>
                                <a:cubicBezTo>
                                  <a:pt x="866528" y="196080"/>
                                  <a:pt x="871092" y="191518"/>
                                  <a:pt x="875656" y="196080"/>
                                </a:cubicBezTo>
                                <a:cubicBezTo>
                                  <a:pt x="873374" y="198361"/>
                                  <a:pt x="875656" y="202923"/>
                                  <a:pt x="877938" y="205204"/>
                                </a:cubicBezTo>
                                <a:cubicBezTo>
                                  <a:pt x="880220" y="209766"/>
                                  <a:pt x="877938" y="212047"/>
                                  <a:pt x="875656" y="216609"/>
                                </a:cubicBezTo>
                                <a:cubicBezTo>
                                  <a:pt x="873374" y="225733"/>
                                  <a:pt x="877938" y="237138"/>
                                  <a:pt x="882502" y="243981"/>
                                </a:cubicBezTo>
                                <a:cubicBezTo>
                                  <a:pt x="884784" y="243981"/>
                                  <a:pt x="882502" y="239419"/>
                                  <a:pt x="884784" y="237138"/>
                                </a:cubicBezTo>
                                <a:cubicBezTo>
                                  <a:pt x="887066" y="234857"/>
                                  <a:pt x="887066" y="243981"/>
                                  <a:pt x="887066" y="246262"/>
                                </a:cubicBezTo>
                                <a:cubicBezTo>
                                  <a:pt x="887066" y="246262"/>
                                  <a:pt x="887066" y="248543"/>
                                  <a:pt x="889348" y="248543"/>
                                </a:cubicBezTo>
                                <a:cubicBezTo>
                                  <a:pt x="891630" y="250824"/>
                                  <a:pt x="889348" y="253105"/>
                                  <a:pt x="891630" y="255386"/>
                                </a:cubicBezTo>
                                <a:cubicBezTo>
                                  <a:pt x="893912" y="257667"/>
                                  <a:pt x="900759" y="259948"/>
                                  <a:pt x="905323" y="255386"/>
                                </a:cubicBezTo>
                                <a:cubicBezTo>
                                  <a:pt x="907605" y="253105"/>
                                  <a:pt x="909887" y="250824"/>
                                  <a:pt x="912169" y="248543"/>
                                </a:cubicBezTo>
                                <a:cubicBezTo>
                                  <a:pt x="914451" y="246262"/>
                                  <a:pt x="916733" y="241700"/>
                                  <a:pt x="919015" y="239419"/>
                                </a:cubicBezTo>
                                <a:cubicBezTo>
                                  <a:pt x="923579" y="237138"/>
                                  <a:pt x="921297" y="230295"/>
                                  <a:pt x="925861" y="230295"/>
                                </a:cubicBezTo>
                                <a:cubicBezTo>
                                  <a:pt x="930425" y="230295"/>
                                  <a:pt x="934989" y="230295"/>
                                  <a:pt x="939553" y="228014"/>
                                </a:cubicBezTo>
                                <a:cubicBezTo>
                                  <a:pt x="941835" y="225733"/>
                                  <a:pt x="941835" y="225733"/>
                                  <a:pt x="941835" y="221171"/>
                                </a:cubicBezTo>
                                <a:cubicBezTo>
                                  <a:pt x="939553" y="218890"/>
                                  <a:pt x="946399" y="216609"/>
                                  <a:pt x="948681" y="214328"/>
                                </a:cubicBezTo>
                                <a:cubicBezTo>
                                  <a:pt x="953245" y="212047"/>
                                  <a:pt x="955527" y="212047"/>
                                  <a:pt x="960091" y="214328"/>
                                </a:cubicBezTo>
                                <a:cubicBezTo>
                                  <a:pt x="964655" y="216609"/>
                                  <a:pt x="971502" y="218890"/>
                                  <a:pt x="976066" y="221171"/>
                                </a:cubicBezTo>
                                <a:cubicBezTo>
                                  <a:pt x="980630" y="223452"/>
                                  <a:pt x="985194" y="225733"/>
                                  <a:pt x="989758" y="228014"/>
                                </a:cubicBezTo>
                                <a:cubicBezTo>
                                  <a:pt x="992040" y="230295"/>
                                  <a:pt x="998886" y="234857"/>
                                  <a:pt x="1001168" y="232576"/>
                                </a:cubicBezTo>
                                <a:cubicBezTo>
                                  <a:pt x="1005732" y="232576"/>
                                  <a:pt x="1008014" y="234857"/>
                                  <a:pt x="1012578" y="234857"/>
                                </a:cubicBezTo>
                                <a:cubicBezTo>
                                  <a:pt x="1017142" y="234857"/>
                                  <a:pt x="1019424" y="239419"/>
                                  <a:pt x="1023988" y="239419"/>
                                </a:cubicBezTo>
                                <a:cubicBezTo>
                                  <a:pt x="1019424" y="326096"/>
                                  <a:pt x="1019424" y="326096"/>
                                  <a:pt x="1019424" y="326096"/>
                                </a:cubicBezTo>
                                <a:cubicBezTo>
                                  <a:pt x="1019424" y="330658"/>
                                  <a:pt x="1014860" y="335220"/>
                                  <a:pt x="1014860" y="339782"/>
                                </a:cubicBezTo>
                                <a:cubicBezTo>
                                  <a:pt x="1014860" y="342063"/>
                                  <a:pt x="1019424" y="344344"/>
                                  <a:pt x="1019424" y="344344"/>
                                </a:cubicBezTo>
                                <a:cubicBezTo>
                                  <a:pt x="1019424" y="348906"/>
                                  <a:pt x="1017142" y="351187"/>
                                  <a:pt x="1017142" y="353468"/>
                                </a:cubicBezTo>
                                <a:cubicBezTo>
                                  <a:pt x="1017142" y="369435"/>
                                  <a:pt x="1014860" y="383121"/>
                                  <a:pt x="1014860" y="399088"/>
                                </a:cubicBezTo>
                                <a:cubicBezTo>
                                  <a:pt x="1008014" y="396807"/>
                                  <a:pt x="1005732" y="387683"/>
                                  <a:pt x="1001168" y="385402"/>
                                </a:cubicBezTo>
                                <a:cubicBezTo>
                                  <a:pt x="998886" y="383121"/>
                                  <a:pt x="992040" y="376278"/>
                                  <a:pt x="994322" y="371716"/>
                                </a:cubicBezTo>
                                <a:cubicBezTo>
                                  <a:pt x="992040" y="373997"/>
                                  <a:pt x="987476" y="373997"/>
                                  <a:pt x="985194" y="376278"/>
                                </a:cubicBezTo>
                                <a:cubicBezTo>
                                  <a:pt x="982912" y="376278"/>
                                  <a:pt x="976066" y="376278"/>
                                  <a:pt x="978348" y="371716"/>
                                </a:cubicBezTo>
                                <a:cubicBezTo>
                                  <a:pt x="976066" y="373997"/>
                                  <a:pt x="973784" y="376278"/>
                                  <a:pt x="971502" y="376278"/>
                                </a:cubicBezTo>
                                <a:cubicBezTo>
                                  <a:pt x="966937" y="376278"/>
                                  <a:pt x="971502" y="371716"/>
                                  <a:pt x="971502" y="369435"/>
                                </a:cubicBezTo>
                                <a:cubicBezTo>
                                  <a:pt x="973784" y="367154"/>
                                  <a:pt x="976066" y="360311"/>
                                  <a:pt x="973784" y="360311"/>
                                </a:cubicBezTo>
                                <a:cubicBezTo>
                                  <a:pt x="971502" y="358030"/>
                                  <a:pt x="971502" y="355749"/>
                                  <a:pt x="969219" y="353468"/>
                                </a:cubicBezTo>
                                <a:cubicBezTo>
                                  <a:pt x="971502" y="351187"/>
                                  <a:pt x="976066" y="355749"/>
                                  <a:pt x="978348" y="351187"/>
                                </a:cubicBezTo>
                                <a:cubicBezTo>
                                  <a:pt x="973784" y="355749"/>
                                  <a:pt x="969219" y="348906"/>
                                  <a:pt x="964655" y="344344"/>
                                </a:cubicBezTo>
                                <a:cubicBezTo>
                                  <a:pt x="969219" y="339782"/>
                                  <a:pt x="973784" y="346625"/>
                                  <a:pt x="978348" y="346625"/>
                                </a:cubicBezTo>
                                <a:cubicBezTo>
                                  <a:pt x="976066" y="344344"/>
                                  <a:pt x="971502" y="342063"/>
                                  <a:pt x="969219" y="339782"/>
                                </a:cubicBezTo>
                                <a:cubicBezTo>
                                  <a:pt x="973784" y="339782"/>
                                  <a:pt x="969219" y="337501"/>
                                  <a:pt x="966937" y="337501"/>
                                </a:cubicBezTo>
                                <a:cubicBezTo>
                                  <a:pt x="966937" y="335220"/>
                                  <a:pt x="964655" y="332939"/>
                                  <a:pt x="962373" y="330658"/>
                                </a:cubicBezTo>
                                <a:cubicBezTo>
                                  <a:pt x="962373" y="326096"/>
                                  <a:pt x="960091" y="319253"/>
                                  <a:pt x="964655" y="319253"/>
                                </a:cubicBezTo>
                                <a:cubicBezTo>
                                  <a:pt x="960091" y="319253"/>
                                  <a:pt x="960091" y="314691"/>
                                  <a:pt x="962373" y="314691"/>
                                </a:cubicBezTo>
                                <a:cubicBezTo>
                                  <a:pt x="962373" y="314691"/>
                                  <a:pt x="957809" y="316972"/>
                                  <a:pt x="955527" y="314691"/>
                                </a:cubicBezTo>
                                <a:cubicBezTo>
                                  <a:pt x="955527" y="312410"/>
                                  <a:pt x="957809" y="310129"/>
                                  <a:pt x="957809" y="307848"/>
                                </a:cubicBezTo>
                                <a:cubicBezTo>
                                  <a:pt x="955527" y="312410"/>
                                  <a:pt x="950963" y="305567"/>
                                  <a:pt x="950963" y="303286"/>
                                </a:cubicBezTo>
                                <a:cubicBezTo>
                                  <a:pt x="946399" y="303286"/>
                                  <a:pt x="946399" y="301005"/>
                                  <a:pt x="944117" y="301005"/>
                                </a:cubicBezTo>
                                <a:cubicBezTo>
                                  <a:pt x="944117" y="301005"/>
                                  <a:pt x="939553" y="298724"/>
                                  <a:pt x="937271" y="296443"/>
                                </a:cubicBezTo>
                                <a:cubicBezTo>
                                  <a:pt x="937271" y="294162"/>
                                  <a:pt x="928143" y="294162"/>
                                  <a:pt x="925861" y="291881"/>
                                </a:cubicBezTo>
                                <a:cubicBezTo>
                                  <a:pt x="921297" y="289600"/>
                                  <a:pt x="916733" y="287319"/>
                                  <a:pt x="912169" y="285038"/>
                                </a:cubicBezTo>
                                <a:cubicBezTo>
                                  <a:pt x="905323" y="285038"/>
                                  <a:pt x="900759" y="285038"/>
                                  <a:pt x="896194" y="285038"/>
                                </a:cubicBezTo>
                                <a:cubicBezTo>
                                  <a:pt x="891630" y="282757"/>
                                  <a:pt x="887066" y="280476"/>
                                  <a:pt x="884784" y="275914"/>
                                </a:cubicBezTo>
                                <a:lnTo>
                                  <a:pt x="887351" y="272778"/>
                                </a:lnTo>
                                <a:lnTo>
                                  <a:pt x="884784" y="273633"/>
                                </a:lnTo>
                                <a:cubicBezTo>
                                  <a:pt x="882502" y="275914"/>
                                  <a:pt x="880220" y="271352"/>
                                  <a:pt x="877938" y="271352"/>
                                </a:cubicBezTo>
                                <a:cubicBezTo>
                                  <a:pt x="877938" y="275914"/>
                                  <a:pt x="873374" y="271352"/>
                                  <a:pt x="875656" y="269071"/>
                                </a:cubicBezTo>
                                <a:cubicBezTo>
                                  <a:pt x="871092" y="269071"/>
                                  <a:pt x="868810" y="269071"/>
                                  <a:pt x="868810" y="264509"/>
                                </a:cubicBezTo>
                                <a:cubicBezTo>
                                  <a:pt x="868810" y="264509"/>
                                  <a:pt x="866528" y="266790"/>
                                  <a:pt x="866528" y="264509"/>
                                </a:cubicBezTo>
                                <a:cubicBezTo>
                                  <a:pt x="864246" y="262229"/>
                                  <a:pt x="866528" y="259948"/>
                                  <a:pt x="864246" y="257667"/>
                                </a:cubicBezTo>
                                <a:cubicBezTo>
                                  <a:pt x="864246" y="255386"/>
                                  <a:pt x="868810" y="250824"/>
                                  <a:pt x="868810" y="248543"/>
                                </a:cubicBezTo>
                                <a:cubicBezTo>
                                  <a:pt x="868810" y="250824"/>
                                  <a:pt x="864246" y="250824"/>
                                  <a:pt x="864246" y="253105"/>
                                </a:cubicBezTo>
                                <a:cubicBezTo>
                                  <a:pt x="864246" y="255386"/>
                                  <a:pt x="864246" y="259948"/>
                                  <a:pt x="861964" y="259948"/>
                                </a:cubicBezTo>
                                <a:cubicBezTo>
                                  <a:pt x="864246" y="262229"/>
                                  <a:pt x="861964" y="262229"/>
                                  <a:pt x="859682" y="264509"/>
                                </a:cubicBezTo>
                                <a:cubicBezTo>
                                  <a:pt x="859682" y="266790"/>
                                  <a:pt x="859682" y="266790"/>
                                  <a:pt x="859682" y="266790"/>
                                </a:cubicBezTo>
                                <a:cubicBezTo>
                                  <a:pt x="857399" y="269071"/>
                                  <a:pt x="857399" y="269071"/>
                                  <a:pt x="857399" y="271352"/>
                                </a:cubicBezTo>
                                <a:cubicBezTo>
                                  <a:pt x="857399" y="273633"/>
                                  <a:pt x="850553" y="275914"/>
                                  <a:pt x="848271" y="275914"/>
                                </a:cubicBezTo>
                                <a:cubicBezTo>
                                  <a:pt x="845989" y="275914"/>
                                  <a:pt x="843707" y="269071"/>
                                  <a:pt x="843707" y="266790"/>
                                </a:cubicBezTo>
                                <a:cubicBezTo>
                                  <a:pt x="843707" y="264509"/>
                                  <a:pt x="845989" y="264509"/>
                                  <a:pt x="848271" y="264509"/>
                                </a:cubicBezTo>
                                <a:cubicBezTo>
                                  <a:pt x="850553" y="262229"/>
                                  <a:pt x="845989" y="259948"/>
                                  <a:pt x="845989" y="257667"/>
                                </a:cubicBezTo>
                                <a:cubicBezTo>
                                  <a:pt x="843707" y="257667"/>
                                  <a:pt x="839143" y="248543"/>
                                  <a:pt x="834579" y="246262"/>
                                </a:cubicBezTo>
                                <a:cubicBezTo>
                                  <a:pt x="825451" y="246262"/>
                                  <a:pt x="830015" y="241700"/>
                                  <a:pt x="834579" y="241700"/>
                                </a:cubicBezTo>
                                <a:cubicBezTo>
                                  <a:pt x="841425" y="241700"/>
                                  <a:pt x="845989" y="246262"/>
                                  <a:pt x="848271" y="239419"/>
                                </a:cubicBezTo>
                                <a:cubicBezTo>
                                  <a:pt x="852835" y="234857"/>
                                  <a:pt x="861964" y="232576"/>
                                  <a:pt x="859682" y="241700"/>
                                </a:cubicBezTo>
                                <a:cubicBezTo>
                                  <a:pt x="859682" y="239419"/>
                                  <a:pt x="859682" y="239419"/>
                                  <a:pt x="859682" y="237138"/>
                                </a:cubicBezTo>
                                <a:cubicBezTo>
                                  <a:pt x="861964" y="241700"/>
                                  <a:pt x="866528" y="234857"/>
                                  <a:pt x="866528" y="239419"/>
                                </a:cubicBezTo>
                                <a:cubicBezTo>
                                  <a:pt x="866528" y="237138"/>
                                  <a:pt x="866528" y="239419"/>
                                  <a:pt x="868810" y="239419"/>
                                </a:cubicBezTo>
                                <a:cubicBezTo>
                                  <a:pt x="868810" y="239419"/>
                                  <a:pt x="868810" y="237138"/>
                                  <a:pt x="866528" y="234857"/>
                                </a:cubicBezTo>
                                <a:cubicBezTo>
                                  <a:pt x="868810" y="234857"/>
                                  <a:pt x="871092" y="234857"/>
                                  <a:pt x="871092" y="234857"/>
                                </a:cubicBezTo>
                                <a:cubicBezTo>
                                  <a:pt x="871092" y="232576"/>
                                  <a:pt x="871092" y="232576"/>
                                  <a:pt x="871092" y="230295"/>
                                </a:cubicBezTo>
                                <a:cubicBezTo>
                                  <a:pt x="866528" y="232576"/>
                                  <a:pt x="871092" y="228014"/>
                                  <a:pt x="871092" y="228014"/>
                                </a:cubicBezTo>
                                <a:cubicBezTo>
                                  <a:pt x="866528" y="228014"/>
                                  <a:pt x="864246" y="230295"/>
                                  <a:pt x="859682" y="230295"/>
                                </a:cubicBezTo>
                                <a:cubicBezTo>
                                  <a:pt x="857399" y="230295"/>
                                  <a:pt x="852835" y="232576"/>
                                  <a:pt x="850553" y="230295"/>
                                </a:cubicBezTo>
                                <a:cubicBezTo>
                                  <a:pt x="845989" y="230295"/>
                                  <a:pt x="843707" y="232576"/>
                                  <a:pt x="841425" y="230295"/>
                                </a:cubicBezTo>
                                <a:cubicBezTo>
                                  <a:pt x="841425" y="228014"/>
                                  <a:pt x="839143" y="230295"/>
                                  <a:pt x="836861" y="230295"/>
                                </a:cubicBezTo>
                                <a:cubicBezTo>
                                  <a:pt x="834579" y="230295"/>
                                  <a:pt x="832297" y="228014"/>
                                  <a:pt x="830015" y="225733"/>
                                </a:cubicBezTo>
                                <a:cubicBezTo>
                                  <a:pt x="832297" y="223452"/>
                                  <a:pt x="832297" y="223452"/>
                                  <a:pt x="832297" y="223452"/>
                                </a:cubicBezTo>
                                <a:cubicBezTo>
                                  <a:pt x="830015" y="225733"/>
                                  <a:pt x="827733" y="221171"/>
                                  <a:pt x="827733" y="218890"/>
                                </a:cubicBezTo>
                                <a:cubicBezTo>
                                  <a:pt x="830015" y="218890"/>
                                  <a:pt x="830015" y="218890"/>
                                  <a:pt x="830015" y="216609"/>
                                </a:cubicBezTo>
                                <a:cubicBezTo>
                                  <a:pt x="830015" y="214328"/>
                                  <a:pt x="825451" y="218890"/>
                                  <a:pt x="827733" y="214328"/>
                                </a:cubicBezTo>
                                <a:cubicBezTo>
                                  <a:pt x="825451" y="214328"/>
                                  <a:pt x="825451" y="214328"/>
                                  <a:pt x="825451" y="212047"/>
                                </a:cubicBezTo>
                                <a:cubicBezTo>
                                  <a:pt x="823169" y="216609"/>
                                  <a:pt x="816323" y="209766"/>
                                  <a:pt x="814041" y="209766"/>
                                </a:cubicBezTo>
                                <a:cubicBezTo>
                                  <a:pt x="816323" y="212047"/>
                                  <a:pt x="811759" y="212047"/>
                                  <a:pt x="809477" y="212047"/>
                                </a:cubicBezTo>
                                <a:cubicBezTo>
                                  <a:pt x="804913" y="207485"/>
                                  <a:pt x="814041" y="202923"/>
                                  <a:pt x="814041" y="200642"/>
                                </a:cubicBezTo>
                                <a:cubicBezTo>
                                  <a:pt x="814041" y="198361"/>
                                  <a:pt x="814041" y="196080"/>
                                  <a:pt x="814041" y="196080"/>
                                </a:cubicBezTo>
                                <a:cubicBezTo>
                                  <a:pt x="820887" y="193799"/>
                                  <a:pt x="825451" y="193799"/>
                                  <a:pt x="830015" y="189237"/>
                                </a:cubicBezTo>
                                <a:cubicBezTo>
                                  <a:pt x="834579" y="184675"/>
                                  <a:pt x="839143" y="182394"/>
                                  <a:pt x="845989" y="184675"/>
                                </a:cubicBezTo>
                                <a:close/>
                                <a:moveTo>
                                  <a:pt x="727523" y="182393"/>
                                </a:moveTo>
                                <a:cubicBezTo>
                                  <a:pt x="727523" y="184774"/>
                                  <a:pt x="727523" y="191918"/>
                                  <a:pt x="725141" y="189537"/>
                                </a:cubicBezTo>
                                <a:cubicBezTo>
                                  <a:pt x="722760" y="187155"/>
                                  <a:pt x="725141" y="180012"/>
                                  <a:pt x="727523" y="182393"/>
                                </a:cubicBezTo>
                                <a:close/>
                                <a:moveTo>
                                  <a:pt x="734219" y="182393"/>
                                </a:moveTo>
                                <a:cubicBezTo>
                                  <a:pt x="734219" y="184774"/>
                                  <a:pt x="736452" y="187155"/>
                                  <a:pt x="736452" y="187155"/>
                                </a:cubicBezTo>
                                <a:cubicBezTo>
                                  <a:pt x="734219" y="189537"/>
                                  <a:pt x="736452" y="191918"/>
                                  <a:pt x="738684" y="191918"/>
                                </a:cubicBezTo>
                                <a:cubicBezTo>
                                  <a:pt x="745382" y="194299"/>
                                  <a:pt x="736452" y="199062"/>
                                  <a:pt x="736452" y="196681"/>
                                </a:cubicBezTo>
                                <a:cubicBezTo>
                                  <a:pt x="736452" y="194299"/>
                                  <a:pt x="734219" y="194299"/>
                                  <a:pt x="731987" y="196681"/>
                                </a:cubicBezTo>
                                <a:cubicBezTo>
                                  <a:pt x="729754" y="196681"/>
                                  <a:pt x="731987" y="191918"/>
                                  <a:pt x="731987" y="191918"/>
                                </a:cubicBezTo>
                                <a:cubicBezTo>
                                  <a:pt x="729754" y="187155"/>
                                  <a:pt x="727522" y="189537"/>
                                  <a:pt x="729754" y="184774"/>
                                </a:cubicBezTo>
                                <a:cubicBezTo>
                                  <a:pt x="729754" y="184774"/>
                                  <a:pt x="729754" y="184774"/>
                                  <a:pt x="731987" y="184774"/>
                                </a:cubicBezTo>
                                <a:cubicBezTo>
                                  <a:pt x="731987" y="184774"/>
                                  <a:pt x="734219" y="184774"/>
                                  <a:pt x="734219" y="182393"/>
                                </a:cubicBezTo>
                                <a:close/>
                                <a:moveTo>
                                  <a:pt x="107207" y="182393"/>
                                </a:moveTo>
                                <a:cubicBezTo>
                                  <a:pt x="109589" y="182393"/>
                                  <a:pt x="109589" y="184774"/>
                                  <a:pt x="109589" y="187155"/>
                                </a:cubicBezTo>
                                <a:cubicBezTo>
                                  <a:pt x="109589" y="191918"/>
                                  <a:pt x="104826" y="191918"/>
                                  <a:pt x="104826" y="187155"/>
                                </a:cubicBezTo>
                                <a:cubicBezTo>
                                  <a:pt x="104826" y="187155"/>
                                  <a:pt x="104826" y="184774"/>
                                  <a:pt x="107207" y="182393"/>
                                </a:cubicBezTo>
                                <a:close/>
                                <a:moveTo>
                                  <a:pt x="239128" y="176440"/>
                                </a:moveTo>
                                <a:cubicBezTo>
                                  <a:pt x="241271" y="176440"/>
                                  <a:pt x="247701" y="180607"/>
                                  <a:pt x="247701" y="182691"/>
                                </a:cubicBezTo>
                                <a:cubicBezTo>
                                  <a:pt x="245558" y="184775"/>
                                  <a:pt x="245558" y="182691"/>
                                  <a:pt x="243414" y="182691"/>
                                </a:cubicBezTo>
                                <a:cubicBezTo>
                                  <a:pt x="241271" y="180607"/>
                                  <a:pt x="241271" y="182691"/>
                                  <a:pt x="239128" y="182691"/>
                                </a:cubicBezTo>
                                <a:cubicBezTo>
                                  <a:pt x="236985" y="182691"/>
                                  <a:pt x="239128" y="178524"/>
                                  <a:pt x="239128" y="176440"/>
                                </a:cubicBezTo>
                                <a:close/>
                                <a:moveTo>
                                  <a:pt x="104826" y="176440"/>
                                </a:moveTo>
                                <a:cubicBezTo>
                                  <a:pt x="107207" y="176440"/>
                                  <a:pt x="109589" y="182691"/>
                                  <a:pt x="109589" y="184775"/>
                                </a:cubicBezTo>
                                <a:cubicBezTo>
                                  <a:pt x="107207" y="180607"/>
                                  <a:pt x="104826" y="178524"/>
                                  <a:pt x="104826" y="176440"/>
                                </a:cubicBezTo>
                                <a:close/>
                                <a:moveTo>
                                  <a:pt x="209600" y="159771"/>
                                </a:moveTo>
                                <a:cubicBezTo>
                                  <a:pt x="211982" y="159771"/>
                                  <a:pt x="211982" y="159771"/>
                                  <a:pt x="211982" y="162152"/>
                                </a:cubicBezTo>
                                <a:cubicBezTo>
                                  <a:pt x="211982" y="162152"/>
                                  <a:pt x="211982" y="162152"/>
                                  <a:pt x="209600" y="162152"/>
                                </a:cubicBezTo>
                                <a:cubicBezTo>
                                  <a:pt x="209600" y="162152"/>
                                  <a:pt x="207219" y="159771"/>
                                  <a:pt x="209600" y="159771"/>
                                </a:cubicBezTo>
                                <a:close/>
                                <a:moveTo>
                                  <a:pt x="729903" y="157390"/>
                                </a:moveTo>
                                <a:lnTo>
                                  <a:pt x="732284" y="157390"/>
                                </a:lnTo>
                                <a:lnTo>
                                  <a:pt x="732284" y="159771"/>
                                </a:lnTo>
                                <a:close/>
                                <a:moveTo>
                                  <a:pt x="211982" y="155009"/>
                                </a:moveTo>
                                <a:cubicBezTo>
                                  <a:pt x="213768" y="155009"/>
                                  <a:pt x="215554" y="155009"/>
                                  <a:pt x="215554" y="157390"/>
                                </a:cubicBezTo>
                                <a:cubicBezTo>
                                  <a:pt x="215554" y="157390"/>
                                  <a:pt x="215554" y="157390"/>
                                  <a:pt x="215554" y="159772"/>
                                </a:cubicBezTo>
                                <a:cubicBezTo>
                                  <a:pt x="213768" y="159772"/>
                                  <a:pt x="213768" y="157390"/>
                                  <a:pt x="211982" y="155009"/>
                                </a:cubicBezTo>
                                <a:close/>
                                <a:moveTo>
                                  <a:pt x="202754" y="148847"/>
                                </a:moveTo>
                                <a:cubicBezTo>
                                  <a:pt x="205433" y="150187"/>
                                  <a:pt x="208409" y="152866"/>
                                  <a:pt x="209600" y="155009"/>
                                </a:cubicBezTo>
                                <a:cubicBezTo>
                                  <a:pt x="207219" y="155009"/>
                                  <a:pt x="205433" y="153402"/>
                                  <a:pt x="203647" y="152062"/>
                                </a:cubicBezTo>
                                <a:lnTo>
                                  <a:pt x="200260" y="151300"/>
                                </a:lnTo>
                                <a:lnTo>
                                  <a:pt x="207220" y="157390"/>
                                </a:lnTo>
                                <a:cubicBezTo>
                                  <a:pt x="202457" y="155306"/>
                                  <a:pt x="197694" y="157390"/>
                                  <a:pt x="195313" y="155306"/>
                                </a:cubicBezTo>
                                <a:cubicBezTo>
                                  <a:pt x="192932" y="155306"/>
                                  <a:pt x="192932" y="149055"/>
                                  <a:pt x="195313" y="149055"/>
                                </a:cubicBezTo>
                                <a:lnTo>
                                  <a:pt x="198468" y="150435"/>
                                </a:lnTo>
                                <a:close/>
                                <a:moveTo>
                                  <a:pt x="234931" y="148386"/>
                                </a:moveTo>
                                <a:cubicBezTo>
                                  <a:pt x="236806" y="147567"/>
                                  <a:pt x="239485" y="147567"/>
                                  <a:pt x="240557" y="150841"/>
                                </a:cubicBezTo>
                                <a:cubicBezTo>
                                  <a:pt x="240557" y="153024"/>
                                  <a:pt x="238414" y="157390"/>
                                  <a:pt x="236270" y="153024"/>
                                </a:cubicBezTo>
                                <a:cubicBezTo>
                                  <a:pt x="236270" y="150841"/>
                                  <a:pt x="236270" y="153024"/>
                                  <a:pt x="234127" y="150841"/>
                                </a:cubicBezTo>
                                <a:cubicBezTo>
                                  <a:pt x="231984" y="150841"/>
                                  <a:pt x="233056" y="149204"/>
                                  <a:pt x="234931" y="148386"/>
                                </a:cubicBezTo>
                                <a:close/>
                                <a:moveTo>
                                  <a:pt x="226566" y="147567"/>
                                </a:moveTo>
                                <a:cubicBezTo>
                                  <a:pt x="227459" y="146674"/>
                                  <a:pt x="228650" y="146674"/>
                                  <a:pt x="229841" y="149055"/>
                                </a:cubicBezTo>
                                <a:cubicBezTo>
                                  <a:pt x="229841" y="151437"/>
                                  <a:pt x="225078" y="153818"/>
                                  <a:pt x="225078" y="151437"/>
                                </a:cubicBezTo>
                                <a:cubicBezTo>
                                  <a:pt x="225078" y="150246"/>
                                  <a:pt x="225673" y="148460"/>
                                  <a:pt x="226566" y="147567"/>
                                </a:cubicBezTo>
                                <a:close/>
                                <a:moveTo>
                                  <a:pt x="86456" y="139530"/>
                                </a:moveTo>
                                <a:cubicBezTo>
                                  <a:pt x="88667" y="141803"/>
                                  <a:pt x="93089" y="146349"/>
                                  <a:pt x="95301" y="150895"/>
                                </a:cubicBezTo>
                                <a:cubicBezTo>
                                  <a:pt x="95301" y="153168"/>
                                  <a:pt x="95301" y="164534"/>
                                  <a:pt x="90878" y="159988"/>
                                </a:cubicBezTo>
                                <a:cubicBezTo>
                                  <a:pt x="88667" y="159988"/>
                                  <a:pt x="88667" y="157715"/>
                                  <a:pt x="88667" y="155442"/>
                                </a:cubicBezTo>
                                <a:cubicBezTo>
                                  <a:pt x="86456" y="153168"/>
                                  <a:pt x="84244" y="153168"/>
                                  <a:pt x="84244" y="150895"/>
                                </a:cubicBezTo>
                                <a:cubicBezTo>
                                  <a:pt x="82033" y="146349"/>
                                  <a:pt x="79822" y="144076"/>
                                  <a:pt x="79822" y="141803"/>
                                </a:cubicBezTo>
                                <a:cubicBezTo>
                                  <a:pt x="82033" y="141803"/>
                                  <a:pt x="82033" y="139530"/>
                                  <a:pt x="86456" y="139530"/>
                                </a:cubicBezTo>
                                <a:close/>
                                <a:moveTo>
                                  <a:pt x="184597" y="137149"/>
                                </a:moveTo>
                                <a:cubicBezTo>
                                  <a:pt x="186681" y="137149"/>
                                  <a:pt x="190848" y="137149"/>
                                  <a:pt x="192932" y="139530"/>
                                </a:cubicBezTo>
                                <a:cubicBezTo>
                                  <a:pt x="192932" y="141912"/>
                                  <a:pt x="192932" y="144293"/>
                                  <a:pt x="192932" y="144293"/>
                                </a:cubicBezTo>
                                <a:lnTo>
                                  <a:pt x="189142" y="142127"/>
                                </a:lnTo>
                                <a:lnTo>
                                  <a:pt x="192932" y="146674"/>
                                </a:lnTo>
                                <a:cubicBezTo>
                                  <a:pt x="192932" y="149055"/>
                                  <a:pt x="192932" y="151437"/>
                                  <a:pt x="192932" y="153818"/>
                                </a:cubicBezTo>
                                <a:lnTo>
                                  <a:pt x="189009" y="142051"/>
                                </a:lnTo>
                                <a:lnTo>
                                  <a:pt x="188764" y="141912"/>
                                </a:lnTo>
                                <a:cubicBezTo>
                                  <a:pt x="186681" y="139530"/>
                                  <a:pt x="184597" y="139530"/>
                                  <a:pt x="184597" y="137149"/>
                                </a:cubicBezTo>
                                <a:close/>
                                <a:moveTo>
                                  <a:pt x="677805" y="134769"/>
                                </a:moveTo>
                                <a:cubicBezTo>
                                  <a:pt x="680090" y="134769"/>
                                  <a:pt x="682376" y="134769"/>
                                  <a:pt x="682376" y="134769"/>
                                </a:cubicBezTo>
                                <a:cubicBezTo>
                                  <a:pt x="682376" y="137046"/>
                                  <a:pt x="682376" y="137046"/>
                                  <a:pt x="684661" y="139323"/>
                                </a:cubicBezTo>
                                <a:cubicBezTo>
                                  <a:pt x="680090" y="141600"/>
                                  <a:pt x="680090" y="148431"/>
                                  <a:pt x="675520" y="152985"/>
                                </a:cubicBezTo>
                                <a:cubicBezTo>
                                  <a:pt x="673235" y="155263"/>
                                  <a:pt x="670949" y="159817"/>
                                  <a:pt x="668664" y="162094"/>
                                </a:cubicBezTo>
                                <a:cubicBezTo>
                                  <a:pt x="664094" y="168925"/>
                                  <a:pt x="645812" y="171202"/>
                                  <a:pt x="641241" y="166648"/>
                                </a:cubicBezTo>
                                <a:cubicBezTo>
                                  <a:pt x="636671" y="164371"/>
                                  <a:pt x="632100" y="164371"/>
                                  <a:pt x="627530" y="164371"/>
                                </a:cubicBezTo>
                                <a:cubicBezTo>
                                  <a:pt x="622959" y="164371"/>
                                  <a:pt x="616103" y="166648"/>
                                  <a:pt x="611533" y="164371"/>
                                </a:cubicBezTo>
                                <a:cubicBezTo>
                                  <a:pt x="609248" y="164371"/>
                                  <a:pt x="606963" y="162094"/>
                                  <a:pt x="602392" y="164371"/>
                                </a:cubicBezTo>
                                <a:cubicBezTo>
                                  <a:pt x="600107" y="164371"/>
                                  <a:pt x="597822" y="166648"/>
                                  <a:pt x="595536" y="164371"/>
                                </a:cubicBezTo>
                                <a:cubicBezTo>
                                  <a:pt x="590966" y="164371"/>
                                  <a:pt x="584110" y="162094"/>
                                  <a:pt x="581825" y="164371"/>
                                </a:cubicBezTo>
                                <a:cubicBezTo>
                                  <a:pt x="577254" y="164371"/>
                                  <a:pt x="574969" y="168925"/>
                                  <a:pt x="572684" y="173479"/>
                                </a:cubicBezTo>
                                <a:cubicBezTo>
                                  <a:pt x="570399" y="180310"/>
                                  <a:pt x="570399" y="193973"/>
                                  <a:pt x="577254" y="198527"/>
                                </a:cubicBezTo>
                                <a:cubicBezTo>
                                  <a:pt x="579540" y="198527"/>
                                  <a:pt x="579540" y="196250"/>
                                  <a:pt x="581825" y="200804"/>
                                </a:cubicBezTo>
                                <a:cubicBezTo>
                                  <a:pt x="584110" y="200804"/>
                                  <a:pt x="584110" y="203081"/>
                                  <a:pt x="584110" y="205358"/>
                                </a:cubicBezTo>
                                <a:cubicBezTo>
                                  <a:pt x="584110" y="207635"/>
                                  <a:pt x="586395" y="209912"/>
                                  <a:pt x="590966" y="209912"/>
                                </a:cubicBezTo>
                                <a:cubicBezTo>
                                  <a:pt x="595536" y="212189"/>
                                  <a:pt x="595536" y="207635"/>
                                  <a:pt x="597822" y="205358"/>
                                </a:cubicBezTo>
                                <a:cubicBezTo>
                                  <a:pt x="600107" y="200804"/>
                                  <a:pt x="602392" y="198527"/>
                                  <a:pt x="606963" y="196250"/>
                                </a:cubicBezTo>
                                <a:cubicBezTo>
                                  <a:pt x="606963" y="200804"/>
                                  <a:pt x="616103" y="200804"/>
                                  <a:pt x="618389" y="196250"/>
                                </a:cubicBezTo>
                                <a:cubicBezTo>
                                  <a:pt x="618389" y="191696"/>
                                  <a:pt x="629815" y="193973"/>
                                  <a:pt x="634385" y="193973"/>
                                </a:cubicBezTo>
                                <a:cubicBezTo>
                                  <a:pt x="634385" y="193973"/>
                                  <a:pt x="632100" y="191696"/>
                                  <a:pt x="629815" y="191696"/>
                                </a:cubicBezTo>
                                <a:cubicBezTo>
                                  <a:pt x="634385" y="189419"/>
                                  <a:pt x="643526" y="189419"/>
                                  <a:pt x="645812" y="191696"/>
                                </a:cubicBezTo>
                                <a:cubicBezTo>
                                  <a:pt x="648097" y="193973"/>
                                  <a:pt x="645812" y="198527"/>
                                  <a:pt x="643526" y="200804"/>
                                </a:cubicBezTo>
                                <a:cubicBezTo>
                                  <a:pt x="641241" y="203081"/>
                                  <a:pt x="641241" y="196250"/>
                                  <a:pt x="638956" y="196250"/>
                                </a:cubicBezTo>
                                <a:cubicBezTo>
                                  <a:pt x="629815" y="196250"/>
                                  <a:pt x="625244" y="209912"/>
                                  <a:pt x="620674" y="212189"/>
                                </a:cubicBezTo>
                                <a:cubicBezTo>
                                  <a:pt x="616103" y="216744"/>
                                  <a:pt x="613818" y="216744"/>
                                  <a:pt x="609248" y="219021"/>
                                </a:cubicBezTo>
                                <a:cubicBezTo>
                                  <a:pt x="606963" y="223575"/>
                                  <a:pt x="602392" y="221298"/>
                                  <a:pt x="600107" y="219021"/>
                                </a:cubicBezTo>
                                <a:cubicBezTo>
                                  <a:pt x="600107" y="221298"/>
                                  <a:pt x="600107" y="223575"/>
                                  <a:pt x="600107" y="223575"/>
                                </a:cubicBezTo>
                                <a:cubicBezTo>
                                  <a:pt x="602392" y="223575"/>
                                  <a:pt x="604677" y="228129"/>
                                  <a:pt x="606963" y="228129"/>
                                </a:cubicBezTo>
                                <a:cubicBezTo>
                                  <a:pt x="609248" y="230406"/>
                                  <a:pt x="611533" y="232683"/>
                                  <a:pt x="611533" y="237237"/>
                                </a:cubicBezTo>
                                <a:cubicBezTo>
                                  <a:pt x="613818" y="237237"/>
                                  <a:pt x="613818" y="241791"/>
                                  <a:pt x="613818" y="241791"/>
                                </a:cubicBezTo>
                                <a:cubicBezTo>
                                  <a:pt x="616103" y="244068"/>
                                  <a:pt x="618389" y="244068"/>
                                  <a:pt x="618389" y="246346"/>
                                </a:cubicBezTo>
                                <a:cubicBezTo>
                                  <a:pt x="620674" y="248623"/>
                                  <a:pt x="618389" y="248623"/>
                                  <a:pt x="620674" y="250900"/>
                                </a:cubicBezTo>
                                <a:cubicBezTo>
                                  <a:pt x="620674" y="253177"/>
                                  <a:pt x="622959" y="253177"/>
                                  <a:pt x="622959" y="253177"/>
                                </a:cubicBezTo>
                                <a:cubicBezTo>
                                  <a:pt x="620674" y="253177"/>
                                  <a:pt x="618389" y="257731"/>
                                  <a:pt x="620674" y="260008"/>
                                </a:cubicBezTo>
                                <a:cubicBezTo>
                                  <a:pt x="620674" y="257731"/>
                                  <a:pt x="618389" y="257731"/>
                                  <a:pt x="618389" y="257731"/>
                                </a:cubicBezTo>
                                <a:cubicBezTo>
                                  <a:pt x="620674" y="260008"/>
                                  <a:pt x="618389" y="262285"/>
                                  <a:pt x="620674" y="266839"/>
                                </a:cubicBezTo>
                                <a:cubicBezTo>
                                  <a:pt x="620674" y="266839"/>
                                  <a:pt x="622959" y="271393"/>
                                  <a:pt x="625244" y="271393"/>
                                </a:cubicBezTo>
                                <a:cubicBezTo>
                                  <a:pt x="625244" y="271393"/>
                                  <a:pt x="625244" y="271393"/>
                                  <a:pt x="625244" y="273670"/>
                                </a:cubicBezTo>
                                <a:cubicBezTo>
                                  <a:pt x="627530" y="273670"/>
                                  <a:pt x="627530" y="280502"/>
                                  <a:pt x="629815" y="273670"/>
                                </a:cubicBezTo>
                                <a:cubicBezTo>
                                  <a:pt x="634385" y="275948"/>
                                  <a:pt x="629815" y="287333"/>
                                  <a:pt x="627530" y="280502"/>
                                </a:cubicBezTo>
                                <a:cubicBezTo>
                                  <a:pt x="632100" y="287333"/>
                                  <a:pt x="625244" y="282779"/>
                                  <a:pt x="622959" y="282779"/>
                                </a:cubicBezTo>
                                <a:cubicBezTo>
                                  <a:pt x="620674" y="285056"/>
                                  <a:pt x="613818" y="285056"/>
                                  <a:pt x="613818" y="287333"/>
                                </a:cubicBezTo>
                                <a:cubicBezTo>
                                  <a:pt x="613818" y="289610"/>
                                  <a:pt x="613818" y="294164"/>
                                  <a:pt x="611533" y="294164"/>
                                </a:cubicBezTo>
                                <a:cubicBezTo>
                                  <a:pt x="606963" y="294164"/>
                                  <a:pt x="602392" y="291887"/>
                                  <a:pt x="602392" y="291887"/>
                                </a:cubicBezTo>
                                <a:cubicBezTo>
                                  <a:pt x="597822" y="287333"/>
                                  <a:pt x="604677" y="275948"/>
                                  <a:pt x="602392" y="273670"/>
                                </a:cubicBezTo>
                                <a:cubicBezTo>
                                  <a:pt x="595536" y="271393"/>
                                  <a:pt x="584110" y="262285"/>
                                  <a:pt x="590966" y="255454"/>
                                </a:cubicBezTo>
                                <a:cubicBezTo>
                                  <a:pt x="593251" y="253177"/>
                                  <a:pt x="595536" y="241791"/>
                                  <a:pt x="590966" y="239514"/>
                                </a:cubicBezTo>
                                <a:cubicBezTo>
                                  <a:pt x="586395" y="239514"/>
                                  <a:pt x="574969" y="244068"/>
                                  <a:pt x="574969" y="250900"/>
                                </a:cubicBezTo>
                                <a:cubicBezTo>
                                  <a:pt x="577254" y="255454"/>
                                  <a:pt x="579540" y="255454"/>
                                  <a:pt x="577254" y="257731"/>
                                </a:cubicBezTo>
                                <a:cubicBezTo>
                                  <a:pt x="577254" y="262285"/>
                                  <a:pt x="577254" y="264562"/>
                                  <a:pt x="577254" y="266839"/>
                                </a:cubicBezTo>
                                <a:cubicBezTo>
                                  <a:pt x="577254" y="271393"/>
                                  <a:pt x="577254" y="275948"/>
                                  <a:pt x="577254" y="280502"/>
                                </a:cubicBezTo>
                                <a:cubicBezTo>
                                  <a:pt x="577254" y="287333"/>
                                  <a:pt x="577254" y="291887"/>
                                  <a:pt x="574969" y="298718"/>
                                </a:cubicBezTo>
                                <a:cubicBezTo>
                                  <a:pt x="572684" y="303272"/>
                                  <a:pt x="577254" y="305549"/>
                                  <a:pt x="577254" y="312381"/>
                                </a:cubicBezTo>
                                <a:cubicBezTo>
                                  <a:pt x="574969" y="310104"/>
                                  <a:pt x="572684" y="312381"/>
                                  <a:pt x="568113" y="312381"/>
                                </a:cubicBezTo>
                                <a:cubicBezTo>
                                  <a:pt x="565828" y="312381"/>
                                  <a:pt x="565828" y="312381"/>
                                  <a:pt x="563543" y="314658"/>
                                </a:cubicBezTo>
                                <a:cubicBezTo>
                                  <a:pt x="558972" y="316935"/>
                                  <a:pt x="558972" y="310104"/>
                                  <a:pt x="554402" y="312381"/>
                                </a:cubicBezTo>
                                <a:cubicBezTo>
                                  <a:pt x="554402" y="307827"/>
                                  <a:pt x="554402" y="305549"/>
                                  <a:pt x="554402" y="300995"/>
                                </a:cubicBezTo>
                                <a:cubicBezTo>
                                  <a:pt x="558972" y="298718"/>
                                  <a:pt x="558972" y="289610"/>
                                  <a:pt x="558972" y="285056"/>
                                </a:cubicBezTo>
                                <a:cubicBezTo>
                                  <a:pt x="561258" y="278225"/>
                                  <a:pt x="561258" y="273670"/>
                                  <a:pt x="558972" y="269116"/>
                                </a:cubicBezTo>
                                <a:cubicBezTo>
                                  <a:pt x="556687" y="264562"/>
                                  <a:pt x="561258" y="260008"/>
                                  <a:pt x="556687" y="260008"/>
                                </a:cubicBezTo>
                                <a:cubicBezTo>
                                  <a:pt x="552117" y="260008"/>
                                  <a:pt x="547546" y="260008"/>
                                  <a:pt x="547546" y="262285"/>
                                </a:cubicBezTo>
                                <a:cubicBezTo>
                                  <a:pt x="545261" y="260008"/>
                                  <a:pt x="542976" y="253177"/>
                                  <a:pt x="545261" y="248623"/>
                                </a:cubicBezTo>
                                <a:cubicBezTo>
                                  <a:pt x="547546" y="246346"/>
                                  <a:pt x="545261" y="246346"/>
                                  <a:pt x="542976" y="244068"/>
                                </a:cubicBezTo>
                                <a:cubicBezTo>
                                  <a:pt x="542976" y="239514"/>
                                  <a:pt x="552117" y="237237"/>
                                  <a:pt x="552117" y="232683"/>
                                </a:cubicBezTo>
                                <a:cubicBezTo>
                                  <a:pt x="552117" y="228129"/>
                                  <a:pt x="556687" y="225852"/>
                                  <a:pt x="556687" y="221298"/>
                                </a:cubicBezTo>
                                <a:cubicBezTo>
                                  <a:pt x="556687" y="216744"/>
                                  <a:pt x="556687" y="214466"/>
                                  <a:pt x="556687" y="209912"/>
                                </a:cubicBezTo>
                                <a:cubicBezTo>
                                  <a:pt x="556687" y="203081"/>
                                  <a:pt x="563543" y="198527"/>
                                  <a:pt x="565828" y="191696"/>
                                </a:cubicBezTo>
                                <a:cubicBezTo>
                                  <a:pt x="565828" y="193973"/>
                                  <a:pt x="565828" y="196250"/>
                                  <a:pt x="568113" y="196250"/>
                                </a:cubicBezTo>
                                <a:cubicBezTo>
                                  <a:pt x="568113" y="191696"/>
                                  <a:pt x="565828" y="189419"/>
                                  <a:pt x="565828" y="184865"/>
                                </a:cubicBezTo>
                                <a:cubicBezTo>
                                  <a:pt x="568113" y="178033"/>
                                  <a:pt x="563543" y="180310"/>
                                  <a:pt x="563543" y="175756"/>
                                </a:cubicBezTo>
                                <a:cubicBezTo>
                                  <a:pt x="565828" y="175756"/>
                                  <a:pt x="565828" y="175756"/>
                                  <a:pt x="565828" y="178033"/>
                                </a:cubicBezTo>
                                <a:cubicBezTo>
                                  <a:pt x="570399" y="173479"/>
                                  <a:pt x="565828" y="168925"/>
                                  <a:pt x="570399" y="164371"/>
                                </a:cubicBezTo>
                                <a:cubicBezTo>
                                  <a:pt x="572684" y="162094"/>
                                  <a:pt x="570399" y="159817"/>
                                  <a:pt x="572684" y="157540"/>
                                </a:cubicBezTo>
                                <a:cubicBezTo>
                                  <a:pt x="574969" y="155263"/>
                                  <a:pt x="577254" y="155263"/>
                                  <a:pt x="577254" y="152985"/>
                                </a:cubicBezTo>
                                <a:cubicBezTo>
                                  <a:pt x="581825" y="159817"/>
                                  <a:pt x="588681" y="152985"/>
                                  <a:pt x="588681" y="146154"/>
                                </a:cubicBezTo>
                                <a:cubicBezTo>
                                  <a:pt x="588681" y="141600"/>
                                  <a:pt x="597822" y="146154"/>
                                  <a:pt x="600107" y="146154"/>
                                </a:cubicBezTo>
                                <a:cubicBezTo>
                                  <a:pt x="602392" y="146154"/>
                                  <a:pt x="604677" y="150708"/>
                                  <a:pt x="606963" y="150708"/>
                                </a:cubicBezTo>
                                <a:cubicBezTo>
                                  <a:pt x="611533" y="148431"/>
                                  <a:pt x="613818" y="150708"/>
                                  <a:pt x="616103" y="150708"/>
                                </a:cubicBezTo>
                                <a:cubicBezTo>
                                  <a:pt x="622959" y="150708"/>
                                  <a:pt x="625244" y="152985"/>
                                  <a:pt x="632100" y="155263"/>
                                </a:cubicBezTo>
                                <a:cubicBezTo>
                                  <a:pt x="634385" y="155263"/>
                                  <a:pt x="636671" y="152985"/>
                                  <a:pt x="638956" y="152985"/>
                                </a:cubicBezTo>
                                <a:cubicBezTo>
                                  <a:pt x="641241" y="152985"/>
                                  <a:pt x="645812" y="152985"/>
                                  <a:pt x="650382" y="155263"/>
                                </a:cubicBezTo>
                                <a:cubicBezTo>
                                  <a:pt x="654953" y="155263"/>
                                  <a:pt x="661808" y="155263"/>
                                  <a:pt x="664094" y="148431"/>
                                </a:cubicBezTo>
                                <a:cubicBezTo>
                                  <a:pt x="666379" y="146154"/>
                                  <a:pt x="668664" y="148431"/>
                                  <a:pt x="668664" y="146154"/>
                                </a:cubicBezTo>
                                <a:cubicBezTo>
                                  <a:pt x="670949" y="143877"/>
                                  <a:pt x="668664" y="141600"/>
                                  <a:pt x="673235" y="141600"/>
                                </a:cubicBezTo>
                                <a:cubicBezTo>
                                  <a:pt x="675520" y="139323"/>
                                  <a:pt x="675520" y="137046"/>
                                  <a:pt x="677805" y="134769"/>
                                </a:cubicBezTo>
                                <a:close/>
                                <a:moveTo>
                                  <a:pt x="170310" y="128339"/>
                                </a:moveTo>
                                <a:cubicBezTo>
                                  <a:pt x="172691" y="124053"/>
                                  <a:pt x="177454" y="124053"/>
                                  <a:pt x="177454" y="128339"/>
                                </a:cubicBezTo>
                                <a:cubicBezTo>
                                  <a:pt x="177454" y="130482"/>
                                  <a:pt x="177454" y="134769"/>
                                  <a:pt x="175072" y="134769"/>
                                </a:cubicBezTo>
                                <a:cubicBezTo>
                                  <a:pt x="170310" y="132626"/>
                                  <a:pt x="170310" y="130482"/>
                                  <a:pt x="170310" y="128339"/>
                                </a:cubicBezTo>
                                <a:close/>
                                <a:moveTo>
                                  <a:pt x="743680" y="124053"/>
                                </a:moveTo>
                                <a:cubicBezTo>
                                  <a:pt x="743680" y="126326"/>
                                  <a:pt x="741384" y="126326"/>
                                  <a:pt x="741384" y="128599"/>
                                </a:cubicBezTo>
                                <a:cubicBezTo>
                                  <a:pt x="739088" y="133145"/>
                                  <a:pt x="743680" y="133145"/>
                                  <a:pt x="743680" y="135418"/>
                                </a:cubicBezTo>
                                <a:cubicBezTo>
                                  <a:pt x="745976" y="137691"/>
                                  <a:pt x="743680" y="146783"/>
                                  <a:pt x="739088" y="149056"/>
                                </a:cubicBezTo>
                                <a:cubicBezTo>
                                  <a:pt x="739088" y="149056"/>
                                  <a:pt x="734495" y="151329"/>
                                  <a:pt x="736791" y="153602"/>
                                </a:cubicBezTo>
                                <a:cubicBezTo>
                                  <a:pt x="736791" y="155875"/>
                                  <a:pt x="741384" y="158148"/>
                                  <a:pt x="741384" y="155875"/>
                                </a:cubicBezTo>
                                <a:cubicBezTo>
                                  <a:pt x="743680" y="153602"/>
                                  <a:pt x="741384" y="151329"/>
                                  <a:pt x="745976" y="149056"/>
                                </a:cubicBezTo>
                                <a:cubicBezTo>
                                  <a:pt x="745976" y="149056"/>
                                  <a:pt x="750569" y="146783"/>
                                  <a:pt x="745976" y="146783"/>
                                </a:cubicBezTo>
                                <a:cubicBezTo>
                                  <a:pt x="748272" y="142237"/>
                                  <a:pt x="752865" y="137691"/>
                                  <a:pt x="759754" y="137691"/>
                                </a:cubicBezTo>
                                <a:cubicBezTo>
                                  <a:pt x="757457" y="139964"/>
                                  <a:pt x="759754" y="144510"/>
                                  <a:pt x="759754" y="146783"/>
                                </a:cubicBezTo>
                                <a:cubicBezTo>
                                  <a:pt x="757457" y="151329"/>
                                  <a:pt x="752865" y="151329"/>
                                  <a:pt x="750569" y="155875"/>
                                </a:cubicBezTo>
                                <a:cubicBezTo>
                                  <a:pt x="748272" y="160421"/>
                                  <a:pt x="755161" y="160421"/>
                                  <a:pt x="757457" y="162694"/>
                                </a:cubicBezTo>
                                <a:cubicBezTo>
                                  <a:pt x="759754" y="164967"/>
                                  <a:pt x="759754" y="167240"/>
                                  <a:pt x="762050" y="169513"/>
                                </a:cubicBezTo>
                                <a:cubicBezTo>
                                  <a:pt x="757457" y="169513"/>
                                  <a:pt x="750569" y="167240"/>
                                  <a:pt x="748272" y="164967"/>
                                </a:cubicBezTo>
                                <a:cubicBezTo>
                                  <a:pt x="741384" y="162694"/>
                                  <a:pt x="741384" y="167240"/>
                                  <a:pt x="741384" y="171787"/>
                                </a:cubicBezTo>
                                <a:cubicBezTo>
                                  <a:pt x="743680" y="180879"/>
                                  <a:pt x="743680" y="189971"/>
                                  <a:pt x="752865" y="196790"/>
                                </a:cubicBezTo>
                                <a:cubicBezTo>
                                  <a:pt x="750569" y="199063"/>
                                  <a:pt x="743680" y="192244"/>
                                  <a:pt x="743680" y="189971"/>
                                </a:cubicBezTo>
                                <a:cubicBezTo>
                                  <a:pt x="741384" y="187698"/>
                                  <a:pt x="739088" y="185425"/>
                                  <a:pt x="739088" y="183152"/>
                                </a:cubicBezTo>
                                <a:cubicBezTo>
                                  <a:pt x="736791" y="180879"/>
                                  <a:pt x="736791" y="178606"/>
                                  <a:pt x="736791" y="176333"/>
                                </a:cubicBezTo>
                                <a:cubicBezTo>
                                  <a:pt x="736791" y="174060"/>
                                  <a:pt x="739088" y="169513"/>
                                  <a:pt x="736791" y="169513"/>
                                </a:cubicBezTo>
                                <a:cubicBezTo>
                                  <a:pt x="734495" y="167240"/>
                                  <a:pt x="734495" y="164967"/>
                                  <a:pt x="734495" y="162694"/>
                                </a:cubicBezTo>
                                <a:cubicBezTo>
                                  <a:pt x="734495" y="160421"/>
                                  <a:pt x="734495" y="158148"/>
                                  <a:pt x="736791" y="155875"/>
                                </a:cubicBezTo>
                                <a:cubicBezTo>
                                  <a:pt x="736791" y="155875"/>
                                  <a:pt x="736791" y="155875"/>
                                  <a:pt x="734495" y="153602"/>
                                </a:cubicBezTo>
                                <a:cubicBezTo>
                                  <a:pt x="732199" y="153602"/>
                                  <a:pt x="732199" y="151329"/>
                                  <a:pt x="732199" y="149056"/>
                                </a:cubicBezTo>
                                <a:cubicBezTo>
                                  <a:pt x="729903" y="144510"/>
                                  <a:pt x="734495" y="137691"/>
                                  <a:pt x="734495" y="133145"/>
                                </a:cubicBezTo>
                                <a:cubicBezTo>
                                  <a:pt x="736791" y="128599"/>
                                  <a:pt x="739088" y="124053"/>
                                  <a:pt x="743680" y="124053"/>
                                </a:cubicBezTo>
                                <a:close/>
                                <a:moveTo>
                                  <a:pt x="754906" y="112146"/>
                                </a:moveTo>
                                <a:cubicBezTo>
                                  <a:pt x="759669" y="119290"/>
                                  <a:pt x="757288" y="126434"/>
                                  <a:pt x="750144" y="126434"/>
                                </a:cubicBezTo>
                                <a:cubicBezTo>
                                  <a:pt x="747763" y="124053"/>
                                  <a:pt x="747763" y="119290"/>
                                  <a:pt x="750144" y="116909"/>
                                </a:cubicBezTo>
                                <a:cubicBezTo>
                                  <a:pt x="752525" y="114527"/>
                                  <a:pt x="754906" y="114527"/>
                                  <a:pt x="754906" y="112146"/>
                                </a:cubicBezTo>
                                <a:close/>
                                <a:moveTo>
                                  <a:pt x="49887" y="106023"/>
                                </a:moveTo>
                                <a:cubicBezTo>
                                  <a:pt x="49887" y="103812"/>
                                  <a:pt x="49887" y="106023"/>
                                  <a:pt x="52098" y="106023"/>
                                </a:cubicBezTo>
                                <a:cubicBezTo>
                                  <a:pt x="52098" y="108234"/>
                                  <a:pt x="56521" y="108234"/>
                                  <a:pt x="54310" y="110446"/>
                                </a:cubicBezTo>
                                <a:cubicBezTo>
                                  <a:pt x="56521" y="110446"/>
                                  <a:pt x="58732" y="112657"/>
                                  <a:pt x="58732" y="112657"/>
                                </a:cubicBezTo>
                                <a:cubicBezTo>
                                  <a:pt x="60943" y="114868"/>
                                  <a:pt x="63155" y="114868"/>
                                  <a:pt x="63155" y="117080"/>
                                </a:cubicBezTo>
                                <a:cubicBezTo>
                                  <a:pt x="63155" y="119291"/>
                                  <a:pt x="60943" y="119291"/>
                                  <a:pt x="60943" y="117080"/>
                                </a:cubicBezTo>
                                <a:cubicBezTo>
                                  <a:pt x="58732" y="112657"/>
                                  <a:pt x="52098" y="112657"/>
                                  <a:pt x="49887" y="110446"/>
                                </a:cubicBezTo>
                                <a:cubicBezTo>
                                  <a:pt x="47676" y="108234"/>
                                  <a:pt x="47676" y="108234"/>
                                  <a:pt x="49887" y="106023"/>
                                </a:cubicBezTo>
                                <a:close/>
                                <a:moveTo>
                                  <a:pt x="687042" y="87143"/>
                                </a:moveTo>
                                <a:cubicBezTo>
                                  <a:pt x="689423" y="82381"/>
                                  <a:pt x="694186" y="91906"/>
                                  <a:pt x="691804" y="94287"/>
                                </a:cubicBezTo>
                                <a:cubicBezTo>
                                  <a:pt x="689423" y="91906"/>
                                  <a:pt x="689423" y="87143"/>
                                  <a:pt x="687042" y="87143"/>
                                </a:cubicBezTo>
                                <a:close/>
                                <a:moveTo>
                                  <a:pt x="716126" y="72005"/>
                                </a:moveTo>
                                <a:lnTo>
                                  <a:pt x="716806" y="74046"/>
                                </a:lnTo>
                                <a:cubicBezTo>
                                  <a:pt x="714425" y="76428"/>
                                  <a:pt x="712044" y="78809"/>
                                  <a:pt x="714425" y="78809"/>
                                </a:cubicBezTo>
                                <a:close/>
                                <a:moveTo>
                                  <a:pt x="479724" y="69284"/>
                                </a:moveTo>
                                <a:cubicBezTo>
                                  <a:pt x="484266" y="71563"/>
                                  <a:pt x="484266" y="71563"/>
                                  <a:pt x="488808" y="69284"/>
                                </a:cubicBezTo>
                                <a:cubicBezTo>
                                  <a:pt x="491078" y="69284"/>
                                  <a:pt x="493349" y="73842"/>
                                  <a:pt x="495620" y="69284"/>
                                </a:cubicBezTo>
                                <a:cubicBezTo>
                                  <a:pt x="497891" y="71563"/>
                                  <a:pt x="502432" y="71563"/>
                                  <a:pt x="506974" y="69284"/>
                                </a:cubicBezTo>
                                <a:cubicBezTo>
                                  <a:pt x="511515" y="69284"/>
                                  <a:pt x="513786" y="73842"/>
                                  <a:pt x="518328" y="73842"/>
                                </a:cubicBezTo>
                                <a:cubicBezTo>
                                  <a:pt x="516057" y="76120"/>
                                  <a:pt x="513786" y="76120"/>
                                  <a:pt x="513786" y="76120"/>
                                </a:cubicBezTo>
                                <a:cubicBezTo>
                                  <a:pt x="513786" y="76120"/>
                                  <a:pt x="520599" y="82957"/>
                                  <a:pt x="516057" y="80678"/>
                                </a:cubicBezTo>
                                <a:cubicBezTo>
                                  <a:pt x="518328" y="80678"/>
                                  <a:pt x="520599" y="80678"/>
                                  <a:pt x="520599" y="82957"/>
                                </a:cubicBezTo>
                                <a:cubicBezTo>
                                  <a:pt x="520599" y="82957"/>
                                  <a:pt x="520599" y="85236"/>
                                  <a:pt x="522869" y="85236"/>
                                </a:cubicBezTo>
                                <a:cubicBezTo>
                                  <a:pt x="520599" y="89793"/>
                                  <a:pt x="516057" y="87514"/>
                                  <a:pt x="516057" y="82957"/>
                                </a:cubicBezTo>
                                <a:cubicBezTo>
                                  <a:pt x="516057" y="85236"/>
                                  <a:pt x="516057" y="87514"/>
                                  <a:pt x="516057" y="87514"/>
                                </a:cubicBezTo>
                                <a:cubicBezTo>
                                  <a:pt x="513786" y="87514"/>
                                  <a:pt x="509245" y="87514"/>
                                  <a:pt x="506974" y="87514"/>
                                </a:cubicBezTo>
                                <a:lnTo>
                                  <a:pt x="513630" y="90855"/>
                                </a:lnTo>
                                <a:lnTo>
                                  <a:pt x="516057" y="92072"/>
                                </a:lnTo>
                                <a:cubicBezTo>
                                  <a:pt x="513786" y="94351"/>
                                  <a:pt x="513786" y="98909"/>
                                  <a:pt x="511515" y="96630"/>
                                </a:cubicBezTo>
                                <a:cubicBezTo>
                                  <a:pt x="513786" y="98909"/>
                                  <a:pt x="516057" y="101187"/>
                                  <a:pt x="518328" y="101187"/>
                                </a:cubicBezTo>
                                <a:cubicBezTo>
                                  <a:pt x="516057" y="103466"/>
                                  <a:pt x="520599" y="103466"/>
                                  <a:pt x="518328" y="105745"/>
                                </a:cubicBezTo>
                                <a:cubicBezTo>
                                  <a:pt x="518328" y="105745"/>
                                  <a:pt x="520599" y="105745"/>
                                  <a:pt x="520599" y="105745"/>
                                </a:cubicBezTo>
                                <a:cubicBezTo>
                                  <a:pt x="518328" y="108024"/>
                                  <a:pt x="522869" y="110303"/>
                                  <a:pt x="522869" y="110303"/>
                                </a:cubicBezTo>
                                <a:cubicBezTo>
                                  <a:pt x="525140" y="112582"/>
                                  <a:pt x="527411" y="114860"/>
                                  <a:pt x="529682" y="117139"/>
                                </a:cubicBezTo>
                                <a:cubicBezTo>
                                  <a:pt x="529682" y="121697"/>
                                  <a:pt x="527411" y="126255"/>
                                  <a:pt x="522869" y="126255"/>
                                </a:cubicBezTo>
                                <a:cubicBezTo>
                                  <a:pt x="525140" y="128533"/>
                                  <a:pt x="525140" y="130812"/>
                                  <a:pt x="525140" y="130812"/>
                                </a:cubicBezTo>
                                <a:cubicBezTo>
                                  <a:pt x="529682" y="133091"/>
                                  <a:pt x="531952" y="135370"/>
                                  <a:pt x="534223" y="137649"/>
                                </a:cubicBezTo>
                                <a:cubicBezTo>
                                  <a:pt x="536494" y="139928"/>
                                  <a:pt x="536494" y="142206"/>
                                  <a:pt x="538765" y="142206"/>
                                </a:cubicBezTo>
                                <a:cubicBezTo>
                                  <a:pt x="543306" y="144485"/>
                                  <a:pt x="545577" y="146764"/>
                                  <a:pt x="547848" y="151322"/>
                                </a:cubicBezTo>
                                <a:cubicBezTo>
                                  <a:pt x="547848" y="151322"/>
                                  <a:pt x="550119" y="151322"/>
                                  <a:pt x="550119" y="153601"/>
                                </a:cubicBezTo>
                                <a:cubicBezTo>
                                  <a:pt x="547848" y="155879"/>
                                  <a:pt x="543306" y="155879"/>
                                  <a:pt x="541036" y="155879"/>
                                </a:cubicBezTo>
                                <a:cubicBezTo>
                                  <a:pt x="536494" y="158158"/>
                                  <a:pt x="529682" y="151322"/>
                                  <a:pt x="527411" y="151322"/>
                                </a:cubicBezTo>
                                <a:cubicBezTo>
                                  <a:pt x="527411" y="153601"/>
                                  <a:pt x="529682" y="155879"/>
                                  <a:pt x="525140" y="155879"/>
                                </a:cubicBezTo>
                                <a:cubicBezTo>
                                  <a:pt x="522869" y="155879"/>
                                  <a:pt x="520599" y="162716"/>
                                  <a:pt x="520599" y="164995"/>
                                </a:cubicBezTo>
                                <a:cubicBezTo>
                                  <a:pt x="518328" y="171831"/>
                                  <a:pt x="516057" y="180946"/>
                                  <a:pt x="516057" y="190062"/>
                                </a:cubicBezTo>
                                <a:cubicBezTo>
                                  <a:pt x="518328" y="187783"/>
                                  <a:pt x="518328" y="187783"/>
                                  <a:pt x="520599" y="187783"/>
                                </a:cubicBezTo>
                                <a:cubicBezTo>
                                  <a:pt x="520599" y="187783"/>
                                  <a:pt x="518328" y="190062"/>
                                  <a:pt x="518328" y="192341"/>
                                </a:cubicBezTo>
                                <a:cubicBezTo>
                                  <a:pt x="518328" y="192341"/>
                                  <a:pt x="518328" y="194619"/>
                                  <a:pt x="518328" y="194619"/>
                                </a:cubicBezTo>
                                <a:cubicBezTo>
                                  <a:pt x="516057" y="196898"/>
                                  <a:pt x="513786" y="199177"/>
                                  <a:pt x="513786" y="196898"/>
                                </a:cubicBezTo>
                                <a:cubicBezTo>
                                  <a:pt x="511515" y="201456"/>
                                  <a:pt x="502432" y="212850"/>
                                  <a:pt x="500162" y="201456"/>
                                </a:cubicBezTo>
                                <a:cubicBezTo>
                                  <a:pt x="497891" y="206014"/>
                                  <a:pt x="502432" y="208292"/>
                                  <a:pt x="497891" y="210571"/>
                                </a:cubicBezTo>
                                <a:cubicBezTo>
                                  <a:pt x="495620" y="212850"/>
                                  <a:pt x="497891" y="215129"/>
                                  <a:pt x="495620" y="215129"/>
                                </a:cubicBezTo>
                                <a:cubicBezTo>
                                  <a:pt x="493349" y="217408"/>
                                  <a:pt x="491078" y="217408"/>
                                  <a:pt x="491078" y="219687"/>
                                </a:cubicBezTo>
                                <a:cubicBezTo>
                                  <a:pt x="495620" y="217408"/>
                                  <a:pt x="493349" y="226523"/>
                                  <a:pt x="491078" y="228802"/>
                                </a:cubicBezTo>
                                <a:cubicBezTo>
                                  <a:pt x="493349" y="231081"/>
                                  <a:pt x="495620" y="228802"/>
                                  <a:pt x="497891" y="231081"/>
                                </a:cubicBezTo>
                                <a:cubicBezTo>
                                  <a:pt x="497891" y="231081"/>
                                  <a:pt x="495620" y="237917"/>
                                  <a:pt x="495620" y="237917"/>
                                </a:cubicBezTo>
                                <a:cubicBezTo>
                                  <a:pt x="493349" y="237917"/>
                                  <a:pt x="493349" y="237917"/>
                                  <a:pt x="491078" y="237917"/>
                                </a:cubicBezTo>
                                <a:cubicBezTo>
                                  <a:pt x="495620" y="242475"/>
                                  <a:pt x="488808" y="251590"/>
                                  <a:pt x="486537" y="247032"/>
                                </a:cubicBezTo>
                                <a:cubicBezTo>
                                  <a:pt x="486537" y="249311"/>
                                  <a:pt x="488808" y="251590"/>
                                  <a:pt x="488808" y="253869"/>
                                </a:cubicBezTo>
                                <a:lnTo>
                                  <a:pt x="486368" y="257337"/>
                                </a:lnTo>
                                <a:lnTo>
                                  <a:pt x="489397" y="256079"/>
                                </a:lnTo>
                                <a:cubicBezTo>
                                  <a:pt x="489397" y="260577"/>
                                  <a:pt x="489397" y="265075"/>
                                  <a:pt x="491778" y="267324"/>
                                </a:cubicBezTo>
                                <a:cubicBezTo>
                                  <a:pt x="491778" y="271822"/>
                                  <a:pt x="489397" y="271822"/>
                                  <a:pt x="487015" y="274071"/>
                                </a:cubicBezTo>
                                <a:cubicBezTo>
                                  <a:pt x="485825" y="272946"/>
                                  <a:pt x="484634" y="267886"/>
                                  <a:pt x="484634" y="263388"/>
                                </a:cubicBezTo>
                                <a:lnTo>
                                  <a:pt x="485506" y="258562"/>
                                </a:lnTo>
                                <a:lnTo>
                                  <a:pt x="485402" y="258711"/>
                                </a:lnTo>
                                <a:cubicBezTo>
                                  <a:pt x="484834" y="261275"/>
                                  <a:pt x="484266" y="264124"/>
                                  <a:pt x="481995" y="265263"/>
                                </a:cubicBezTo>
                                <a:cubicBezTo>
                                  <a:pt x="475183" y="267542"/>
                                  <a:pt x="470641" y="269821"/>
                                  <a:pt x="466100" y="272100"/>
                                </a:cubicBezTo>
                                <a:cubicBezTo>
                                  <a:pt x="463829" y="272100"/>
                                  <a:pt x="452475" y="281215"/>
                                  <a:pt x="454746" y="276657"/>
                                </a:cubicBezTo>
                                <a:cubicBezTo>
                                  <a:pt x="454746" y="274378"/>
                                  <a:pt x="454746" y="272100"/>
                                  <a:pt x="454746" y="267542"/>
                                </a:cubicBezTo>
                                <a:cubicBezTo>
                                  <a:pt x="454746" y="265263"/>
                                  <a:pt x="452475" y="262984"/>
                                  <a:pt x="452475" y="258427"/>
                                </a:cubicBezTo>
                                <a:cubicBezTo>
                                  <a:pt x="447933" y="262984"/>
                                  <a:pt x="445663" y="260705"/>
                                  <a:pt x="447933" y="256148"/>
                                </a:cubicBezTo>
                                <a:cubicBezTo>
                                  <a:pt x="445663" y="258427"/>
                                  <a:pt x="443392" y="260705"/>
                                  <a:pt x="443392" y="253869"/>
                                </a:cubicBezTo>
                                <a:cubicBezTo>
                                  <a:pt x="443392" y="258427"/>
                                  <a:pt x="434309" y="265263"/>
                                  <a:pt x="432038" y="260705"/>
                                </a:cubicBezTo>
                                <a:cubicBezTo>
                                  <a:pt x="432038" y="258427"/>
                                  <a:pt x="434309" y="256148"/>
                                  <a:pt x="432038" y="256148"/>
                                </a:cubicBezTo>
                                <a:cubicBezTo>
                                  <a:pt x="429767" y="251590"/>
                                  <a:pt x="427496" y="258427"/>
                                  <a:pt x="425226" y="253869"/>
                                </a:cubicBezTo>
                                <a:cubicBezTo>
                                  <a:pt x="427496" y="258427"/>
                                  <a:pt x="420684" y="249311"/>
                                  <a:pt x="420684" y="247032"/>
                                </a:cubicBezTo>
                                <a:cubicBezTo>
                                  <a:pt x="420684" y="251590"/>
                                  <a:pt x="416143" y="256148"/>
                                  <a:pt x="411601" y="258427"/>
                                </a:cubicBezTo>
                                <a:cubicBezTo>
                                  <a:pt x="409330" y="260705"/>
                                  <a:pt x="404789" y="256148"/>
                                  <a:pt x="402518" y="258427"/>
                                </a:cubicBezTo>
                                <a:cubicBezTo>
                                  <a:pt x="400247" y="258427"/>
                                  <a:pt x="395705" y="267542"/>
                                  <a:pt x="393435" y="260705"/>
                                </a:cubicBezTo>
                                <a:cubicBezTo>
                                  <a:pt x="393435" y="256148"/>
                                  <a:pt x="395705" y="251590"/>
                                  <a:pt x="391164" y="244754"/>
                                </a:cubicBezTo>
                                <a:cubicBezTo>
                                  <a:pt x="388893" y="251590"/>
                                  <a:pt x="388893" y="249311"/>
                                  <a:pt x="384352" y="247032"/>
                                </a:cubicBezTo>
                                <a:cubicBezTo>
                                  <a:pt x="382081" y="247032"/>
                                  <a:pt x="379810" y="249311"/>
                                  <a:pt x="379810" y="251590"/>
                                </a:cubicBezTo>
                                <a:lnTo>
                                  <a:pt x="371552" y="249519"/>
                                </a:lnTo>
                                <a:lnTo>
                                  <a:pt x="375268" y="247032"/>
                                </a:lnTo>
                                <a:cubicBezTo>
                                  <a:pt x="372998" y="249311"/>
                                  <a:pt x="372998" y="249311"/>
                                  <a:pt x="370727" y="249311"/>
                                </a:cubicBezTo>
                                <a:lnTo>
                                  <a:pt x="371552" y="249519"/>
                                </a:lnTo>
                                <a:lnTo>
                                  <a:pt x="368456" y="251590"/>
                                </a:lnTo>
                                <a:cubicBezTo>
                                  <a:pt x="370727" y="244754"/>
                                  <a:pt x="363915" y="247032"/>
                                  <a:pt x="361644" y="249311"/>
                                </a:cubicBezTo>
                                <a:cubicBezTo>
                                  <a:pt x="357102" y="247032"/>
                                  <a:pt x="359373" y="240196"/>
                                  <a:pt x="359373" y="235638"/>
                                </a:cubicBezTo>
                                <a:cubicBezTo>
                                  <a:pt x="357102" y="233359"/>
                                  <a:pt x="359373" y="228802"/>
                                  <a:pt x="357102" y="226523"/>
                                </a:cubicBezTo>
                                <a:cubicBezTo>
                                  <a:pt x="357102" y="224244"/>
                                  <a:pt x="354831" y="221965"/>
                                  <a:pt x="354831" y="219687"/>
                                </a:cubicBezTo>
                                <a:cubicBezTo>
                                  <a:pt x="357102" y="215129"/>
                                  <a:pt x="357102" y="215129"/>
                                  <a:pt x="357102" y="215129"/>
                                </a:cubicBezTo>
                                <a:cubicBezTo>
                                  <a:pt x="357102" y="212850"/>
                                  <a:pt x="357102" y="210571"/>
                                  <a:pt x="357102" y="208292"/>
                                </a:cubicBezTo>
                                <a:cubicBezTo>
                                  <a:pt x="354831" y="206014"/>
                                  <a:pt x="354831" y="206014"/>
                                  <a:pt x="354831" y="203735"/>
                                </a:cubicBezTo>
                                <a:cubicBezTo>
                                  <a:pt x="352561" y="201456"/>
                                  <a:pt x="350290" y="201456"/>
                                  <a:pt x="350290" y="196898"/>
                                </a:cubicBezTo>
                                <a:cubicBezTo>
                                  <a:pt x="348019" y="199177"/>
                                  <a:pt x="348019" y="199177"/>
                                  <a:pt x="348019" y="199177"/>
                                </a:cubicBezTo>
                                <a:cubicBezTo>
                                  <a:pt x="345748" y="196898"/>
                                  <a:pt x="343477" y="199177"/>
                                  <a:pt x="341207" y="196898"/>
                                </a:cubicBezTo>
                                <a:cubicBezTo>
                                  <a:pt x="338936" y="196898"/>
                                  <a:pt x="341207" y="194619"/>
                                  <a:pt x="341207" y="194619"/>
                                </a:cubicBezTo>
                                <a:cubicBezTo>
                                  <a:pt x="341207" y="192341"/>
                                  <a:pt x="345748" y="194619"/>
                                  <a:pt x="345748" y="194619"/>
                                </a:cubicBezTo>
                                <a:cubicBezTo>
                                  <a:pt x="343477" y="192341"/>
                                  <a:pt x="343477" y="190062"/>
                                  <a:pt x="341207" y="190062"/>
                                </a:cubicBezTo>
                                <a:cubicBezTo>
                                  <a:pt x="341207" y="190062"/>
                                  <a:pt x="338936" y="190062"/>
                                  <a:pt x="336665" y="190062"/>
                                </a:cubicBezTo>
                                <a:cubicBezTo>
                                  <a:pt x="336665" y="187783"/>
                                  <a:pt x="336665" y="178668"/>
                                  <a:pt x="338936" y="180946"/>
                                </a:cubicBezTo>
                                <a:cubicBezTo>
                                  <a:pt x="338936" y="178668"/>
                                  <a:pt x="336665" y="176389"/>
                                  <a:pt x="338936" y="176389"/>
                                </a:cubicBezTo>
                                <a:cubicBezTo>
                                  <a:pt x="336665" y="171831"/>
                                  <a:pt x="334394" y="169552"/>
                                  <a:pt x="332124" y="164995"/>
                                </a:cubicBezTo>
                                <a:cubicBezTo>
                                  <a:pt x="332124" y="162716"/>
                                  <a:pt x="329853" y="155879"/>
                                  <a:pt x="332124" y="155879"/>
                                </a:cubicBezTo>
                                <a:cubicBezTo>
                                  <a:pt x="334394" y="153601"/>
                                  <a:pt x="332124" y="151322"/>
                                  <a:pt x="334394" y="149043"/>
                                </a:cubicBezTo>
                                <a:lnTo>
                                  <a:pt x="336990" y="145136"/>
                                </a:lnTo>
                                <a:lnTo>
                                  <a:pt x="336665" y="146764"/>
                                </a:lnTo>
                                <a:cubicBezTo>
                                  <a:pt x="336665" y="144485"/>
                                  <a:pt x="338936" y="144485"/>
                                  <a:pt x="338936" y="142206"/>
                                </a:cubicBezTo>
                                <a:lnTo>
                                  <a:pt x="336990" y="145136"/>
                                </a:lnTo>
                                <a:lnTo>
                                  <a:pt x="338936" y="135370"/>
                                </a:lnTo>
                                <a:cubicBezTo>
                                  <a:pt x="341207" y="135370"/>
                                  <a:pt x="341207" y="133091"/>
                                  <a:pt x="341207" y="130812"/>
                                </a:cubicBezTo>
                                <a:cubicBezTo>
                                  <a:pt x="343477" y="128533"/>
                                  <a:pt x="345748" y="128533"/>
                                  <a:pt x="348019" y="126255"/>
                                </a:cubicBezTo>
                                <a:cubicBezTo>
                                  <a:pt x="348019" y="128533"/>
                                  <a:pt x="343477" y="130812"/>
                                  <a:pt x="348019" y="133091"/>
                                </a:cubicBezTo>
                                <a:cubicBezTo>
                                  <a:pt x="348019" y="133091"/>
                                  <a:pt x="350290" y="139928"/>
                                  <a:pt x="350290" y="139928"/>
                                </a:cubicBezTo>
                                <a:cubicBezTo>
                                  <a:pt x="354831" y="144485"/>
                                  <a:pt x="359373" y="146764"/>
                                  <a:pt x="361644" y="151322"/>
                                </a:cubicBezTo>
                                <a:cubicBezTo>
                                  <a:pt x="361644" y="151322"/>
                                  <a:pt x="366185" y="153601"/>
                                  <a:pt x="368456" y="153601"/>
                                </a:cubicBezTo>
                                <a:cubicBezTo>
                                  <a:pt x="370727" y="155879"/>
                                  <a:pt x="375268" y="153601"/>
                                  <a:pt x="377539" y="151322"/>
                                </a:cubicBezTo>
                                <a:cubicBezTo>
                                  <a:pt x="384352" y="149043"/>
                                  <a:pt x="388893" y="151322"/>
                                  <a:pt x="393435" y="151322"/>
                                </a:cubicBezTo>
                                <a:cubicBezTo>
                                  <a:pt x="395705" y="151322"/>
                                  <a:pt x="397976" y="149043"/>
                                  <a:pt x="400247" y="149043"/>
                                </a:cubicBezTo>
                                <a:cubicBezTo>
                                  <a:pt x="402518" y="146764"/>
                                  <a:pt x="402518" y="142206"/>
                                  <a:pt x="404789" y="139928"/>
                                </a:cubicBezTo>
                                <a:cubicBezTo>
                                  <a:pt x="407059" y="137649"/>
                                  <a:pt x="418413" y="135370"/>
                                  <a:pt x="420684" y="139928"/>
                                </a:cubicBezTo>
                                <a:cubicBezTo>
                                  <a:pt x="422955" y="142206"/>
                                  <a:pt x="434309" y="146764"/>
                                  <a:pt x="436580" y="144485"/>
                                </a:cubicBezTo>
                                <a:cubicBezTo>
                                  <a:pt x="441121" y="142206"/>
                                  <a:pt x="441121" y="139928"/>
                                  <a:pt x="445663" y="142206"/>
                                </a:cubicBezTo>
                                <a:cubicBezTo>
                                  <a:pt x="447933" y="142206"/>
                                  <a:pt x="447933" y="139928"/>
                                  <a:pt x="450204" y="139928"/>
                                </a:cubicBezTo>
                                <a:cubicBezTo>
                                  <a:pt x="452475" y="139928"/>
                                  <a:pt x="452475" y="139928"/>
                                  <a:pt x="454746" y="139928"/>
                                </a:cubicBezTo>
                                <a:cubicBezTo>
                                  <a:pt x="454746" y="137649"/>
                                  <a:pt x="461558" y="128533"/>
                                  <a:pt x="459287" y="126255"/>
                                </a:cubicBezTo>
                                <a:cubicBezTo>
                                  <a:pt x="457017" y="121697"/>
                                  <a:pt x="463829" y="114860"/>
                                  <a:pt x="468371" y="114860"/>
                                </a:cubicBezTo>
                                <a:cubicBezTo>
                                  <a:pt x="466100" y="112582"/>
                                  <a:pt x="461558" y="103466"/>
                                  <a:pt x="468371" y="103466"/>
                                </a:cubicBezTo>
                                <a:cubicBezTo>
                                  <a:pt x="475183" y="101187"/>
                                  <a:pt x="470641" y="96630"/>
                                  <a:pt x="475183" y="92072"/>
                                </a:cubicBezTo>
                                <a:cubicBezTo>
                                  <a:pt x="477454" y="92072"/>
                                  <a:pt x="475183" y="85236"/>
                                  <a:pt x="475183" y="82957"/>
                                </a:cubicBezTo>
                                <a:cubicBezTo>
                                  <a:pt x="475183" y="80678"/>
                                  <a:pt x="475183" y="76120"/>
                                  <a:pt x="477454" y="73842"/>
                                </a:cubicBezTo>
                                <a:cubicBezTo>
                                  <a:pt x="477454" y="71563"/>
                                  <a:pt x="479724" y="71563"/>
                                  <a:pt x="479724" y="69284"/>
                                </a:cubicBezTo>
                                <a:close/>
                                <a:moveTo>
                                  <a:pt x="714425" y="66902"/>
                                </a:moveTo>
                                <a:cubicBezTo>
                                  <a:pt x="716806" y="64521"/>
                                  <a:pt x="716806" y="69284"/>
                                  <a:pt x="716806" y="69284"/>
                                </a:cubicBezTo>
                                <a:lnTo>
                                  <a:pt x="716126" y="72005"/>
                                </a:lnTo>
                                <a:close/>
                                <a:moveTo>
                                  <a:pt x="36304" y="39414"/>
                                </a:moveTo>
                                <a:cubicBezTo>
                                  <a:pt x="40848" y="37137"/>
                                  <a:pt x="47664" y="39414"/>
                                  <a:pt x="49936" y="43969"/>
                                </a:cubicBezTo>
                                <a:cubicBezTo>
                                  <a:pt x="52208" y="46246"/>
                                  <a:pt x="56752" y="48523"/>
                                  <a:pt x="61296" y="48523"/>
                                </a:cubicBezTo>
                                <a:cubicBezTo>
                                  <a:pt x="63568" y="48523"/>
                                  <a:pt x="68112" y="46246"/>
                                  <a:pt x="72656" y="46246"/>
                                </a:cubicBezTo>
                                <a:cubicBezTo>
                                  <a:pt x="74928" y="46246"/>
                                  <a:pt x="74928" y="48523"/>
                                  <a:pt x="77200" y="48523"/>
                                </a:cubicBezTo>
                                <a:cubicBezTo>
                                  <a:pt x="79472" y="50801"/>
                                  <a:pt x="81744" y="48523"/>
                                  <a:pt x="84016" y="48523"/>
                                </a:cubicBezTo>
                                <a:cubicBezTo>
                                  <a:pt x="86288" y="50801"/>
                                  <a:pt x="93104" y="55355"/>
                                  <a:pt x="95376" y="59910"/>
                                </a:cubicBezTo>
                                <a:cubicBezTo>
                                  <a:pt x="95376" y="64465"/>
                                  <a:pt x="97648" y="64465"/>
                                  <a:pt x="99920" y="66742"/>
                                </a:cubicBezTo>
                                <a:cubicBezTo>
                                  <a:pt x="102192" y="69019"/>
                                  <a:pt x="99920" y="73574"/>
                                  <a:pt x="102192" y="75851"/>
                                </a:cubicBezTo>
                                <a:cubicBezTo>
                                  <a:pt x="104464" y="78128"/>
                                  <a:pt x="109008" y="78128"/>
                                  <a:pt x="111280" y="80406"/>
                                </a:cubicBezTo>
                                <a:cubicBezTo>
                                  <a:pt x="111280" y="82683"/>
                                  <a:pt x="111280" y="84960"/>
                                  <a:pt x="113552" y="84960"/>
                                </a:cubicBezTo>
                                <a:cubicBezTo>
                                  <a:pt x="115825" y="84960"/>
                                  <a:pt x="115825" y="87238"/>
                                  <a:pt x="118097" y="87238"/>
                                </a:cubicBezTo>
                                <a:cubicBezTo>
                                  <a:pt x="122641" y="89515"/>
                                  <a:pt x="124913" y="94070"/>
                                  <a:pt x="129457" y="96347"/>
                                </a:cubicBezTo>
                                <a:cubicBezTo>
                                  <a:pt x="131729" y="98624"/>
                                  <a:pt x="134001" y="100902"/>
                                  <a:pt x="138545" y="103179"/>
                                </a:cubicBezTo>
                                <a:cubicBezTo>
                                  <a:pt x="140817" y="105456"/>
                                  <a:pt x="138545" y="110011"/>
                                  <a:pt x="140817" y="112288"/>
                                </a:cubicBezTo>
                                <a:cubicBezTo>
                                  <a:pt x="138545" y="105456"/>
                                  <a:pt x="143089" y="112288"/>
                                  <a:pt x="143089" y="114565"/>
                                </a:cubicBezTo>
                                <a:cubicBezTo>
                                  <a:pt x="143089" y="112288"/>
                                  <a:pt x="143089" y="112288"/>
                                  <a:pt x="143089" y="110011"/>
                                </a:cubicBezTo>
                                <a:cubicBezTo>
                                  <a:pt x="147633" y="112288"/>
                                  <a:pt x="147633" y="119120"/>
                                  <a:pt x="149905" y="121397"/>
                                </a:cubicBezTo>
                                <a:cubicBezTo>
                                  <a:pt x="152177" y="123675"/>
                                  <a:pt x="156721" y="123675"/>
                                  <a:pt x="156721" y="125952"/>
                                </a:cubicBezTo>
                                <a:cubicBezTo>
                                  <a:pt x="158993" y="128229"/>
                                  <a:pt x="158993" y="130507"/>
                                  <a:pt x="161265" y="130507"/>
                                </a:cubicBezTo>
                                <a:cubicBezTo>
                                  <a:pt x="158993" y="128229"/>
                                  <a:pt x="156721" y="123675"/>
                                  <a:pt x="156721" y="121397"/>
                                </a:cubicBezTo>
                                <a:cubicBezTo>
                                  <a:pt x="158993" y="116843"/>
                                  <a:pt x="165809" y="123675"/>
                                  <a:pt x="168081" y="125952"/>
                                </a:cubicBezTo>
                                <a:cubicBezTo>
                                  <a:pt x="170353" y="128229"/>
                                  <a:pt x="168081" y="132784"/>
                                  <a:pt x="172625" y="135061"/>
                                </a:cubicBezTo>
                                <a:cubicBezTo>
                                  <a:pt x="174897" y="135061"/>
                                  <a:pt x="177169" y="135061"/>
                                  <a:pt x="179441" y="135061"/>
                                </a:cubicBezTo>
                                <a:cubicBezTo>
                                  <a:pt x="179441" y="137338"/>
                                  <a:pt x="181713" y="139616"/>
                                  <a:pt x="183985" y="139616"/>
                                </a:cubicBezTo>
                                <a:cubicBezTo>
                                  <a:pt x="188529" y="144170"/>
                                  <a:pt x="186257" y="148725"/>
                                  <a:pt x="188529" y="153280"/>
                                </a:cubicBezTo>
                                <a:cubicBezTo>
                                  <a:pt x="190801" y="153280"/>
                                  <a:pt x="193073" y="157834"/>
                                  <a:pt x="195345" y="157834"/>
                                </a:cubicBezTo>
                                <a:cubicBezTo>
                                  <a:pt x="195345" y="157834"/>
                                  <a:pt x="197617" y="157834"/>
                                  <a:pt x="199889" y="157834"/>
                                </a:cubicBezTo>
                                <a:cubicBezTo>
                                  <a:pt x="213521" y="160112"/>
                                  <a:pt x="199889" y="173775"/>
                                  <a:pt x="193073" y="169221"/>
                                </a:cubicBezTo>
                                <a:cubicBezTo>
                                  <a:pt x="195345" y="173775"/>
                                  <a:pt x="204433" y="169221"/>
                                  <a:pt x="206705" y="166944"/>
                                </a:cubicBezTo>
                                <a:cubicBezTo>
                                  <a:pt x="211249" y="162389"/>
                                  <a:pt x="213521" y="162389"/>
                                  <a:pt x="218065" y="166944"/>
                                </a:cubicBezTo>
                                <a:cubicBezTo>
                                  <a:pt x="220337" y="169221"/>
                                  <a:pt x="224881" y="173775"/>
                                  <a:pt x="222609" y="176053"/>
                                </a:cubicBezTo>
                                <a:cubicBezTo>
                                  <a:pt x="222609" y="176053"/>
                                  <a:pt x="218065" y="176053"/>
                                  <a:pt x="218065" y="178330"/>
                                </a:cubicBezTo>
                                <a:cubicBezTo>
                                  <a:pt x="215793" y="180607"/>
                                  <a:pt x="213521" y="180607"/>
                                  <a:pt x="211249" y="182885"/>
                                </a:cubicBezTo>
                                <a:cubicBezTo>
                                  <a:pt x="213521" y="182885"/>
                                  <a:pt x="213521" y="182885"/>
                                  <a:pt x="215793" y="182885"/>
                                </a:cubicBezTo>
                                <a:cubicBezTo>
                                  <a:pt x="215793" y="182885"/>
                                  <a:pt x="213521" y="185162"/>
                                  <a:pt x="213521" y="185162"/>
                                </a:cubicBezTo>
                                <a:cubicBezTo>
                                  <a:pt x="213521" y="185162"/>
                                  <a:pt x="215793" y="185162"/>
                                  <a:pt x="218065" y="187439"/>
                                </a:cubicBezTo>
                                <a:cubicBezTo>
                                  <a:pt x="215793" y="189717"/>
                                  <a:pt x="213521" y="187439"/>
                                  <a:pt x="213521" y="187439"/>
                                </a:cubicBezTo>
                                <a:cubicBezTo>
                                  <a:pt x="213521" y="189717"/>
                                  <a:pt x="213521" y="194271"/>
                                  <a:pt x="215793" y="196549"/>
                                </a:cubicBezTo>
                                <a:cubicBezTo>
                                  <a:pt x="218065" y="198826"/>
                                  <a:pt x="220337" y="201103"/>
                                  <a:pt x="222609" y="201103"/>
                                </a:cubicBezTo>
                                <a:cubicBezTo>
                                  <a:pt x="224881" y="201103"/>
                                  <a:pt x="233969" y="201103"/>
                                  <a:pt x="233969" y="203380"/>
                                </a:cubicBezTo>
                                <a:cubicBezTo>
                                  <a:pt x="236241" y="207935"/>
                                  <a:pt x="236241" y="212490"/>
                                  <a:pt x="238514" y="219322"/>
                                </a:cubicBezTo>
                                <a:cubicBezTo>
                                  <a:pt x="238514" y="219322"/>
                                  <a:pt x="238514" y="223876"/>
                                  <a:pt x="240786" y="223876"/>
                                </a:cubicBezTo>
                                <a:cubicBezTo>
                                  <a:pt x="243058" y="226154"/>
                                  <a:pt x="245330" y="226154"/>
                                  <a:pt x="245330" y="228431"/>
                                </a:cubicBezTo>
                                <a:cubicBezTo>
                                  <a:pt x="245330" y="230708"/>
                                  <a:pt x="243058" y="232985"/>
                                  <a:pt x="238514" y="235263"/>
                                </a:cubicBezTo>
                                <a:cubicBezTo>
                                  <a:pt x="245330" y="235263"/>
                                  <a:pt x="238514" y="239817"/>
                                  <a:pt x="238514" y="242095"/>
                                </a:cubicBezTo>
                                <a:cubicBezTo>
                                  <a:pt x="243058" y="239817"/>
                                  <a:pt x="243058" y="235263"/>
                                  <a:pt x="245330" y="232985"/>
                                </a:cubicBezTo>
                                <a:cubicBezTo>
                                  <a:pt x="247602" y="230708"/>
                                  <a:pt x="258962" y="235263"/>
                                  <a:pt x="261234" y="235263"/>
                                </a:cubicBezTo>
                                <a:cubicBezTo>
                                  <a:pt x="258962" y="237540"/>
                                  <a:pt x="263506" y="244372"/>
                                  <a:pt x="265778" y="246649"/>
                                </a:cubicBezTo>
                                <a:cubicBezTo>
                                  <a:pt x="268050" y="248927"/>
                                  <a:pt x="270322" y="248927"/>
                                  <a:pt x="270322" y="251204"/>
                                </a:cubicBezTo>
                                <a:cubicBezTo>
                                  <a:pt x="270322" y="253481"/>
                                  <a:pt x="270322" y="255759"/>
                                  <a:pt x="268050" y="258036"/>
                                </a:cubicBezTo>
                                <a:cubicBezTo>
                                  <a:pt x="265778" y="260313"/>
                                  <a:pt x="265778" y="262591"/>
                                  <a:pt x="263506" y="264868"/>
                                </a:cubicBezTo>
                                <a:cubicBezTo>
                                  <a:pt x="263506" y="267145"/>
                                  <a:pt x="265778" y="267145"/>
                                  <a:pt x="265778" y="269422"/>
                                </a:cubicBezTo>
                                <a:cubicBezTo>
                                  <a:pt x="268050" y="271700"/>
                                  <a:pt x="265778" y="276254"/>
                                  <a:pt x="263506" y="278532"/>
                                </a:cubicBezTo>
                                <a:cubicBezTo>
                                  <a:pt x="263506" y="280809"/>
                                  <a:pt x="263506" y="283086"/>
                                  <a:pt x="265778" y="283086"/>
                                </a:cubicBezTo>
                                <a:cubicBezTo>
                                  <a:pt x="265778" y="287641"/>
                                  <a:pt x="263506" y="289918"/>
                                  <a:pt x="263506" y="294473"/>
                                </a:cubicBezTo>
                                <a:cubicBezTo>
                                  <a:pt x="263506" y="299027"/>
                                  <a:pt x="263506" y="303582"/>
                                  <a:pt x="263506" y="310414"/>
                                </a:cubicBezTo>
                                <a:cubicBezTo>
                                  <a:pt x="263506" y="310414"/>
                                  <a:pt x="263506" y="319523"/>
                                  <a:pt x="261234" y="319523"/>
                                </a:cubicBezTo>
                                <a:cubicBezTo>
                                  <a:pt x="256690" y="317246"/>
                                  <a:pt x="254418" y="312691"/>
                                  <a:pt x="249874" y="310414"/>
                                </a:cubicBezTo>
                                <a:cubicBezTo>
                                  <a:pt x="249874" y="317246"/>
                                  <a:pt x="245330" y="317246"/>
                                  <a:pt x="240786" y="312691"/>
                                </a:cubicBezTo>
                                <a:cubicBezTo>
                                  <a:pt x="240786" y="312691"/>
                                  <a:pt x="233969" y="308137"/>
                                  <a:pt x="233969" y="312691"/>
                                </a:cubicBezTo>
                                <a:cubicBezTo>
                                  <a:pt x="233969" y="314969"/>
                                  <a:pt x="238514" y="317246"/>
                                  <a:pt x="238514" y="319523"/>
                                </a:cubicBezTo>
                                <a:cubicBezTo>
                                  <a:pt x="238514" y="324078"/>
                                  <a:pt x="231697" y="314969"/>
                                  <a:pt x="229425" y="314969"/>
                                </a:cubicBezTo>
                                <a:cubicBezTo>
                                  <a:pt x="229425" y="312691"/>
                                  <a:pt x="229425" y="312691"/>
                                  <a:pt x="229425" y="312691"/>
                                </a:cubicBezTo>
                                <a:cubicBezTo>
                                  <a:pt x="227153" y="310414"/>
                                  <a:pt x="227153" y="310414"/>
                                  <a:pt x="224881" y="308137"/>
                                </a:cubicBezTo>
                                <a:cubicBezTo>
                                  <a:pt x="224881" y="305859"/>
                                  <a:pt x="222609" y="305859"/>
                                  <a:pt x="222609" y="303582"/>
                                </a:cubicBezTo>
                                <a:cubicBezTo>
                                  <a:pt x="220337" y="299027"/>
                                  <a:pt x="218065" y="299027"/>
                                  <a:pt x="215793" y="296750"/>
                                </a:cubicBezTo>
                                <a:cubicBezTo>
                                  <a:pt x="211249" y="294473"/>
                                  <a:pt x="206705" y="289918"/>
                                  <a:pt x="204433" y="287641"/>
                                </a:cubicBezTo>
                                <a:cubicBezTo>
                                  <a:pt x="199889" y="283086"/>
                                  <a:pt x="197617" y="280809"/>
                                  <a:pt x="193073" y="276254"/>
                                </a:cubicBezTo>
                                <a:cubicBezTo>
                                  <a:pt x="188529" y="273977"/>
                                  <a:pt x="188529" y="271700"/>
                                  <a:pt x="186257" y="267145"/>
                                </a:cubicBezTo>
                                <a:cubicBezTo>
                                  <a:pt x="183985" y="262591"/>
                                  <a:pt x="179441" y="260313"/>
                                  <a:pt x="177169" y="255759"/>
                                </a:cubicBezTo>
                                <a:cubicBezTo>
                                  <a:pt x="172625" y="253481"/>
                                  <a:pt x="172625" y="248927"/>
                                  <a:pt x="170353" y="246649"/>
                                </a:cubicBezTo>
                                <a:cubicBezTo>
                                  <a:pt x="168081" y="242095"/>
                                  <a:pt x="163537" y="239817"/>
                                  <a:pt x="161265" y="237540"/>
                                </a:cubicBezTo>
                                <a:cubicBezTo>
                                  <a:pt x="158993" y="232985"/>
                                  <a:pt x="158993" y="230708"/>
                                  <a:pt x="158993" y="223876"/>
                                </a:cubicBezTo>
                                <a:cubicBezTo>
                                  <a:pt x="158993" y="219322"/>
                                  <a:pt x="154449" y="214767"/>
                                  <a:pt x="152177" y="210212"/>
                                </a:cubicBezTo>
                                <a:cubicBezTo>
                                  <a:pt x="149905" y="207935"/>
                                  <a:pt x="149905" y="205658"/>
                                  <a:pt x="147633" y="203380"/>
                                </a:cubicBezTo>
                                <a:cubicBezTo>
                                  <a:pt x="147633" y="203380"/>
                                  <a:pt x="149905" y="203380"/>
                                  <a:pt x="149905" y="201103"/>
                                </a:cubicBezTo>
                                <a:cubicBezTo>
                                  <a:pt x="147633" y="194271"/>
                                  <a:pt x="136273" y="187439"/>
                                  <a:pt x="136273" y="180607"/>
                                </a:cubicBezTo>
                                <a:cubicBezTo>
                                  <a:pt x="134001" y="173775"/>
                                  <a:pt x="129457" y="176053"/>
                                  <a:pt x="127185" y="171498"/>
                                </a:cubicBezTo>
                                <a:cubicBezTo>
                                  <a:pt x="124913" y="169221"/>
                                  <a:pt x="120369" y="171498"/>
                                  <a:pt x="122641" y="166944"/>
                                </a:cubicBezTo>
                                <a:cubicBezTo>
                                  <a:pt x="122641" y="162389"/>
                                  <a:pt x="118097" y="157834"/>
                                  <a:pt x="118097" y="153280"/>
                                </a:cubicBezTo>
                                <a:cubicBezTo>
                                  <a:pt x="115825" y="148725"/>
                                  <a:pt x="115825" y="144170"/>
                                  <a:pt x="113552" y="139616"/>
                                </a:cubicBezTo>
                                <a:cubicBezTo>
                                  <a:pt x="113552" y="137338"/>
                                  <a:pt x="115825" y="137338"/>
                                  <a:pt x="113552" y="132784"/>
                                </a:cubicBezTo>
                                <a:cubicBezTo>
                                  <a:pt x="111280" y="130507"/>
                                  <a:pt x="106736" y="128229"/>
                                  <a:pt x="104464" y="128229"/>
                                </a:cubicBezTo>
                                <a:cubicBezTo>
                                  <a:pt x="102192" y="125952"/>
                                  <a:pt x="99920" y="123675"/>
                                  <a:pt x="99920" y="123675"/>
                                </a:cubicBezTo>
                                <a:cubicBezTo>
                                  <a:pt x="95376" y="119120"/>
                                  <a:pt x="90832" y="121397"/>
                                  <a:pt x="90832" y="116843"/>
                                </a:cubicBezTo>
                                <a:cubicBezTo>
                                  <a:pt x="88560" y="112288"/>
                                  <a:pt x="90832" y="107733"/>
                                  <a:pt x="86288" y="105456"/>
                                </a:cubicBezTo>
                                <a:cubicBezTo>
                                  <a:pt x="81744" y="103179"/>
                                  <a:pt x="79472" y="96347"/>
                                  <a:pt x="77200" y="94070"/>
                                </a:cubicBezTo>
                                <a:cubicBezTo>
                                  <a:pt x="74928" y="89515"/>
                                  <a:pt x="72656" y="84960"/>
                                  <a:pt x="68112" y="84960"/>
                                </a:cubicBezTo>
                                <a:cubicBezTo>
                                  <a:pt x="65840" y="82683"/>
                                  <a:pt x="63568" y="82683"/>
                                  <a:pt x="61296" y="80406"/>
                                </a:cubicBezTo>
                                <a:cubicBezTo>
                                  <a:pt x="56752" y="73574"/>
                                  <a:pt x="22672" y="48523"/>
                                  <a:pt x="36304" y="39414"/>
                                </a:cubicBezTo>
                                <a:close/>
                                <a:moveTo>
                                  <a:pt x="34578" y="32374"/>
                                </a:moveTo>
                                <a:cubicBezTo>
                                  <a:pt x="36364" y="29993"/>
                                  <a:pt x="38150" y="34756"/>
                                  <a:pt x="36364" y="34756"/>
                                </a:cubicBezTo>
                                <a:cubicBezTo>
                                  <a:pt x="36364" y="34756"/>
                                  <a:pt x="36364" y="34756"/>
                                  <a:pt x="34578" y="32374"/>
                                </a:cubicBezTo>
                                <a:close/>
                                <a:moveTo>
                                  <a:pt x="4813" y="1021"/>
                                </a:moveTo>
                                <a:cubicBezTo>
                                  <a:pt x="4813" y="5386"/>
                                  <a:pt x="7194" y="5386"/>
                                  <a:pt x="4813" y="9752"/>
                                </a:cubicBezTo>
                                <a:cubicBezTo>
                                  <a:pt x="2431" y="7569"/>
                                  <a:pt x="-4712" y="-3345"/>
                                  <a:pt x="4813" y="1021"/>
                                </a:cubicBezTo>
                                <a:close/>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224" name="East Timor">
                            <a:extLst>
                              <a:ext uri="{FF2B5EF4-FFF2-40B4-BE49-F238E27FC236}">
                                <a16:creationId xmlns:a16="http://schemas.microsoft.com/office/drawing/2014/main" id="{6B0802A7-D359-132E-AA64-83F11C7C5642}"/>
                              </a:ext>
                            </a:extLst>
                          </p:cNvPr>
                          <p:cNvSpPr>
                            <a:spLocks/>
                          </p:cNvSpPr>
                          <p:nvPr/>
                        </p:nvSpPr>
                        <p:spPr bwMode="auto">
                          <a:xfrm>
                            <a:off x="6529194" y="3552318"/>
                            <a:ext cx="54602" cy="30334"/>
                          </a:xfrm>
                          <a:custGeom>
                            <a:avLst/>
                            <a:gdLst/>
                            <a:ahLst/>
                            <a:cxnLst>
                              <a:cxn ang="0">
                                <a:pos x="1" y="10"/>
                              </a:cxn>
                              <a:cxn ang="0">
                                <a:pos x="4" y="10"/>
                              </a:cxn>
                              <a:cxn ang="0">
                                <a:pos x="11" y="8"/>
                              </a:cxn>
                              <a:cxn ang="0">
                                <a:pos x="22" y="2"/>
                              </a:cxn>
                              <a:cxn ang="0">
                                <a:pos x="19" y="1"/>
                              </a:cxn>
                              <a:cxn ang="0">
                                <a:pos x="13" y="2"/>
                              </a:cxn>
                              <a:cxn ang="0">
                                <a:pos x="6" y="3"/>
                              </a:cxn>
                              <a:cxn ang="0">
                                <a:pos x="3" y="4"/>
                              </a:cxn>
                              <a:cxn ang="0">
                                <a:pos x="0" y="7"/>
                              </a:cxn>
                              <a:cxn ang="0">
                                <a:pos x="1" y="10"/>
                              </a:cxn>
                            </a:cxnLst>
                            <a:rect l="0" t="0" r="r" b="b"/>
                            <a:pathLst>
                              <a:path w="24" h="13">
                                <a:moveTo>
                                  <a:pt x="1" y="10"/>
                                </a:moveTo>
                                <a:cubicBezTo>
                                  <a:pt x="1" y="13"/>
                                  <a:pt x="2" y="12"/>
                                  <a:pt x="4" y="10"/>
                                </a:cubicBezTo>
                                <a:cubicBezTo>
                                  <a:pt x="6" y="9"/>
                                  <a:pt x="9" y="9"/>
                                  <a:pt x="11" y="8"/>
                                </a:cubicBezTo>
                                <a:cubicBezTo>
                                  <a:pt x="15" y="6"/>
                                  <a:pt x="20" y="5"/>
                                  <a:pt x="22" y="2"/>
                                </a:cubicBezTo>
                                <a:cubicBezTo>
                                  <a:pt x="24" y="0"/>
                                  <a:pt x="20" y="0"/>
                                  <a:pt x="19" y="1"/>
                                </a:cubicBezTo>
                                <a:cubicBezTo>
                                  <a:pt x="17" y="1"/>
                                  <a:pt x="15" y="2"/>
                                  <a:pt x="13" y="2"/>
                                </a:cubicBezTo>
                                <a:cubicBezTo>
                                  <a:pt x="10" y="2"/>
                                  <a:pt x="8" y="2"/>
                                  <a:pt x="6" y="3"/>
                                </a:cubicBezTo>
                                <a:cubicBezTo>
                                  <a:pt x="5" y="3"/>
                                  <a:pt x="3" y="3"/>
                                  <a:pt x="3" y="4"/>
                                </a:cubicBezTo>
                                <a:cubicBezTo>
                                  <a:pt x="2" y="4"/>
                                  <a:pt x="1" y="6"/>
                                  <a:pt x="0" y="7"/>
                                </a:cubicBezTo>
                                <a:cubicBezTo>
                                  <a:pt x="2" y="8"/>
                                  <a:pt x="2" y="8"/>
                                  <a:pt x="1" y="10"/>
                                </a:cubicBezTo>
                                <a:close/>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225" name="Cambodia">
                            <a:extLst>
                              <a:ext uri="{FF2B5EF4-FFF2-40B4-BE49-F238E27FC236}">
                                <a16:creationId xmlns:a16="http://schemas.microsoft.com/office/drawing/2014/main" id="{9659F2DB-DC17-542D-2A8E-872F24FEE220}"/>
                              </a:ext>
                            </a:extLst>
                          </p:cNvPr>
                          <p:cNvSpPr>
                            <a:spLocks/>
                          </p:cNvSpPr>
                          <p:nvPr/>
                        </p:nvSpPr>
                        <p:spPr bwMode="auto">
                          <a:xfrm>
                            <a:off x="6025660" y="2979624"/>
                            <a:ext cx="115851" cy="117694"/>
                          </a:xfrm>
                          <a:custGeom>
                            <a:avLst/>
                            <a:gdLst>
                              <a:gd name="connsiteX0" fmla="*/ 41275 w 113682"/>
                              <a:gd name="connsiteY0" fmla="*/ 104775 h 115491"/>
                              <a:gd name="connsiteX1" fmla="*/ 43260 w 113682"/>
                              <a:gd name="connsiteY1" fmla="*/ 115491 h 115491"/>
                              <a:gd name="connsiteX2" fmla="*/ 39290 w 113682"/>
                              <a:gd name="connsiteY2" fmla="*/ 106918 h 115491"/>
                              <a:gd name="connsiteX3" fmla="*/ 41275 w 113682"/>
                              <a:gd name="connsiteY3" fmla="*/ 104775 h 115491"/>
                              <a:gd name="connsiteX4" fmla="*/ 2381 w 113682"/>
                              <a:gd name="connsiteY4" fmla="*/ 63103 h 115491"/>
                              <a:gd name="connsiteX5" fmla="*/ 4762 w 113682"/>
                              <a:gd name="connsiteY5" fmla="*/ 65484 h 115491"/>
                              <a:gd name="connsiteX6" fmla="*/ 2381 w 113682"/>
                              <a:gd name="connsiteY6" fmla="*/ 65484 h 115491"/>
                              <a:gd name="connsiteX7" fmla="*/ 2381 w 113682"/>
                              <a:gd name="connsiteY7" fmla="*/ 63103 h 115491"/>
                              <a:gd name="connsiteX8" fmla="*/ 108698 w 113682"/>
                              <a:gd name="connsiteY8" fmla="*/ 0 h 115491"/>
                              <a:gd name="connsiteX9" fmla="*/ 106433 w 113682"/>
                              <a:gd name="connsiteY9" fmla="*/ 4556 h 115491"/>
                              <a:gd name="connsiteX10" fmla="*/ 104169 w 113682"/>
                              <a:gd name="connsiteY10" fmla="*/ 11389 h 115491"/>
                              <a:gd name="connsiteX11" fmla="*/ 106433 w 113682"/>
                              <a:gd name="connsiteY11" fmla="*/ 15944 h 115491"/>
                              <a:gd name="connsiteX12" fmla="*/ 108698 w 113682"/>
                              <a:gd name="connsiteY12" fmla="*/ 22777 h 115491"/>
                              <a:gd name="connsiteX13" fmla="*/ 110962 w 113682"/>
                              <a:gd name="connsiteY13" fmla="*/ 36444 h 115491"/>
                              <a:gd name="connsiteX14" fmla="*/ 110962 w 113682"/>
                              <a:gd name="connsiteY14" fmla="*/ 43277 h 115491"/>
                              <a:gd name="connsiteX15" fmla="*/ 113227 w 113682"/>
                              <a:gd name="connsiteY15" fmla="*/ 50110 h 115491"/>
                              <a:gd name="connsiteX16" fmla="*/ 106433 w 113682"/>
                              <a:gd name="connsiteY16" fmla="*/ 59221 h 115491"/>
                              <a:gd name="connsiteX17" fmla="*/ 99640 w 113682"/>
                              <a:gd name="connsiteY17" fmla="*/ 63776 h 115491"/>
                              <a:gd name="connsiteX18" fmla="*/ 90581 w 113682"/>
                              <a:gd name="connsiteY18" fmla="*/ 68332 h 115491"/>
                              <a:gd name="connsiteX19" fmla="*/ 90581 w 113682"/>
                              <a:gd name="connsiteY19" fmla="*/ 75165 h 115491"/>
                              <a:gd name="connsiteX20" fmla="*/ 81523 w 113682"/>
                              <a:gd name="connsiteY20" fmla="*/ 72887 h 115491"/>
                              <a:gd name="connsiteX21" fmla="*/ 79259 w 113682"/>
                              <a:gd name="connsiteY21" fmla="*/ 77443 h 115491"/>
                              <a:gd name="connsiteX22" fmla="*/ 81523 w 113682"/>
                              <a:gd name="connsiteY22" fmla="*/ 84276 h 115491"/>
                              <a:gd name="connsiteX23" fmla="*/ 88317 w 113682"/>
                              <a:gd name="connsiteY23" fmla="*/ 91109 h 115491"/>
                              <a:gd name="connsiteX24" fmla="*/ 88317 w 113682"/>
                              <a:gd name="connsiteY24" fmla="*/ 95664 h 115491"/>
                              <a:gd name="connsiteX25" fmla="*/ 81523 w 113682"/>
                              <a:gd name="connsiteY25" fmla="*/ 93387 h 115491"/>
                              <a:gd name="connsiteX26" fmla="*/ 76994 w 113682"/>
                              <a:gd name="connsiteY26" fmla="*/ 91109 h 115491"/>
                              <a:gd name="connsiteX27" fmla="*/ 63407 w 113682"/>
                              <a:gd name="connsiteY27" fmla="*/ 91109 h 115491"/>
                              <a:gd name="connsiteX28" fmla="*/ 61143 w 113682"/>
                              <a:gd name="connsiteY28" fmla="*/ 100220 h 115491"/>
                              <a:gd name="connsiteX29" fmla="*/ 54349 w 113682"/>
                              <a:gd name="connsiteY29" fmla="*/ 102497 h 115491"/>
                              <a:gd name="connsiteX30" fmla="*/ 47555 w 113682"/>
                              <a:gd name="connsiteY30" fmla="*/ 104775 h 115491"/>
                              <a:gd name="connsiteX31" fmla="*/ 38497 w 113682"/>
                              <a:gd name="connsiteY31" fmla="*/ 97942 h 115491"/>
                              <a:gd name="connsiteX32" fmla="*/ 31704 w 113682"/>
                              <a:gd name="connsiteY32" fmla="*/ 102497 h 115491"/>
                              <a:gd name="connsiteX33" fmla="*/ 33968 w 113682"/>
                              <a:gd name="connsiteY33" fmla="*/ 97942 h 115491"/>
                              <a:gd name="connsiteX34" fmla="*/ 31704 w 113682"/>
                              <a:gd name="connsiteY34" fmla="*/ 88831 h 115491"/>
                              <a:gd name="connsiteX35" fmla="*/ 27175 w 113682"/>
                              <a:gd name="connsiteY35" fmla="*/ 93387 h 115491"/>
                              <a:gd name="connsiteX36" fmla="*/ 22646 w 113682"/>
                              <a:gd name="connsiteY36" fmla="*/ 93387 h 115491"/>
                              <a:gd name="connsiteX37" fmla="*/ 20381 w 113682"/>
                              <a:gd name="connsiteY37" fmla="*/ 86553 h 115491"/>
                              <a:gd name="connsiteX38" fmla="*/ 20381 w 113682"/>
                              <a:gd name="connsiteY38" fmla="*/ 79720 h 115491"/>
                              <a:gd name="connsiteX39" fmla="*/ 18116 w 113682"/>
                              <a:gd name="connsiteY39" fmla="*/ 72887 h 115491"/>
                              <a:gd name="connsiteX40" fmla="*/ 15852 w 113682"/>
                              <a:gd name="connsiteY40" fmla="*/ 75165 h 115491"/>
                              <a:gd name="connsiteX41" fmla="*/ 11323 w 113682"/>
                              <a:gd name="connsiteY41" fmla="*/ 66054 h 115491"/>
                              <a:gd name="connsiteX42" fmla="*/ 11323 w 113682"/>
                              <a:gd name="connsiteY42" fmla="*/ 54665 h 115491"/>
                              <a:gd name="connsiteX43" fmla="*/ 0 w 113682"/>
                              <a:gd name="connsiteY43" fmla="*/ 34166 h 115491"/>
                              <a:gd name="connsiteX44" fmla="*/ 0 w 113682"/>
                              <a:gd name="connsiteY44" fmla="*/ 27333 h 115491"/>
                              <a:gd name="connsiteX45" fmla="*/ 11323 w 113682"/>
                              <a:gd name="connsiteY45" fmla="*/ 13666 h 115491"/>
                              <a:gd name="connsiteX46" fmla="*/ 29439 w 113682"/>
                              <a:gd name="connsiteY46" fmla="*/ 6833 h 115491"/>
                              <a:gd name="connsiteX47" fmla="*/ 36233 w 113682"/>
                              <a:gd name="connsiteY47" fmla="*/ 6833 h 115491"/>
                              <a:gd name="connsiteX48" fmla="*/ 47555 w 113682"/>
                              <a:gd name="connsiteY48" fmla="*/ 6833 h 115491"/>
                              <a:gd name="connsiteX49" fmla="*/ 58878 w 113682"/>
                              <a:gd name="connsiteY49" fmla="*/ 9111 h 115491"/>
                              <a:gd name="connsiteX50" fmla="*/ 72465 w 113682"/>
                              <a:gd name="connsiteY50" fmla="*/ 18222 h 115491"/>
                              <a:gd name="connsiteX51" fmla="*/ 79259 w 113682"/>
                              <a:gd name="connsiteY51" fmla="*/ 15944 h 115491"/>
                              <a:gd name="connsiteX52" fmla="*/ 76994 w 113682"/>
                              <a:gd name="connsiteY52" fmla="*/ 9111 h 115491"/>
                              <a:gd name="connsiteX53" fmla="*/ 79259 w 113682"/>
                              <a:gd name="connsiteY53" fmla="*/ 6833 h 115491"/>
                              <a:gd name="connsiteX54" fmla="*/ 83788 w 113682"/>
                              <a:gd name="connsiteY54" fmla="*/ 6833 h 115491"/>
                              <a:gd name="connsiteX55" fmla="*/ 86052 w 113682"/>
                              <a:gd name="connsiteY55" fmla="*/ 4556 h 115491"/>
                              <a:gd name="connsiteX56" fmla="*/ 90581 w 113682"/>
                              <a:gd name="connsiteY56" fmla="*/ 6833 h 115491"/>
                              <a:gd name="connsiteX57" fmla="*/ 108698 w 113682"/>
                              <a:gd name="connsiteY57" fmla="*/ 0 h 115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13682" h="115491">
                                <a:moveTo>
                                  <a:pt x="41275" y="104775"/>
                                </a:moveTo>
                                <a:cubicBezTo>
                                  <a:pt x="45244" y="106918"/>
                                  <a:pt x="43260" y="111205"/>
                                  <a:pt x="43260" y="115491"/>
                                </a:cubicBezTo>
                                <a:cubicBezTo>
                                  <a:pt x="41275" y="111205"/>
                                  <a:pt x="41275" y="109062"/>
                                  <a:pt x="39290" y="106918"/>
                                </a:cubicBezTo>
                                <a:cubicBezTo>
                                  <a:pt x="41275" y="106918"/>
                                  <a:pt x="41275" y="106918"/>
                                  <a:pt x="41275" y="104775"/>
                                </a:cubicBezTo>
                                <a:close/>
                                <a:moveTo>
                                  <a:pt x="2381" y="63103"/>
                                </a:moveTo>
                                <a:cubicBezTo>
                                  <a:pt x="2381" y="63103"/>
                                  <a:pt x="4762" y="65484"/>
                                  <a:pt x="4762" y="65484"/>
                                </a:cubicBezTo>
                                <a:cubicBezTo>
                                  <a:pt x="4762" y="65484"/>
                                  <a:pt x="4762" y="65484"/>
                                  <a:pt x="2381" y="65484"/>
                                </a:cubicBezTo>
                                <a:cubicBezTo>
                                  <a:pt x="2381" y="65484"/>
                                  <a:pt x="2381" y="63103"/>
                                  <a:pt x="2381" y="63103"/>
                                </a:cubicBezTo>
                                <a:close/>
                                <a:moveTo>
                                  <a:pt x="108698" y="0"/>
                                </a:moveTo>
                                <a:cubicBezTo>
                                  <a:pt x="108698" y="2278"/>
                                  <a:pt x="108698" y="4556"/>
                                  <a:pt x="106433" y="4556"/>
                                </a:cubicBezTo>
                                <a:cubicBezTo>
                                  <a:pt x="106433" y="6833"/>
                                  <a:pt x="104169" y="9111"/>
                                  <a:pt x="104169" y="11389"/>
                                </a:cubicBezTo>
                                <a:cubicBezTo>
                                  <a:pt x="106433" y="13666"/>
                                  <a:pt x="104169" y="13666"/>
                                  <a:pt x="106433" y="15944"/>
                                </a:cubicBezTo>
                                <a:cubicBezTo>
                                  <a:pt x="108698" y="18222"/>
                                  <a:pt x="108698" y="20500"/>
                                  <a:pt x="108698" y="22777"/>
                                </a:cubicBezTo>
                                <a:cubicBezTo>
                                  <a:pt x="108698" y="27333"/>
                                  <a:pt x="113227" y="29610"/>
                                  <a:pt x="110962" y="36444"/>
                                </a:cubicBezTo>
                                <a:cubicBezTo>
                                  <a:pt x="110962" y="38721"/>
                                  <a:pt x="110962" y="40999"/>
                                  <a:pt x="110962" y="43277"/>
                                </a:cubicBezTo>
                                <a:cubicBezTo>
                                  <a:pt x="113227" y="45554"/>
                                  <a:pt x="113227" y="47832"/>
                                  <a:pt x="113227" y="50110"/>
                                </a:cubicBezTo>
                                <a:cubicBezTo>
                                  <a:pt x="115491" y="61498"/>
                                  <a:pt x="108698" y="59221"/>
                                  <a:pt x="106433" y="59221"/>
                                </a:cubicBezTo>
                                <a:cubicBezTo>
                                  <a:pt x="104169" y="61498"/>
                                  <a:pt x="101904" y="63776"/>
                                  <a:pt x="99640" y="63776"/>
                                </a:cubicBezTo>
                                <a:cubicBezTo>
                                  <a:pt x="95110" y="68332"/>
                                  <a:pt x="95110" y="68332"/>
                                  <a:pt x="90581" y="68332"/>
                                </a:cubicBezTo>
                                <a:cubicBezTo>
                                  <a:pt x="92846" y="70609"/>
                                  <a:pt x="90581" y="72887"/>
                                  <a:pt x="90581" y="75165"/>
                                </a:cubicBezTo>
                                <a:cubicBezTo>
                                  <a:pt x="88317" y="75165"/>
                                  <a:pt x="83788" y="70609"/>
                                  <a:pt x="81523" y="72887"/>
                                </a:cubicBezTo>
                                <a:cubicBezTo>
                                  <a:pt x="79259" y="75165"/>
                                  <a:pt x="76994" y="75165"/>
                                  <a:pt x="79259" y="77443"/>
                                </a:cubicBezTo>
                                <a:cubicBezTo>
                                  <a:pt x="79259" y="79720"/>
                                  <a:pt x="79259" y="81998"/>
                                  <a:pt x="81523" y="84276"/>
                                </a:cubicBezTo>
                                <a:cubicBezTo>
                                  <a:pt x="81523" y="88831"/>
                                  <a:pt x="86052" y="88831"/>
                                  <a:pt x="88317" y="91109"/>
                                </a:cubicBezTo>
                                <a:cubicBezTo>
                                  <a:pt x="86052" y="91109"/>
                                  <a:pt x="88317" y="93387"/>
                                  <a:pt x="88317" y="95664"/>
                                </a:cubicBezTo>
                                <a:cubicBezTo>
                                  <a:pt x="86052" y="95664"/>
                                  <a:pt x="83788" y="95664"/>
                                  <a:pt x="81523" y="93387"/>
                                </a:cubicBezTo>
                                <a:cubicBezTo>
                                  <a:pt x="79259" y="93387"/>
                                  <a:pt x="79259" y="91109"/>
                                  <a:pt x="76994" y="91109"/>
                                </a:cubicBezTo>
                                <a:cubicBezTo>
                                  <a:pt x="72465" y="91109"/>
                                  <a:pt x="67936" y="95664"/>
                                  <a:pt x="63407" y="91109"/>
                                </a:cubicBezTo>
                                <a:cubicBezTo>
                                  <a:pt x="61143" y="93387"/>
                                  <a:pt x="63407" y="97942"/>
                                  <a:pt x="61143" y="100220"/>
                                </a:cubicBezTo>
                                <a:cubicBezTo>
                                  <a:pt x="58878" y="102497"/>
                                  <a:pt x="56613" y="102497"/>
                                  <a:pt x="54349" y="102497"/>
                                </a:cubicBezTo>
                                <a:cubicBezTo>
                                  <a:pt x="52084" y="102497"/>
                                  <a:pt x="49820" y="104775"/>
                                  <a:pt x="47555" y="104775"/>
                                </a:cubicBezTo>
                                <a:cubicBezTo>
                                  <a:pt x="45291" y="102497"/>
                                  <a:pt x="38497" y="102497"/>
                                  <a:pt x="38497" y="97942"/>
                                </a:cubicBezTo>
                                <a:cubicBezTo>
                                  <a:pt x="38497" y="102497"/>
                                  <a:pt x="33968" y="104775"/>
                                  <a:pt x="31704" y="102497"/>
                                </a:cubicBezTo>
                                <a:cubicBezTo>
                                  <a:pt x="29439" y="100220"/>
                                  <a:pt x="31704" y="97942"/>
                                  <a:pt x="33968" y="97942"/>
                                </a:cubicBezTo>
                                <a:cubicBezTo>
                                  <a:pt x="36233" y="95664"/>
                                  <a:pt x="33968" y="88831"/>
                                  <a:pt x="31704" y="88831"/>
                                </a:cubicBezTo>
                                <a:cubicBezTo>
                                  <a:pt x="29439" y="84276"/>
                                  <a:pt x="27175" y="91109"/>
                                  <a:pt x="27175" y="93387"/>
                                </a:cubicBezTo>
                                <a:cubicBezTo>
                                  <a:pt x="24910" y="91109"/>
                                  <a:pt x="24910" y="95664"/>
                                  <a:pt x="22646" y="93387"/>
                                </a:cubicBezTo>
                                <a:cubicBezTo>
                                  <a:pt x="20381" y="93387"/>
                                  <a:pt x="20381" y="88831"/>
                                  <a:pt x="20381" y="86553"/>
                                </a:cubicBezTo>
                                <a:cubicBezTo>
                                  <a:pt x="20381" y="84276"/>
                                  <a:pt x="22646" y="79720"/>
                                  <a:pt x="20381" y="79720"/>
                                </a:cubicBezTo>
                                <a:cubicBezTo>
                                  <a:pt x="18116" y="77443"/>
                                  <a:pt x="15852" y="75165"/>
                                  <a:pt x="18116" y="72887"/>
                                </a:cubicBezTo>
                                <a:cubicBezTo>
                                  <a:pt x="18116" y="72887"/>
                                  <a:pt x="15852" y="72887"/>
                                  <a:pt x="15852" y="75165"/>
                                </a:cubicBezTo>
                                <a:cubicBezTo>
                                  <a:pt x="15852" y="72887"/>
                                  <a:pt x="13587" y="68332"/>
                                  <a:pt x="11323" y="66054"/>
                                </a:cubicBezTo>
                                <a:cubicBezTo>
                                  <a:pt x="11323" y="61498"/>
                                  <a:pt x="13587" y="56943"/>
                                  <a:pt x="11323" y="54665"/>
                                </a:cubicBezTo>
                                <a:cubicBezTo>
                                  <a:pt x="6794" y="47832"/>
                                  <a:pt x="2265" y="43277"/>
                                  <a:pt x="0" y="34166"/>
                                </a:cubicBezTo>
                                <a:cubicBezTo>
                                  <a:pt x="0" y="31888"/>
                                  <a:pt x="0" y="29610"/>
                                  <a:pt x="0" y="27333"/>
                                </a:cubicBezTo>
                                <a:cubicBezTo>
                                  <a:pt x="6794" y="29610"/>
                                  <a:pt x="9058" y="18222"/>
                                  <a:pt x="11323" y="13666"/>
                                </a:cubicBezTo>
                                <a:cubicBezTo>
                                  <a:pt x="13587" y="9111"/>
                                  <a:pt x="24910" y="4556"/>
                                  <a:pt x="29439" y="6833"/>
                                </a:cubicBezTo>
                                <a:cubicBezTo>
                                  <a:pt x="31704" y="9111"/>
                                  <a:pt x="33968" y="9111"/>
                                  <a:pt x="36233" y="6833"/>
                                </a:cubicBezTo>
                                <a:cubicBezTo>
                                  <a:pt x="40762" y="6833"/>
                                  <a:pt x="38497" y="9111"/>
                                  <a:pt x="47555" y="6833"/>
                                </a:cubicBezTo>
                                <a:cubicBezTo>
                                  <a:pt x="56613" y="4556"/>
                                  <a:pt x="52084" y="15944"/>
                                  <a:pt x="58878" y="9111"/>
                                </a:cubicBezTo>
                                <a:cubicBezTo>
                                  <a:pt x="58878" y="18222"/>
                                  <a:pt x="70201" y="11389"/>
                                  <a:pt x="72465" y="18222"/>
                                </a:cubicBezTo>
                                <a:cubicBezTo>
                                  <a:pt x="74730" y="20500"/>
                                  <a:pt x="79259" y="20500"/>
                                  <a:pt x="79259" y="15944"/>
                                </a:cubicBezTo>
                                <a:cubicBezTo>
                                  <a:pt x="79259" y="13666"/>
                                  <a:pt x="74730" y="11389"/>
                                  <a:pt x="76994" y="9111"/>
                                </a:cubicBezTo>
                                <a:cubicBezTo>
                                  <a:pt x="79259" y="6833"/>
                                  <a:pt x="79259" y="9111"/>
                                  <a:pt x="79259" y="6833"/>
                                </a:cubicBezTo>
                                <a:cubicBezTo>
                                  <a:pt x="79259" y="6833"/>
                                  <a:pt x="81523" y="6833"/>
                                  <a:pt x="83788" y="6833"/>
                                </a:cubicBezTo>
                                <a:cubicBezTo>
                                  <a:pt x="83788" y="6833"/>
                                  <a:pt x="83788" y="4556"/>
                                  <a:pt x="86052" y="4556"/>
                                </a:cubicBezTo>
                                <a:cubicBezTo>
                                  <a:pt x="88317" y="4556"/>
                                  <a:pt x="90581" y="6833"/>
                                  <a:pt x="90581" y="6833"/>
                                </a:cubicBezTo>
                                <a:cubicBezTo>
                                  <a:pt x="97375" y="11389"/>
                                  <a:pt x="104169" y="4556"/>
                                  <a:pt x="108698" y="0"/>
                                </a:cubicBezTo>
                                <a:close/>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226" name="Brunei">
                            <a:extLst>
                              <a:ext uri="{FF2B5EF4-FFF2-40B4-BE49-F238E27FC236}">
                                <a16:creationId xmlns:a16="http://schemas.microsoft.com/office/drawing/2014/main" id="{91889F2B-3842-D612-3297-CF5717DB7458}"/>
                              </a:ext>
                            </a:extLst>
                          </p:cNvPr>
                          <p:cNvSpPr>
                            <a:spLocks/>
                          </p:cNvSpPr>
                          <p:nvPr/>
                        </p:nvSpPr>
                        <p:spPr bwMode="auto">
                          <a:xfrm>
                            <a:off x="6297448" y="3221078"/>
                            <a:ext cx="26693" cy="25480"/>
                          </a:xfrm>
                          <a:custGeom>
                            <a:avLst/>
                            <a:gdLst>
                              <a:gd name="connsiteX0" fmla="*/ 22225 w 26194"/>
                              <a:gd name="connsiteY0" fmla="*/ 1190 h 25003"/>
                              <a:gd name="connsiteX1" fmla="*/ 26194 w 26194"/>
                              <a:gd name="connsiteY1" fmla="*/ 15477 h 25003"/>
                              <a:gd name="connsiteX2" fmla="*/ 22225 w 26194"/>
                              <a:gd name="connsiteY2" fmla="*/ 13096 h 25003"/>
                              <a:gd name="connsiteX3" fmla="*/ 20240 w 26194"/>
                              <a:gd name="connsiteY3" fmla="*/ 5952 h 25003"/>
                              <a:gd name="connsiteX4" fmla="*/ 20240 w 26194"/>
                              <a:gd name="connsiteY4" fmla="*/ 3571 h 25003"/>
                              <a:gd name="connsiteX5" fmla="*/ 22225 w 26194"/>
                              <a:gd name="connsiteY5" fmla="*/ 1190 h 25003"/>
                              <a:gd name="connsiteX6" fmla="*/ 17992 w 26194"/>
                              <a:gd name="connsiteY6" fmla="*/ 0 h 25003"/>
                              <a:gd name="connsiteX7" fmla="*/ 20241 w 26194"/>
                              <a:gd name="connsiteY7" fmla="*/ 0 h 25003"/>
                              <a:gd name="connsiteX8" fmla="*/ 20241 w 26194"/>
                              <a:gd name="connsiteY8" fmla="*/ 2273 h 25003"/>
                              <a:gd name="connsiteX9" fmla="*/ 17992 w 26194"/>
                              <a:gd name="connsiteY9" fmla="*/ 4546 h 25003"/>
                              <a:gd name="connsiteX10" fmla="*/ 15743 w 26194"/>
                              <a:gd name="connsiteY10" fmla="*/ 11365 h 25003"/>
                              <a:gd name="connsiteX11" fmla="*/ 13494 w 26194"/>
                              <a:gd name="connsiteY11" fmla="*/ 25003 h 25003"/>
                              <a:gd name="connsiteX12" fmla="*/ 6747 w 26194"/>
                              <a:gd name="connsiteY12" fmla="*/ 18184 h 25003"/>
                              <a:gd name="connsiteX13" fmla="*/ 4498 w 26194"/>
                              <a:gd name="connsiteY13" fmla="*/ 15911 h 25003"/>
                              <a:gd name="connsiteX14" fmla="*/ 0 w 26194"/>
                              <a:gd name="connsiteY14" fmla="*/ 11365 h 25003"/>
                              <a:gd name="connsiteX15" fmla="*/ 17992 w 26194"/>
                              <a:gd name="connsiteY15" fmla="*/ 0 h 2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194" h="25003">
                                <a:moveTo>
                                  <a:pt x="22225" y="1190"/>
                                </a:moveTo>
                                <a:cubicBezTo>
                                  <a:pt x="24210" y="5952"/>
                                  <a:pt x="26194" y="10715"/>
                                  <a:pt x="26194" y="15477"/>
                                </a:cubicBezTo>
                                <a:cubicBezTo>
                                  <a:pt x="24210" y="15477"/>
                                  <a:pt x="22225" y="15477"/>
                                  <a:pt x="22225" y="13096"/>
                                </a:cubicBezTo>
                                <a:cubicBezTo>
                                  <a:pt x="20240" y="13096"/>
                                  <a:pt x="20240" y="8334"/>
                                  <a:pt x="20240" y="5952"/>
                                </a:cubicBezTo>
                                <a:cubicBezTo>
                                  <a:pt x="20240" y="5952"/>
                                  <a:pt x="20240" y="5952"/>
                                  <a:pt x="20240" y="3571"/>
                                </a:cubicBezTo>
                                <a:cubicBezTo>
                                  <a:pt x="20240" y="3571"/>
                                  <a:pt x="22225" y="3571"/>
                                  <a:pt x="22225" y="1190"/>
                                </a:cubicBezTo>
                                <a:close/>
                                <a:moveTo>
                                  <a:pt x="17992" y="0"/>
                                </a:moveTo>
                                <a:cubicBezTo>
                                  <a:pt x="17992" y="0"/>
                                  <a:pt x="17992" y="0"/>
                                  <a:pt x="20241" y="0"/>
                                </a:cubicBezTo>
                                <a:cubicBezTo>
                                  <a:pt x="20241" y="0"/>
                                  <a:pt x="20241" y="2273"/>
                                  <a:pt x="20241" y="2273"/>
                                </a:cubicBezTo>
                                <a:cubicBezTo>
                                  <a:pt x="20241" y="4546"/>
                                  <a:pt x="17992" y="4546"/>
                                  <a:pt x="17992" y="4546"/>
                                </a:cubicBezTo>
                                <a:cubicBezTo>
                                  <a:pt x="15743" y="6819"/>
                                  <a:pt x="15743" y="6819"/>
                                  <a:pt x="15743" y="11365"/>
                                </a:cubicBezTo>
                                <a:cubicBezTo>
                                  <a:pt x="15743" y="11365"/>
                                  <a:pt x="17992" y="25003"/>
                                  <a:pt x="13494" y="25003"/>
                                </a:cubicBezTo>
                                <a:cubicBezTo>
                                  <a:pt x="11245" y="22730"/>
                                  <a:pt x="6747" y="20457"/>
                                  <a:pt x="6747" y="18184"/>
                                </a:cubicBezTo>
                                <a:cubicBezTo>
                                  <a:pt x="4498" y="18184"/>
                                  <a:pt x="4498" y="15911"/>
                                  <a:pt x="4498" y="15911"/>
                                </a:cubicBezTo>
                                <a:cubicBezTo>
                                  <a:pt x="4498" y="13638"/>
                                  <a:pt x="4498" y="11365"/>
                                  <a:pt x="0" y="11365"/>
                                </a:cubicBezTo>
                                <a:cubicBezTo>
                                  <a:pt x="8996" y="11365"/>
                                  <a:pt x="11245" y="2273"/>
                                  <a:pt x="17992" y="0"/>
                                </a:cubicBezTo>
                                <a:close/>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227" name="Andaman Islands">
                            <a:extLst>
                              <a:ext uri="{FF2B5EF4-FFF2-40B4-BE49-F238E27FC236}">
                                <a16:creationId xmlns:a16="http://schemas.microsoft.com/office/drawing/2014/main" id="{E065F967-6F24-B76F-0550-8D39E0CF9C72}"/>
                              </a:ext>
                            </a:extLst>
                          </p:cNvPr>
                          <p:cNvSpPr>
                            <a:spLocks/>
                          </p:cNvSpPr>
                          <p:nvPr/>
                        </p:nvSpPr>
                        <p:spPr bwMode="auto">
                          <a:xfrm>
                            <a:off x="5812110" y="3007529"/>
                            <a:ext cx="12133" cy="77093"/>
                          </a:xfrm>
                          <a:custGeom>
                            <a:avLst/>
                            <a:gdLst>
                              <a:gd name="connsiteX0" fmla="*/ 2381 w 11906"/>
                              <a:gd name="connsiteY0" fmla="*/ 65485 h 75650"/>
                              <a:gd name="connsiteX1" fmla="*/ 4762 w 11906"/>
                              <a:gd name="connsiteY1" fmla="*/ 67866 h 75650"/>
                              <a:gd name="connsiteX2" fmla="*/ 0 w 11906"/>
                              <a:gd name="connsiteY2" fmla="*/ 72629 h 75650"/>
                              <a:gd name="connsiteX3" fmla="*/ 2381 w 11906"/>
                              <a:gd name="connsiteY3" fmla="*/ 65485 h 75650"/>
                              <a:gd name="connsiteX4" fmla="*/ 9525 w 11906"/>
                              <a:gd name="connsiteY4" fmla="*/ 0 h 75650"/>
                              <a:gd name="connsiteX5" fmla="*/ 9525 w 11906"/>
                              <a:gd name="connsiteY5" fmla="*/ 6819 h 75650"/>
                              <a:gd name="connsiteX6" fmla="*/ 9525 w 11906"/>
                              <a:gd name="connsiteY6" fmla="*/ 15911 h 75650"/>
                              <a:gd name="connsiteX7" fmla="*/ 11906 w 11906"/>
                              <a:gd name="connsiteY7" fmla="*/ 25003 h 75650"/>
                              <a:gd name="connsiteX8" fmla="*/ 9525 w 11906"/>
                              <a:gd name="connsiteY8" fmla="*/ 29549 h 75650"/>
                              <a:gd name="connsiteX9" fmla="*/ 7144 w 11906"/>
                              <a:gd name="connsiteY9" fmla="*/ 36368 h 75650"/>
                              <a:gd name="connsiteX10" fmla="*/ 7144 w 11906"/>
                              <a:gd name="connsiteY10" fmla="*/ 45460 h 75650"/>
                              <a:gd name="connsiteX11" fmla="*/ 7144 w 11906"/>
                              <a:gd name="connsiteY11" fmla="*/ 50006 h 75650"/>
                              <a:gd name="connsiteX12" fmla="*/ 7144 w 11906"/>
                              <a:gd name="connsiteY12" fmla="*/ 34095 h 75650"/>
                              <a:gd name="connsiteX13" fmla="*/ 7144 w 11906"/>
                              <a:gd name="connsiteY13" fmla="*/ 18184 h 75650"/>
                              <a:gd name="connsiteX14" fmla="*/ 9525 w 11906"/>
                              <a:gd name="connsiteY14" fmla="*/ 0 h 75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06" h="75650">
                                <a:moveTo>
                                  <a:pt x="2381" y="65485"/>
                                </a:moveTo>
                                <a:cubicBezTo>
                                  <a:pt x="4762" y="65485"/>
                                  <a:pt x="4762" y="67866"/>
                                  <a:pt x="4762" y="67866"/>
                                </a:cubicBezTo>
                                <a:cubicBezTo>
                                  <a:pt x="7144" y="72629"/>
                                  <a:pt x="2381" y="79772"/>
                                  <a:pt x="0" y="72629"/>
                                </a:cubicBezTo>
                                <a:cubicBezTo>
                                  <a:pt x="0" y="70247"/>
                                  <a:pt x="2381" y="67866"/>
                                  <a:pt x="2381" y="65485"/>
                                </a:cubicBezTo>
                                <a:close/>
                                <a:moveTo>
                                  <a:pt x="9525" y="0"/>
                                </a:moveTo>
                                <a:cubicBezTo>
                                  <a:pt x="11906" y="2273"/>
                                  <a:pt x="11906" y="4546"/>
                                  <a:pt x="9525" y="6819"/>
                                </a:cubicBezTo>
                                <a:cubicBezTo>
                                  <a:pt x="14288" y="9092"/>
                                  <a:pt x="9525" y="13638"/>
                                  <a:pt x="9525" y="15911"/>
                                </a:cubicBezTo>
                                <a:cubicBezTo>
                                  <a:pt x="7144" y="18184"/>
                                  <a:pt x="11906" y="22730"/>
                                  <a:pt x="11906" y="25003"/>
                                </a:cubicBezTo>
                                <a:cubicBezTo>
                                  <a:pt x="9525" y="29549"/>
                                  <a:pt x="9525" y="27276"/>
                                  <a:pt x="9525" y="29549"/>
                                </a:cubicBezTo>
                                <a:cubicBezTo>
                                  <a:pt x="9525" y="34095"/>
                                  <a:pt x="7144" y="34095"/>
                                  <a:pt x="7144" y="36368"/>
                                </a:cubicBezTo>
                                <a:cubicBezTo>
                                  <a:pt x="7144" y="40914"/>
                                  <a:pt x="7144" y="43187"/>
                                  <a:pt x="7144" y="45460"/>
                                </a:cubicBezTo>
                                <a:cubicBezTo>
                                  <a:pt x="7144" y="47733"/>
                                  <a:pt x="4762" y="47733"/>
                                  <a:pt x="7144" y="50006"/>
                                </a:cubicBezTo>
                                <a:cubicBezTo>
                                  <a:pt x="0" y="50006"/>
                                  <a:pt x="2381" y="34095"/>
                                  <a:pt x="7144" y="34095"/>
                                </a:cubicBezTo>
                                <a:cubicBezTo>
                                  <a:pt x="7144" y="31822"/>
                                  <a:pt x="2381" y="20457"/>
                                  <a:pt x="7144" y="18184"/>
                                </a:cubicBezTo>
                                <a:cubicBezTo>
                                  <a:pt x="7144" y="11365"/>
                                  <a:pt x="4762" y="4546"/>
                                  <a:pt x="9525" y="0"/>
                                </a:cubicBezTo>
                                <a:close/>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228" name="Australia">
                            <a:extLst>
                              <a:ext uri="{FF2B5EF4-FFF2-40B4-BE49-F238E27FC236}">
                                <a16:creationId xmlns:a16="http://schemas.microsoft.com/office/drawing/2014/main" id="{1106F8E8-572C-539D-B949-BDDF61362D6E}"/>
                              </a:ext>
                            </a:extLst>
                          </p:cNvPr>
                          <p:cNvSpPr>
                            <a:spLocks/>
                          </p:cNvSpPr>
                          <p:nvPr/>
                        </p:nvSpPr>
                        <p:spPr bwMode="auto">
                          <a:xfrm>
                            <a:off x="6195870" y="3611033"/>
                            <a:ext cx="871590" cy="818146"/>
                          </a:xfrm>
                          <a:custGeom>
                            <a:avLst/>
                            <a:gdLst>
                              <a:gd name="connsiteX0" fmla="*/ 526286 w 855276"/>
                              <a:gd name="connsiteY0" fmla="*/ 730579 h 802832"/>
                              <a:gd name="connsiteX1" fmla="*/ 535445 w 855276"/>
                              <a:gd name="connsiteY1" fmla="*/ 732855 h 802832"/>
                              <a:gd name="connsiteX2" fmla="*/ 544604 w 855276"/>
                              <a:gd name="connsiteY2" fmla="*/ 741960 h 802832"/>
                              <a:gd name="connsiteX3" fmla="*/ 560631 w 855276"/>
                              <a:gd name="connsiteY3" fmla="*/ 739684 h 802832"/>
                              <a:gd name="connsiteX4" fmla="*/ 562921 w 855276"/>
                              <a:gd name="connsiteY4" fmla="*/ 741960 h 802832"/>
                              <a:gd name="connsiteX5" fmla="*/ 576659 w 855276"/>
                              <a:gd name="connsiteY5" fmla="*/ 739684 h 802832"/>
                              <a:gd name="connsiteX6" fmla="*/ 583528 w 855276"/>
                              <a:gd name="connsiteY6" fmla="*/ 735132 h 802832"/>
                              <a:gd name="connsiteX7" fmla="*/ 590397 w 855276"/>
                              <a:gd name="connsiteY7" fmla="*/ 732855 h 802832"/>
                              <a:gd name="connsiteX8" fmla="*/ 583528 w 855276"/>
                              <a:gd name="connsiteY8" fmla="*/ 751065 h 802832"/>
                              <a:gd name="connsiteX9" fmla="*/ 578949 w 855276"/>
                              <a:gd name="connsiteY9" fmla="*/ 762446 h 802832"/>
                              <a:gd name="connsiteX10" fmla="*/ 572080 w 855276"/>
                              <a:gd name="connsiteY10" fmla="*/ 769275 h 802832"/>
                              <a:gd name="connsiteX11" fmla="*/ 574369 w 855276"/>
                              <a:gd name="connsiteY11" fmla="*/ 762446 h 802832"/>
                              <a:gd name="connsiteX12" fmla="*/ 569790 w 855276"/>
                              <a:gd name="connsiteY12" fmla="*/ 769275 h 802832"/>
                              <a:gd name="connsiteX13" fmla="*/ 565211 w 855276"/>
                              <a:gd name="connsiteY13" fmla="*/ 773827 h 802832"/>
                              <a:gd name="connsiteX14" fmla="*/ 558342 w 855276"/>
                              <a:gd name="connsiteY14" fmla="*/ 780656 h 802832"/>
                              <a:gd name="connsiteX15" fmla="*/ 558342 w 855276"/>
                              <a:gd name="connsiteY15" fmla="*/ 785208 h 802832"/>
                              <a:gd name="connsiteX16" fmla="*/ 551473 w 855276"/>
                              <a:gd name="connsiteY16" fmla="*/ 789760 h 802832"/>
                              <a:gd name="connsiteX17" fmla="*/ 546893 w 855276"/>
                              <a:gd name="connsiteY17" fmla="*/ 789760 h 802832"/>
                              <a:gd name="connsiteX18" fmla="*/ 551473 w 855276"/>
                              <a:gd name="connsiteY18" fmla="*/ 787484 h 802832"/>
                              <a:gd name="connsiteX19" fmla="*/ 549183 w 855276"/>
                              <a:gd name="connsiteY19" fmla="*/ 782932 h 802832"/>
                              <a:gd name="connsiteX20" fmla="*/ 544604 w 855276"/>
                              <a:gd name="connsiteY20" fmla="*/ 787484 h 802832"/>
                              <a:gd name="connsiteX21" fmla="*/ 544604 w 855276"/>
                              <a:gd name="connsiteY21" fmla="*/ 782932 h 802832"/>
                              <a:gd name="connsiteX22" fmla="*/ 535445 w 855276"/>
                              <a:gd name="connsiteY22" fmla="*/ 794313 h 802832"/>
                              <a:gd name="connsiteX23" fmla="*/ 533155 w 855276"/>
                              <a:gd name="connsiteY23" fmla="*/ 792037 h 802832"/>
                              <a:gd name="connsiteX24" fmla="*/ 528576 w 855276"/>
                              <a:gd name="connsiteY24" fmla="*/ 796589 h 802832"/>
                              <a:gd name="connsiteX25" fmla="*/ 519417 w 855276"/>
                              <a:gd name="connsiteY25" fmla="*/ 798865 h 802832"/>
                              <a:gd name="connsiteX26" fmla="*/ 507969 w 855276"/>
                              <a:gd name="connsiteY26" fmla="*/ 798865 h 802832"/>
                              <a:gd name="connsiteX27" fmla="*/ 510259 w 855276"/>
                              <a:gd name="connsiteY27" fmla="*/ 796589 h 802832"/>
                              <a:gd name="connsiteX28" fmla="*/ 514838 w 855276"/>
                              <a:gd name="connsiteY28" fmla="*/ 794313 h 802832"/>
                              <a:gd name="connsiteX29" fmla="*/ 507969 w 855276"/>
                              <a:gd name="connsiteY29" fmla="*/ 794313 h 802832"/>
                              <a:gd name="connsiteX30" fmla="*/ 512548 w 855276"/>
                              <a:gd name="connsiteY30" fmla="*/ 769275 h 802832"/>
                              <a:gd name="connsiteX31" fmla="*/ 514838 w 855276"/>
                              <a:gd name="connsiteY31" fmla="*/ 776103 h 802832"/>
                              <a:gd name="connsiteX32" fmla="*/ 514838 w 855276"/>
                              <a:gd name="connsiteY32" fmla="*/ 766998 h 802832"/>
                              <a:gd name="connsiteX33" fmla="*/ 512548 w 855276"/>
                              <a:gd name="connsiteY33" fmla="*/ 766998 h 802832"/>
                              <a:gd name="connsiteX34" fmla="*/ 514838 w 855276"/>
                              <a:gd name="connsiteY34" fmla="*/ 748789 h 802832"/>
                              <a:gd name="connsiteX35" fmla="*/ 526286 w 855276"/>
                              <a:gd name="connsiteY35" fmla="*/ 730579 h 802832"/>
                              <a:gd name="connsiteX36" fmla="*/ 602121 w 855276"/>
                              <a:gd name="connsiteY36" fmla="*/ 722245 h 802832"/>
                              <a:gd name="connsiteX37" fmla="*/ 599740 w 855276"/>
                              <a:gd name="connsiteY37" fmla="*/ 727008 h 802832"/>
                              <a:gd name="connsiteX38" fmla="*/ 594977 w 855276"/>
                              <a:gd name="connsiteY38" fmla="*/ 727008 h 802832"/>
                              <a:gd name="connsiteX39" fmla="*/ 602121 w 855276"/>
                              <a:gd name="connsiteY39" fmla="*/ 722245 h 802832"/>
                              <a:gd name="connsiteX40" fmla="*/ 601526 w 855276"/>
                              <a:gd name="connsiteY40" fmla="*/ 707958 h 802832"/>
                              <a:gd name="connsiteX41" fmla="*/ 605693 w 855276"/>
                              <a:gd name="connsiteY41" fmla="*/ 715102 h 802832"/>
                              <a:gd name="connsiteX42" fmla="*/ 599442 w 855276"/>
                              <a:gd name="connsiteY42" fmla="*/ 722246 h 802832"/>
                              <a:gd name="connsiteX43" fmla="*/ 597358 w 855276"/>
                              <a:gd name="connsiteY43" fmla="*/ 715102 h 802832"/>
                              <a:gd name="connsiteX44" fmla="*/ 601526 w 855276"/>
                              <a:gd name="connsiteY44" fmla="*/ 707958 h 802832"/>
                              <a:gd name="connsiteX45" fmla="*/ 527111 w 855276"/>
                              <a:gd name="connsiteY45" fmla="*/ 706568 h 802832"/>
                              <a:gd name="connsiteX46" fmla="*/ 517586 w 855276"/>
                              <a:gd name="connsiteY46" fmla="*/ 717482 h 802832"/>
                              <a:gd name="connsiteX47" fmla="*/ 517586 w 855276"/>
                              <a:gd name="connsiteY47" fmla="*/ 715299 h 802832"/>
                              <a:gd name="connsiteX48" fmla="*/ 522349 w 855276"/>
                              <a:gd name="connsiteY48" fmla="*/ 708751 h 802832"/>
                              <a:gd name="connsiteX49" fmla="*/ 527111 w 855276"/>
                              <a:gd name="connsiteY49" fmla="*/ 706568 h 802832"/>
                              <a:gd name="connsiteX50" fmla="*/ 437107 w 855276"/>
                              <a:gd name="connsiteY50" fmla="*/ 608838 h 802832"/>
                              <a:gd name="connsiteX51" fmla="*/ 444362 w 855276"/>
                              <a:gd name="connsiteY51" fmla="*/ 612708 h 802832"/>
                              <a:gd name="connsiteX52" fmla="*/ 448827 w 855276"/>
                              <a:gd name="connsiteY52" fmla="*/ 612708 h 802832"/>
                              <a:gd name="connsiteX53" fmla="*/ 451060 w 855276"/>
                              <a:gd name="connsiteY53" fmla="*/ 612708 h 802832"/>
                              <a:gd name="connsiteX54" fmla="*/ 448827 w 855276"/>
                              <a:gd name="connsiteY54" fmla="*/ 615089 h 802832"/>
                              <a:gd name="connsiteX55" fmla="*/ 442130 w 855276"/>
                              <a:gd name="connsiteY55" fmla="*/ 615089 h 802832"/>
                              <a:gd name="connsiteX56" fmla="*/ 435433 w 855276"/>
                              <a:gd name="connsiteY56" fmla="*/ 619852 h 802832"/>
                              <a:gd name="connsiteX57" fmla="*/ 422038 w 855276"/>
                              <a:gd name="connsiteY57" fmla="*/ 617471 h 802832"/>
                              <a:gd name="connsiteX58" fmla="*/ 426503 w 855276"/>
                              <a:gd name="connsiteY58" fmla="*/ 610327 h 802832"/>
                              <a:gd name="connsiteX59" fmla="*/ 437107 w 855276"/>
                              <a:gd name="connsiteY59" fmla="*/ 608838 h 802832"/>
                              <a:gd name="connsiteX60" fmla="*/ 26847 w 855276"/>
                              <a:gd name="connsiteY60" fmla="*/ 533251 h 802832"/>
                              <a:gd name="connsiteX61" fmla="*/ 25179 w 855276"/>
                              <a:gd name="connsiteY61" fmla="*/ 537500 h 802832"/>
                              <a:gd name="connsiteX62" fmla="*/ 24573 w 855276"/>
                              <a:gd name="connsiteY62" fmla="*/ 537804 h 802832"/>
                              <a:gd name="connsiteX63" fmla="*/ 26847 w 855276"/>
                              <a:gd name="connsiteY63" fmla="*/ 533251 h 802832"/>
                              <a:gd name="connsiteX64" fmla="*/ 677256 w 855276"/>
                              <a:gd name="connsiteY64" fmla="*/ 43869 h 802832"/>
                              <a:gd name="connsiteX65" fmla="*/ 677824 w 855276"/>
                              <a:gd name="connsiteY65" fmla="*/ 44438 h 802832"/>
                              <a:gd name="connsiteX66" fmla="*/ 677256 w 855276"/>
                              <a:gd name="connsiteY66" fmla="*/ 46145 h 802832"/>
                              <a:gd name="connsiteX67" fmla="*/ 677256 w 855276"/>
                              <a:gd name="connsiteY67" fmla="*/ 43869 h 802832"/>
                              <a:gd name="connsiteX68" fmla="*/ 437814 w 855276"/>
                              <a:gd name="connsiteY68" fmla="*/ 14866 h 802832"/>
                              <a:gd name="connsiteX69" fmla="*/ 444633 w 855276"/>
                              <a:gd name="connsiteY69" fmla="*/ 17098 h 802832"/>
                              <a:gd name="connsiteX70" fmla="*/ 451452 w 855276"/>
                              <a:gd name="connsiteY70" fmla="*/ 17098 h 802832"/>
                              <a:gd name="connsiteX71" fmla="*/ 455998 w 855276"/>
                              <a:gd name="connsiteY71" fmla="*/ 17098 h 802832"/>
                              <a:gd name="connsiteX72" fmla="*/ 460544 w 855276"/>
                              <a:gd name="connsiteY72" fmla="*/ 14866 h 802832"/>
                              <a:gd name="connsiteX73" fmla="*/ 460544 w 855276"/>
                              <a:gd name="connsiteY73" fmla="*/ 21563 h 802832"/>
                              <a:gd name="connsiteX74" fmla="*/ 449179 w 855276"/>
                              <a:gd name="connsiteY74" fmla="*/ 30493 h 802832"/>
                              <a:gd name="connsiteX75" fmla="*/ 437814 w 855276"/>
                              <a:gd name="connsiteY75" fmla="*/ 14866 h 802832"/>
                              <a:gd name="connsiteX76" fmla="*/ 702272 w 855276"/>
                              <a:gd name="connsiteY76" fmla="*/ 621 h 802832"/>
                              <a:gd name="connsiteX77" fmla="*/ 699997 w 855276"/>
                              <a:gd name="connsiteY77" fmla="*/ 5174 h 802832"/>
                              <a:gd name="connsiteX78" fmla="*/ 702272 w 855276"/>
                              <a:gd name="connsiteY78" fmla="*/ 5174 h 802832"/>
                              <a:gd name="connsiteX79" fmla="*/ 704546 w 855276"/>
                              <a:gd name="connsiteY79" fmla="*/ 12002 h 802832"/>
                              <a:gd name="connsiteX80" fmla="*/ 704546 w 855276"/>
                              <a:gd name="connsiteY80" fmla="*/ 14278 h 802832"/>
                              <a:gd name="connsiteX81" fmla="*/ 704546 w 855276"/>
                              <a:gd name="connsiteY81" fmla="*/ 18831 h 802832"/>
                              <a:gd name="connsiteX82" fmla="*/ 704546 w 855276"/>
                              <a:gd name="connsiteY82" fmla="*/ 27936 h 802832"/>
                              <a:gd name="connsiteX83" fmla="*/ 713642 w 855276"/>
                              <a:gd name="connsiteY83" fmla="*/ 30212 h 802832"/>
                              <a:gd name="connsiteX84" fmla="*/ 711368 w 855276"/>
                              <a:gd name="connsiteY84" fmla="*/ 41593 h 802832"/>
                              <a:gd name="connsiteX85" fmla="*/ 711368 w 855276"/>
                              <a:gd name="connsiteY85" fmla="*/ 52974 h 802832"/>
                              <a:gd name="connsiteX86" fmla="*/ 713642 w 855276"/>
                              <a:gd name="connsiteY86" fmla="*/ 73460 h 802832"/>
                              <a:gd name="connsiteX87" fmla="*/ 715917 w 855276"/>
                              <a:gd name="connsiteY87" fmla="*/ 80288 h 802832"/>
                              <a:gd name="connsiteX88" fmla="*/ 715917 w 855276"/>
                              <a:gd name="connsiteY88" fmla="*/ 89393 h 802832"/>
                              <a:gd name="connsiteX89" fmla="*/ 725013 w 855276"/>
                              <a:gd name="connsiteY89" fmla="*/ 87117 h 802832"/>
                              <a:gd name="connsiteX90" fmla="*/ 734110 w 855276"/>
                              <a:gd name="connsiteY90" fmla="*/ 91669 h 802832"/>
                              <a:gd name="connsiteX91" fmla="*/ 740932 w 855276"/>
                              <a:gd name="connsiteY91" fmla="*/ 98498 h 802832"/>
                              <a:gd name="connsiteX92" fmla="*/ 747755 w 855276"/>
                              <a:gd name="connsiteY92" fmla="*/ 103050 h 802832"/>
                              <a:gd name="connsiteX93" fmla="*/ 745481 w 855276"/>
                              <a:gd name="connsiteY93" fmla="*/ 112155 h 802832"/>
                              <a:gd name="connsiteX94" fmla="*/ 745481 w 855276"/>
                              <a:gd name="connsiteY94" fmla="*/ 132641 h 802832"/>
                              <a:gd name="connsiteX95" fmla="*/ 745481 w 855276"/>
                              <a:gd name="connsiteY95" fmla="*/ 144022 h 802832"/>
                              <a:gd name="connsiteX96" fmla="*/ 747755 w 855276"/>
                              <a:gd name="connsiteY96" fmla="*/ 153126 h 802832"/>
                              <a:gd name="connsiteX97" fmla="*/ 752303 w 855276"/>
                              <a:gd name="connsiteY97" fmla="*/ 150850 h 802832"/>
                              <a:gd name="connsiteX98" fmla="*/ 752303 w 855276"/>
                              <a:gd name="connsiteY98" fmla="*/ 162231 h 802832"/>
                              <a:gd name="connsiteX99" fmla="*/ 752303 w 855276"/>
                              <a:gd name="connsiteY99" fmla="*/ 171336 h 802832"/>
                              <a:gd name="connsiteX100" fmla="*/ 747755 w 855276"/>
                              <a:gd name="connsiteY100" fmla="*/ 180441 h 802832"/>
                              <a:gd name="connsiteX101" fmla="*/ 750029 w 855276"/>
                              <a:gd name="connsiteY101" fmla="*/ 189546 h 802832"/>
                              <a:gd name="connsiteX102" fmla="*/ 752303 w 855276"/>
                              <a:gd name="connsiteY102" fmla="*/ 194098 h 802832"/>
                              <a:gd name="connsiteX103" fmla="*/ 750029 w 855276"/>
                              <a:gd name="connsiteY103" fmla="*/ 200927 h 802832"/>
                              <a:gd name="connsiteX104" fmla="*/ 756851 w 855276"/>
                              <a:gd name="connsiteY104" fmla="*/ 207755 h 802832"/>
                              <a:gd name="connsiteX105" fmla="*/ 763674 w 855276"/>
                              <a:gd name="connsiteY105" fmla="*/ 207755 h 802832"/>
                              <a:gd name="connsiteX106" fmla="*/ 770496 w 855276"/>
                              <a:gd name="connsiteY106" fmla="*/ 210031 h 802832"/>
                              <a:gd name="connsiteX107" fmla="*/ 775045 w 855276"/>
                              <a:gd name="connsiteY107" fmla="*/ 223689 h 802832"/>
                              <a:gd name="connsiteX108" fmla="*/ 779593 w 855276"/>
                              <a:gd name="connsiteY108" fmla="*/ 221412 h 802832"/>
                              <a:gd name="connsiteX109" fmla="*/ 784141 w 855276"/>
                              <a:gd name="connsiteY109" fmla="*/ 225965 h 802832"/>
                              <a:gd name="connsiteX110" fmla="*/ 788690 w 855276"/>
                              <a:gd name="connsiteY110" fmla="*/ 230517 h 802832"/>
                              <a:gd name="connsiteX111" fmla="*/ 790964 w 855276"/>
                              <a:gd name="connsiteY111" fmla="*/ 228241 h 802832"/>
                              <a:gd name="connsiteX112" fmla="*/ 793238 w 855276"/>
                              <a:gd name="connsiteY112" fmla="*/ 232793 h 802832"/>
                              <a:gd name="connsiteX113" fmla="*/ 795512 w 855276"/>
                              <a:gd name="connsiteY113" fmla="*/ 235070 h 802832"/>
                              <a:gd name="connsiteX114" fmla="*/ 797786 w 855276"/>
                              <a:gd name="connsiteY114" fmla="*/ 239622 h 802832"/>
                              <a:gd name="connsiteX115" fmla="*/ 793238 w 855276"/>
                              <a:gd name="connsiteY115" fmla="*/ 239622 h 802832"/>
                              <a:gd name="connsiteX116" fmla="*/ 793238 w 855276"/>
                              <a:gd name="connsiteY116" fmla="*/ 248727 h 802832"/>
                              <a:gd name="connsiteX117" fmla="*/ 804609 w 855276"/>
                              <a:gd name="connsiteY117" fmla="*/ 264660 h 802832"/>
                              <a:gd name="connsiteX118" fmla="*/ 802334 w 855276"/>
                              <a:gd name="connsiteY118" fmla="*/ 276041 h 802832"/>
                              <a:gd name="connsiteX119" fmla="*/ 802334 w 855276"/>
                              <a:gd name="connsiteY119" fmla="*/ 287422 h 802832"/>
                              <a:gd name="connsiteX120" fmla="*/ 809157 w 855276"/>
                              <a:gd name="connsiteY120" fmla="*/ 291974 h 802832"/>
                              <a:gd name="connsiteX121" fmla="*/ 811431 w 855276"/>
                              <a:gd name="connsiteY121" fmla="*/ 280593 h 802832"/>
                              <a:gd name="connsiteX122" fmla="*/ 820528 w 855276"/>
                              <a:gd name="connsiteY122" fmla="*/ 289698 h 802832"/>
                              <a:gd name="connsiteX123" fmla="*/ 820528 w 855276"/>
                              <a:gd name="connsiteY123" fmla="*/ 285146 h 802832"/>
                              <a:gd name="connsiteX124" fmla="*/ 825076 w 855276"/>
                              <a:gd name="connsiteY124" fmla="*/ 287422 h 802832"/>
                              <a:gd name="connsiteX125" fmla="*/ 822802 w 855276"/>
                              <a:gd name="connsiteY125" fmla="*/ 301079 h 802832"/>
                              <a:gd name="connsiteX126" fmla="*/ 822802 w 855276"/>
                              <a:gd name="connsiteY126" fmla="*/ 310184 h 802832"/>
                              <a:gd name="connsiteX127" fmla="*/ 825076 w 855276"/>
                              <a:gd name="connsiteY127" fmla="*/ 314736 h 802832"/>
                              <a:gd name="connsiteX128" fmla="*/ 827350 w 855276"/>
                              <a:gd name="connsiteY128" fmla="*/ 312460 h 802832"/>
                              <a:gd name="connsiteX129" fmla="*/ 827350 w 855276"/>
                              <a:gd name="connsiteY129" fmla="*/ 317013 h 802832"/>
                              <a:gd name="connsiteX130" fmla="*/ 836447 w 855276"/>
                              <a:gd name="connsiteY130" fmla="*/ 323841 h 802832"/>
                              <a:gd name="connsiteX131" fmla="*/ 840995 w 855276"/>
                              <a:gd name="connsiteY131" fmla="*/ 339775 h 802832"/>
                              <a:gd name="connsiteX132" fmla="*/ 847818 w 855276"/>
                              <a:gd name="connsiteY132" fmla="*/ 344327 h 802832"/>
                              <a:gd name="connsiteX133" fmla="*/ 847818 w 855276"/>
                              <a:gd name="connsiteY133" fmla="*/ 351156 h 802832"/>
                              <a:gd name="connsiteX134" fmla="*/ 854640 w 855276"/>
                              <a:gd name="connsiteY134" fmla="*/ 360260 h 802832"/>
                              <a:gd name="connsiteX135" fmla="*/ 850092 w 855276"/>
                              <a:gd name="connsiteY135" fmla="*/ 364813 h 802832"/>
                              <a:gd name="connsiteX136" fmla="*/ 852366 w 855276"/>
                              <a:gd name="connsiteY136" fmla="*/ 373917 h 802832"/>
                              <a:gd name="connsiteX137" fmla="*/ 854640 w 855276"/>
                              <a:gd name="connsiteY137" fmla="*/ 371641 h 802832"/>
                              <a:gd name="connsiteX138" fmla="*/ 852366 w 855276"/>
                              <a:gd name="connsiteY138" fmla="*/ 378470 h 802832"/>
                              <a:gd name="connsiteX139" fmla="*/ 847818 w 855276"/>
                              <a:gd name="connsiteY139" fmla="*/ 392127 h 802832"/>
                              <a:gd name="connsiteX140" fmla="*/ 845543 w 855276"/>
                              <a:gd name="connsiteY140" fmla="*/ 401232 h 802832"/>
                              <a:gd name="connsiteX141" fmla="*/ 845543 w 855276"/>
                              <a:gd name="connsiteY141" fmla="*/ 410337 h 802832"/>
                              <a:gd name="connsiteX142" fmla="*/ 845543 w 855276"/>
                              <a:gd name="connsiteY142" fmla="*/ 419441 h 802832"/>
                              <a:gd name="connsiteX143" fmla="*/ 843269 w 855276"/>
                              <a:gd name="connsiteY143" fmla="*/ 423994 h 802832"/>
                              <a:gd name="connsiteX144" fmla="*/ 845543 w 855276"/>
                              <a:gd name="connsiteY144" fmla="*/ 428546 h 802832"/>
                              <a:gd name="connsiteX145" fmla="*/ 831899 w 855276"/>
                              <a:gd name="connsiteY145" fmla="*/ 453584 h 802832"/>
                              <a:gd name="connsiteX146" fmla="*/ 815979 w 855276"/>
                              <a:gd name="connsiteY146" fmla="*/ 480899 h 802832"/>
                              <a:gd name="connsiteX147" fmla="*/ 804609 w 855276"/>
                              <a:gd name="connsiteY147" fmla="*/ 503661 h 802832"/>
                              <a:gd name="connsiteX148" fmla="*/ 797786 w 855276"/>
                              <a:gd name="connsiteY148" fmla="*/ 512765 h 802832"/>
                              <a:gd name="connsiteX149" fmla="*/ 788690 w 855276"/>
                              <a:gd name="connsiteY149" fmla="*/ 521870 h 802832"/>
                              <a:gd name="connsiteX150" fmla="*/ 784141 w 855276"/>
                              <a:gd name="connsiteY150" fmla="*/ 530975 h 802832"/>
                              <a:gd name="connsiteX151" fmla="*/ 779593 w 855276"/>
                              <a:gd name="connsiteY151" fmla="*/ 533251 h 802832"/>
                              <a:gd name="connsiteX152" fmla="*/ 772770 w 855276"/>
                              <a:gd name="connsiteY152" fmla="*/ 537804 h 802832"/>
                              <a:gd name="connsiteX153" fmla="*/ 768222 w 855276"/>
                              <a:gd name="connsiteY153" fmla="*/ 540080 h 802832"/>
                              <a:gd name="connsiteX154" fmla="*/ 759126 w 855276"/>
                              <a:gd name="connsiteY154" fmla="*/ 549185 h 802832"/>
                              <a:gd name="connsiteX155" fmla="*/ 752303 w 855276"/>
                              <a:gd name="connsiteY155" fmla="*/ 553737 h 802832"/>
                              <a:gd name="connsiteX156" fmla="*/ 745481 w 855276"/>
                              <a:gd name="connsiteY156" fmla="*/ 558289 h 802832"/>
                              <a:gd name="connsiteX157" fmla="*/ 747755 w 855276"/>
                              <a:gd name="connsiteY157" fmla="*/ 560566 h 802832"/>
                              <a:gd name="connsiteX158" fmla="*/ 743206 w 855276"/>
                              <a:gd name="connsiteY158" fmla="*/ 567394 h 802832"/>
                              <a:gd name="connsiteX159" fmla="*/ 738658 w 855276"/>
                              <a:gd name="connsiteY159" fmla="*/ 569670 h 802832"/>
                              <a:gd name="connsiteX160" fmla="*/ 729561 w 855276"/>
                              <a:gd name="connsiteY160" fmla="*/ 578775 h 802832"/>
                              <a:gd name="connsiteX161" fmla="*/ 727287 w 855276"/>
                              <a:gd name="connsiteY161" fmla="*/ 581051 h 802832"/>
                              <a:gd name="connsiteX162" fmla="*/ 725013 w 855276"/>
                              <a:gd name="connsiteY162" fmla="*/ 585604 h 802832"/>
                              <a:gd name="connsiteX163" fmla="*/ 720465 w 855276"/>
                              <a:gd name="connsiteY163" fmla="*/ 594709 h 802832"/>
                              <a:gd name="connsiteX164" fmla="*/ 718191 w 855276"/>
                              <a:gd name="connsiteY164" fmla="*/ 594709 h 802832"/>
                              <a:gd name="connsiteX165" fmla="*/ 715917 w 855276"/>
                              <a:gd name="connsiteY165" fmla="*/ 599261 h 802832"/>
                              <a:gd name="connsiteX166" fmla="*/ 709094 w 855276"/>
                              <a:gd name="connsiteY166" fmla="*/ 601537 h 802832"/>
                              <a:gd name="connsiteX167" fmla="*/ 695449 w 855276"/>
                              <a:gd name="connsiteY167" fmla="*/ 617470 h 802832"/>
                              <a:gd name="connsiteX168" fmla="*/ 684078 w 855276"/>
                              <a:gd name="connsiteY168" fmla="*/ 633404 h 802832"/>
                              <a:gd name="connsiteX169" fmla="*/ 674982 w 855276"/>
                              <a:gd name="connsiteY169" fmla="*/ 644785 h 802832"/>
                              <a:gd name="connsiteX170" fmla="*/ 674982 w 855276"/>
                              <a:gd name="connsiteY170" fmla="*/ 651613 h 802832"/>
                              <a:gd name="connsiteX171" fmla="*/ 672708 w 855276"/>
                              <a:gd name="connsiteY171" fmla="*/ 653890 h 802832"/>
                              <a:gd name="connsiteX172" fmla="*/ 668159 w 855276"/>
                              <a:gd name="connsiteY172" fmla="*/ 656166 h 802832"/>
                              <a:gd name="connsiteX173" fmla="*/ 654514 w 855276"/>
                              <a:gd name="connsiteY173" fmla="*/ 662994 h 802832"/>
                              <a:gd name="connsiteX174" fmla="*/ 636321 w 855276"/>
                              <a:gd name="connsiteY174" fmla="*/ 662994 h 802832"/>
                              <a:gd name="connsiteX175" fmla="*/ 602209 w 855276"/>
                              <a:gd name="connsiteY175" fmla="*/ 678928 h 802832"/>
                              <a:gd name="connsiteX176" fmla="*/ 586290 w 855276"/>
                              <a:gd name="connsiteY176" fmla="*/ 683480 h 802832"/>
                              <a:gd name="connsiteX177" fmla="*/ 581741 w 855276"/>
                              <a:gd name="connsiteY177" fmla="*/ 688033 h 802832"/>
                              <a:gd name="connsiteX178" fmla="*/ 586290 w 855276"/>
                              <a:gd name="connsiteY178" fmla="*/ 685756 h 802832"/>
                              <a:gd name="connsiteX179" fmla="*/ 579467 w 855276"/>
                              <a:gd name="connsiteY179" fmla="*/ 694861 h 802832"/>
                              <a:gd name="connsiteX180" fmla="*/ 579467 w 855276"/>
                              <a:gd name="connsiteY180" fmla="*/ 688033 h 802832"/>
                              <a:gd name="connsiteX181" fmla="*/ 572645 w 855276"/>
                              <a:gd name="connsiteY181" fmla="*/ 688033 h 802832"/>
                              <a:gd name="connsiteX182" fmla="*/ 574919 w 855276"/>
                              <a:gd name="connsiteY182" fmla="*/ 683480 h 802832"/>
                              <a:gd name="connsiteX183" fmla="*/ 570371 w 855276"/>
                              <a:gd name="connsiteY183" fmla="*/ 681204 h 802832"/>
                              <a:gd name="connsiteX184" fmla="*/ 572645 w 855276"/>
                              <a:gd name="connsiteY184" fmla="*/ 674375 h 802832"/>
                              <a:gd name="connsiteX185" fmla="*/ 563548 w 855276"/>
                              <a:gd name="connsiteY185" fmla="*/ 676652 h 802832"/>
                              <a:gd name="connsiteX186" fmla="*/ 556726 w 855276"/>
                              <a:gd name="connsiteY186" fmla="*/ 674375 h 802832"/>
                              <a:gd name="connsiteX187" fmla="*/ 565822 w 855276"/>
                              <a:gd name="connsiteY187" fmla="*/ 672099 h 802832"/>
                              <a:gd name="connsiteX188" fmla="*/ 565822 w 855276"/>
                              <a:gd name="connsiteY188" fmla="*/ 662994 h 802832"/>
                              <a:gd name="connsiteX189" fmla="*/ 552177 w 855276"/>
                              <a:gd name="connsiteY189" fmla="*/ 669823 h 802832"/>
                              <a:gd name="connsiteX190" fmla="*/ 559000 w 855276"/>
                              <a:gd name="connsiteY190" fmla="*/ 672099 h 802832"/>
                              <a:gd name="connsiteX191" fmla="*/ 549903 w 855276"/>
                              <a:gd name="connsiteY191" fmla="*/ 674375 h 802832"/>
                              <a:gd name="connsiteX192" fmla="*/ 538532 w 855276"/>
                              <a:gd name="connsiteY192" fmla="*/ 681204 h 802832"/>
                              <a:gd name="connsiteX193" fmla="*/ 529436 w 855276"/>
                              <a:gd name="connsiteY193" fmla="*/ 685756 h 802832"/>
                              <a:gd name="connsiteX194" fmla="*/ 522613 w 855276"/>
                              <a:gd name="connsiteY194" fmla="*/ 683480 h 802832"/>
                              <a:gd name="connsiteX195" fmla="*/ 506694 w 855276"/>
                              <a:gd name="connsiteY195" fmla="*/ 676652 h 802832"/>
                              <a:gd name="connsiteX196" fmla="*/ 497598 w 855276"/>
                              <a:gd name="connsiteY196" fmla="*/ 674375 h 802832"/>
                              <a:gd name="connsiteX197" fmla="*/ 493049 w 855276"/>
                              <a:gd name="connsiteY197" fmla="*/ 676652 h 802832"/>
                              <a:gd name="connsiteX198" fmla="*/ 488501 w 855276"/>
                              <a:gd name="connsiteY198" fmla="*/ 676652 h 802832"/>
                              <a:gd name="connsiteX199" fmla="*/ 477130 w 855276"/>
                              <a:gd name="connsiteY199" fmla="*/ 665271 h 802832"/>
                              <a:gd name="connsiteX200" fmla="*/ 474856 w 855276"/>
                              <a:gd name="connsiteY200" fmla="*/ 656166 h 802832"/>
                              <a:gd name="connsiteX201" fmla="*/ 470308 w 855276"/>
                              <a:gd name="connsiteY201" fmla="*/ 649337 h 802832"/>
                              <a:gd name="connsiteX202" fmla="*/ 479404 w 855276"/>
                              <a:gd name="connsiteY202" fmla="*/ 633404 h 802832"/>
                              <a:gd name="connsiteX203" fmla="*/ 472582 w 855276"/>
                              <a:gd name="connsiteY203" fmla="*/ 608366 h 802832"/>
                              <a:gd name="connsiteX204" fmla="*/ 481678 w 855276"/>
                              <a:gd name="connsiteY204" fmla="*/ 624299 h 802832"/>
                              <a:gd name="connsiteX205" fmla="*/ 477130 w 855276"/>
                              <a:gd name="connsiteY205" fmla="*/ 612918 h 802832"/>
                              <a:gd name="connsiteX206" fmla="*/ 479404 w 855276"/>
                              <a:gd name="connsiteY206" fmla="*/ 606090 h 802832"/>
                              <a:gd name="connsiteX207" fmla="*/ 483953 w 855276"/>
                              <a:gd name="connsiteY207" fmla="*/ 603813 h 802832"/>
                              <a:gd name="connsiteX208" fmla="*/ 474856 w 855276"/>
                              <a:gd name="connsiteY208" fmla="*/ 606090 h 802832"/>
                              <a:gd name="connsiteX209" fmla="*/ 472582 w 855276"/>
                              <a:gd name="connsiteY209" fmla="*/ 606090 h 802832"/>
                              <a:gd name="connsiteX210" fmla="*/ 454389 w 855276"/>
                              <a:gd name="connsiteY210" fmla="*/ 608366 h 802832"/>
                              <a:gd name="connsiteX211" fmla="*/ 463485 w 855276"/>
                              <a:gd name="connsiteY211" fmla="*/ 601537 h 802832"/>
                              <a:gd name="connsiteX212" fmla="*/ 470308 w 855276"/>
                              <a:gd name="connsiteY212" fmla="*/ 594709 h 802832"/>
                              <a:gd name="connsiteX213" fmla="*/ 470308 w 855276"/>
                              <a:gd name="connsiteY213" fmla="*/ 571947 h 802832"/>
                              <a:gd name="connsiteX214" fmla="*/ 468034 w 855276"/>
                              <a:gd name="connsiteY214" fmla="*/ 576499 h 802832"/>
                              <a:gd name="connsiteX215" fmla="*/ 463485 w 855276"/>
                              <a:gd name="connsiteY215" fmla="*/ 581051 h 802832"/>
                              <a:gd name="connsiteX216" fmla="*/ 454389 w 855276"/>
                              <a:gd name="connsiteY216" fmla="*/ 594709 h 802832"/>
                              <a:gd name="connsiteX217" fmla="*/ 447566 w 855276"/>
                              <a:gd name="connsiteY217" fmla="*/ 596985 h 802832"/>
                              <a:gd name="connsiteX218" fmla="*/ 433921 w 855276"/>
                              <a:gd name="connsiteY218" fmla="*/ 601537 h 802832"/>
                              <a:gd name="connsiteX219" fmla="*/ 438470 w 855276"/>
                              <a:gd name="connsiteY219" fmla="*/ 592432 h 802832"/>
                              <a:gd name="connsiteX220" fmla="*/ 449840 w 855276"/>
                              <a:gd name="connsiteY220" fmla="*/ 590156 h 802832"/>
                              <a:gd name="connsiteX221" fmla="*/ 461211 w 855276"/>
                              <a:gd name="connsiteY221" fmla="*/ 569670 h 802832"/>
                              <a:gd name="connsiteX222" fmla="*/ 470308 w 855276"/>
                              <a:gd name="connsiteY222" fmla="*/ 560566 h 802832"/>
                              <a:gd name="connsiteX223" fmla="*/ 474856 w 855276"/>
                              <a:gd name="connsiteY223" fmla="*/ 551461 h 802832"/>
                              <a:gd name="connsiteX224" fmla="*/ 479404 w 855276"/>
                              <a:gd name="connsiteY224" fmla="*/ 546908 h 802832"/>
                              <a:gd name="connsiteX225" fmla="*/ 479404 w 855276"/>
                              <a:gd name="connsiteY225" fmla="*/ 542356 h 802832"/>
                              <a:gd name="connsiteX226" fmla="*/ 479404 w 855276"/>
                              <a:gd name="connsiteY226" fmla="*/ 533251 h 802832"/>
                              <a:gd name="connsiteX227" fmla="*/ 477130 w 855276"/>
                              <a:gd name="connsiteY227" fmla="*/ 540080 h 802832"/>
                              <a:gd name="connsiteX228" fmla="*/ 468034 w 855276"/>
                              <a:gd name="connsiteY228" fmla="*/ 549185 h 802832"/>
                              <a:gd name="connsiteX229" fmla="*/ 461211 w 855276"/>
                              <a:gd name="connsiteY229" fmla="*/ 558289 h 802832"/>
                              <a:gd name="connsiteX230" fmla="*/ 456663 w 855276"/>
                              <a:gd name="connsiteY230" fmla="*/ 562842 h 802832"/>
                              <a:gd name="connsiteX231" fmla="*/ 452114 w 855276"/>
                              <a:gd name="connsiteY231" fmla="*/ 560566 h 802832"/>
                              <a:gd name="connsiteX232" fmla="*/ 443018 w 855276"/>
                              <a:gd name="connsiteY232" fmla="*/ 567394 h 802832"/>
                              <a:gd name="connsiteX233" fmla="*/ 431647 w 855276"/>
                              <a:gd name="connsiteY233" fmla="*/ 574223 h 802832"/>
                              <a:gd name="connsiteX234" fmla="*/ 424825 w 855276"/>
                              <a:gd name="connsiteY234" fmla="*/ 581051 h 802832"/>
                              <a:gd name="connsiteX235" fmla="*/ 418002 w 855276"/>
                              <a:gd name="connsiteY235" fmla="*/ 590156 h 802832"/>
                              <a:gd name="connsiteX236" fmla="*/ 422550 w 855276"/>
                              <a:gd name="connsiteY236" fmla="*/ 587880 h 802832"/>
                              <a:gd name="connsiteX237" fmla="*/ 418002 w 855276"/>
                              <a:gd name="connsiteY237" fmla="*/ 594709 h 802832"/>
                              <a:gd name="connsiteX238" fmla="*/ 411180 w 855276"/>
                              <a:gd name="connsiteY238" fmla="*/ 590156 h 802832"/>
                              <a:gd name="connsiteX239" fmla="*/ 404357 w 855276"/>
                              <a:gd name="connsiteY239" fmla="*/ 583328 h 802832"/>
                              <a:gd name="connsiteX240" fmla="*/ 408905 w 855276"/>
                              <a:gd name="connsiteY240" fmla="*/ 578775 h 802832"/>
                              <a:gd name="connsiteX241" fmla="*/ 413454 w 855276"/>
                              <a:gd name="connsiteY241" fmla="*/ 581051 h 802832"/>
                              <a:gd name="connsiteX242" fmla="*/ 413454 w 855276"/>
                              <a:gd name="connsiteY242" fmla="*/ 567394 h 802832"/>
                              <a:gd name="connsiteX243" fmla="*/ 411180 w 855276"/>
                              <a:gd name="connsiteY243" fmla="*/ 558289 h 802832"/>
                              <a:gd name="connsiteX244" fmla="*/ 411180 w 855276"/>
                              <a:gd name="connsiteY244" fmla="*/ 553737 h 802832"/>
                              <a:gd name="connsiteX245" fmla="*/ 411180 w 855276"/>
                              <a:gd name="connsiteY245" fmla="*/ 549185 h 802832"/>
                              <a:gd name="connsiteX246" fmla="*/ 404357 w 855276"/>
                              <a:gd name="connsiteY246" fmla="*/ 549185 h 802832"/>
                              <a:gd name="connsiteX247" fmla="*/ 402083 w 855276"/>
                              <a:gd name="connsiteY247" fmla="*/ 546908 h 802832"/>
                              <a:gd name="connsiteX248" fmla="*/ 402083 w 855276"/>
                              <a:gd name="connsiteY248" fmla="*/ 542356 h 802832"/>
                              <a:gd name="connsiteX249" fmla="*/ 404357 w 855276"/>
                              <a:gd name="connsiteY249" fmla="*/ 540080 h 802832"/>
                              <a:gd name="connsiteX250" fmla="*/ 406631 w 855276"/>
                              <a:gd name="connsiteY250" fmla="*/ 533251 h 802832"/>
                              <a:gd name="connsiteX251" fmla="*/ 399809 w 855276"/>
                              <a:gd name="connsiteY251" fmla="*/ 533251 h 802832"/>
                              <a:gd name="connsiteX252" fmla="*/ 402083 w 855276"/>
                              <a:gd name="connsiteY252" fmla="*/ 528699 h 802832"/>
                              <a:gd name="connsiteX253" fmla="*/ 399809 w 855276"/>
                              <a:gd name="connsiteY253" fmla="*/ 524146 h 802832"/>
                              <a:gd name="connsiteX254" fmla="*/ 392986 w 855276"/>
                              <a:gd name="connsiteY254" fmla="*/ 526423 h 802832"/>
                              <a:gd name="connsiteX255" fmla="*/ 381616 w 855276"/>
                              <a:gd name="connsiteY255" fmla="*/ 519594 h 802832"/>
                              <a:gd name="connsiteX256" fmla="*/ 374793 w 855276"/>
                              <a:gd name="connsiteY256" fmla="*/ 521870 h 802832"/>
                              <a:gd name="connsiteX257" fmla="*/ 354326 w 855276"/>
                              <a:gd name="connsiteY257" fmla="*/ 508213 h 802832"/>
                              <a:gd name="connsiteX258" fmla="*/ 347503 w 855276"/>
                              <a:gd name="connsiteY258" fmla="*/ 510489 h 802832"/>
                              <a:gd name="connsiteX259" fmla="*/ 336132 w 855276"/>
                              <a:gd name="connsiteY259" fmla="*/ 510489 h 802832"/>
                              <a:gd name="connsiteX260" fmla="*/ 311117 w 855276"/>
                              <a:gd name="connsiteY260" fmla="*/ 512765 h 802832"/>
                              <a:gd name="connsiteX261" fmla="*/ 270182 w 855276"/>
                              <a:gd name="connsiteY261" fmla="*/ 526423 h 802832"/>
                              <a:gd name="connsiteX262" fmla="*/ 249715 w 855276"/>
                              <a:gd name="connsiteY262" fmla="*/ 526423 h 802832"/>
                              <a:gd name="connsiteX263" fmla="*/ 229247 w 855276"/>
                              <a:gd name="connsiteY263" fmla="*/ 533251 h 802832"/>
                              <a:gd name="connsiteX264" fmla="*/ 208780 w 855276"/>
                              <a:gd name="connsiteY264" fmla="*/ 542356 h 802832"/>
                              <a:gd name="connsiteX265" fmla="*/ 192861 w 855276"/>
                              <a:gd name="connsiteY265" fmla="*/ 551461 h 802832"/>
                              <a:gd name="connsiteX266" fmla="*/ 181490 w 855276"/>
                              <a:gd name="connsiteY266" fmla="*/ 565118 h 802832"/>
                              <a:gd name="connsiteX267" fmla="*/ 174667 w 855276"/>
                              <a:gd name="connsiteY267" fmla="*/ 567394 h 802832"/>
                              <a:gd name="connsiteX268" fmla="*/ 167845 w 855276"/>
                              <a:gd name="connsiteY268" fmla="*/ 569670 h 802832"/>
                              <a:gd name="connsiteX269" fmla="*/ 151926 w 855276"/>
                              <a:gd name="connsiteY269" fmla="*/ 567394 h 802832"/>
                              <a:gd name="connsiteX270" fmla="*/ 145103 w 855276"/>
                              <a:gd name="connsiteY270" fmla="*/ 565118 h 802832"/>
                              <a:gd name="connsiteX271" fmla="*/ 133733 w 855276"/>
                              <a:gd name="connsiteY271" fmla="*/ 565118 h 802832"/>
                              <a:gd name="connsiteX272" fmla="*/ 117814 w 855276"/>
                              <a:gd name="connsiteY272" fmla="*/ 567394 h 802832"/>
                              <a:gd name="connsiteX273" fmla="*/ 104169 w 855276"/>
                              <a:gd name="connsiteY273" fmla="*/ 567394 h 802832"/>
                              <a:gd name="connsiteX274" fmla="*/ 90524 w 855276"/>
                              <a:gd name="connsiteY274" fmla="*/ 578775 h 802832"/>
                              <a:gd name="connsiteX275" fmla="*/ 83701 w 855276"/>
                              <a:gd name="connsiteY275" fmla="*/ 581051 h 802832"/>
                              <a:gd name="connsiteX276" fmla="*/ 76879 w 855276"/>
                              <a:gd name="connsiteY276" fmla="*/ 581051 h 802832"/>
                              <a:gd name="connsiteX277" fmla="*/ 72330 w 855276"/>
                              <a:gd name="connsiteY277" fmla="*/ 583328 h 802832"/>
                              <a:gd name="connsiteX278" fmla="*/ 67782 w 855276"/>
                              <a:gd name="connsiteY278" fmla="*/ 585604 h 802832"/>
                              <a:gd name="connsiteX279" fmla="*/ 60960 w 855276"/>
                              <a:gd name="connsiteY279" fmla="*/ 590156 h 802832"/>
                              <a:gd name="connsiteX280" fmla="*/ 49589 w 855276"/>
                              <a:gd name="connsiteY280" fmla="*/ 594709 h 802832"/>
                              <a:gd name="connsiteX281" fmla="*/ 42766 w 855276"/>
                              <a:gd name="connsiteY281" fmla="*/ 594709 h 802832"/>
                              <a:gd name="connsiteX282" fmla="*/ 22299 w 855276"/>
                              <a:gd name="connsiteY282" fmla="*/ 594709 h 802832"/>
                              <a:gd name="connsiteX283" fmla="*/ 22299 w 855276"/>
                              <a:gd name="connsiteY283" fmla="*/ 592432 h 802832"/>
                              <a:gd name="connsiteX284" fmla="*/ 13202 w 855276"/>
                              <a:gd name="connsiteY284" fmla="*/ 583328 h 802832"/>
                              <a:gd name="connsiteX285" fmla="*/ 1832 w 855276"/>
                              <a:gd name="connsiteY285" fmla="*/ 578775 h 802832"/>
                              <a:gd name="connsiteX286" fmla="*/ 8654 w 855276"/>
                              <a:gd name="connsiteY286" fmla="*/ 560566 h 802832"/>
                              <a:gd name="connsiteX287" fmla="*/ 22299 w 855276"/>
                              <a:gd name="connsiteY287" fmla="*/ 549185 h 802832"/>
                              <a:gd name="connsiteX288" fmla="*/ 23720 w 855276"/>
                              <a:gd name="connsiteY288" fmla="*/ 541218 h 802832"/>
                              <a:gd name="connsiteX289" fmla="*/ 25179 w 855276"/>
                              <a:gd name="connsiteY289" fmla="*/ 537500 h 802832"/>
                              <a:gd name="connsiteX290" fmla="*/ 29121 w 855276"/>
                              <a:gd name="connsiteY290" fmla="*/ 535527 h 802832"/>
                              <a:gd name="connsiteX291" fmla="*/ 31396 w 855276"/>
                              <a:gd name="connsiteY291" fmla="*/ 524146 h 802832"/>
                              <a:gd name="connsiteX292" fmla="*/ 31396 w 855276"/>
                              <a:gd name="connsiteY292" fmla="*/ 501384 h 802832"/>
                              <a:gd name="connsiteX293" fmla="*/ 29121 w 855276"/>
                              <a:gd name="connsiteY293" fmla="*/ 476346 h 802832"/>
                              <a:gd name="connsiteX294" fmla="*/ 33670 w 855276"/>
                              <a:gd name="connsiteY294" fmla="*/ 451308 h 802832"/>
                              <a:gd name="connsiteX295" fmla="*/ 31396 w 855276"/>
                              <a:gd name="connsiteY295" fmla="*/ 442203 h 802832"/>
                              <a:gd name="connsiteX296" fmla="*/ 31396 w 855276"/>
                              <a:gd name="connsiteY296" fmla="*/ 433099 h 802832"/>
                              <a:gd name="connsiteX297" fmla="*/ 26847 w 855276"/>
                              <a:gd name="connsiteY297" fmla="*/ 423994 h 802832"/>
                              <a:gd name="connsiteX298" fmla="*/ 29121 w 855276"/>
                              <a:gd name="connsiteY298" fmla="*/ 412613 h 802832"/>
                              <a:gd name="connsiteX299" fmla="*/ 22299 w 855276"/>
                              <a:gd name="connsiteY299" fmla="*/ 389851 h 802832"/>
                              <a:gd name="connsiteX300" fmla="*/ 17751 w 855276"/>
                              <a:gd name="connsiteY300" fmla="*/ 383022 h 802832"/>
                              <a:gd name="connsiteX301" fmla="*/ 20025 w 855276"/>
                              <a:gd name="connsiteY301" fmla="*/ 373917 h 802832"/>
                              <a:gd name="connsiteX302" fmla="*/ 20025 w 855276"/>
                              <a:gd name="connsiteY302" fmla="*/ 380746 h 802832"/>
                              <a:gd name="connsiteX303" fmla="*/ 22299 w 855276"/>
                              <a:gd name="connsiteY303" fmla="*/ 373917 h 802832"/>
                              <a:gd name="connsiteX304" fmla="*/ 22299 w 855276"/>
                              <a:gd name="connsiteY304" fmla="*/ 382738 h 802832"/>
                              <a:gd name="connsiteX305" fmla="*/ 22299 w 855276"/>
                              <a:gd name="connsiteY305" fmla="*/ 383022 h 802832"/>
                              <a:gd name="connsiteX306" fmla="*/ 22299 w 855276"/>
                              <a:gd name="connsiteY306" fmla="*/ 387575 h 802832"/>
                              <a:gd name="connsiteX307" fmla="*/ 24573 w 855276"/>
                              <a:gd name="connsiteY307" fmla="*/ 389851 h 802832"/>
                              <a:gd name="connsiteX308" fmla="*/ 26847 w 855276"/>
                              <a:gd name="connsiteY308" fmla="*/ 378470 h 802832"/>
                              <a:gd name="connsiteX309" fmla="*/ 26847 w 855276"/>
                              <a:gd name="connsiteY309" fmla="*/ 362537 h 802832"/>
                              <a:gd name="connsiteX310" fmla="*/ 29121 w 855276"/>
                              <a:gd name="connsiteY310" fmla="*/ 369365 h 802832"/>
                              <a:gd name="connsiteX311" fmla="*/ 29121 w 855276"/>
                              <a:gd name="connsiteY311" fmla="*/ 378470 h 802832"/>
                              <a:gd name="connsiteX312" fmla="*/ 31396 w 855276"/>
                              <a:gd name="connsiteY312" fmla="*/ 373917 h 802832"/>
                              <a:gd name="connsiteX313" fmla="*/ 33670 w 855276"/>
                              <a:gd name="connsiteY313" fmla="*/ 383022 h 802832"/>
                              <a:gd name="connsiteX314" fmla="*/ 38218 w 855276"/>
                              <a:gd name="connsiteY314" fmla="*/ 380746 h 802832"/>
                              <a:gd name="connsiteX315" fmla="*/ 38218 w 855276"/>
                              <a:gd name="connsiteY315" fmla="*/ 364813 h 802832"/>
                              <a:gd name="connsiteX316" fmla="*/ 33670 w 855276"/>
                              <a:gd name="connsiteY316" fmla="*/ 351156 h 802832"/>
                              <a:gd name="connsiteX317" fmla="*/ 33670 w 855276"/>
                              <a:gd name="connsiteY317" fmla="*/ 346603 h 802832"/>
                              <a:gd name="connsiteX318" fmla="*/ 31396 w 855276"/>
                              <a:gd name="connsiteY318" fmla="*/ 335222 h 802832"/>
                              <a:gd name="connsiteX319" fmla="*/ 35944 w 855276"/>
                              <a:gd name="connsiteY319" fmla="*/ 317013 h 802832"/>
                              <a:gd name="connsiteX320" fmla="*/ 45041 w 855276"/>
                              <a:gd name="connsiteY320" fmla="*/ 301079 h 802832"/>
                              <a:gd name="connsiteX321" fmla="*/ 42766 w 855276"/>
                              <a:gd name="connsiteY321" fmla="*/ 291974 h 802832"/>
                              <a:gd name="connsiteX322" fmla="*/ 47315 w 855276"/>
                              <a:gd name="connsiteY322" fmla="*/ 282870 h 802832"/>
                              <a:gd name="connsiteX323" fmla="*/ 56411 w 855276"/>
                              <a:gd name="connsiteY323" fmla="*/ 271489 h 802832"/>
                              <a:gd name="connsiteX324" fmla="*/ 54137 w 855276"/>
                              <a:gd name="connsiteY324" fmla="*/ 278317 h 802832"/>
                              <a:gd name="connsiteX325" fmla="*/ 54137 w 855276"/>
                              <a:gd name="connsiteY325" fmla="*/ 287422 h 802832"/>
                              <a:gd name="connsiteX326" fmla="*/ 63234 w 855276"/>
                              <a:gd name="connsiteY326" fmla="*/ 276041 h 802832"/>
                              <a:gd name="connsiteX327" fmla="*/ 79153 w 855276"/>
                              <a:gd name="connsiteY327" fmla="*/ 266936 h 802832"/>
                              <a:gd name="connsiteX328" fmla="*/ 99620 w 855276"/>
                              <a:gd name="connsiteY328" fmla="*/ 253279 h 802832"/>
                              <a:gd name="connsiteX329" fmla="*/ 104169 w 855276"/>
                              <a:gd name="connsiteY329" fmla="*/ 248727 h 802832"/>
                              <a:gd name="connsiteX330" fmla="*/ 117814 w 855276"/>
                              <a:gd name="connsiteY330" fmla="*/ 241898 h 802832"/>
                              <a:gd name="connsiteX331" fmla="*/ 124636 w 855276"/>
                              <a:gd name="connsiteY331" fmla="*/ 241898 h 802832"/>
                              <a:gd name="connsiteX332" fmla="*/ 129184 w 855276"/>
                              <a:gd name="connsiteY332" fmla="*/ 244174 h 802832"/>
                              <a:gd name="connsiteX333" fmla="*/ 138281 w 855276"/>
                              <a:gd name="connsiteY333" fmla="*/ 241898 h 802832"/>
                              <a:gd name="connsiteX334" fmla="*/ 154200 w 855276"/>
                              <a:gd name="connsiteY334" fmla="*/ 235070 h 802832"/>
                              <a:gd name="connsiteX335" fmla="*/ 163297 w 855276"/>
                              <a:gd name="connsiteY335" fmla="*/ 232793 h 802832"/>
                              <a:gd name="connsiteX336" fmla="*/ 170119 w 855276"/>
                              <a:gd name="connsiteY336" fmla="*/ 225965 h 802832"/>
                              <a:gd name="connsiteX337" fmla="*/ 186038 w 855276"/>
                              <a:gd name="connsiteY337" fmla="*/ 225965 h 802832"/>
                              <a:gd name="connsiteX338" fmla="*/ 206506 w 855276"/>
                              <a:gd name="connsiteY338" fmla="*/ 219136 h 802832"/>
                              <a:gd name="connsiteX339" fmla="*/ 226973 w 855276"/>
                              <a:gd name="connsiteY339" fmla="*/ 196374 h 802832"/>
                              <a:gd name="connsiteX340" fmla="*/ 231521 w 855276"/>
                              <a:gd name="connsiteY340" fmla="*/ 194098 h 802832"/>
                              <a:gd name="connsiteX341" fmla="*/ 236070 w 855276"/>
                              <a:gd name="connsiteY341" fmla="*/ 187269 h 802832"/>
                              <a:gd name="connsiteX342" fmla="*/ 245166 w 855276"/>
                              <a:gd name="connsiteY342" fmla="*/ 178165 h 802832"/>
                              <a:gd name="connsiteX343" fmla="*/ 245166 w 855276"/>
                              <a:gd name="connsiteY343" fmla="*/ 159955 h 802832"/>
                              <a:gd name="connsiteX344" fmla="*/ 254263 w 855276"/>
                              <a:gd name="connsiteY344" fmla="*/ 153126 h 802832"/>
                              <a:gd name="connsiteX345" fmla="*/ 258811 w 855276"/>
                              <a:gd name="connsiteY345" fmla="*/ 148574 h 802832"/>
                              <a:gd name="connsiteX346" fmla="*/ 265634 w 855276"/>
                              <a:gd name="connsiteY346" fmla="*/ 139469 h 802832"/>
                              <a:gd name="connsiteX347" fmla="*/ 267908 w 855276"/>
                              <a:gd name="connsiteY347" fmla="*/ 146298 h 802832"/>
                              <a:gd name="connsiteX348" fmla="*/ 272456 w 855276"/>
                              <a:gd name="connsiteY348" fmla="*/ 169060 h 802832"/>
                              <a:gd name="connsiteX349" fmla="*/ 277004 w 855276"/>
                              <a:gd name="connsiteY349" fmla="*/ 153126 h 802832"/>
                              <a:gd name="connsiteX350" fmla="*/ 281553 w 855276"/>
                              <a:gd name="connsiteY350" fmla="*/ 159955 h 802832"/>
                              <a:gd name="connsiteX351" fmla="*/ 283827 w 855276"/>
                              <a:gd name="connsiteY351" fmla="*/ 150850 h 802832"/>
                              <a:gd name="connsiteX352" fmla="*/ 277004 w 855276"/>
                              <a:gd name="connsiteY352" fmla="*/ 144022 h 802832"/>
                              <a:gd name="connsiteX353" fmla="*/ 274730 w 855276"/>
                              <a:gd name="connsiteY353" fmla="*/ 141745 h 802832"/>
                              <a:gd name="connsiteX354" fmla="*/ 279279 w 855276"/>
                              <a:gd name="connsiteY354" fmla="*/ 139469 h 802832"/>
                              <a:gd name="connsiteX355" fmla="*/ 279279 w 855276"/>
                              <a:gd name="connsiteY355" fmla="*/ 134917 h 802832"/>
                              <a:gd name="connsiteX356" fmla="*/ 281553 w 855276"/>
                              <a:gd name="connsiteY356" fmla="*/ 134917 h 802832"/>
                              <a:gd name="connsiteX357" fmla="*/ 283827 w 855276"/>
                              <a:gd name="connsiteY357" fmla="*/ 139469 h 802832"/>
                              <a:gd name="connsiteX358" fmla="*/ 288375 w 855276"/>
                              <a:gd name="connsiteY358" fmla="*/ 137193 h 802832"/>
                              <a:gd name="connsiteX359" fmla="*/ 292924 w 855276"/>
                              <a:gd name="connsiteY359" fmla="*/ 139469 h 802832"/>
                              <a:gd name="connsiteX360" fmla="*/ 297472 w 855276"/>
                              <a:gd name="connsiteY360" fmla="*/ 139469 h 802832"/>
                              <a:gd name="connsiteX361" fmla="*/ 304294 w 855276"/>
                              <a:gd name="connsiteY361" fmla="*/ 139469 h 802832"/>
                              <a:gd name="connsiteX362" fmla="*/ 297472 w 855276"/>
                              <a:gd name="connsiteY362" fmla="*/ 137193 h 802832"/>
                              <a:gd name="connsiteX363" fmla="*/ 297472 w 855276"/>
                              <a:gd name="connsiteY363" fmla="*/ 132641 h 802832"/>
                              <a:gd name="connsiteX364" fmla="*/ 299746 w 855276"/>
                              <a:gd name="connsiteY364" fmla="*/ 132641 h 802832"/>
                              <a:gd name="connsiteX365" fmla="*/ 304294 w 855276"/>
                              <a:gd name="connsiteY365" fmla="*/ 125812 h 802832"/>
                              <a:gd name="connsiteX366" fmla="*/ 299746 w 855276"/>
                              <a:gd name="connsiteY366" fmla="*/ 128088 h 802832"/>
                              <a:gd name="connsiteX367" fmla="*/ 299746 w 855276"/>
                              <a:gd name="connsiteY367" fmla="*/ 116707 h 802832"/>
                              <a:gd name="connsiteX368" fmla="*/ 304294 w 855276"/>
                              <a:gd name="connsiteY368" fmla="*/ 112155 h 802832"/>
                              <a:gd name="connsiteX369" fmla="*/ 311117 w 855276"/>
                              <a:gd name="connsiteY369" fmla="*/ 114431 h 802832"/>
                              <a:gd name="connsiteX370" fmla="*/ 311117 w 855276"/>
                              <a:gd name="connsiteY370" fmla="*/ 116707 h 802832"/>
                              <a:gd name="connsiteX371" fmla="*/ 315665 w 855276"/>
                              <a:gd name="connsiteY371" fmla="*/ 118984 h 802832"/>
                              <a:gd name="connsiteX372" fmla="*/ 308843 w 855276"/>
                              <a:gd name="connsiteY372" fmla="*/ 112155 h 802832"/>
                              <a:gd name="connsiteX373" fmla="*/ 315665 w 855276"/>
                              <a:gd name="connsiteY373" fmla="*/ 107603 h 802832"/>
                              <a:gd name="connsiteX374" fmla="*/ 322488 w 855276"/>
                              <a:gd name="connsiteY374" fmla="*/ 107603 h 802832"/>
                              <a:gd name="connsiteX375" fmla="*/ 320213 w 855276"/>
                              <a:gd name="connsiteY375" fmla="*/ 103050 h 802832"/>
                              <a:gd name="connsiteX376" fmla="*/ 322488 w 855276"/>
                              <a:gd name="connsiteY376" fmla="*/ 93945 h 802832"/>
                              <a:gd name="connsiteX377" fmla="*/ 327036 w 855276"/>
                              <a:gd name="connsiteY377" fmla="*/ 93945 h 802832"/>
                              <a:gd name="connsiteX378" fmla="*/ 327036 w 855276"/>
                              <a:gd name="connsiteY378" fmla="*/ 87117 h 802832"/>
                              <a:gd name="connsiteX379" fmla="*/ 327036 w 855276"/>
                              <a:gd name="connsiteY379" fmla="*/ 96222 h 802832"/>
                              <a:gd name="connsiteX380" fmla="*/ 333858 w 855276"/>
                              <a:gd name="connsiteY380" fmla="*/ 96222 h 802832"/>
                              <a:gd name="connsiteX381" fmla="*/ 336132 w 855276"/>
                              <a:gd name="connsiteY381" fmla="*/ 91669 h 802832"/>
                              <a:gd name="connsiteX382" fmla="*/ 338407 w 855276"/>
                              <a:gd name="connsiteY382" fmla="*/ 87117 h 802832"/>
                              <a:gd name="connsiteX383" fmla="*/ 340681 w 855276"/>
                              <a:gd name="connsiteY383" fmla="*/ 82564 h 802832"/>
                              <a:gd name="connsiteX384" fmla="*/ 338407 w 855276"/>
                              <a:gd name="connsiteY384" fmla="*/ 82564 h 802832"/>
                              <a:gd name="connsiteX385" fmla="*/ 340681 w 855276"/>
                              <a:gd name="connsiteY385" fmla="*/ 80288 h 802832"/>
                              <a:gd name="connsiteX386" fmla="*/ 345229 w 855276"/>
                              <a:gd name="connsiteY386" fmla="*/ 84841 h 802832"/>
                              <a:gd name="connsiteX387" fmla="*/ 347503 w 855276"/>
                              <a:gd name="connsiteY387" fmla="*/ 80288 h 802832"/>
                              <a:gd name="connsiteX388" fmla="*/ 349777 w 855276"/>
                              <a:gd name="connsiteY388" fmla="*/ 84841 h 802832"/>
                              <a:gd name="connsiteX389" fmla="*/ 356600 w 855276"/>
                              <a:gd name="connsiteY389" fmla="*/ 80288 h 802832"/>
                              <a:gd name="connsiteX390" fmla="*/ 356600 w 855276"/>
                              <a:gd name="connsiteY390" fmla="*/ 73460 h 802832"/>
                              <a:gd name="connsiteX391" fmla="*/ 365697 w 855276"/>
                              <a:gd name="connsiteY391" fmla="*/ 80288 h 802832"/>
                              <a:gd name="connsiteX392" fmla="*/ 370245 w 855276"/>
                              <a:gd name="connsiteY392" fmla="*/ 82564 h 802832"/>
                              <a:gd name="connsiteX393" fmla="*/ 377067 w 855276"/>
                              <a:gd name="connsiteY393" fmla="*/ 93945 h 802832"/>
                              <a:gd name="connsiteX394" fmla="*/ 381616 w 855276"/>
                              <a:gd name="connsiteY394" fmla="*/ 100774 h 802832"/>
                              <a:gd name="connsiteX395" fmla="*/ 379341 w 855276"/>
                              <a:gd name="connsiteY395" fmla="*/ 107603 h 802832"/>
                              <a:gd name="connsiteX396" fmla="*/ 374793 w 855276"/>
                              <a:gd name="connsiteY396" fmla="*/ 116707 h 802832"/>
                              <a:gd name="connsiteX397" fmla="*/ 379341 w 855276"/>
                              <a:gd name="connsiteY397" fmla="*/ 112155 h 802832"/>
                              <a:gd name="connsiteX398" fmla="*/ 381616 w 855276"/>
                              <a:gd name="connsiteY398" fmla="*/ 114431 h 802832"/>
                              <a:gd name="connsiteX399" fmla="*/ 381616 w 855276"/>
                              <a:gd name="connsiteY399" fmla="*/ 107603 h 802832"/>
                              <a:gd name="connsiteX400" fmla="*/ 386164 w 855276"/>
                              <a:gd name="connsiteY400" fmla="*/ 105326 h 802832"/>
                              <a:gd name="connsiteX401" fmla="*/ 402083 w 855276"/>
                              <a:gd name="connsiteY401" fmla="*/ 109879 h 802832"/>
                              <a:gd name="connsiteX402" fmla="*/ 404357 w 855276"/>
                              <a:gd name="connsiteY402" fmla="*/ 100774 h 802832"/>
                              <a:gd name="connsiteX403" fmla="*/ 413454 w 855276"/>
                              <a:gd name="connsiteY403" fmla="*/ 109879 h 802832"/>
                              <a:gd name="connsiteX404" fmla="*/ 413454 w 855276"/>
                              <a:gd name="connsiteY404" fmla="*/ 103050 h 802832"/>
                              <a:gd name="connsiteX405" fmla="*/ 418002 w 855276"/>
                              <a:gd name="connsiteY405" fmla="*/ 100774 h 802832"/>
                              <a:gd name="connsiteX406" fmla="*/ 411180 w 855276"/>
                              <a:gd name="connsiteY406" fmla="*/ 96222 h 802832"/>
                              <a:gd name="connsiteX407" fmla="*/ 415728 w 855276"/>
                              <a:gd name="connsiteY407" fmla="*/ 93945 h 802832"/>
                              <a:gd name="connsiteX408" fmla="*/ 408905 w 855276"/>
                              <a:gd name="connsiteY408" fmla="*/ 89393 h 802832"/>
                              <a:gd name="connsiteX409" fmla="*/ 411180 w 855276"/>
                              <a:gd name="connsiteY409" fmla="*/ 82564 h 802832"/>
                              <a:gd name="connsiteX410" fmla="*/ 418002 w 855276"/>
                              <a:gd name="connsiteY410" fmla="*/ 80288 h 802832"/>
                              <a:gd name="connsiteX411" fmla="*/ 420276 w 855276"/>
                              <a:gd name="connsiteY411" fmla="*/ 68907 h 802832"/>
                              <a:gd name="connsiteX412" fmla="*/ 424825 w 855276"/>
                              <a:gd name="connsiteY412" fmla="*/ 68907 h 802832"/>
                              <a:gd name="connsiteX413" fmla="*/ 431647 w 855276"/>
                              <a:gd name="connsiteY413" fmla="*/ 64355 h 802832"/>
                              <a:gd name="connsiteX414" fmla="*/ 429373 w 855276"/>
                              <a:gd name="connsiteY414" fmla="*/ 57526 h 802832"/>
                              <a:gd name="connsiteX415" fmla="*/ 433921 w 855276"/>
                              <a:gd name="connsiteY415" fmla="*/ 52974 h 802832"/>
                              <a:gd name="connsiteX416" fmla="*/ 436195 w 855276"/>
                              <a:gd name="connsiteY416" fmla="*/ 48421 h 802832"/>
                              <a:gd name="connsiteX417" fmla="*/ 440744 w 855276"/>
                              <a:gd name="connsiteY417" fmla="*/ 48421 h 802832"/>
                              <a:gd name="connsiteX418" fmla="*/ 440744 w 855276"/>
                              <a:gd name="connsiteY418" fmla="*/ 41593 h 802832"/>
                              <a:gd name="connsiteX419" fmla="*/ 447566 w 855276"/>
                              <a:gd name="connsiteY419" fmla="*/ 46145 h 802832"/>
                              <a:gd name="connsiteX420" fmla="*/ 449840 w 855276"/>
                              <a:gd name="connsiteY420" fmla="*/ 41593 h 802832"/>
                              <a:gd name="connsiteX421" fmla="*/ 452114 w 855276"/>
                              <a:gd name="connsiteY421" fmla="*/ 34764 h 802832"/>
                              <a:gd name="connsiteX422" fmla="*/ 456663 w 855276"/>
                              <a:gd name="connsiteY422" fmla="*/ 34764 h 802832"/>
                              <a:gd name="connsiteX423" fmla="*/ 479404 w 855276"/>
                              <a:gd name="connsiteY423" fmla="*/ 39317 h 802832"/>
                              <a:gd name="connsiteX424" fmla="*/ 486227 w 855276"/>
                              <a:gd name="connsiteY424" fmla="*/ 34764 h 802832"/>
                              <a:gd name="connsiteX425" fmla="*/ 486227 w 855276"/>
                              <a:gd name="connsiteY425" fmla="*/ 23383 h 802832"/>
                              <a:gd name="connsiteX426" fmla="*/ 474856 w 855276"/>
                              <a:gd name="connsiteY426" fmla="*/ 21107 h 802832"/>
                              <a:gd name="connsiteX427" fmla="*/ 470308 w 855276"/>
                              <a:gd name="connsiteY427" fmla="*/ 14278 h 802832"/>
                              <a:gd name="connsiteX428" fmla="*/ 472582 w 855276"/>
                              <a:gd name="connsiteY428" fmla="*/ 9726 h 802832"/>
                              <a:gd name="connsiteX429" fmla="*/ 477130 w 855276"/>
                              <a:gd name="connsiteY429" fmla="*/ 16555 h 802832"/>
                              <a:gd name="connsiteX430" fmla="*/ 477130 w 855276"/>
                              <a:gd name="connsiteY430" fmla="*/ 9726 h 802832"/>
                              <a:gd name="connsiteX431" fmla="*/ 481678 w 855276"/>
                              <a:gd name="connsiteY431" fmla="*/ 9726 h 802832"/>
                              <a:gd name="connsiteX432" fmla="*/ 485438 w 855276"/>
                              <a:gd name="connsiteY432" fmla="*/ 15998 h 802832"/>
                              <a:gd name="connsiteX433" fmla="*/ 488501 w 855276"/>
                              <a:gd name="connsiteY433" fmla="*/ 21107 h 802832"/>
                              <a:gd name="connsiteX434" fmla="*/ 493049 w 855276"/>
                              <a:gd name="connsiteY434" fmla="*/ 16555 h 802832"/>
                              <a:gd name="connsiteX435" fmla="*/ 499872 w 855276"/>
                              <a:gd name="connsiteY435" fmla="*/ 25659 h 802832"/>
                              <a:gd name="connsiteX436" fmla="*/ 504420 w 855276"/>
                              <a:gd name="connsiteY436" fmla="*/ 27936 h 802832"/>
                              <a:gd name="connsiteX437" fmla="*/ 513517 w 855276"/>
                              <a:gd name="connsiteY437" fmla="*/ 25659 h 802832"/>
                              <a:gd name="connsiteX438" fmla="*/ 518065 w 855276"/>
                              <a:gd name="connsiteY438" fmla="*/ 34764 h 802832"/>
                              <a:gd name="connsiteX439" fmla="*/ 522613 w 855276"/>
                              <a:gd name="connsiteY439" fmla="*/ 32488 h 802832"/>
                              <a:gd name="connsiteX440" fmla="*/ 531710 w 855276"/>
                              <a:gd name="connsiteY440" fmla="*/ 30212 h 802832"/>
                              <a:gd name="connsiteX441" fmla="*/ 543081 w 855276"/>
                              <a:gd name="connsiteY441" fmla="*/ 37040 h 802832"/>
                              <a:gd name="connsiteX442" fmla="*/ 547629 w 855276"/>
                              <a:gd name="connsiteY442" fmla="*/ 30212 h 802832"/>
                              <a:gd name="connsiteX443" fmla="*/ 554451 w 855276"/>
                              <a:gd name="connsiteY443" fmla="*/ 25659 h 802832"/>
                              <a:gd name="connsiteX444" fmla="*/ 552177 w 855276"/>
                              <a:gd name="connsiteY444" fmla="*/ 32488 h 802832"/>
                              <a:gd name="connsiteX445" fmla="*/ 552177 w 855276"/>
                              <a:gd name="connsiteY445" fmla="*/ 34764 h 802832"/>
                              <a:gd name="connsiteX446" fmla="*/ 549903 w 855276"/>
                              <a:gd name="connsiteY446" fmla="*/ 39317 h 802832"/>
                              <a:gd name="connsiteX447" fmla="*/ 556726 w 855276"/>
                              <a:gd name="connsiteY447" fmla="*/ 34764 h 802832"/>
                              <a:gd name="connsiteX448" fmla="*/ 556726 w 855276"/>
                              <a:gd name="connsiteY448" fmla="*/ 39317 h 802832"/>
                              <a:gd name="connsiteX449" fmla="*/ 559000 w 855276"/>
                              <a:gd name="connsiteY449" fmla="*/ 41593 h 802832"/>
                              <a:gd name="connsiteX450" fmla="*/ 563548 w 855276"/>
                              <a:gd name="connsiteY450" fmla="*/ 37040 h 802832"/>
                              <a:gd name="connsiteX451" fmla="*/ 570371 w 855276"/>
                              <a:gd name="connsiteY451" fmla="*/ 30212 h 802832"/>
                              <a:gd name="connsiteX452" fmla="*/ 572645 w 855276"/>
                              <a:gd name="connsiteY452" fmla="*/ 39317 h 802832"/>
                              <a:gd name="connsiteX453" fmla="*/ 574919 w 855276"/>
                              <a:gd name="connsiteY453" fmla="*/ 37040 h 802832"/>
                              <a:gd name="connsiteX454" fmla="*/ 574919 w 855276"/>
                              <a:gd name="connsiteY454" fmla="*/ 41593 h 802832"/>
                              <a:gd name="connsiteX455" fmla="*/ 565822 w 855276"/>
                              <a:gd name="connsiteY455" fmla="*/ 52974 h 802832"/>
                              <a:gd name="connsiteX456" fmla="*/ 568096 w 855276"/>
                              <a:gd name="connsiteY456" fmla="*/ 57526 h 802832"/>
                              <a:gd name="connsiteX457" fmla="*/ 565822 w 855276"/>
                              <a:gd name="connsiteY457" fmla="*/ 55250 h 802832"/>
                              <a:gd name="connsiteX458" fmla="*/ 561274 w 855276"/>
                              <a:gd name="connsiteY458" fmla="*/ 62079 h 802832"/>
                              <a:gd name="connsiteX459" fmla="*/ 561274 w 855276"/>
                              <a:gd name="connsiteY459" fmla="*/ 59802 h 802832"/>
                              <a:gd name="connsiteX460" fmla="*/ 559000 w 855276"/>
                              <a:gd name="connsiteY460" fmla="*/ 62079 h 802832"/>
                              <a:gd name="connsiteX461" fmla="*/ 554451 w 855276"/>
                              <a:gd name="connsiteY461" fmla="*/ 64355 h 802832"/>
                              <a:gd name="connsiteX462" fmla="*/ 552177 w 855276"/>
                              <a:gd name="connsiteY462" fmla="*/ 66631 h 802832"/>
                              <a:gd name="connsiteX463" fmla="*/ 554451 w 855276"/>
                              <a:gd name="connsiteY463" fmla="*/ 71183 h 802832"/>
                              <a:gd name="connsiteX464" fmla="*/ 543081 w 855276"/>
                              <a:gd name="connsiteY464" fmla="*/ 89393 h 802832"/>
                              <a:gd name="connsiteX465" fmla="*/ 538532 w 855276"/>
                              <a:gd name="connsiteY465" fmla="*/ 96222 h 802832"/>
                              <a:gd name="connsiteX466" fmla="*/ 536258 w 855276"/>
                              <a:gd name="connsiteY466" fmla="*/ 103050 h 802832"/>
                              <a:gd name="connsiteX467" fmla="*/ 549903 w 855276"/>
                              <a:gd name="connsiteY467" fmla="*/ 114431 h 802832"/>
                              <a:gd name="connsiteX468" fmla="*/ 556726 w 855276"/>
                              <a:gd name="connsiteY468" fmla="*/ 121260 h 802832"/>
                              <a:gd name="connsiteX469" fmla="*/ 559000 w 855276"/>
                              <a:gd name="connsiteY469" fmla="*/ 128088 h 802832"/>
                              <a:gd name="connsiteX470" fmla="*/ 565822 w 855276"/>
                              <a:gd name="connsiteY470" fmla="*/ 125812 h 802832"/>
                              <a:gd name="connsiteX471" fmla="*/ 574919 w 855276"/>
                              <a:gd name="connsiteY471" fmla="*/ 132641 h 802832"/>
                              <a:gd name="connsiteX472" fmla="*/ 584015 w 855276"/>
                              <a:gd name="connsiteY472" fmla="*/ 144022 h 802832"/>
                              <a:gd name="connsiteX473" fmla="*/ 604483 w 855276"/>
                              <a:gd name="connsiteY473" fmla="*/ 153126 h 802832"/>
                              <a:gd name="connsiteX474" fmla="*/ 609031 w 855276"/>
                              <a:gd name="connsiteY474" fmla="*/ 162231 h 802832"/>
                              <a:gd name="connsiteX475" fmla="*/ 613580 w 855276"/>
                              <a:gd name="connsiteY475" fmla="*/ 164507 h 802832"/>
                              <a:gd name="connsiteX476" fmla="*/ 620402 w 855276"/>
                              <a:gd name="connsiteY476" fmla="*/ 169060 h 802832"/>
                              <a:gd name="connsiteX477" fmla="*/ 643144 w 855276"/>
                              <a:gd name="connsiteY477" fmla="*/ 162231 h 802832"/>
                              <a:gd name="connsiteX478" fmla="*/ 656788 w 855276"/>
                              <a:gd name="connsiteY478" fmla="*/ 134917 h 802832"/>
                              <a:gd name="connsiteX479" fmla="*/ 663611 w 855276"/>
                              <a:gd name="connsiteY479" fmla="*/ 116707 h 802832"/>
                              <a:gd name="connsiteX480" fmla="*/ 668159 w 855276"/>
                              <a:gd name="connsiteY480" fmla="*/ 100774 h 802832"/>
                              <a:gd name="connsiteX481" fmla="*/ 670433 w 855276"/>
                              <a:gd name="connsiteY481" fmla="*/ 87117 h 802832"/>
                              <a:gd name="connsiteX482" fmla="*/ 670433 w 855276"/>
                              <a:gd name="connsiteY482" fmla="*/ 73460 h 802832"/>
                              <a:gd name="connsiteX483" fmla="*/ 674982 w 855276"/>
                              <a:gd name="connsiteY483" fmla="*/ 59802 h 802832"/>
                              <a:gd name="connsiteX484" fmla="*/ 679530 w 855276"/>
                              <a:gd name="connsiteY484" fmla="*/ 48421 h 802832"/>
                              <a:gd name="connsiteX485" fmla="*/ 681804 w 855276"/>
                              <a:gd name="connsiteY485" fmla="*/ 52974 h 802832"/>
                              <a:gd name="connsiteX486" fmla="*/ 684078 w 855276"/>
                              <a:gd name="connsiteY486" fmla="*/ 50698 h 802832"/>
                              <a:gd name="connsiteX487" fmla="*/ 680667 w 855276"/>
                              <a:gd name="connsiteY487" fmla="*/ 47283 h 802832"/>
                              <a:gd name="connsiteX488" fmla="*/ 677824 w 855276"/>
                              <a:gd name="connsiteY488" fmla="*/ 44438 h 802832"/>
                              <a:gd name="connsiteX489" fmla="*/ 679530 w 855276"/>
                              <a:gd name="connsiteY489" fmla="*/ 39317 h 802832"/>
                              <a:gd name="connsiteX490" fmla="*/ 681804 w 855276"/>
                              <a:gd name="connsiteY490" fmla="*/ 37040 h 802832"/>
                              <a:gd name="connsiteX491" fmla="*/ 681804 w 855276"/>
                              <a:gd name="connsiteY491" fmla="*/ 32488 h 802832"/>
                              <a:gd name="connsiteX492" fmla="*/ 686353 w 855276"/>
                              <a:gd name="connsiteY492" fmla="*/ 34764 h 802832"/>
                              <a:gd name="connsiteX493" fmla="*/ 690901 w 855276"/>
                              <a:gd name="connsiteY493" fmla="*/ 9726 h 802832"/>
                              <a:gd name="connsiteX494" fmla="*/ 695449 w 855276"/>
                              <a:gd name="connsiteY494" fmla="*/ 5174 h 802832"/>
                              <a:gd name="connsiteX495" fmla="*/ 702272 w 855276"/>
                              <a:gd name="connsiteY495" fmla="*/ 621 h 802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Lst>
                            <a:rect l="l" t="t" r="r" b="b"/>
                            <a:pathLst>
                              <a:path w="855276" h="802832">
                                <a:moveTo>
                                  <a:pt x="526286" y="730579"/>
                                </a:moveTo>
                                <a:cubicBezTo>
                                  <a:pt x="526286" y="735132"/>
                                  <a:pt x="533155" y="735132"/>
                                  <a:pt x="535445" y="732855"/>
                                </a:cubicBezTo>
                                <a:cubicBezTo>
                                  <a:pt x="535445" y="735132"/>
                                  <a:pt x="544604" y="739684"/>
                                  <a:pt x="544604" y="741960"/>
                                </a:cubicBezTo>
                                <a:cubicBezTo>
                                  <a:pt x="549183" y="744236"/>
                                  <a:pt x="556052" y="739684"/>
                                  <a:pt x="560631" y="739684"/>
                                </a:cubicBezTo>
                                <a:cubicBezTo>
                                  <a:pt x="560631" y="741960"/>
                                  <a:pt x="560631" y="744236"/>
                                  <a:pt x="562921" y="741960"/>
                                </a:cubicBezTo>
                                <a:cubicBezTo>
                                  <a:pt x="558342" y="737408"/>
                                  <a:pt x="574369" y="739684"/>
                                  <a:pt x="576659" y="739684"/>
                                </a:cubicBezTo>
                                <a:cubicBezTo>
                                  <a:pt x="578949" y="737408"/>
                                  <a:pt x="581238" y="735132"/>
                                  <a:pt x="583528" y="735132"/>
                                </a:cubicBezTo>
                                <a:cubicBezTo>
                                  <a:pt x="588107" y="737408"/>
                                  <a:pt x="588107" y="730579"/>
                                  <a:pt x="590397" y="732855"/>
                                </a:cubicBezTo>
                                <a:cubicBezTo>
                                  <a:pt x="594976" y="739684"/>
                                  <a:pt x="588107" y="746513"/>
                                  <a:pt x="583528" y="751065"/>
                                </a:cubicBezTo>
                                <a:cubicBezTo>
                                  <a:pt x="583528" y="755617"/>
                                  <a:pt x="578949" y="757894"/>
                                  <a:pt x="578949" y="762446"/>
                                </a:cubicBezTo>
                                <a:cubicBezTo>
                                  <a:pt x="576659" y="764722"/>
                                  <a:pt x="576659" y="769275"/>
                                  <a:pt x="572080" y="769275"/>
                                </a:cubicBezTo>
                                <a:cubicBezTo>
                                  <a:pt x="574369" y="766998"/>
                                  <a:pt x="574369" y="764722"/>
                                  <a:pt x="574369" y="762446"/>
                                </a:cubicBezTo>
                                <a:cubicBezTo>
                                  <a:pt x="574369" y="764722"/>
                                  <a:pt x="569790" y="766998"/>
                                  <a:pt x="569790" y="769275"/>
                                </a:cubicBezTo>
                                <a:cubicBezTo>
                                  <a:pt x="567500" y="769275"/>
                                  <a:pt x="565211" y="771551"/>
                                  <a:pt x="565211" y="773827"/>
                                </a:cubicBezTo>
                                <a:cubicBezTo>
                                  <a:pt x="562921" y="776103"/>
                                  <a:pt x="560631" y="778379"/>
                                  <a:pt x="558342" y="780656"/>
                                </a:cubicBezTo>
                                <a:cubicBezTo>
                                  <a:pt x="556052" y="782932"/>
                                  <a:pt x="553762" y="785208"/>
                                  <a:pt x="558342" y="785208"/>
                                </a:cubicBezTo>
                                <a:cubicBezTo>
                                  <a:pt x="556052" y="785208"/>
                                  <a:pt x="551473" y="796589"/>
                                  <a:pt x="551473" y="789760"/>
                                </a:cubicBezTo>
                                <a:cubicBezTo>
                                  <a:pt x="551473" y="792037"/>
                                  <a:pt x="549183" y="792037"/>
                                  <a:pt x="546893" y="789760"/>
                                </a:cubicBezTo>
                                <a:cubicBezTo>
                                  <a:pt x="546893" y="787484"/>
                                  <a:pt x="551473" y="782932"/>
                                  <a:pt x="551473" y="787484"/>
                                </a:cubicBezTo>
                                <a:cubicBezTo>
                                  <a:pt x="553762" y="787484"/>
                                  <a:pt x="553762" y="782932"/>
                                  <a:pt x="549183" y="782932"/>
                                </a:cubicBezTo>
                                <a:cubicBezTo>
                                  <a:pt x="546893" y="785208"/>
                                  <a:pt x="546893" y="787484"/>
                                  <a:pt x="544604" y="787484"/>
                                </a:cubicBezTo>
                                <a:cubicBezTo>
                                  <a:pt x="546893" y="787484"/>
                                  <a:pt x="544604" y="782932"/>
                                  <a:pt x="544604" y="782932"/>
                                </a:cubicBezTo>
                                <a:cubicBezTo>
                                  <a:pt x="544604" y="785208"/>
                                  <a:pt x="540024" y="794313"/>
                                  <a:pt x="535445" y="794313"/>
                                </a:cubicBezTo>
                                <a:cubicBezTo>
                                  <a:pt x="535445" y="792037"/>
                                  <a:pt x="533155" y="789760"/>
                                  <a:pt x="533155" y="792037"/>
                                </a:cubicBezTo>
                                <a:cubicBezTo>
                                  <a:pt x="533155" y="794313"/>
                                  <a:pt x="533155" y="796589"/>
                                  <a:pt x="528576" y="796589"/>
                                </a:cubicBezTo>
                                <a:cubicBezTo>
                                  <a:pt x="528576" y="798865"/>
                                  <a:pt x="519417" y="807970"/>
                                  <a:pt x="519417" y="798865"/>
                                </a:cubicBezTo>
                                <a:cubicBezTo>
                                  <a:pt x="517128" y="801142"/>
                                  <a:pt x="512548" y="798865"/>
                                  <a:pt x="507969" y="798865"/>
                                </a:cubicBezTo>
                                <a:cubicBezTo>
                                  <a:pt x="510259" y="798865"/>
                                  <a:pt x="510259" y="796589"/>
                                  <a:pt x="510259" y="796589"/>
                                </a:cubicBezTo>
                                <a:cubicBezTo>
                                  <a:pt x="512548" y="798865"/>
                                  <a:pt x="517128" y="796589"/>
                                  <a:pt x="514838" y="794313"/>
                                </a:cubicBezTo>
                                <a:cubicBezTo>
                                  <a:pt x="512548" y="794313"/>
                                  <a:pt x="510259" y="792037"/>
                                  <a:pt x="507969" y="794313"/>
                                </a:cubicBezTo>
                                <a:cubicBezTo>
                                  <a:pt x="510259" y="785208"/>
                                  <a:pt x="505679" y="776103"/>
                                  <a:pt x="512548" y="769275"/>
                                </a:cubicBezTo>
                                <a:cubicBezTo>
                                  <a:pt x="514838" y="771551"/>
                                  <a:pt x="514838" y="773827"/>
                                  <a:pt x="514838" y="776103"/>
                                </a:cubicBezTo>
                                <a:cubicBezTo>
                                  <a:pt x="517128" y="773827"/>
                                  <a:pt x="514838" y="769275"/>
                                  <a:pt x="514838" y="766998"/>
                                </a:cubicBezTo>
                                <a:cubicBezTo>
                                  <a:pt x="514838" y="766998"/>
                                  <a:pt x="514838" y="766998"/>
                                  <a:pt x="512548" y="766998"/>
                                </a:cubicBezTo>
                                <a:cubicBezTo>
                                  <a:pt x="519417" y="764722"/>
                                  <a:pt x="514838" y="755617"/>
                                  <a:pt x="514838" y="748789"/>
                                </a:cubicBezTo>
                                <a:cubicBezTo>
                                  <a:pt x="517128" y="741960"/>
                                  <a:pt x="519417" y="735132"/>
                                  <a:pt x="526286" y="730579"/>
                                </a:cubicBezTo>
                                <a:close/>
                                <a:moveTo>
                                  <a:pt x="602121" y="722245"/>
                                </a:moveTo>
                                <a:cubicBezTo>
                                  <a:pt x="604502" y="724627"/>
                                  <a:pt x="602121" y="727008"/>
                                  <a:pt x="599740" y="727008"/>
                                </a:cubicBezTo>
                                <a:cubicBezTo>
                                  <a:pt x="599740" y="727008"/>
                                  <a:pt x="597358" y="727008"/>
                                  <a:pt x="594977" y="727008"/>
                                </a:cubicBezTo>
                                <a:cubicBezTo>
                                  <a:pt x="594977" y="724627"/>
                                  <a:pt x="599740" y="722245"/>
                                  <a:pt x="602121" y="722245"/>
                                </a:cubicBezTo>
                                <a:close/>
                                <a:moveTo>
                                  <a:pt x="601526" y="707958"/>
                                </a:moveTo>
                                <a:cubicBezTo>
                                  <a:pt x="603609" y="710339"/>
                                  <a:pt x="603609" y="712721"/>
                                  <a:pt x="605693" y="715102"/>
                                </a:cubicBezTo>
                                <a:cubicBezTo>
                                  <a:pt x="603609" y="717483"/>
                                  <a:pt x="603609" y="722246"/>
                                  <a:pt x="599442" y="722246"/>
                                </a:cubicBezTo>
                                <a:cubicBezTo>
                                  <a:pt x="597358" y="722246"/>
                                  <a:pt x="597358" y="717483"/>
                                  <a:pt x="597358" y="715102"/>
                                </a:cubicBezTo>
                                <a:cubicBezTo>
                                  <a:pt x="599442" y="712721"/>
                                  <a:pt x="599442" y="710339"/>
                                  <a:pt x="601526" y="707958"/>
                                </a:cubicBezTo>
                                <a:close/>
                                <a:moveTo>
                                  <a:pt x="527111" y="706568"/>
                                </a:moveTo>
                                <a:cubicBezTo>
                                  <a:pt x="527111" y="710934"/>
                                  <a:pt x="522349" y="717482"/>
                                  <a:pt x="517586" y="717482"/>
                                </a:cubicBezTo>
                                <a:cubicBezTo>
                                  <a:pt x="517586" y="717482"/>
                                  <a:pt x="517586" y="715299"/>
                                  <a:pt x="517586" y="715299"/>
                                </a:cubicBezTo>
                                <a:cubicBezTo>
                                  <a:pt x="517586" y="713116"/>
                                  <a:pt x="519967" y="708751"/>
                                  <a:pt x="522349" y="708751"/>
                                </a:cubicBezTo>
                                <a:cubicBezTo>
                                  <a:pt x="524730" y="706568"/>
                                  <a:pt x="527111" y="704385"/>
                                  <a:pt x="527111" y="706568"/>
                                </a:cubicBezTo>
                                <a:close/>
                                <a:moveTo>
                                  <a:pt x="437107" y="608838"/>
                                </a:moveTo>
                                <a:cubicBezTo>
                                  <a:pt x="442130" y="608541"/>
                                  <a:pt x="446595" y="609136"/>
                                  <a:pt x="444362" y="612708"/>
                                </a:cubicBezTo>
                                <a:cubicBezTo>
                                  <a:pt x="444362" y="612708"/>
                                  <a:pt x="446595" y="612708"/>
                                  <a:pt x="448827" y="612708"/>
                                </a:cubicBezTo>
                                <a:cubicBezTo>
                                  <a:pt x="448827" y="612708"/>
                                  <a:pt x="448827" y="612708"/>
                                  <a:pt x="451060" y="612708"/>
                                </a:cubicBezTo>
                                <a:cubicBezTo>
                                  <a:pt x="453292" y="612708"/>
                                  <a:pt x="451060" y="615089"/>
                                  <a:pt x="448827" y="615089"/>
                                </a:cubicBezTo>
                                <a:cubicBezTo>
                                  <a:pt x="446595" y="615089"/>
                                  <a:pt x="444362" y="615089"/>
                                  <a:pt x="442130" y="615089"/>
                                </a:cubicBezTo>
                                <a:cubicBezTo>
                                  <a:pt x="439898" y="617471"/>
                                  <a:pt x="437665" y="619852"/>
                                  <a:pt x="435433" y="619852"/>
                                </a:cubicBezTo>
                                <a:cubicBezTo>
                                  <a:pt x="433200" y="615089"/>
                                  <a:pt x="426503" y="622233"/>
                                  <a:pt x="422038" y="617471"/>
                                </a:cubicBezTo>
                                <a:cubicBezTo>
                                  <a:pt x="417573" y="615089"/>
                                  <a:pt x="424271" y="610327"/>
                                  <a:pt x="426503" y="610327"/>
                                </a:cubicBezTo>
                                <a:cubicBezTo>
                                  <a:pt x="426503" y="610327"/>
                                  <a:pt x="432084" y="609136"/>
                                  <a:pt x="437107" y="608838"/>
                                </a:cubicBezTo>
                                <a:close/>
                                <a:moveTo>
                                  <a:pt x="26847" y="533251"/>
                                </a:moveTo>
                                <a:lnTo>
                                  <a:pt x="25179" y="537500"/>
                                </a:lnTo>
                                <a:lnTo>
                                  <a:pt x="24573" y="537804"/>
                                </a:lnTo>
                                <a:cubicBezTo>
                                  <a:pt x="24573" y="535527"/>
                                  <a:pt x="26847" y="535527"/>
                                  <a:pt x="26847" y="533251"/>
                                </a:cubicBezTo>
                                <a:close/>
                                <a:moveTo>
                                  <a:pt x="677256" y="43869"/>
                                </a:moveTo>
                                <a:lnTo>
                                  <a:pt x="677824" y="44438"/>
                                </a:lnTo>
                                <a:lnTo>
                                  <a:pt x="677256" y="46145"/>
                                </a:lnTo>
                                <a:cubicBezTo>
                                  <a:pt x="677256" y="46145"/>
                                  <a:pt x="677256" y="46145"/>
                                  <a:pt x="677256" y="43869"/>
                                </a:cubicBezTo>
                                <a:close/>
                                <a:moveTo>
                                  <a:pt x="437814" y="14866"/>
                                </a:moveTo>
                                <a:cubicBezTo>
                                  <a:pt x="440087" y="12633"/>
                                  <a:pt x="442360" y="17098"/>
                                  <a:pt x="444633" y="17098"/>
                                </a:cubicBezTo>
                                <a:cubicBezTo>
                                  <a:pt x="446906" y="17098"/>
                                  <a:pt x="449179" y="14866"/>
                                  <a:pt x="451452" y="17098"/>
                                </a:cubicBezTo>
                                <a:cubicBezTo>
                                  <a:pt x="451452" y="14866"/>
                                  <a:pt x="455998" y="14866"/>
                                  <a:pt x="455998" y="17098"/>
                                </a:cubicBezTo>
                                <a:cubicBezTo>
                                  <a:pt x="453725" y="14866"/>
                                  <a:pt x="455998" y="12633"/>
                                  <a:pt x="460544" y="14866"/>
                                </a:cubicBezTo>
                                <a:cubicBezTo>
                                  <a:pt x="462817" y="14866"/>
                                  <a:pt x="460544" y="19331"/>
                                  <a:pt x="460544" y="21563"/>
                                </a:cubicBezTo>
                                <a:cubicBezTo>
                                  <a:pt x="460544" y="23796"/>
                                  <a:pt x="453725" y="28261"/>
                                  <a:pt x="449179" y="30493"/>
                                </a:cubicBezTo>
                                <a:cubicBezTo>
                                  <a:pt x="442360" y="30493"/>
                                  <a:pt x="437814" y="19331"/>
                                  <a:pt x="437814" y="14866"/>
                                </a:cubicBezTo>
                                <a:close/>
                                <a:moveTo>
                                  <a:pt x="702272" y="621"/>
                                </a:moveTo>
                                <a:cubicBezTo>
                                  <a:pt x="702272" y="2898"/>
                                  <a:pt x="699997" y="5174"/>
                                  <a:pt x="699997" y="5174"/>
                                </a:cubicBezTo>
                                <a:cubicBezTo>
                                  <a:pt x="702272" y="5174"/>
                                  <a:pt x="702272" y="5174"/>
                                  <a:pt x="702272" y="5174"/>
                                </a:cubicBezTo>
                                <a:cubicBezTo>
                                  <a:pt x="702272" y="7450"/>
                                  <a:pt x="704546" y="7450"/>
                                  <a:pt x="704546" y="12002"/>
                                </a:cubicBezTo>
                                <a:cubicBezTo>
                                  <a:pt x="704546" y="12002"/>
                                  <a:pt x="704546" y="14278"/>
                                  <a:pt x="704546" y="14278"/>
                                </a:cubicBezTo>
                                <a:cubicBezTo>
                                  <a:pt x="706820" y="16555"/>
                                  <a:pt x="704546" y="16555"/>
                                  <a:pt x="704546" y="18831"/>
                                </a:cubicBezTo>
                                <a:cubicBezTo>
                                  <a:pt x="704546" y="21107"/>
                                  <a:pt x="704546" y="25659"/>
                                  <a:pt x="704546" y="27936"/>
                                </a:cubicBezTo>
                                <a:cubicBezTo>
                                  <a:pt x="704546" y="30212"/>
                                  <a:pt x="711368" y="30212"/>
                                  <a:pt x="713642" y="30212"/>
                                </a:cubicBezTo>
                                <a:cubicBezTo>
                                  <a:pt x="709094" y="34764"/>
                                  <a:pt x="706820" y="37040"/>
                                  <a:pt x="711368" y="41593"/>
                                </a:cubicBezTo>
                                <a:cubicBezTo>
                                  <a:pt x="713642" y="43869"/>
                                  <a:pt x="713642" y="48421"/>
                                  <a:pt x="711368" y="52974"/>
                                </a:cubicBezTo>
                                <a:cubicBezTo>
                                  <a:pt x="715917" y="50698"/>
                                  <a:pt x="713642" y="71183"/>
                                  <a:pt x="713642" y="73460"/>
                                </a:cubicBezTo>
                                <a:cubicBezTo>
                                  <a:pt x="711368" y="75736"/>
                                  <a:pt x="713642" y="78012"/>
                                  <a:pt x="715917" y="80288"/>
                                </a:cubicBezTo>
                                <a:cubicBezTo>
                                  <a:pt x="715917" y="82564"/>
                                  <a:pt x="713642" y="87117"/>
                                  <a:pt x="715917" y="89393"/>
                                </a:cubicBezTo>
                                <a:cubicBezTo>
                                  <a:pt x="718191" y="93945"/>
                                  <a:pt x="725013" y="91669"/>
                                  <a:pt x="725013" y="87117"/>
                                </a:cubicBezTo>
                                <a:cubicBezTo>
                                  <a:pt x="729561" y="91669"/>
                                  <a:pt x="731836" y="80288"/>
                                  <a:pt x="734110" y="91669"/>
                                </a:cubicBezTo>
                                <a:cubicBezTo>
                                  <a:pt x="734110" y="93945"/>
                                  <a:pt x="738658" y="96222"/>
                                  <a:pt x="740932" y="98498"/>
                                </a:cubicBezTo>
                                <a:cubicBezTo>
                                  <a:pt x="747755" y="103050"/>
                                  <a:pt x="747755" y="103050"/>
                                  <a:pt x="747755" y="103050"/>
                                </a:cubicBezTo>
                                <a:cubicBezTo>
                                  <a:pt x="745481" y="105326"/>
                                  <a:pt x="743206" y="109879"/>
                                  <a:pt x="745481" y="112155"/>
                                </a:cubicBezTo>
                                <a:cubicBezTo>
                                  <a:pt x="740932" y="118984"/>
                                  <a:pt x="747755" y="125812"/>
                                  <a:pt x="745481" y="132641"/>
                                </a:cubicBezTo>
                                <a:cubicBezTo>
                                  <a:pt x="743206" y="137193"/>
                                  <a:pt x="743206" y="139469"/>
                                  <a:pt x="745481" y="144022"/>
                                </a:cubicBezTo>
                                <a:cubicBezTo>
                                  <a:pt x="745481" y="146298"/>
                                  <a:pt x="750029" y="150850"/>
                                  <a:pt x="747755" y="153126"/>
                                </a:cubicBezTo>
                                <a:cubicBezTo>
                                  <a:pt x="750029" y="150850"/>
                                  <a:pt x="750029" y="150850"/>
                                  <a:pt x="752303" y="150850"/>
                                </a:cubicBezTo>
                                <a:cubicBezTo>
                                  <a:pt x="752303" y="155403"/>
                                  <a:pt x="750029" y="157679"/>
                                  <a:pt x="752303" y="162231"/>
                                </a:cubicBezTo>
                                <a:cubicBezTo>
                                  <a:pt x="752303" y="164507"/>
                                  <a:pt x="752303" y="169060"/>
                                  <a:pt x="752303" y="171336"/>
                                </a:cubicBezTo>
                                <a:cubicBezTo>
                                  <a:pt x="752303" y="175888"/>
                                  <a:pt x="750029" y="178165"/>
                                  <a:pt x="747755" y="180441"/>
                                </a:cubicBezTo>
                                <a:cubicBezTo>
                                  <a:pt x="745481" y="184993"/>
                                  <a:pt x="750029" y="184993"/>
                                  <a:pt x="750029" y="189546"/>
                                </a:cubicBezTo>
                                <a:cubicBezTo>
                                  <a:pt x="750029" y="191822"/>
                                  <a:pt x="754577" y="189546"/>
                                  <a:pt x="752303" y="194098"/>
                                </a:cubicBezTo>
                                <a:cubicBezTo>
                                  <a:pt x="752303" y="196374"/>
                                  <a:pt x="747755" y="198650"/>
                                  <a:pt x="750029" y="200927"/>
                                </a:cubicBezTo>
                                <a:cubicBezTo>
                                  <a:pt x="752303" y="203203"/>
                                  <a:pt x="754577" y="207755"/>
                                  <a:pt x="756851" y="207755"/>
                                </a:cubicBezTo>
                                <a:cubicBezTo>
                                  <a:pt x="759126" y="207755"/>
                                  <a:pt x="761400" y="212308"/>
                                  <a:pt x="763674" y="207755"/>
                                </a:cubicBezTo>
                                <a:cubicBezTo>
                                  <a:pt x="763674" y="214584"/>
                                  <a:pt x="772770" y="214584"/>
                                  <a:pt x="770496" y="210031"/>
                                </a:cubicBezTo>
                                <a:cubicBezTo>
                                  <a:pt x="772770" y="214584"/>
                                  <a:pt x="772770" y="221412"/>
                                  <a:pt x="775045" y="223689"/>
                                </a:cubicBezTo>
                                <a:cubicBezTo>
                                  <a:pt x="775045" y="221412"/>
                                  <a:pt x="777319" y="221412"/>
                                  <a:pt x="779593" y="221412"/>
                                </a:cubicBezTo>
                                <a:cubicBezTo>
                                  <a:pt x="777319" y="225965"/>
                                  <a:pt x="781867" y="225965"/>
                                  <a:pt x="784141" y="225965"/>
                                </a:cubicBezTo>
                                <a:cubicBezTo>
                                  <a:pt x="786415" y="228241"/>
                                  <a:pt x="784141" y="232793"/>
                                  <a:pt x="788690" y="230517"/>
                                </a:cubicBezTo>
                                <a:cubicBezTo>
                                  <a:pt x="790964" y="230517"/>
                                  <a:pt x="788690" y="228241"/>
                                  <a:pt x="790964" y="228241"/>
                                </a:cubicBezTo>
                                <a:cubicBezTo>
                                  <a:pt x="793238" y="228241"/>
                                  <a:pt x="793238" y="230517"/>
                                  <a:pt x="793238" y="232793"/>
                                </a:cubicBezTo>
                                <a:cubicBezTo>
                                  <a:pt x="793238" y="232793"/>
                                  <a:pt x="795512" y="232793"/>
                                  <a:pt x="795512" y="235070"/>
                                </a:cubicBezTo>
                                <a:cubicBezTo>
                                  <a:pt x="797786" y="235070"/>
                                  <a:pt x="797786" y="237346"/>
                                  <a:pt x="797786" y="239622"/>
                                </a:cubicBezTo>
                                <a:cubicBezTo>
                                  <a:pt x="797786" y="237346"/>
                                  <a:pt x="793238" y="237346"/>
                                  <a:pt x="793238" y="239622"/>
                                </a:cubicBezTo>
                                <a:cubicBezTo>
                                  <a:pt x="790964" y="244174"/>
                                  <a:pt x="795512" y="246451"/>
                                  <a:pt x="793238" y="248727"/>
                                </a:cubicBezTo>
                                <a:cubicBezTo>
                                  <a:pt x="804609" y="244174"/>
                                  <a:pt x="795512" y="264660"/>
                                  <a:pt x="804609" y="264660"/>
                                </a:cubicBezTo>
                                <a:cubicBezTo>
                                  <a:pt x="802334" y="266936"/>
                                  <a:pt x="802334" y="273765"/>
                                  <a:pt x="802334" y="276041"/>
                                </a:cubicBezTo>
                                <a:cubicBezTo>
                                  <a:pt x="802334" y="280593"/>
                                  <a:pt x="804609" y="285146"/>
                                  <a:pt x="802334" y="287422"/>
                                </a:cubicBezTo>
                                <a:cubicBezTo>
                                  <a:pt x="806883" y="285146"/>
                                  <a:pt x="806883" y="287422"/>
                                  <a:pt x="809157" y="291974"/>
                                </a:cubicBezTo>
                                <a:cubicBezTo>
                                  <a:pt x="811431" y="287422"/>
                                  <a:pt x="809157" y="282870"/>
                                  <a:pt x="811431" y="280593"/>
                                </a:cubicBezTo>
                                <a:cubicBezTo>
                                  <a:pt x="815979" y="282870"/>
                                  <a:pt x="815979" y="287422"/>
                                  <a:pt x="820528" y="289698"/>
                                </a:cubicBezTo>
                                <a:cubicBezTo>
                                  <a:pt x="820528" y="289698"/>
                                  <a:pt x="820528" y="287422"/>
                                  <a:pt x="820528" y="285146"/>
                                </a:cubicBezTo>
                                <a:cubicBezTo>
                                  <a:pt x="822802" y="282870"/>
                                  <a:pt x="825076" y="285146"/>
                                  <a:pt x="825076" y="287422"/>
                                </a:cubicBezTo>
                                <a:cubicBezTo>
                                  <a:pt x="825076" y="291974"/>
                                  <a:pt x="825076" y="296527"/>
                                  <a:pt x="822802" y="301079"/>
                                </a:cubicBezTo>
                                <a:cubicBezTo>
                                  <a:pt x="822802" y="303355"/>
                                  <a:pt x="822802" y="305632"/>
                                  <a:pt x="822802" y="310184"/>
                                </a:cubicBezTo>
                                <a:cubicBezTo>
                                  <a:pt x="820528" y="314736"/>
                                  <a:pt x="825076" y="312460"/>
                                  <a:pt x="825076" y="314736"/>
                                </a:cubicBezTo>
                                <a:cubicBezTo>
                                  <a:pt x="825076" y="314736"/>
                                  <a:pt x="825076" y="312460"/>
                                  <a:pt x="827350" y="312460"/>
                                </a:cubicBezTo>
                                <a:cubicBezTo>
                                  <a:pt x="831899" y="312460"/>
                                  <a:pt x="831899" y="323841"/>
                                  <a:pt x="827350" y="317013"/>
                                </a:cubicBezTo>
                                <a:cubicBezTo>
                                  <a:pt x="827350" y="319289"/>
                                  <a:pt x="836447" y="330670"/>
                                  <a:pt x="836447" y="323841"/>
                                </a:cubicBezTo>
                                <a:cubicBezTo>
                                  <a:pt x="840995" y="328394"/>
                                  <a:pt x="838721" y="332946"/>
                                  <a:pt x="840995" y="339775"/>
                                </a:cubicBezTo>
                                <a:cubicBezTo>
                                  <a:pt x="843269" y="342051"/>
                                  <a:pt x="845543" y="342051"/>
                                  <a:pt x="847818" y="344327"/>
                                </a:cubicBezTo>
                                <a:cubicBezTo>
                                  <a:pt x="847818" y="346603"/>
                                  <a:pt x="847818" y="348879"/>
                                  <a:pt x="847818" y="351156"/>
                                </a:cubicBezTo>
                                <a:cubicBezTo>
                                  <a:pt x="847818" y="355708"/>
                                  <a:pt x="854640" y="353432"/>
                                  <a:pt x="854640" y="360260"/>
                                </a:cubicBezTo>
                                <a:cubicBezTo>
                                  <a:pt x="854640" y="362537"/>
                                  <a:pt x="852366" y="362537"/>
                                  <a:pt x="850092" y="364813"/>
                                </a:cubicBezTo>
                                <a:cubicBezTo>
                                  <a:pt x="850092" y="367089"/>
                                  <a:pt x="852366" y="369365"/>
                                  <a:pt x="852366" y="373917"/>
                                </a:cubicBezTo>
                                <a:cubicBezTo>
                                  <a:pt x="854640" y="371641"/>
                                  <a:pt x="854640" y="371641"/>
                                  <a:pt x="854640" y="371641"/>
                                </a:cubicBezTo>
                                <a:cubicBezTo>
                                  <a:pt x="856914" y="373917"/>
                                  <a:pt x="852366" y="376194"/>
                                  <a:pt x="852366" y="378470"/>
                                </a:cubicBezTo>
                                <a:cubicBezTo>
                                  <a:pt x="850092" y="383022"/>
                                  <a:pt x="847818" y="387575"/>
                                  <a:pt x="847818" y="392127"/>
                                </a:cubicBezTo>
                                <a:cubicBezTo>
                                  <a:pt x="847818" y="396679"/>
                                  <a:pt x="847818" y="398956"/>
                                  <a:pt x="845543" y="401232"/>
                                </a:cubicBezTo>
                                <a:cubicBezTo>
                                  <a:pt x="843269" y="403508"/>
                                  <a:pt x="843269" y="405784"/>
                                  <a:pt x="845543" y="410337"/>
                                </a:cubicBezTo>
                                <a:cubicBezTo>
                                  <a:pt x="845543" y="410337"/>
                                  <a:pt x="845543" y="417165"/>
                                  <a:pt x="845543" y="419441"/>
                                </a:cubicBezTo>
                                <a:cubicBezTo>
                                  <a:pt x="845543" y="421718"/>
                                  <a:pt x="843269" y="421718"/>
                                  <a:pt x="843269" y="423994"/>
                                </a:cubicBezTo>
                                <a:cubicBezTo>
                                  <a:pt x="843269" y="426270"/>
                                  <a:pt x="845543" y="428546"/>
                                  <a:pt x="845543" y="428546"/>
                                </a:cubicBezTo>
                                <a:cubicBezTo>
                                  <a:pt x="843269" y="439927"/>
                                  <a:pt x="838721" y="444480"/>
                                  <a:pt x="831899" y="453584"/>
                                </a:cubicBezTo>
                                <a:cubicBezTo>
                                  <a:pt x="827350" y="462689"/>
                                  <a:pt x="822802" y="471794"/>
                                  <a:pt x="815979" y="480899"/>
                                </a:cubicBezTo>
                                <a:cubicBezTo>
                                  <a:pt x="811431" y="487727"/>
                                  <a:pt x="811431" y="496832"/>
                                  <a:pt x="804609" y="503661"/>
                                </a:cubicBezTo>
                                <a:cubicBezTo>
                                  <a:pt x="802334" y="505937"/>
                                  <a:pt x="800060" y="510489"/>
                                  <a:pt x="797786" y="512765"/>
                                </a:cubicBezTo>
                                <a:cubicBezTo>
                                  <a:pt x="795512" y="517318"/>
                                  <a:pt x="790964" y="519594"/>
                                  <a:pt x="788690" y="521870"/>
                                </a:cubicBezTo>
                                <a:cubicBezTo>
                                  <a:pt x="786415" y="524146"/>
                                  <a:pt x="786415" y="528699"/>
                                  <a:pt x="784141" y="530975"/>
                                </a:cubicBezTo>
                                <a:cubicBezTo>
                                  <a:pt x="784141" y="533251"/>
                                  <a:pt x="781867" y="533251"/>
                                  <a:pt x="779593" y="533251"/>
                                </a:cubicBezTo>
                                <a:cubicBezTo>
                                  <a:pt x="777319" y="535527"/>
                                  <a:pt x="775045" y="537804"/>
                                  <a:pt x="772770" y="537804"/>
                                </a:cubicBezTo>
                                <a:cubicBezTo>
                                  <a:pt x="777319" y="537804"/>
                                  <a:pt x="768222" y="540080"/>
                                  <a:pt x="768222" y="540080"/>
                                </a:cubicBezTo>
                                <a:cubicBezTo>
                                  <a:pt x="763674" y="542356"/>
                                  <a:pt x="761400" y="544632"/>
                                  <a:pt x="759126" y="549185"/>
                                </a:cubicBezTo>
                                <a:cubicBezTo>
                                  <a:pt x="756851" y="549185"/>
                                  <a:pt x="754577" y="551461"/>
                                  <a:pt x="752303" y="553737"/>
                                </a:cubicBezTo>
                                <a:cubicBezTo>
                                  <a:pt x="750029" y="556013"/>
                                  <a:pt x="750029" y="558289"/>
                                  <a:pt x="745481" y="558289"/>
                                </a:cubicBezTo>
                                <a:cubicBezTo>
                                  <a:pt x="745481" y="560566"/>
                                  <a:pt x="745481" y="560566"/>
                                  <a:pt x="747755" y="560566"/>
                                </a:cubicBezTo>
                                <a:cubicBezTo>
                                  <a:pt x="745481" y="562842"/>
                                  <a:pt x="743206" y="565118"/>
                                  <a:pt x="743206" y="567394"/>
                                </a:cubicBezTo>
                                <a:cubicBezTo>
                                  <a:pt x="740932" y="569670"/>
                                  <a:pt x="740932" y="567394"/>
                                  <a:pt x="738658" y="569670"/>
                                </a:cubicBezTo>
                                <a:cubicBezTo>
                                  <a:pt x="736384" y="574223"/>
                                  <a:pt x="731836" y="576499"/>
                                  <a:pt x="729561" y="578775"/>
                                </a:cubicBezTo>
                                <a:cubicBezTo>
                                  <a:pt x="727287" y="581051"/>
                                  <a:pt x="727287" y="581051"/>
                                  <a:pt x="727287" y="581051"/>
                                </a:cubicBezTo>
                                <a:cubicBezTo>
                                  <a:pt x="725013" y="585604"/>
                                  <a:pt x="725013" y="585604"/>
                                  <a:pt x="725013" y="585604"/>
                                </a:cubicBezTo>
                                <a:cubicBezTo>
                                  <a:pt x="722739" y="587880"/>
                                  <a:pt x="718191" y="592432"/>
                                  <a:pt x="720465" y="594709"/>
                                </a:cubicBezTo>
                                <a:cubicBezTo>
                                  <a:pt x="720465" y="594709"/>
                                  <a:pt x="718191" y="596985"/>
                                  <a:pt x="718191" y="594709"/>
                                </a:cubicBezTo>
                                <a:cubicBezTo>
                                  <a:pt x="715917" y="594709"/>
                                  <a:pt x="718191" y="599261"/>
                                  <a:pt x="715917" y="599261"/>
                                </a:cubicBezTo>
                                <a:cubicBezTo>
                                  <a:pt x="713642" y="599261"/>
                                  <a:pt x="711368" y="599261"/>
                                  <a:pt x="709094" y="601537"/>
                                </a:cubicBezTo>
                                <a:cubicBezTo>
                                  <a:pt x="704546" y="606090"/>
                                  <a:pt x="699997" y="612918"/>
                                  <a:pt x="695449" y="617470"/>
                                </a:cubicBezTo>
                                <a:cubicBezTo>
                                  <a:pt x="690901" y="622023"/>
                                  <a:pt x="688627" y="628851"/>
                                  <a:pt x="684078" y="633404"/>
                                </a:cubicBezTo>
                                <a:cubicBezTo>
                                  <a:pt x="684078" y="635680"/>
                                  <a:pt x="679530" y="644785"/>
                                  <a:pt x="674982" y="644785"/>
                                </a:cubicBezTo>
                                <a:cubicBezTo>
                                  <a:pt x="679530" y="644785"/>
                                  <a:pt x="674982" y="649337"/>
                                  <a:pt x="674982" y="651613"/>
                                </a:cubicBezTo>
                                <a:cubicBezTo>
                                  <a:pt x="674982" y="651613"/>
                                  <a:pt x="672708" y="653890"/>
                                  <a:pt x="672708" y="653890"/>
                                </a:cubicBezTo>
                                <a:cubicBezTo>
                                  <a:pt x="670433" y="656166"/>
                                  <a:pt x="668159" y="656166"/>
                                  <a:pt x="668159" y="656166"/>
                                </a:cubicBezTo>
                                <a:cubicBezTo>
                                  <a:pt x="663611" y="658442"/>
                                  <a:pt x="661337" y="660718"/>
                                  <a:pt x="654514" y="662994"/>
                                </a:cubicBezTo>
                                <a:cubicBezTo>
                                  <a:pt x="647692" y="662994"/>
                                  <a:pt x="640869" y="662994"/>
                                  <a:pt x="636321" y="662994"/>
                                </a:cubicBezTo>
                                <a:cubicBezTo>
                                  <a:pt x="622676" y="662994"/>
                                  <a:pt x="611305" y="672099"/>
                                  <a:pt x="602209" y="678928"/>
                                </a:cubicBezTo>
                                <a:cubicBezTo>
                                  <a:pt x="597660" y="681204"/>
                                  <a:pt x="593112" y="683480"/>
                                  <a:pt x="586290" y="683480"/>
                                </a:cubicBezTo>
                                <a:cubicBezTo>
                                  <a:pt x="581741" y="685756"/>
                                  <a:pt x="581741" y="683480"/>
                                  <a:pt x="581741" y="688033"/>
                                </a:cubicBezTo>
                                <a:cubicBezTo>
                                  <a:pt x="581741" y="688033"/>
                                  <a:pt x="584015" y="688033"/>
                                  <a:pt x="586290" y="685756"/>
                                </a:cubicBezTo>
                                <a:cubicBezTo>
                                  <a:pt x="584015" y="690309"/>
                                  <a:pt x="581741" y="692585"/>
                                  <a:pt x="579467" y="694861"/>
                                </a:cubicBezTo>
                                <a:cubicBezTo>
                                  <a:pt x="579467" y="692585"/>
                                  <a:pt x="579467" y="690309"/>
                                  <a:pt x="579467" y="688033"/>
                                </a:cubicBezTo>
                                <a:cubicBezTo>
                                  <a:pt x="577193" y="685756"/>
                                  <a:pt x="574919" y="688033"/>
                                  <a:pt x="572645" y="688033"/>
                                </a:cubicBezTo>
                                <a:cubicBezTo>
                                  <a:pt x="574919" y="685756"/>
                                  <a:pt x="574919" y="683480"/>
                                  <a:pt x="574919" y="683480"/>
                                </a:cubicBezTo>
                                <a:cubicBezTo>
                                  <a:pt x="572645" y="683480"/>
                                  <a:pt x="570371" y="683480"/>
                                  <a:pt x="570371" y="681204"/>
                                </a:cubicBezTo>
                                <a:cubicBezTo>
                                  <a:pt x="568096" y="676652"/>
                                  <a:pt x="572645" y="676652"/>
                                  <a:pt x="572645" y="674375"/>
                                </a:cubicBezTo>
                                <a:cubicBezTo>
                                  <a:pt x="574919" y="669823"/>
                                  <a:pt x="565822" y="676652"/>
                                  <a:pt x="563548" y="676652"/>
                                </a:cubicBezTo>
                                <a:cubicBezTo>
                                  <a:pt x="561274" y="678928"/>
                                  <a:pt x="559000" y="678928"/>
                                  <a:pt x="556726" y="674375"/>
                                </a:cubicBezTo>
                                <a:cubicBezTo>
                                  <a:pt x="559000" y="676652"/>
                                  <a:pt x="563548" y="674375"/>
                                  <a:pt x="565822" y="672099"/>
                                </a:cubicBezTo>
                                <a:cubicBezTo>
                                  <a:pt x="568096" y="669823"/>
                                  <a:pt x="565822" y="667547"/>
                                  <a:pt x="565822" y="662994"/>
                                </a:cubicBezTo>
                                <a:cubicBezTo>
                                  <a:pt x="561274" y="665271"/>
                                  <a:pt x="556726" y="667547"/>
                                  <a:pt x="552177" y="669823"/>
                                </a:cubicBezTo>
                                <a:cubicBezTo>
                                  <a:pt x="554451" y="672099"/>
                                  <a:pt x="556726" y="669823"/>
                                  <a:pt x="559000" y="672099"/>
                                </a:cubicBezTo>
                                <a:cubicBezTo>
                                  <a:pt x="556726" y="674375"/>
                                  <a:pt x="552177" y="674375"/>
                                  <a:pt x="549903" y="674375"/>
                                </a:cubicBezTo>
                                <a:cubicBezTo>
                                  <a:pt x="545355" y="676652"/>
                                  <a:pt x="540807" y="678928"/>
                                  <a:pt x="538532" y="681204"/>
                                </a:cubicBezTo>
                                <a:cubicBezTo>
                                  <a:pt x="536258" y="683480"/>
                                  <a:pt x="531710" y="685756"/>
                                  <a:pt x="529436" y="685756"/>
                                </a:cubicBezTo>
                                <a:cubicBezTo>
                                  <a:pt x="524887" y="688033"/>
                                  <a:pt x="524887" y="685756"/>
                                  <a:pt x="522613" y="683480"/>
                                </a:cubicBezTo>
                                <a:cubicBezTo>
                                  <a:pt x="515791" y="681204"/>
                                  <a:pt x="513517" y="674375"/>
                                  <a:pt x="506694" y="676652"/>
                                </a:cubicBezTo>
                                <a:cubicBezTo>
                                  <a:pt x="502146" y="676652"/>
                                  <a:pt x="502146" y="672099"/>
                                  <a:pt x="497598" y="674375"/>
                                </a:cubicBezTo>
                                <a:cubicBezTo>
                                  <a:pt x="495323" y="674375"/>
                                  <a:pt x="495323" y="674375"/>
                                  <a:pt x="493049" y="676652"/>
                                </a:cubicBezTo>
                                <a:cubicBezTo>
                                  <a:pt x="493049" y="676652"/>
                                  <a:pt x="490775" y="676652"/>
                                  <a:pt x="488501" y="676652"/>
                                </a:cubicBezTo>
                                <a:cubicBezTo>
                                  <a:pt x="495323" y="669823"/>
                                  <a:pt x="479404" y="667547"/>
                                  <a:pt x="477130" y="665271"/>
                                </a:cubicBezTo>
                                <a:cubicBezTo>
                                  <a:pt x="474856" y="662994"/>
                                  <a:pt x="474856" y="658442"/>
                                  <a:pt x="474856" y="656166"/>
                                </a:cubicBezTo>
                                <a:cubicBezTo>
                                  <a:pt x="474856" y="653890"/>
                                  <a:pt x="470308" y="651613"/>
                                  <a:pt x="470308" y="649337"/>
                                </a:cubicBezTo>
                                <a:cubicBezTo>
                                  <a:pt x="472582" y="642509"/>
                                  <a:pt x="477130" y="637956"/>
                                  <a:pt x="479404" y="633404"/>
                                </a:cubicBezTo>
                                <a:cubicBezTo>
                                  <a:pt x="481678" y="624299"/>
                                  <a:pt x="479404" y="615194"/>
                                  <a:pt x="472582" y="608366"/>
                                </a:cubicBezTo>
                                <a:cubicBezTo>
                                  <a:pt x="477130" y="610642"/>
                                  <a:pt x="479404" y="617470"/>
                                  <a:pt x="481678" y="624299"/>
                                </a:cubicBezTo>
                                <a:cubicBezTo>
                                  <a:pt x="481678" y="619747"/>
                                  <a:pt x="479404" y="615194"/>
                                  <a:pt x="477130" y="612918"/>
                                </a:cubicBezTo>
                                <a:cubicBezTo>
                                  <a:pt x="477130" y="610642"/>
                                  <a:pt x="472582" y="606090"/>
                                  <a:pt x="479404" y="606090"/>
                                </a:cubicBezTo>
                                <a:cubicBezTo>
                                  <a:pt x="479404" y="603813"/>
                                  <a:pt x="483953" y="606090"/>
                                  <a:pt x="483953" y="603813"/>
                                </a:cubicBezTo>
                                <a:cubicBezTo>
                                  <a:pt x="481678" y="599261"/>
                                  <a:pt x="472582" y="603813"/>
                                  <a:pt x="474856" y="606090"/>
                                </a:cubicBezTo>
                                <a:lnTo>
                                  <a:pt x="472582" y="606090"/>
                                </a:lnTo>
                                <a:cubicBezTo>
                                  <a:pt x="468034" y="606090"/>
                                  <a:pt x="458937" y="612918"/>
                                  <a:pt x="454389" y="608366"/>
                                </a:cubicBezTo>
                                <a:cubicBezTo>
                                  <a:pt x="456663" y="606090"/>
                                  <a:pt x="461211" y="603813"/>
                                  <a:pt x="463485" y="601537"/>
                                </a:cubicBezTo>
                                <a:cubicBezTo>
                                  <a:pt x="465759" y="601537"/>
                                  <a:pt x="468034" y="596985"/>
                                  <a:pt x="470308" y="594709"/>
                                </a:cubicBezTo>
                                <a:cubicBezTo>
                                  <a:pt x="472582" y="587880"/>
                                  <a:pt x="472582" y="581051"/>
                                  <a:pt x="470308" y="571947"/>
                                </a:cubicBezTo>
                                <a:cubicBezTo>
                                  <a:pt x="470308" y="574223"/>
                                  <a:pt x="468034" y="576499"/>
                                  <a:pt x="468034" y="576499"/>
                                </a:cubicBezTo>
                                <a:cubicBezTo>
                                  <a:pt x="465759" y="578775"/>
                                  <a:pt x="463485" y="581051"/>
                                  <a:pt x="463485" y="581051"/>
                                </a:cubicBezTo>
                                <a:cubicBezTo>
                                  <a:pt x="461211" y="585604"/>
                                  <a:pt x="456663" y="590156"/>
                                  <a:pt x="454389" y="594709"/>
                                </a:cubicBezTo>
                                <a:cubicBezTo>
                                  <a:pt x="452114" y="596985"/>
                                  <a:pt x="452114" y="596985"/>
                                  <a:pt x="447566" y="596985"/>
                                </a:cubicBezTo>
                                <a:cubicBezTo>
                                  <a:pt x="443018" y="596985"/>
                                  <a:pt x="438470" y="601537"/>
                                  <a:pt x="433921" y="601537"/>
                                </a:cubicBezTo>
                                <a:cubicBezTo>
                                  <a:pt x="433921" y="596985"/>
                                  <a:pt x="436195" y="594709"/>
                                  <a:pt x="438470" y="592432"/>
                                </a:cubicBezTo>
                                <a:cubicBezTo>
                                  <a:pt x="443018" y="590156"/>
                                  <a:pt x="447566" y="594709"/>
                                  <a:pt x="449840" y="590156"/>
                                </a:cubicBezTo>
                                <a:cubicBezTo>
                                  <a:pt x="456663" y="585604"/>
                                  <a:pt x="456663" y="576499"/>
                                  <a:pt x="461211" y="569670"/>
                                </a:cubicBezTo>
                                <a:cubicBezTo>
                                  <a:pt x="463485" y="565118"/>
                                  <a:pt x="465759" y="562842"/>
                                  <a:pt x="470308" y="560566"/>
                                </a:cubicBezTo>
                                <a:cubicBezTo>
                                  <a:pt x="474856" y="558289"/>
                                  <a:pt x="472582" y="556013"/>
                                  <a:pt x="474856" y="551461"/>
                                </a:cubicBezTo>
                                <a:cubicBezTo>
                                  <a:pt x="474856" y="549185"/>
                                  <a:pt x="477130" y="549185"/>
                                  <a:pt x="479404" y="546908"/>
                                </a:cubicBezTo>
                                <a:cubicBezTo>
                                  <a:pt x="479404" y="542356"/>
                                  <a:pt x="479404" y="542356"/>
                                  <a:pt x="479404" y="542356"/>
                                </a:cubicBezTo>
                                <a:cubicBezTo>
                                  <a:pt x="479404" y="542356"/>
                                  <a:pt x="481678" y="535527"/>
                                  <a:pt x="479404" y="533251"/>
                                </a:cubicBezTo>
                                <a:cubicBezTo>
                                  <a:pt x="479404" y="533251"/>
                                  <a:pt x="477130" y="540080"/>
                                  <a:pt x="477130" y="540080"/>
                                </a:cubicBezTo>
                                <a:cubicBezTo>
                                  <a:pt x="474856" y="544632"/>
                                  <a:pt x="470308" y="546908"/>
                                  <a:pt x="468034" y="549185"/>
                                </a:cubicBezTo>
                                <a:cubicBezTo>
                                  <a:pt x="465759" y="551461"/>
                                  <a:pt x="463485" y="556013"/>
                                  <a:pt x="461211" y="558289"/>
                                </a:cubicBezTo>
                                <a:cubicBezTo>
                                  <a:pt x="458937" y="560566"/>
                                  <a:pt x="458937" y="560566"/>
                                  <a:pt x="456663" y="562842"/>
                                </a:cubicBezTo>
                                <a:cubicBezTo>
                                  <a:pt x="454389" y="562842"/>
                                  <a:pt x="454389" y="560566"/>
                                  <a:pt x="452114" y="560566"/>
                                </a:cubicBezTo>
                                <a:cubicBezTo>
                                  <a:pt x="449840" y="562842"/>
                                  <a:pt x="445292" y="565118"/>
                                  <a:pt x="443018" y="567394"/>
                                </a:cubicBezTo>
                                <a:cubicBezTo>
                                  <a:pt x="438470" y="569670"/>
                                  <a:pt x="436195" y="571947"/>
                                  <a:pt x="431647" y="574223"/>
                                </a:cubicBezTo>
                                <a:cubicBezTo>
                                  <a:pt x="431647" y="576499"/>
                                  <a:pt x="427099" y="583328"/>
                                  <a:pt x="424825" y="581051"/>
                                </a:cubicBezTo>
                                <a:cubicBezTo>
                                  <a:pt x="420276" y="581051"/>
                                  <a:pt x="420276" y="587880"/>
                                  <a:pt x="418002" y="590156"/>
                                </a:cubicBezTo>
                                <a:cubicBezTo>
                                  <a:pt x="420276" y="587880"/>
                                  <a:pt x="420276" y="587880"/>
                                  <a:pt x="422550" y="587880"/>
                                </a:cubicBezTo>
                                <a:cubicBezTo>
                                  <a:pt x="420276" y="590156"/>
                                  <a:pt x="420276" y="592432"/>
                                  <a:pt x="418002" y="594709"/>
                                </a:cubicBezTo>
                                <a:cubicBezTo>
                                  <a:pt x="418002" y="590156"/>
                                  <a:pt x="413454" y="592432"/>
                                  <a:pt x="411180" y="590156"/>
                                </a:cubicBezTo>
                                <a:cubicBezTo>
                                  <a:pt x="411180" y="587880"/>
                                  <a:pt x="408905" y="581051"/>
                                  <a:pt x="404357" y="583328"/>
                                </a:cubicBezTo>
                                <a:cubicBezTo>
                                  <a:pt x="406631" y="583328"/>
                                  <a:pt x="406631" y="581051"/>
                                  <a:pt x="408905" y="578775"/>
                                </a:cubicBezTo>
                                <a:cubicBezTo>
                                  <a:pt x="408905" y="583328"/>
                                  <a:pt x="411180" y="585604"/>
                                  <a:pt x="413454" y="581051"/>
                                </a:cubicBezTo>
                                <a:cubicBezTo>
                                  <a:pt x="413454" y="576499"/>
                                  <a:pt x="413454" y="571947"/>
                                  <a:pt x="413454" y="567394"/>
                                </a:cubicBezTo>
                                <a:cubicBezTo>
                                  <a:pt x="413454" y="565118"/>
                                  <a:pt x="408905" y="562842"/>
                                  <a:pt x="411180" y="558289"/>
                                </a:cubicBezTo>
                                <a:cubicBezTo>
                                  <a:pt x="411180" y="556013"/>
                                  <a:pt x="411180" y="553737"/>
                                  <a:pt x="411180" y="553737"/>
                                </a:cubicBezTo>
                                <a:cubicBezTo>
                                  <a:pt x="411180" y="551461"/>
                                  <a:pt x="408905" y="551461"/>
                                  <a:pt x="411180" y="549185"/>
                                </a:cubicBezTo>
                                <a:cubicBezTo>
                                  <a:pt x="408905" y="551461"/>
                                  <a:pt x="406631" y="549185"/>
                                  <a:pt x="404357" y="549185"/>
                                </a:cubicBezTo>
                                <a:cubicBezTo>
                                  <a:pt x="402083" y="549185"/>
                                  <a:pt x="404357" y="546908"/>
                                  <a:pt x="402083" y="546908"/>
                                </a:cubicBezTo>
                                <a:cubicBezTo>
                                  <a:pt x="402083" y="542356"/>
                                  <a:pt x="402083" y="542356"/>
                                  <a:pt x="402083" y="542356"/>
                                </a:cubicBezTo>
                                <a:cubicBezTo>
                                  <a:pt x="402083" y="540080"/>
                                  <a:pt x="406631" y="535527"/>
                                  <a:pt x="404357" y="540080"/>
                                </a:cubicBezTo>
                                <a:cubicBezTo>
                                  <a:pt x="406631" y="537804"/>
                                  <a:pt x="408905" y="535527"/>
                                  <a:pt x="406631" y="533251"/>
                                </a:cubicBezTo>
                                <a:cubicBezTo>
                                  <a:pt x="404357" y="530975"/>
                                  <a:pt x="402083" y="533251"/>
                                  <a:pt x="399809" y="533251"/>
                                </a:cubicBezTo>
                                <a:cubicBezTo>
                                  <a:pt x="399809" y="530975"/>
                                  <a:pt x="402083" y="530975"/>
                                  <a:pt x="402083" y="528699"/>
                                </a:cubicBezTo>
                                <a:cubicBezTo>
                                  <a:pt x="402083" y="526423"/>
                                  <a:pt x="399809" y="526423"/>
                                  <a:pt x="399809" y="524146"/>
                                </a:cubicBezTo>
                                <a:cubicBezTo>
                                  <a:pt x="399809" y="521870"/>
                                  <a:pt x="392986" y="526423"/>
                                  <a:pt x="392986" y="526423"/>
                                </a:cubicBezTo>
                                <a:cubicBezTo>
                                  <a:pt x="388438" y="524146"/>
                                  <a:pt x="386164" y="521870"/>
                                  <a:pt x="381616" y="519594"/>
                                </a:cubicBezTo>
                                <a:cubicBezTo>
                                  <a:pt x="377067" y="517318"/>
                                  <a:pt x="377067" y="521870"/>
                                  <a:pt x="374793" y="521870"/>
                                </a:cubicBezTo>
                                <a:cubicBezTo>
                                  <a:pt x="365697" y="519594"/>
                                  <a:pt x="363422" y="508213"/>
                                  <a:pt x="354326" y="508213"/>
                                </a:cubicBezTo>
                                <a:cubicBezTo>
                                  <a:pt x="352052" y="508213"/>
                                  <a:pt x="349777" y="510489"/>
                                  <a:pt x="347503" y="510489"/>
                                </a:cubicBezTo>
                                <a:cubicBezTo>
                                  <a:pt x="342955" y="510489"/>
                                  <a:pt x="340681" y="510489"/>
                                  <a:pt x="336132" y="510489"/>
                                </a:cubicBezTo>
                                <a:cubicBezTo>
                                  <a:pt x="329310" y="510489"/>
                                  <a:pt x="320213" y="510489"/>
                                  <a:pt x="311117" y="512765"/>
                                </a:cubicBezTo>
                                <a:cubicBezTo>
                                  <a:pt x="297472" y="515042"/>
                                  <a:pt x="283827" y="524146"/>
                                  <a:pt x="270182" y="526423"/>
                                </a:cubicBezTo>
                                <a:cubicBezTo>
                                  <a:pt x="263359" y="528699"/>
                                  <a:pt x="256537" y="528699"/>
                                  <a:pt x="249715" y="526423"/>
                                </a:cubicBezTo>
                                <a:cubicBezTo>
                                  <a:pt x="240618" y="526423"/>
                                  <a:pt x="236070" y="530975"/>
                                  <a:pt x="229247" y="533251"/>
                                </a:cubicBezTo>
                                <a:cubicBezTo>
                                  <a:pt x="222425" y="537804"/>
                                  <a:pt x="215602" y="540080"/>
                                  <a:pt x="208780" y="542356"/>
                                </a:cubicBezTo>
                                <a:cubicBezTo>
                                  <a:pt x="201957" y="544632"/>
                                  <a:pt x="197409" y="544632"/>
                                  <a:pt x="192861" y="551461"/>
                                </a:cubicBezTo>
                                <a:cubicBezTo>
                                  <a:pt x="188312" y="556013"/>
                                  <a:pt x="186038" y="560566"/>
                                  <a:pt x="181490" y="565118"/>
                                </a:cubicBezTo>
                                <a:cubicBezTo>
                                  <a:pt x="179216" y="565118"/>
                                  <a:pt x="176942" y="567394"/>
                                  <a:pt x="174667" y="567394"/>
                                </a:cubicBezTo>
                                <a:cubicBezTo>
                                  <a:pt x="172393" y="565118"/>
                                  <a:pt x="170119" y="569670"/>
                                  <a:pt x="167845" y="569670"/>
                                </a:cubicBezTo>
                                <a:cubicBezTo>
                                  <a:pt x="170119" y="565118"/>
                                  <a:pt x="154200" y="567394"/>
                                  <a:pt x="151926" y="567394"/>
                                </a:cubicBezTo>
                                <a:cubicBezTo>
                                  <a:pt x="147378" y="569670"/>
                                  <a:pt x="147378" y="571947"/>
                                  <a:pt x="145103" y="565118"/>
                                </a:cubicBezTo>
                                <a:cubicBezTo>
                                  <a:pt x="145103" y="565118"/>
                                  <a:pt x="136007" y="565118"/>
                                  <a:pt x="133733" y="565118"/>
                                </a:cubicBezTo>
                                <a:cubicBezTo>
                                  <a:pt x="129184" y="565118"/>
                                  <a:pt x="122362" y="565118"/>
                                  <a:pt x="117814" y="567394"/>
                                </a:cubicBezTo>
                                <a:cubicBezTo>
                                  <a:pt x="113265" y="567394"/>
                                  <a:pt x="108717" y="567394"/>
                                  <a:pt x="104169" y="567394"/>
                                </a:cubicBezTo>
                                <a:cubicBezTo>
                                  <a:pt x="99620" y="569670"/>
                                  <a:pt x="88249" y="571947"/>
                                  <a:pt x="90524" y="578775"/>
                                </a:cubicBezTo>
                                <a:cubicBezTo>
                                  <a:pt x="88249" y="578775"/>
                                  <a:pt x="85975" y="581051"/>
                                  <a:pt x="83701" y="581051"/>
                                </a:cubicBezTo>
                                <a:cubicBezTo>
                                  <a:pt x="81427" y="583328"/>
                                  <a:pt x="79153" y="581051"/>
                                  <a:pt x="76879" y="581051"/>
                                </a:cubicBezTo>
                                <a:cubicBezTo>
                                  <a:pt x="74605" y="581051"/>
                                  <a:pt x="74605" y="583328"/>
                                  <a:pt x="72330" y="583328"/>
                                </a:cubicBezTo>
                                <a:cubicBezTo>
                                  <a:pt x="70056" y="585604"/>
                                  <a:pt x="70056" y="585604"/>
                                  <a:pt x="67782" y="585604"/>
                                </a:cubicBezTo>
                                <a:cubicBezTo>
                                  <a:pt x="65508" y="587880"/>
                                  <a:pt x="63234" y="590156"/>
                                  <a:pt x="60960" y="590156"/>
                                </a:cubicBezTo>
                                <a:cubicBezTo>
                                  <a:pt x="58685" y="592432"/>
                                  <a:pt x="54137" y="594709"/>
                                  <a:pt x="49589" y="594709"/>
                                </a:cubicBezTo>
                                <a:cubicBezTo>
                                  <a:pt x="56411" y="596985"/>
                                  <a:pt x="45041" y="594709"/>
                                  <a:pt x="42766" y="594709"/>
                                </a:cubicBezTo>
                                <a:cubicBezTo>
                                  <a:pt x="35944" y="594709"/>
                                  <a:pt x="29121" y="594709"/>
                                  <a:pt x="22299" y="594709"/>
                                </a:cubicBezTo>
                                <a:cubicBezTo>
                                  <a:pt x="22299" y="592432"/>
                                  <a:pt x="22299" y="592432"/>
                                  <a:pt x="22299" y="592432"/>
                                </a:cubicBezTo>
                                <a:cubicBezTo>
                                  <a:pt x="17751" y="592432"/>
                                  <a:pt x="15476" y="587880"/>
                                  <a:pt x="13202" y="583328"/>
                                </a:cubicBezTo>
                                <a:cubicBezTo>
                                  <a:pt x="10928" y="581051"/>
                                  <a:pt x="4106" y="574223"/>
                                  <a:pt x="1832" y="578775"/>
                                </a:cubicBezTo>
                                <a:cubicBezTo>
                                  <a:pt x="-2717" y="574223"/>
                                  <a:pt x="1832" y="556013"/>
                                  <a:pt x="8654" y="560566"/>
                                </a:cubicBezTo>
                                <a:cubicBezTo>
                                  <a:pt x="13202" y="560566"/>
                                  <a:pt x="20025" y="553737"/>
                                  <a:pt x="22299" y="549185"/>
                                </a:cubicBezTo>
                                <a:cubicBezTo>
                                  <a:pt x="23436" y="546908"/>
                                  <a:pt x="23436" y="544063"/>
                                  <a:pt x="23720" y="541218"/>
                                </a:cubicBezTo>
                                <a:lnTo>
                                  <a:pt x="25179" y="537500"/>
                                </a:lnTo>
                                <a:lnTo>
                                  <a:pt x="29121" y="535527"/>
                                </a:lnTo>
                                <a:cubicBezTo>
                                  <a:pt x="26847" y="530975"/>
                                  <a:pt x="29121" y="526423"/>
                                  <a:pt x="31396" y="524146"/>
                                </a:cubicBezTo>
                                <a:cubicBezTo>
                                  <a:pt x="33670" y="515042"/>
                                  <a:pt x="33670" y="508213"/>
                                  <a:pt x="31396" y="501384"/>
                                </a:cubicBezTo>
                                <a:cubicBezTo>
                                  <a:pt x="31396" y="492280"/>
                                  <a:pt x="26847" y="485451"/>
                                  <a:pt x="29121" y="476346"/>
                                </a:cubicBezTo>
                                <a:cubicBezTo>
                                  <a:pt x="31396" y="469518"/>
                                  <a:pt x="35944" y="458137"/>
                                  <a:pt x="33670" y="451308"/>
                                </a:cubicBezTo>
                                <a:cubicBezTo>
                                  <a:pt x="33670" y="449032"/>
                                  <a:pt x="31396" y="444480"/>
                                  <a:pt x="31396" y="442203"/>
                                </a:cubicBezTo>
                                <a:cubicBezTo>
                                  <a:pt x="31396" y="439927"/>
                                  <a:pt x="31396" y="435375"/>
                                  <a:pt x="31396" y="433099"/>
                                </a:cubicBezTo>
                                <a:cubicBezTo>
                                  <a:pt x="29121" y="428546"/>
                                  <a:pt x="26847" y="426270"/>
                                  <a:pt x="26847" y="423994"/>
                                </a:cubicBezTo>
                                <a:cubicBezTo>
                                  <a:pt x="26847" y="419441"/>
                                  <a:pt x="29121" y="414889"/>
                                  <a:pt x="29121" y="412613"/>
                                </a:cubicBezTo>
                                <a:cubicBezTo>
                                  <a:pt x="29121" y="405784"/>
                                  <a:pt x="26847" y="396679"/>
                                  <a:pt x="22299" y="389851"/>
                                </a:cubicBezTo>
                                <a:cubicBezTo>
                                  <a:pt x="20025" y="387575"/>
                                  <a:pt x="17751" y="385298"/>
                                  <a:pt x="17751" y="383022"/>
                                </a:cubicBezTo>
                                <a:cubicBezTo>
                                  <a:pt x="17751" y="378470"/>
                                  <a:pt x="20025" y="378470"/>
                                  <a:pt x="20025" y="373917"/>
                                </a:cubicBezTo>
                                <a:cubicBezTo>
                                  <a:pt x="20025" y="376194"/>
                                  <a:pt x="20025" y="378470"/>
                                  <a:pt x="20025" y="380746"/>
                                </a:cubicBezTo>
                                <a:cubicBezTo>
                                  <a:pt x="20025" y="378470"/>
                                  <a:pt x="22299" y="376194"/>
                                  <a:pt x="22299" y="373917"/>
                                </a:cubicBezTo>
                                <a:lnTo>
                                  <a:pt x="22299" y="382738"/>
                                </a:lnTo>
                                <a:cubicBezTo>
                                  <a:pt x="22299" y="381315"/>
                                  <a:pt x="22299" y="380746"/>
                                  <a:pt x="22299" y="383022"/>
                                </a:cubicBezTo>
                                <a:lnTo>
                                  <a:pt x="22299" y="387575"/>
                                </a:lnTo>
                                <a:cubicBezTo>
                                  <a:pt x="24573" y="383022"/>
                                  <a:pt x="24573" y="387575"/>
                                  <a:pt x="24573" y="389851"/>
                                </a:cubicBezTo>
                                <a:cubicBezTo>
                                  <a:pt x="29121" y="387575"/>
                                  <a:pt x="31396" y="383022"/>
                                  <a:pt x="26847" y="378470"/>
                                </a:cubicBezTo>
                                <a:cubicBezTo>
                                  <a:pt x="24573" y="376194"/>
                                  <a:pt x="22299" y="367089"/>
                                  <a:pt x="26847" y="362537"/>
                                </a:cubicBezTo>
                                <a:cubicBezTo>
                                  <a:pt x="29121" y="364813"/>
                                  <a:pt x="29121" y="367089"/>
                                  <a:pt x="29121" y="369365"/>
                                </a:cubicBezTo>
                                <a:cubicBezTo>
                                  <a:pt x="31396" y="373917"/>
                                  <a:pt x="26847" y="373917"/>
                                  <a:pt x="29121" y="378470"/>
                                </a:cubicBezTo>
                                <a:cubicBezTo>
                                  <a:pt x="31396" y="378470"/>
                                  <a:pt x="31396" y="376194"/>
                                  <a:pt x="31396" y="373917"/>
                                </a:cubicBezTo>
                                <a:cubicBezTo>
                                  <a:pt x="33670" y="376194"/>
                                  <a:pt x="31396" y="380746"/>
                                  <a:pt x="33670" y="383022"/>
                                </a:cubicBezTo>
                                <a:cubicBezTo>
                                  <a:pt x="33670" y="385298"/>
                                  <a:pt x="38218" y="383022"/>
                                  <a:pt x="38218" y="380746"/>
                                </a:cubicBezTo>
                                <a:cubicBezTo>
                                  <a:pt x="40492" y="376194"/>
                                  <a:pt x="42766" y="371641"/>
                                  <a:pt x="38218" y="364813"/>
                                </a:cubicBezTo>
                                <a:cubicBezTo>
                                  <a:pt x="35944" y="360260"/>
                                  <a:pt x="35944" y="355708"/>
                                  <a:pt x="33670" y="351156"/>
                                </a:cubicBezTo>
                                <a:cubicBezTo>
                                  <a:pt x="31396" y="351156"/>
                                  <a:pt x="33670" y="348879"/>
                                  <a:pt x="33670" y="346603"/>
                                </a:cubicBezTo>
                                <a:cubicBezTo>
                                  <a:pt x="33670" y="342051"/>
                                  <a:pt x="31396" y="339775"/>
                                  <a:pt x="31396" y="335222"/>
                                </a:cubicBezTo>
                                <a:cubicBezTo>
                                  <a:pt x="29121" y="330670"/>
                                  <a:pt x="33670" y="323841"/>
                                  <a:pt x="35944" y="317013"/>
                                </a:cubicBezTo>
                                <a:cubicBezTo>
                                  <a:pt x="40492" y="312460"/>
                                  <a:pt x="42766" y="307908"/>
                                  <a:pt x="45041" y="301079"/>
                                </a:cubicBezTo>
                                <a:cubicBezTo>
                                  <a:pt x="45041" y="298803"/>
                                  <a:pt x="42766" y="296527"/>
                                  <a:pt x="42766" y="291974"/>
                                </a:cubicBezTo>
                                <a:cubicBezTo>
                                  <a:pt x="42766" y="289698"/>
                                  <a:pt x="45041" y="287422"/>
                                  <a:pt x="47315" y="282870"/>
                                </a:cubicBezTo>
                                <a:cubicBezTo>
                                  <a:pt x="49589" y="280593"/>
                                  <a:pt x="51863" y="273765"/>
                                  <a:pt x="56411" y="271489"/>
                                </a:cubicBezTo>
                                <a:cubicBezTo>
                                  <a:pt x="56411" y="273765"/>
                                  <a:pt x="56411" y="276041"/>
                                  <a:pt x="54137" y="278317"/>
                                </a:cubicBezTo>
                                <a:cubicBezTo>
                                  <a:pt x="54137" y="280593"/>
                                  <a:pt x="54137" y="285146"/>
                                  <a:pt x="54137" y="287422"/>
                                </a:cubicBezTo>
                                <a:cubicBezTo>
                                  <a:pt x="60960" y="285146"/>
                                  <a:pt x="60960" y="282870"/>
                                  <a:pt x="63234" y="276041"/>
                                </a:cubicBezTo>
                                <a:cubicBezTo>
                                  <a:pt x="67782" y="271489"/>
                                  <a:pt x="72330" y="269212"/>
                                  <a:pt x="79153" y="266936"/>
                                </a:cubicBezTo>
                                <a:cubicBezTo>
                                  <a:pt x="85975" y="264660"/>
                                  <a:pt x="92798" y="257831"/>
                                  <a:pt x="99620" y="253279"/>
                                </a:cubicBezTo>
                                <a:cubicBezTo>
                                  <a:pt x="101894" y="251003"/>
                                  <a:pt x="101894" y="248727"/>
                                  <a:pt x="104169" y="248727"/>
                                </a:cubicBezTo>
                                <a:cubicBezTo>
                                  <a:pt x="110991" y="246451"/>
                                  <a:pt x="113265" y="246451"/>
                                  <a:pt x="117814" y="241898"/>
                                </a:cubicBezTo>
                                <a:cubicBezTo>
                                  <a:pt x="115539" y="246451"/>
                                  <a:pt x="122362" y="241898"/>
                                  <a:pt x="124636" y="241898"/>
                                </a:cubicBezTo>
                                <a:cubicBezTo>
                                  <a:pt x="126910" y="241898"/>
                                  <a:pt x="126910" y="244174"/>
                                  <a:pt x="129184" y="244174"/>
                                </a:cubicBezTo>
                                <a:cubicBezTo>
                                  <a:pt x="133733" y="244174"/>
                                  <a:pt x="136007" y="244174"/>
                                  <a:pt x="138281" y="241898"/>
                                </a:cubicBezTo>
                                <a:cubicBezTo>
                                  <a:pt x="145103" y="239622"/>
                                  <a:pt x="147378" y="235070"/>
                                  <a:pt x="154200" y="235070"/>
                                </a:cubicBezTo>
                                <a:cubicBezTo>
                                  <a:pt x="156474" y="235070"/>
                                  <a:pt x="161022" y="235070"/>
                                  <a:pt x="163297" y="232793"/>
                                </a:cubicBezTo>
                                <a:cubicBezTo>
                                  <a:pt x="165571" y="230517"/>
                                  <a:pt x="165571" y="225965"/>
                                  <a:pt x="170119" y="225965"/>
                                </a:cubicBezTo>
                                <a:cubicBezTo>
                                  <a:pt x="176942" y="225965"/>
                                  <a:pt x="179216" y="228241"/>
                                  <a:pt x="186038" y="225965"/>
                                </a:cubicBezTo>
                                <a:cubicBezTo>
                                  <a:pt x="192861" y="223689"/>
                                  <a:pt x="199683" y="223689"/>
                                  <a:pt x="206506" y="219136"/>
                                </a:cubicBezTo>
                                <a:cubicBezTo>
                                  <a:pt x="211054" y="216860"/>
                                  <a:pt x="231521" y="205479"/>
                                  <a:pt x="226973" y="196374"/>
                                </a:cubicBezTo>
                                <a:cubicBezTo>
                                  <a:pt x="229247" y="196374"/>
                                  <a:pt x="229247" y="194098"/>
                                  <a:pt x="231521" y="194098"/>
                                </a:cubicBezTo>
                                <a:cubicBezTo>
                                  <a:pt x="231521" y="189546"/>
                                  <a:pt x="233795" y="189546"/>
                                  <a:pt x="236070" y="187269"/>
                                </a:cubicBezTo>
                                <a:cubicBezTo>
                                  <a:pt x="240618" y="184993"/>
                                  <a:pt x="247440" y="182717"/>
                                  <a:pt x="245166" y="178165"/>
                                </a:cubicBezTo>
                                <a:cubicBezTo>
                                  <a:pt x="240618" y="173612"/>
                                  <a:pt x="242892" y="164507"/>
                                  <a:pt x="245166" y="159955"/>
                                </a:cubicBezTo>
                                <a:cubicBezTo>
                                  <a:pt x="247440" y="157679"/>
                                  <a:pt x="251989" y="148574"/>
                                  <a:pt x="254263" y="153126"/>
                                </a:cubicBezTo>
                                <a:cubicBezTo>
                                  <a:pt x="251989" y="148574"/>
                                  <a:pt x="256537" y="150850"/>
                                  <a:pt x="258811" y="148574"/>
                                </a:cubicBezTo>
                                <a:cubicBezTo>
                                  <a:pt x="261085" y="146298"/>
                                  <a:pt x="261085" y="141745"/>
                                  <a:pt x="265634" y="139469"/>
                                </a:cubicBezTo>
                                <a:cubicBezTo>
                                  <a:pt x="267908" y="141745"/>
                                  <a:pt x="261085" y="146298"/>
                                  <a:pt x="267908" y="146298"/>
                                </a:cubicBezTo>
                                <a:cubicBezTo>
                                  <a:pt x="263359" y="150850"/>
                                  <a:pt x="274730" y="162231"/>
                                  <a:pt x="272456" y="169060"/>
                                </a:cubicBezTo>
                                <a:cubicBezTo>
                                  <a:pt x="277004" y="164507"/>
                                  <a:pt x="274730" y="157679"/>
                                  <a:pt x="277004" y="153126"/>
                                </a:cubicBezTo>
                                <a:cubicBezTo>
                                  <a:pt x="279279" y="155403"/>
                                  <a:pt x="279279" y="157679"/>
                                  <a:pt x="281553" y="159955"/>
                                </a:cubicBezTo>
                                <a:cubicBezTo>
                                  <a:pt x="281553" y="155403"/>
                                  <a:pt x="279279" y="153126"/>
                                  <a:pt x="283827" y="150850"/>
                                </a:cubicBezTo>
                                <a:cubicBezTo>
                                  <a:pt x="281553" y="150850"/>
                                  <a:pt x="274730" y="146298"/>
                                  <a:pt x="277004" y="144022"/>
                                </a:cubicBezTo>
                                <a:cubicBezTo>
                                  <a:pt x="277004" y="144022"/>
                                  <a:pt x="274730" y="141745"/>
                                  <a:pt x="274730" y="141745"/>
                                </a:cubicBezTo>
                                <a:cubicBezTo>
                                  <a:pt x="279279" y="144022"/>
                                  <a:pt x="277004" y="139469"/>
                                  <a:pt x="279279" y="139469"/>
                                </a:cubicBezTo>
                                <a:cubicBezTo>
                                  <a:pt x="281553" y="139469"/>
                                  <a:pt x="279279" y="134917"/>
                                  <a:pt x="279279" y="134917"/>
                                </a:cubicBezTo>
                                <a:cubicBezTo>
                                  <a:pt x="281553" y="132641"/>
                                  <a:pt x="286101" y="134917"/>
                                  <a:pt x="281553" y="134917"/>
                                </a:cubicBezTo>
                                <a:cubicBezTo>
                                  <a:pt x="283827" y="137193"/>
                                  <a:pt x="283827" y="137193"/>
                                  <a:pt x="283827" y="139469"/>
                                </a:cubicBezTo>
                                <a:cubicBezTo>
                                  <a:pt x="286101" y="139469"/>
                                  <a:pt x="286101" y="137193"/>
                                  <a:pt x="288375" y="137193"/>
                                </a:cubicBezTo>
                                <a:cubicBezTo>
                                  <a:pt x="290649" y="134917"/>
                                  <a:pt x="290649" y="137193"/>
                                  <a:pt x="292924" y="139469"/>
                                </a:cubicBezTo>
                                <a:cubicBezTo>
                                  <a:pt x="292924" y="139469"/>
                                  <a:pt x="295198" y="137193"/>
                                  <a:pt x="297472" y="139469"/>
                                </a:cubicBezTo>
                                <a:cubicBezTo>
                                  <a:pt x="299746" y="139469"/>
                                  <a:pt x="302020" y="139469"/>
                                  <a:pt x="304294" y="139469"/>
                                </a:cubicBezTo>
                                <a:cubicBezTo>
                                  <a:pt x="302020" y="137193"/>
                                  <a:pt x="299746" y="139469"/>
                                  <a:pt x="297472" y="137193"/>
                                </a:cubicBezTo>
                                <a:cubicBezTo>
                                  <a:pt x="295198" y="137193"/>
                                  <a:pt x="297472" y="134917"/>
                                  <a:pt x="297472" y="132641"/>
                                </a:cubicBezTo>
                                <a:cubicBezTo>
                                  <a:pt x="299746" y="132641"/>
                                  <a:pt x="299746" y="132641"/>
                                  <a:pt x="299746" y="132641"/>
                                </a:cubicBezTo>
                                <a:cubicBezTo>
                                  <a:pt x="302020" y="132641"/>
                                  <a:pt x="299746" y="128088"/>
                                  <a:pt x="304294" y="125812"/>
                                </a:cubicBezTo>
                                <a:cubicBezTo>
                                  <a:pt x="302020" y="125812"/>
                                  <a:pt x="299746" y="125812"/>
                                  <a:pt x="299746" y="128088"/>
                                </a:cubicBezTo>
                                <a:cubicBezTo>
                                  <a:pt x="297472" y="125812"/>
                                  <a:pt x="295198" y="118984"/>
                                  <a:pt x="299746" y="116707"/>
                                </a:cubicBezTo>
                                <a:cubicBezTo>
                                  <a:pt x="302020" y="116707"/>
                                  <a:pt x="308843" y="114431"/>
                                  <a:pt x="304294" y="112155"/>
                                </a:cubicBezTo>
                                <a:cubicBezTo>
                                  <a:pt x="306568" y="112155"/>
                                  <a:pt x="308843" y="114431"/>
                                  <a:pt x="311117" y="114431"/>
                                </a:cubicBezTo>
                                <a:cubicBezTo>
                                  <a:pt x="311117" y="116707"/>
                                  <a:pt x="311117" y="116707"/>
                                  <a:pt x="311117" y="116707"/>
                                </a:cubicBezTo>
                                <a:cubicBezTo>
                                  <a:pt x="313391" y="116707"/>
                                  <a:pt x="313391" y="116707"/>
                                  <a:pt x="315665" y="118984"/>
                                </a:cubicBezTo>
                                <a:cubicBezTo>
                                  <a:pt x="311117" y="116707"/>
                                  <a:pt x="315665" y="112155"/>
                                  <a:pt x="308843" y="112155"/>
                                </a:cubicBezTo>
                                <a:cubicBezTo>
                                  <a:pt x="308843" y="107603"/>
                                  <a:pt x="315665" y="103050"/>
                                  <a:pt x="315665" y="107603"/>
                                </a:cubicBezTo>
                                <a:cubicBezTo>
                                  <a:pt x="315665" y="103050"/>
                                  <a:pt x="317939" y="109879"/>
                                  <a:pt x="322488" y="107603"/>
                                </a:cubicBezTo>
                                <a:cubicBezTo>
                                  <a:pt x="320213" y="107603"/>
                                  <a:pt x="317939" y="105326"/>
                                  <a:pt x="320213" y="103050"/>
                                </a:cubicBezTo>
                                <a:cubicBezTo>
                                  <a:pt x="313391" y="103050"/>
                                  <a:pt x="320213" y="96222"/>
                                  <a:pt x="322488" y="93945"/>
                                </a:cubicBezTo>
                                <a:cubicBezTo>
                                  <a:pt x="324762" y="96222"/>
                                  <a:pt x="324762" y="91669"/>
                                  <a:pt x="327036" y="93945"/>
                                </a:cubicBezTo>
                                <a:cubicBezTo>
                                  <a:pt x="327036" y="91669"/>
                                  <a:pt x="327036" y="89393"/>
                                  <a:pt x="327036" y="87117"/>
                                </a:cubicBezTo>
                                <a:cubicBezTo>
                                  <a:pt x="331584" y="87117"/>
                                  <a:pt x="329310" y="93945"/>
                                  <a:pt x="327036" y="96222"/>
                                </a:cubicBezTo>
                                <a:cubicBezTo>
                                  <a:pt x="331584" y="91669"/>
                                  <a:pt x="329310" y="91669"/>
                                  <a:pt x="333858" y="96222"/>
                                </a:cubicBezTo>
                                <a:cubicBezTo>
                                  <a:pt x="333858" y="93945"/>
                                  <a:pt x="336132" y="93945"/>
                                  <a:pt x="336132" y="91669"/>
                                </a:cubicBezTo>
                                <a:cubicBezTo>
                                  <a:pt x="336132" y="91669"/>
                                  <a:pt x="338407" y="87117"/>
                                  <a:pt x="338407" y="87117"/>
                                </a:cubicBezTo>
                                <a:cubicBezTo>
                                  <a:pt x="338407" y="84841"/>
                                  <a:pt x="340681" y="84841"/>
                                  <a:pt x="340681" y="82564"/>
                                </a:cubicBezTo>
                                <a:cubicBezTo>
                                  <a:pt x="338407" y="82564"/>
                                  <a:pt x="338407" y="82564"/>
                                  <a:pt x="338407" y="82564"/>
                                </a:cubicBezTo>
                                <a:cubicBezTo>
                                  <a:pt x="338407" y="78012"/>
                                  <a:pt x="342955" y="78012"/>
                                  <a:pt x="340681" y="80288"/>
                                </a:cubicBezTo>
                                <a:cubicBezTo>
                                  <a:pt x="345229" y="78012"/>
                                  <a:pt x="338407" y="87117"/>
                                  <a:pt x="345229" y="84841"/>
                                </a:cubicBezTo>
                                <a:cubicBezTo>
                                  <a:pt x="342955" y="82564"/>
                                  <a:pt x="345229" y="80288"/>
                                  <a:pt x="347503" y="80288"/>
                                </a:cubicBezTo>
                                <a:cubicBezTo>
                                  <a:pt x="347503" y="82564"/>
                                  <a:pt x="347503" y="84841"/>
                                  <a:pt x="349777" y="84841"/>
                                </a:cubicBezTo>
                                <a:cubicBezTo>
                                  <a:pt x="352052" y="82564"/>
                                  <a:pt x="354326" y="82564"/>
                                  <a:pt x="356600" y="80288"/>
                                </a:cubicBezTo>
                                <a:cubicBezTo>
                                  <a:pt x="356600" y="78012"/>
                                  <a:pt x="354326" y="75736"/>
                                  <a:pt x="356600" y="73460"/>
                                </a:cubicBezTo>
                                <a:cubicBezTo>
                                  <a:pt x="358874" y="73460"/>
                                  <a:pt x="361148" y="80288"/>
                                  <a:pt x="365697" y="80288"/>
                                </a:cubicBezTo>
                                <a:cubicBezTo>
                                  <a:pt x="367971" y="80288"/>
                                  <a:pt x="367971" y="80288"/>
                                  <a:pt x="370245" y="82564"/>
                                </a:cubicBezTo>
                                <a:cubicBezTo>
                                  <a:pt x="372519" y="87117"/>
                                  <a:pt x="374793" y="89393"/>
                                  <a:pt x="377067" y="93945"/>
                                </a:cubicBezTo>
                                <a:cubicBezTo>
                                  <a:pt x="379341" y="93945"/>
                                  <a:pt x="381616" y="96222"/>
                                  <a:pt x="381616" y="100774"/>
                                </a:cubicBezTo>
                                <a:cubicBezTo>
                                  <a:pt x="381616" y="103050"/>
                                  <a:pt x="379341" y="105326"/>
                                  <a:pt x="379341" y="107603"/>
                                </a:cubicBezTo>
                                <a:cubicBezTo>
                                  <a:pt x="377067" y="112155"/>
                                  <a:pt x="377067" y="114431"/>
                                  <a:pt x="374793" y="116707"/>
                                </a:cubicBezTo>
                                <a:cubicBezTo>
                                  <a:pt x="379341" y="116707"/>
                                  <a:pt x="377067" y="112155"/>
                                  <a:pt x="379341" y="112155"/>
                                </a:cubicBezTo>
                                <a:cubicBezTo>
                                  <a:pt x="381616" y="109879"/>
                                  <a:pt x="381616" y="114431"/>
                                  <a:pt x="381616" y="114431"/>
                                </a:cubicBezTo>
                                <a:cubicBezTo>
                                  <a:pt x="383890" y="112155"/>
                                  <a:pt x="379341" y="109879"/>
                                  <a:pt x="381616" y="107603"/>
                                </a:cubicBezTo>
                                <a:cubicBezTo>
                                  <a:pt x="381616" y="103050"/>
                                  <a:pt x="383890" y="107603"/>
                                  <a:pt x="386164" y="105326"/>
                                </a:cubicBezTo>
                                <a:cubicBezTo>
                                  <a:pt x="383890" y="96222"/>
                                  <a:pt x="404357" y="100774"/>
                                  <a:pt x="402083" y="109879"/>
                                </a:cubicBezTo>
                                <a:cubicBezTo>
                                  <a:pt x="404357" y="107603"/>
                                  <a:pt x="404357" y="103050"/>
                                  <a:pt x="404357" y="100774"/>
                                </a:cubicBezTo>
                                <a:cubicBezTo>
                                  <a:pt x="408905" y="100774"/>
                                  <a:pt x="408905" y="109879"/>
                                  <a:pt x="413454" y="109879"/>
                                </a:cubicBezTo>
                                <a:cubicBezTo>
                                  <a:pt x="413454" y="107603"/>
                                  <a:pt x="411180" y="103050"/>
                                  <a:pt x="413454" y="103050"/>
                                </a:cubicBezTo>
                                <a:cubicBezTo>
                                  <a:pt x="415728" y="100774"/>
                                  <a:pt x="418002" y="100774"/>
                                  <a:pt x="418002" y="100774"/>
                                </a:cubicBezTo>
                                <a:cubicBezTo>
                                  <a:pt x="415728" y="100774"/>
                                  <a:pt x="413454" y="98498"/>
                                  <a:pt x="411180" y="96222"/>
                                </a:cubicBezTo>
                                <a:cubicBezTo>
                                  <a:pt x="413454" y="96222"/>
                                  <a:pt x="415728" y="96222"/>
                                  <a:pt x="415728" y="93945"/>
                                </a:cubicBezTo>
                                <a:cubicBezTo>
                                  <a:pt x="413454" y="96222"/>
                                  <a:pt x="406631" y="93945"/>
                                  <a:pt x="408905" y="89393"/>
                                </a:cubicBezTo>
                                <a:cubicBezTo>
                                  <a:pt x="408905" y="87117"/>
                                  <a:pt x="411180" y="84841"/>
                                  <a:pt x="411180" y="82564"/>
                                </a:cubicBezTo>
                                <a:cubicBezTo>
                                  <a:pt x="413454" y="82564"/>
                                  <a:pt x="415728" y="82564"/>
                                  <a:pt x="418002" y="80288"/>
                                </a:cubicBezTo>
                                <a:cubicBezTo>
                                  <a:pt x="418002" y="78012"/>
                                  <a:pt x="418002" y="73460"/>
                                  <a:pt x="420276" y="68907"/>
                                </a:cubicBezTo>
                                <a:cubicBezTo>
                                  <a:pt x="422550" y="66631"/>
                                  <a:pt x="422550" y="71183"/>
                                  <a:pt x="424825" y="68907"/>
                                </a:cubicBezTo>
                                <a:cubicBezTo>
                                  <a:pt x="427099" y="66631"/>
                                  <a:pt x="429373" y="64355"/>
                                  <a:pt x="431647" y="64355"/>
                                </a:cubicBezTo>
                                <a:cubicBezTo>
                                  <a:pt x="429373" y="62079"/>
                                  <a:pt x="427099" y="59802"/>
                                  <a:pt x="429373" y="57526"/>
                                </a:cubicBezTo>
                                <a:cubicBezTo>
                                  <a:pt x="429373" y="52974"/>
                                  <a:pt x="431647" y="57526"/>
                                  <a:pt x="433921" y="52974"/>
                                </a:cubicBezTo>
                                <a:cubicBezTo>
                                  <a:pt x="433921" y="50698"/>
                                  <a:pt x="433921" y="48421"/>
                                  <a:pt x="436195" y="48421"/>
                                </a:cubicBezTo>
                                <a:cubicBezTo>
                                  <a:pt x="438470" y="46145"/>
                                  <a:pt x="438470" y="50698"/>
                                  <a:pt x="440744" y="48421"/>
                                </a:cubicBezTo>
                                <a:cubicBezTo>
                                  <a:pt x="438470" y="48421"/>
                                  <a:pt x="438470" y="41593"/>
                                  <a:pt x="440744" y="41593"/>
                                </a:cubicBezTo>
                                <a:cubicBezTo>
                                  <a:pt x="443018" y="39317"/>
                                  <a:pt x="445292" y="46145"/>
                                  <a:pt x="447566" y="46145"/>
                                </a:cubicBezTo>
                                <a:cubicBezTo>
                                  <a:pt x="445292" y="46145"/>
                                  <a:pt x="445292" y="39317"/>
                                  <a:pt x="449840" y="41593"/>
                                </a:cubicBezTo>
                                <a:cubicBezTo>
                                  <a:pt x="449840" y="39317"/>
                                  <a:pt x="449840" y="37040"/>
                                  <a:pt x="452114" y="34764"/>
                                </a:cubicBezTo>
                                <a:cubicBezTo>
                                  <a:pt x="454389" y="34764"/>
                                  <a:pt x="454389" y="39317"/>
                                  <a:pt x="456663" y="34764"/>
                                </a:cubicBezTo>
                                <a:cubicBezTo>
                                  <a:pt x="458937" y="41593"/>
                                  <a:pt x="479404" y="34764"/>
                                  <a:pt x="479404" y="39317"/>
                                </a:cubicBezTo>
                                <a:cubicBezTo>
                                  <a:pt x="479404" y="37040"/>
                                  <a:pt x="483953" y="32488"/>
                                  <a:pt x="486227" y="34764"/>
                                </a:cubicBezTo>
                                <a:cubicBezTo>
                                  <a:pt x="483953" y="32488"/>
                                  <a:pt x="486227" y="27936"/>
                                  <a:pt x="486227" y="23383"/>
                                </a:cubicBezTo>
                                <a:cubicBezTo>
                                  <a:pt x="483953" y="16555"/>
                                  <a:pt x="479404" y="18831"/>
                                  <a:pt x="474856" y="21107"/>
                                </a:cubicBezTo>
                                <a:cubicBezTo>
                                  <a:pt x="474856" y="16555"/>
                                  <a:pt x="470308" y="16555"/>
                                  <a:pt x="470308" y="14278"/>
                                </a:cubicBezTo>
                                <a:cubicBezTo>
                                  <a:pt x="468034" y="14278"/>
                                  <a:pt x="472582" y="12002"/>
                                  <a:pt x="472582" y="9726"/>
                                </a:cubicBezTo>
                                <a:cubicBezTo>
                                  <a:pt x="474856" y="12002"/>
                                  <a:pt x="474856" y="14278"/>
                                  <a:pt x="477130" y="16555"/>
                                </a:cubicBezTo>
                                <a:cubicBezTo>
                                  <a:pt x="477130" y="14278"/>
                                  <a:pt x="477130" y="12002"/>
                                  <a:pt x="477130" y="9726"/>
                                </a:cubicBezTo>
                                <a:cubicBezTo>
                                  <a:pt x="477130" y="12002"/>
                                  <a:pt x="479404" y="14278"/>
                                  <a:pt x="481678" y="9726"/>
                                </a:cubicBezTo>
                                <a:lnTo>
                                  <a:pt x="485438" y="15998"/>
                                </a:lnTo>
                                <a:lnTo>
                                  <a:pt x="488501" y="21107"/>
                                </a:lnTo>
                                <a:cubicBezTo>
                                  <a:pt x="488501" y="18831"/>
                                  <a:pt x="493049" y="18831"/>
                                  <a:pt x="493049" y="16555"/>
                                </a:cubicBezTo>
                                <a:cubicBezTo>
                                  <a:pt x="495323" y="16555"/>
                                  <a:pt x="495323" y="25659"/>
                                  <a:pt x="499872" y="25659"/>
                                </a:cubicBezTo>
                                <a:cubicBezTo>
                                  <a:pt x="502146" y="25659"/>
                                  <a:pt x="504420" y="25659"/>
                                  <a:pt x="504420" y="27936"/>
                                </a:cubicBezTo>
                                <a:cubicBezTo>
                                  <a:pt x="508968" y="27936"/>
                                  <a:pt x="511243" y="23383"/>
                                  <a:pt x="513517" y="25659"/>
                                </a:cubicBezTo>
                                <a:cubicBezTo>
                                  <a:pt x="508968" y="30212"/>
                                  <a:pt x="520339" y="27936"/>
                                  <a:pt x="518065" y="34764"/>
                                </a:cubicBezTo>
                                <a:cubicBezTo>
                                  <a:pt x="520339" y="30212"/>
                                  <a:pt x="520339" y="32488"/>
                                  <a:pt x="522613" y="32488"/>
                                </a:cubicBezTo>
                                <a:cubicBezTo>
                                  <a:pt x="527162" y="34764"/>
                                  <a:pt x="527162" y="32488"/>
                                  <a:pt x="531710" y="30212"/>
                                </a:cubicBezTo>
                                <a:cubicBezTo>
                                  <a:pt x="531710" y="37040"/>
                                  <a:pt x="538532" y="37040"/>
                                  <a:pt x="543081" y="37040"/>
                                </a:cubicBezTo>
                                <a:cubicBezTo>
                                  <a:pt x="538532" y="32488"/>
                                  <a:pt x="552177" y="34764"/>
                                  <a:pt x="547629" y="30212"/>
                                </a:cubicBezTo>
                                <a:cubicBezTo>
                                  <a:pt x="552177" y="30212"/>
                                  <a:pt x="554451" y="30212"/>
                                  <a:pt x="554451" y="25659"/>
                                </a:cubicBezTo>
                                <a:cubicBezTo>
                                  <a:pt x="556726" y="27936"/>
                                  <a:pt x="554451" y="30212"/>
                                  <a:pt x="552177" y="32488"/>
                                </a:cubicBezTo>
                                <a:cubicBezTo>
                                  <a:pt x="556726" y="32488"/>
                                  <a:pt x="552177" y="32488"/>
                                  <a:pt x="552177" y="34764"/>
                                </a:cubicBezTo>
                                <a:cubicBezTo>
                                  <a:pt x="549903" y="37040"/>
                                  <a:pt x="549903" y="37040"/>
                                  <a:pt x="549903" y="39317"/>
                                </a:cubicBezTo>
                                <a:cubicBezTo>
                                  <a:pt x="552177" y="37040"/>
                                  <a:pt x="554451" y="34764"/>
                                  <a:pt x="556726" y="34764"/>
                                </a:cubicBezTo>
                                <a:cubicBezTo>
                                  <a:pt x="554451" y="37040"/>
                                  <a:pt x="556726" y="37040"/>
                                  <a:pt x="556726" y="39317"/>
                                </a:cubicBezTo>
                                <a:cubicBezTo>
                                  <a:pt x="556726" y="41593"/>
                                  <a:pt x="556726" y="41593"/>
                                  <a:pt x="559000" y="41593"/>
                                </a:cubicBezTo>
                                <a:cubicBezTo>
                                  <a:pt x="561274" y="43869"/>
                                  <a:pt x="563548" y="39317"/>
                                  <a:pt x="563548" y="37040"/>
                                </a:cubicBezTo>
                                <a:cubicBezTo>
                                  <a:pt x="556726" y="37040"/>
                                  <a:pt x="568096" y="30212"/>
                                  <a:pt x="570371" y="30212"/>
                                </a:cubicBezTo>
                                <a:cubicBezTo>
                                  <a:pt x="565822" y="30212"/>
                                  <a:pt x="570371" y="37040"/>
                                  <a:pt x="572645" y="39317"/>
                                </a:cubicBezTo>
                                <a:cubicBezTo>
                                  <a:pt x="570371" y="34764"/>
                                  <a:pt x="574919" y="34764"/>
                                  <a:pt x="574919" y="37040"/>
                                </a:cubicBezTo>
                                <a:cubicBezTo>
                                  <a:pt x="577193" y="39317"/>
                                  <a:pt x="574919" y="39317"/>
                                  <a:pt x="574919" y="41593"/>
                                </a:cubicBezTo>
                                <a:cubicBezTo>
                                  <a:pt x="572645" y="46145"/>
                                  <a:pt x="570371" y="50698"/>
                                  <a:pt x="565822" y="52974"/>
                                </a:cubicBezTo>
                                <a:cubicBezTo>
                                  <a:pt x="565822" y="52974"/>
                                  <a:pt x="568096" y="55250"/>
                                  <a:pt x="568096" y="57526"/>
                                </a:cubicBezTo>
                                <a:cubicBezTo>
                                  <a:pt x="565822" y="55250"/>
                                  <a:pt x="565822" y="55250"/>
                                  <a:pt x="565822" y="55250"/>
                                </a:cubicBezTo>
                                <a:cubicBezTo>
                                  <a:pt x="565822" y="57526"/>
                                  <a:pt x="565822" y="62079"/>
                                  <a:pt x="561274" y="62079"/>
                                </a:cubicBezTo>
                                <a:cubicBezTo>
                                  <a:pt x="561274" y="62079"/>
                                  <a:pt x="561274" y="59802"/>
                                  <a:pt x="561274" y="59802"/>
                                </a:cubicBezTo>
                                <a:cubicBezTo>
                                  <a:pt x="561274" y="59802"/>
                                  <a:pt x="559000" y="59802"/>
                                  <a:pt x="559000" y="62079"/>
                                </a:cubicBezTo>
                                <a:cubicBezTo>
                                  <a:pt x="556726" y="57526"/>
                                  <a:pt x="554451" y="62079"/>
                                  <a:pt x="554451" y="64355"/>
                                </a:cubicBezTo>
                                <a:cubicBezTo>
                                  <a:pt x="554451" y="59802"/>
                                  <a:pt x="549903" y="64355"/>
                                  <a:pt x="552177" y="66631"/>
                                </a:cubicBezTo>
                                <a:cubicBezTo>
                                  <a:pt x="545355" y="66631"/>
                                  <a:pt x="549903" y="78012"/>
                                  <a:pt x="554451" y="71183"/>
                                </a:cubicBezTo>
                                <a:cubicBezTo>
                                  <a:pt x="549903" y="78012"/>
                                  <a:pt x="547629" y="84841"/>
                                  <a:pt x="543081" y="89393"/>
                                </a:cubicBezTo>
                                <a:cubicBezTo>
                                  <a:pt x="543081" y="91669"/>
                                  <a:pt x="540807" y="93945"/>
                                  <a:pt x="538532" y="96222"/>
                                </a:cubicBezTo>
                                <a:cubicBezTo>
                                  <a:pt x="536258" y="98498"/>
                                  <a:pt x="533984" y="98498"/>
                                  <a:pt x="536258" y="103050"/>
                                </a:cubicBezTo>
                                <a:cubicBezTo>
                                  <a:pt x="538532" y="107603"/>
                                  <a:pt x="545355" y="109879"/>
                                  <a:pt x="549903" y="114431"/>
                                </a:cubicBezTo>
                                <a:cubicBezTo>
                                  <a:pt x="552177" y="116707"/>
                                  <a:pt x="552177" y="118984"/>
                                  <a:pt x="556726" y="121260"/>
                                </a:cubicBezTo>
                                <a:cubicBezTo>
                                  <a:pt x="559000" y="123536"/>
                                  <a:pt x="561274" y="125812"/>
                                  <a:pt x="559000" y="128088"/>
                                </a:cubicBezTo>
                                <a:cubicBezTo>
                                  <a:pt x="561274" y="128088"/>
                                  <a:pt x="563548" y="128088"/>
                                  <a:pt x="565822" y="125812"/>
                                </a:cubicBezTo>
                                <a:cubicBezTo>
                                  <a:pt x="568096" y="130365"/>
                                  <a:pt x="572645" y="130365"/>
                                  <a:pt x="574919" y="132641"/>
                                </a:cubicBezTo>
                                <a:cubicBezTo>
                                  <a:pt x="579467" y="134917"/>
                                  <a:pt x="581741" y="139469"/>
                                  <a:pt x="584015" y="144022"/>
                                </a:cubicBezTo>
                                <a:cubicBezTo>
                                  <a:pt x="590838" y="150850"/>
                                  <a:pt x="597660" y="148574"/>
                                  <a:pt x="604483" y="153126"/>
                                </a:cubicBezTo>
                                <a:cubicBezTo>
                                  <a:pt x="606757" y="155403"/>
                                  <a:pt x="604483" y="159955"/>
                                  <a:pt x="609031" y="162231"/>
                                </a:cubicBezTo>
                                <a:cubicBezTo>
                                  <a:pt x="609031" y="164507"/>
                                  <a:pt x="611305" y="164507"/>
                                  <a:pt x="613580" y="164507"/>
                                </a:cubicBezTo>
                                <a:cubicBezTo>
                                  <a:pt x="615854" y="166784"/>
                                  <a:pt x="618128" y="169060"/>
                                  <a:pt x="620402" y="169060"/>
                                </a:cubicBezTo>
                                <a:cubicBezTo>
                                  <a:pt x="624950" y="173612"/>
                                  <a:pt x="638595" y="169060"/>
                                  <a:pt x="643144" y="162231"/>
                                </a:cubicBezTo>
                                <a:cubicBezTo>
                                  <a:pt x="647692" y="153126"/>
                                  <a:pt x="654514" y="144022"/>
                                  <a:pt x="656788" y="134917"/>
                                </a:cubicBezTo>
                                <a:cubicBezTo>
                                  <a:pt x="659063" y="128088"/>
                                  <a:pt x="661337" y="123536"/>
                                  <a:pt x="663611" y="116707"/>
                                </a:cubicBezTo>
                                <a:cubicBezTo>
                                  <a:pt x="665885" y="112155"/>
                                  <a:pt x="668159" y="107603"/>
                                  <a:pt x="668159" y="100774"/>
                                </a:cubicBezTo>
                                <a:cubicBezTo>
                                  <a:pt x="668159" y="93945"/>
                                  <a:pt x="668159" y="91669"/>
                                  <a:pt x="670433" y="87117"/>
                                </a:cubicBezTo>
                                <a:cubicBezTo>
                                  <a:pt x="672708" y="82564"/>
                                  <a:pt x="668159" y="78012"/>
                                  <a:pt x="670433" y="73460"/>
                                </a:cubicBezTo>
                                <a:cubicBezTo>
                                  <a:pt x="672708" y="68907"/>
                                  <a:pt x="677256" y="64355"/>
                                  <a:pt x="674982" y="59802"/>
                                </a:cubicBezTo>
                                <a:cubicBezTo>
                                  <a:pt x="672708" y="52974"/>
                                  <a:pt x="677256" y="52974"/>
                                  <a:pt x="679530" y="48421"/>
                                </a:cubicBezTo>
                                <a:cubicBezTo>
                                  <a:pt x="679530" y="50698"/>
                                  <a:pt x="681804" y="50698"/>
                                  <a:pt x="681804" y="52974"/>
                                </a:cubicBezTo>
                                <a:cubicBezTo>
                                  <a:pt x="681804" y="50698"/>
                                  <a:pt x="681804" y="50698"/>
                                  <a:pt x="684078" y="50698"/>
                                </a:cubicBezTo>
                                <a:cubicBezTo>
                                  <a:pt x="682941" y="50698"/>
                                  <a:pt x="681804" y="48991"/>
                                  <a:pt x="680667" y="47283"/>
                                </a:cubicBezTo>
                                <a:lnTo>
                                  <a:pt x="677824" y="44438"/>
                                </a:lnTo>
                                <a:lnTo>
                                  <a:pt x="679530" y="39317"/>
                                </a:lnTo>
                                <a:cubicBezTo>
                                  <a:pt x="679530" y="37040"/>
                                  <a:pt x="679530" y="37040"/>
                                  <a:pt x="681804" y="37040"/>
                                </a:cubicBezTo>
                                <a:cubicBezTo>
                                  <a:pt x="679530" y="34764"/>
                                  <a:pt x="681804" y="32488"/>
                                  <a:pt x="681804" y="32488"/>
                                </a:cubicBezTo>
                                <a:cubicBezTo>
                                  <a:pt x="684078" y="32488"/>
                                  <a:pt x="684078" y="34764"/>
                                  <a:pt x="686353" y="34764"/>
                                </a:cubicBezTo>
                                <a:cubicBezTo>
                                  <a:pt x="686353" y="25659"/>
                                  <a:pt x="690901" y="18831"/>
                                  <a:pt x="690901" y="9726"/>
                                </a:cubicBezTo>
                                <a:cubicBezTo>
                                  <a:pt x="693175" y="7450"/>
                                  <a:pt x="693175" y="5174"/>
                                  <a:pt x="695449" y="5174"/>
                                </a:cubicBezTo>
                                <a:cubicBezTo>
                                  <a:pt x="697723" y="2898"/>
                                  <a:pt x="699997" y="-1655"/>
                                  <a:pt x="702272" y="621"/>
                                </a:cubicBezTo>
                                <a:close/>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grpSp>
                  </p:grpSp>
                </p:grpSp>
              </p:grpSp>
            </p:grpSp>
          </p:grpSp>
          <p:sp>
            <p:nvSpPr>
              <p:cNvPr id="201" name="Nepal">
                <a:extLst>
                  <a:ext uri="{FF2B5EF4-FFF2-40B4-BE49-F238E27FC236}">
                    <a16:creationId xmlns:a16="http://schemas.microsoft.com/office/drawing/2014/main" id="{6D036477-88F5-D84B-846D-CA7C743149CA}"/>
                  </a:ext>
                </a:extLst>
              </p:cNvPr>
              <p:cNvSpPr>
                <a:spLocks/>
              </p:cNvSpPr>
              <p:nvPr/>
            </p:nvSpPr>
            <p:spPr bwMode="auto">
              <a:xfrm>
                <a:off x="5495432" y="2587716"/>
                <a:ext cx="183214" cy="104348"/>
              </a:xfrm>
              <a:custGeom>
                <a:avLst/>
                <a:gdLst/>
                <a:ahLst/>
                <a:cxnLst>
                  <a:cxn ang="0">
                    <a:pos x="1" y="16"/>
                  </a:cxn>
                  <a:cxn ang="0">
                    <a:pos x="2" y="12"/>
                  </a:cxn>
                  <a:cxn ang="0">
                    <a:pos x="2" y="10"/>
                  </a:cxn>
                  <a:cxn ang="0">
                    <a:pos x="3" y="7"/>
                  </a:cxn>
                  <a:cxn ang="0">
                    <a:pos x="7" y="3"/>
                  </a:cxn>
                  <a:cxn ang="0">
                    <a:pos x="9" y="4"/>
                  </a:cxn>
                  <a:cxn ang="0">
                    <a:pos x="10" y="1"/>
                  </a:cxn>
                  <a:cxn ang="0">
                    <a:pos x="12" y="0"/>
                  </a:cxn>
                  <a:cxn ang="0">
                    <a:pos x="16" y="2"/>
                  </a:cxn>
                  <a:cxn ang="0">
                    <a:pos x="24" y="8"/>
                  </a:cxn>
                  <a:cxn ang="0">
                    <a:pos x="29" y="11"/>
                  </a:cxn>
                  <a:cxn ang="0">
                    <a:pos x="34" y="13"/>
                  </a:cxn>
                  <a:cxn ang="0">
                    <a:pos x="37" y="14"/>
                  </a:cxn>
                  <a:cxn ang="0">
                    <a:pos x="39" y="17"/>
                  </a:cxn>
                  <a:cxn ang="0">
                    <a:pos x="45" y="20"/>
                  </a:cxn>
                  <a:cxn ang="0">
                    <a:pos x="48" y="21"/>
                  </a:cxn>
                  <a:cxn ang="0">
                    <a:pos x="48" y="23"/>
                  </a:cxn>
                  <a:cxn ang="0">
                    <a:pos x="53" y="23"/>
                  </a:cxn>
                  <a:cxn ang="0">
                    <a:pos x="56" y="27"/>
                  </a:cxn>
                  <a:cxn ang="0">
                    <a:pos x="58" y="25"/>
                  </a:cxn>
                  <a:cxn ang="0">
                    <a:pos x="61" y="27"/>
                  </a:cxn>
                  <a:cxn ang="0">
                    <a:pos x="63" y="26"/>
                  </a:cxn>
                  <a:cxn ang="0">
                    <a:pos x="65" y="26"/>
                  </a:cxn>
                  <a:cxn ang="0">
                    <a:pos x="70" y="28"/>
                  </a:cxn>
                  <a:cxn ang="0">
                    <a:pos x="76" y="28"/>
                  </a:cxn>
                  <a:cxn ang="0">
                    <a:pos x="76" y="35"/>
                  </a:cxn>
                  <a:cxn ang="0">
                    <a:pos x="79" y="42"/>
                  </a:cxn>
                  <a:cxn ang="0">
                    <a:pos x="74" y="44"/>
                  </a:cxn>
                  <a:cxn ang="0">
                    <a:pos x="69" y="42"/>
                  </a:cxn>
                  <a:cxn ang="0">
                    <a:pos x="65" y="43"/>
                  </a:cxn>
                  <a:cxn ang="0">
                    <a:pos x="59" y="41"/>
                  </a:cxn>
                  <a:cxn ang="0">
                    <a:pos x="56" y="40"/>
                  </a:cxn>
                  <a:cxn ang="0">
                    <a:pos x="52" y="40"/>
                  </a:cxn>
                  <a:cxn ang="0">
                    <a:pos x="48" y="37"/>
                  </a:cxn>
                  <a:cxn ang="0">
                    <a:pos x="46" y="35"/>
                  </a:cxn>
                  <a:cxn ang="0">
                    <a:pos x="38" y="33"/>
                  </a:cxn>
                  <a:cxn ang="0">
                    <a:pos x="34" y="32"/>
                  </a:cxn>
                  <a:cxn ang="0">
                    <a:pos x="30" y="33"/>
                  </a:cxn>
                  <a:cxn ang="0">
                    <a:pos x="27" y="31"/>
                  </a:cxn>
                  <a:cxn ang="0">
                    <a:pos x="24" y="29"/>
                  </a:cxn>
                  <a:cxn ang="0">
                    <a:pos x="20" y="28"/>
                  </a:cxn>
                  <a:cxn ang="0">
                    <a:pos x="14" y="25"/>
                  </a:cxn>
                  <a:cxn ang="0">
                    <a:pos x="10" y="22"/>
                  </a:cxn>
                  <a:cxn ang="0">
                    <a:pos x="5" y="19"/>
                  </a:cxn>
                  <a:cxn ang="0">
                    <a:pos x="2" y="19"/>
                  </a:cxn>
                  <a:cxn ang="0">
                    <a:pos x="1" y="16"/>
                  </a:cxn>
                </a:cxnLst>
                <a:rect l="0" t="0" r="r" b="b"/>
                <a:pathLst>
                  <a:path w="79" h="45">
                    <a:moveTo>
                      <a:pt x="1" y="16"/>
                    </a:moveTo>
                    <a:cubicBezTo>
                      <a:pt x="1" y="15"/>
                      <a:pt x="2" y="14"/>
                      <a:pt x="2" y="12"/>
                    </a:cubicBezTo>
                    <a:cubicBezTo>
                      <a:pt x="1" y="11"/>
                      <a:pt x="1" y="11"/>
                      <a:pt x="2" y="10"/>
                    </a:cubicBezTo>
                    <a:cubicBezTo>
                      <a:pt x="2" y="8"/>
                      <a:pt x="2" y="9"/>
                      <a:pt x="3" y="7"/>
                    </a:cubicBezTo>
                    <a:cubicBezTo>
                      <a:pt x="4" y="6"/>
                      <a:pt x="5" y="2"/>
                      <a:pt x="7" y="3"/>
                    </a:cubicBezTo>
                    <a:cubicBezTo>
                      <a:pt x="8" y="4"/>
                      <a:pt x="8" y="5"/>
                      <a:pt x="9" y="4"/>
                    </a:cubicBezTo>
                    <a:cubicBezTo>
                      <a:pt x="10" y="3"/>
                      <a:pt x="10" y="3"/>
                      <a:pt x="10" y="1"/>
                    </a:cubicBezTo>
                    <a:cubicBezTo>
                      <a:pt x="11" y="2"/>
                      <a:pt x="11" y="0"/>
                      <a:pt x="12" y="0"/>
                    </a:cubicBezTo>
                    <a:cubicBezTo>
                      <a:pt x="13" y="1"/>
                      <a:pt x="14" y="1"/>
                      <a:pt x="16" y="2"/>
                    </a:cubicBezTo>
                    <a:cubicBezTo>
                      <a:pt x="19" y="4"/>
                      <a:pt x="21" y="6"/>
                      <a:pt x="24" y="8"/>
                    </a:cubicBezTo>
                    <a:cubicBezTo>
                      <a:pt x="26" y="9"/>
                      <a:pt x="28" y="9"/>
                      <a:pt x="29" y="11"/>
                    </a:cubicBezTo>
                    <a:cubicBezTo>
                      <a:pt x="31" y="13"/>
                      <a:pt x="32" y="15"/>
                      <a:pt x="34" y="13"/>
                    </a:cubicBezTo>
                    <a:cubicBezTo>
                      <a:pt x="35" y="12"/>
                      <a:pt x="36" y="13"/>
                      <a:pt x="37" y="14"/>
                    </a:cubicBezTo>
                    <a:cubicBezTo>
                      <a:pt x="38" y="15"/>
                      <a:pt x="38" y="17"/>
                      <a:pt x="39" y="17"/>
                    </a:cubicBezTo>
                    <a:cubicBezTo>
                      <a:pt x="41" y="18"/>
                      <a:pt x="44" y="20"/>
                      <a:pt x="45" y="20"/>
                    </a:cubicBezTo>
                    <a:cubicBezTo>
                      <a:pt x="46" y="20"/>
                      <a:pt x="47" y="19"/>
                      <a:pt x="48" y="21"/>
                    </a:cubicBezTo>
                    <a:cubicBezTo>
                      <a:pt x="48" y="21"/>
                      <a:pt x="47" y="22"/>
                      <a:pt x="48" y="23"/>
                    </a:cubicBezTo>
                    <a:cubicBezTo>
                      <a:pt x="49" y="23"/>
                      <a:pt x="52" y="24"/>
                      <a:pt x="53" y="23"/>
                    </a:cubicBezTo>
                    <a:cubicBezTo>
                      <a:pt x="54" y="25"/>
                      <a:pt x="56" y="25"/>
                      <a:pt x="56" y="27"/>
                    </a:cubicBezTo>
                    <a:cubicBezTo>
                      <a:pt x="57" y="29"/>
                      <a:pt x="57" y="25"/>
                      <a:pt x="58" y="25"/>
                    </a:cubicBezTo>
                    <a:cubicBezTo>
                      <a:pt x="58" y="26"/>
                      <a:pt x="61" y="28"/>
                      <a:pt x="61" y="27"/>
                    </a:cubicBezTo>
                    <a:cubicBezTo>
                      <a:pt x="62" y="26"/>
                      <a:pt x="62" y="25"/>
                      <a:pt x="63" y="26"/>
                    </a:cubicBezTo>
                    <a:cubicBezTo>
                      <a:pt x="64" y="26"/>
                      <a:pt x="64" y="26"/>
                      <a:pt x="65" y="26"/>
                    </a:cubicBezTo>
                    <a:cubicBezTo>
                      <a:pt x="67" y="28"/>
                      <a:pt x="68" y="28"/>
                      <a:pt x="70" y="28"/>
                    </a:cubicBezTo>
                    <a:cubicBezTo>
                      <a:pt x="71" y="28"/>
                      <a:pt x="74" y="27"/>
                      <a:pt x="76" y="28"/>
                    </a:cubicBezTo>
                    <a:cubicBezTo>
                      <a:pt x="77" y="28"/>
                      <a:pt x="76" y="33"/>
                      <a:pt x="76" y="35"/>
                    </a:cubicBezTo>
                    <a:cubicBezTo>
                      <a:pt x="77" y="38"/>
                      <a:pt x="79" y="39"/>
                      <a:pt x="79" y="42"/>
                    </a:cubicBezTo>
                    <a:cubicBezTo>
                      <a:pt x="78" y="45"/>
                      <a:pt x="76" y="43"/>
                      <a:pt x="74" y="44"/>
                    </a:cubicBezTo>
                    <a:cubicBezTo>
                      <a:pt x="72" y="44"/>
                      <a:pt x="69" y="44"/>
                      <a:pt x="69" y="42"/>
                    </a:cubicBezTo>
                    <a:cubicBezTo>
                      <a:pt x="67" y="42"/>
                      <a:pt x="67" y="44"/>
                      <a:pt x="65" y="43"/>
                    </a:cubicBezTo>
                    <a:cubicBezTo>
                      <a:pt x="64" y="42"/>
                      <a:pt x="60" y="41"/>
                      <a:pt x="59" y="41"/>
                    </a:cubicBezTo>
                    <a:cubicBezTo>
                      <a:pt x="57" y="42"/>
                      <a:pt x="57" y="41"/>
                      <a:pt x="56" y="40"/>
                    </a:cubicBezTo>
                    <a:cubicBezTo>
                      <a:pt x="55" y="38"/>
                      <a:pt x="53" y="41"/>
                      <a:pt x="52" y="40"/>
                    </a:cubicBezTo>
                    <a:cubicBezTo>
                      <a:pt x="51" y="39"/>
                      <a:pt x="50" y="38"/>
                      <a:pt x="48" y="37"/>
                    </a:cubicBezTo>
                    <a:cubicBezTo>
                      <a:pt x="46" y="37"/>
                      <a:pt x="46" y="36"/>
                      <a:pt x="46" y="35"/>
                    </a:cubicBezTo>
                    <a:cubicBezTo>
                      <a:pt x="45" y="33"/>
                      <a:pt x="37" y="31"/>
                      <a:pt x="38" y="33"/>
                    </a:cubicBezTo>
                    <a:cubicBezTo>
                      <a:pt x="37" y="33"/>
                      <a:pt x="36" y="32"/>
                      <a:pt x="34" y="32"/>
                    </a:cubicBezTo>
                    <a:cubicBezTo>
                      <a:pt x="33" y="33"/>
                      <a:pt x="32" y="33"/>
                      <a:pt x="30" y="33"/>
                    </a:cubicBezTo>
                    <a:cubicBezTo>
                      <a:pt x="29" y="32"/>
                      <a:pt x="28" y="32"/>
                      <a:pt x="27" y="31"/>
                    </a:cubicBezTo>
                    <a:cubicBezTo>
                      <a:pt x="27" y="29"/>
                      <a:pt x="25" y="30"/>
                      <a:pt x="24" y="29"/>
                    </a:cubicBezTo>
                    <a:cubicBezTo>
                      <a:pt x="23" y="29"/>
                      <a:pt x="21" y="27"/>
                      <a:pt x="20" y="28"/>
                    </a:cubicBezTo>
                    <a:cubicBezTo>
                      <a:pt x="18" y="28"/>
                      <a:pt x="16" y="26"/>
                      <a:pt x="14" y="25"/>
                    </a:cubicBezTo>
                    <a:cubicBezTo>
                      <a:pt x="13" y="25"/>
                      <a:pt x="12" y="23"/>
                      <a:pt x="10" y="22"/>
                    </a:cubicBezTo>
                    <a:cubicBezTo>
                      <a:pt x="9" y="21"/>
                      <a:pt x="7" y="20"/>
                      <a:pt x="5" y="19"/>
                    </a:cubicBezTo>
                    <a:cubicBezTo>
                      <a:pt x="5" y="21"/>
                      <a:pt x="3" y="19"/>
                      <a:pt x="2" y="19"/>
                    </a:cubicBezTo>
                    <a:cubicBezTo>
                      <a:pt x="2" y="18"/>
                      <a:pt x="0" y="17"/>
                      <a:pt x="1" y="16"/>
                    </a:cubicBezTo>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202" name="Bhutan">
                <a:extLst>
                  <a:ext uri="{FF2B5EF4-FFF2-40B4-BE49-F238E27FC236}">
                    <a16:creationId xmlns:a16="http://schemas.microsoft.com/office/drawing/2014/main" id="{6B5CC755-BC75-394F-2127-79F1649AF9CC}"/>
                  </a:ext>
                </a:extLst>
              </p:cNvPr>
              <p:cNvSpPr>
                <a:spLocks/>
              </p:cNvSpPr>
              <p:nvPr/>
            </p:nvSpPr>
            <p:spPr bwMode="auto">
              <a:xfrm>
                <a:off x="5687138" y="2641103"/>
                <a:ext cx="74015" cy="41253"/>
              </a:xfrm>
              <a:custGeom>
                <a:avLst/>
                <a:gdLst/>
                <a:ahLst/>
                <a:cxnLst>
                  <a:cxn ang="0">
                    <a:pos x="0" y="13"/>
                  </a:cxn>
                  <a:cxn ang="0">
                    <a:pos x="1" y="11"/>
                  </a:cxn>
                  <a:cxn ang="0">
                    <a:pos x="2" y="9"/>
                  </a:cxn>
                  <a:cxn ang="0">
                    <a:pos x="5" y="4"/>
                  </a:cxn>
                  <a:cxn ang="0">
                    <a:pos x="10" y="0"/>
                  </a:cxn>
                  <a:cxn ang="0">
                    <a:pos x="13" y="1"/>
                  </a:cxn>
                  <a:cxn ang="0">
                    <a:pos x="14" y="3"/>
                  </a:cxn>
                  <a:cxn ang="0">
                    <a:pos x="18" y="3"/>
                  </a:cxn>
                  <a:cxn ang="0">
                    <a:pos x="20" y="4"/>
                  </a:cxn>
                  <a:cxn ang="0">
                    <a:pos x="22" y="3"/>
                  </a:cxn>
                  <a:cxn ang="0">
                    <a:pos x="26" y="6"/>
                  </a:cxn>
                  <a:cxn ang="0">
                    <a:pos x="28" y="9"/>
                  </a:cxn>
                  <a:cxn ang="0">
                    <a:pos x="30" y="13"/>
                  </a:cxn>
                  <a:cxn ang="0">
                    <a:pos x="31" y="16"/>
                  </a:cxn>
                  <a:cxn ang="0">
                    <a:pos x="26" y="16"/>
                  </a:cxn>
                  <a:cxn ang="0">
                    <a:pos x="23" y="17"/>
                  </a:cxn>
                  <a:cxn ang="0">
                    <a:pos x="20" y="17"/>
                  </a:cxn>
                  <a:cxn ang="0">
                    <a:pos x="15" y="16"/>
                  </a:cxn>
                  <a:cxn ang="0">
                    <a:pos x="10" y="18"/>
                  </a:cxn>
                  <a:cxn ang="0">
                    <a:pos x="6" y="16"/>
                  </a:cxn>
                  <a:cxn ang="0">
                    <a:pos x="0" y="13"/>
                  </a:cxn>
                </a:cxnLst>
                <a:rect l="0" t="0" r="r" b="b"/>
                <a:pathLst>
                  <a:path w="32" h="18">
                    <a:moveTo>
                      <a:pt x="0" y="13"/>
                    </a:moveTo>
                    <a:cubicBezTo>
                      <a:pt x="0" y="12"/>
                      <a:pt x="0" y="12"/>
                      <a:pt x="1" y="11"/>
                    </a:cubicBezTo>
                    <a:cubicBezTo>
                      <a:pt x="2" y="11"/>
                      <a:pt x="1" y="10"/>
                      <a:pt x="2" y="9"/>
                    </a:cubicBezTo>
                    <a:cubicBezTo>
                      <a:pt x="3" y="8"/>
                      <a:pt x="4" y="5"/>
                      <a:pt x="5" y="4"/>
                    </a:cubicBezTo>
                    <a:cubicBezTo>
                      <a:pt x="6" y="2"/>
                      <a:pt x="8" y="0"/>
                      <a:pt x="10" y="0"/>
                    </a:cubicBezTo>
                    <a:cubicBezTo>
                      <a:pt x="11" y="0"/>
                      <a:pt x="13" y="1"/>
                      <a:pt x="13" y="1"/>
                    </a:cubicBezTo>
                    <a:cubicBezTo>
                      <a:pt x="13" y="2"/>
                      <a:pt x="13" y="3"/>
                      <a:pt x="14" y="3"/>
                    </a:cubicBezTo>
                    <a:cubicBezTo>
                      <a:pt x="15" y="3"/>
                      <a:pt x="17" y="3"/>
                      <a:pt x="18" y="3"/>
                    </a:cubicBezTo>
                    <a:cubicBezTo>
                      <a:pt x="19" y="3"/>
                      <a:pt x="19" y="5"/>
                      <a:pt x="20" y="4"/>
                    </a:cubicBezTo>
                    <a:cubicBezTo>
                      <a:pt x="21" y="3"/>
                      <a:pt x="21" y="3"/>
                      <a:pt x="22" y="3"/>
                    </a:cubicBezTo>
                    <a:cubicBezTo>
                      <a:pt x="24" y="4"/>
                      <a:pt x="26" y="4"/>
                      <a:pt x="26" y="6"/>
                    </a:cubicBezTo>
                    <a:cubicBezTo>
                      <a:pt x="26" y="8"/>
                      <a:pt x="26" y="10"/>
                      <a:pt x="28" y="9"/>
                    </a:cubicBezTo>
                    <a:cubicBezTo>
                      <a:pt x="31" y="9"/>
                      <a:pt x="30" y="12"/>
                      <a:pt x="30" y="13"/>
                    </a:cubicBezTo>
                    <a:cubicBezTo>
                      <a:pt x="30" y="14"/>
                      <a:pt x="32" y="15"/>
                      <a:pt x="31" y="16"/>
                    </a:cubicBezTo>
                    <a:cubicBezTo>
                      <a:pt x="29" y="16"/>
                      <a:pt x="28" y="17"/>
                      <a:pt x="26" y="16"/>
                    </a:cubicBezTo>
                    <a:cubicBezTo>
                      <a:pt x="26" y="16"/>
                      <a:pt x="24" y="17"/>
                      <a:pt x="23" y="17"/>
                    </a:cubicBezTo>
                    <a:cubicBezTo>
                      <a:pt x="22" y="17"/>
                      <a:pt x="21" y="17"/>
                      <a:pt x="20" y="17"/>
                    </a:cubicBezTo>
                    <a:cubicBezTo>
                      <a:pt x="18" y="17"/>
                      <a:pt x="16" y="15"/>
                      <a:pt x="15" y="16"/>
                    </a:cubicBezTo>
                    <a:cubicBezTo>
                      <a:pt x="13" y="17"/>
                      <a:pt x="11" y="18"/>
                      <a:pt x="10" y="18"/>
                    </a:cubicBezTo>
                    <a:cubicBezTo>
                      <a:pt x="8" y="17"/>
                      <a:pt x="7" y="16"/>
                      <a:pt x="6" y="16"/>
                    </a:cubicBezTo>
                    <a:cubicBezTo>
                      <a:pt x="3" y="16"/>
                      <a:pt x="2" y="14"/>
                      <a:pt x="0" y="13"/>
                    </a:cubicBezTo>
                  </a:path>
                </a:pathLst>
              </a:custGeom>
              <a:grpFill/>
              <a:ln w="3175">
                <a:solidFill>
                  <a:schemeClr val="accent2"/>
                </a:solidFill>
                <a:round/>
                <a:headEnd/>
                <a:tailEnd/>
              </a:ln>
            </p:spPr>
            <p:txBody>
              <a:bodyPr vert="horz" wrap="square" lIns="68455" tIns="34227" rIns="68455" bIns="3422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grpSp>
        <p:sp>
          <p:nvSpPr>
            <p:cNvPr id="231" name="China">
              <a:extLst>
                <a:ext uri="{FF2B5EF4-FFF2-40B4-BE49-F238E27FC236}">
                  <a16:creationId xmlns:a16="http://schemas.microsoft.com/office/drawing/2014/main" id="{6483B8EA-A52F-97F0-4644-61DD0F50EC33}"/>
                </a:ext>
              </a:extLst>
            </p:cNvPr>
            <p:cNvSpPr>
              <a:spLocks/>
            </p:cNvSpPr>
            <p:nvPr/>
          </p:nvSpPr>
          <p:spPr bwMode="auto">
            <a:xfrm>
              <a:off x="3477849" y="1301119"/>
              <a:ext cx="719812" cy="552840"/>
            </a:xfrm>
            <a:custGeom>
              <a:avLst/>
              <a:gdLst>
                <a:gd name="connsiteX0" fmla="*/ 864489 w 1109770"/>
                <a:gd name="connsiteY0" fmla="*/ 807269 h 852343"/>
                <a:gd name="connsiteX1" fmla="*/ 870455 w 1109770"/>
                <a:gd name="connsiteY1" fmla="*/ 811522 h 852343"/>
                <a:gd name="connsiteX2" fmla="*/ 868182 w 1109770"/>
                <a:gd name="connsiteY2" fmla="*/ 818325 h 852343"/>
                <a:gd name="connsiteX3" fmla="*/ 863636 w 1109770"/>
                <a:gd name="connsiteY3" fmla="*/ 829665 h 852343"/>
                <a:gd name="connsiteX4" fmla="*/ 861363 w 1109770"/>
                <a:gd name="connsiteY4" fmla="*/ 841004 h 852343"/>
                <a:gd name="connsiteX5" fmla="*/ 854544 w 1109770"/>
                <a:gd name="connsiteY5" fmla="*/ 850075 h 852343"/>
                <a:gd name="connsiteX6" fmla="*/ 849998 w 1109770"/>
                <a:gd name="connsiteY6" fmla="*/ 852343 h 852343"/>
                <a:gd name="connsiteX7" fmla="*/ 838633 w 1109770"/>
                <a:gd name="connsiteY7" fmla="*/ 850075 h 852343"/>
                <a:gd name="connsiteX8" fmla="*/ 827268 w 1109770"/>
                <a:gd name="connsiteY8" fmla="*/ 847807 h 852343"/>
                <a:gd name="connsiteX9" fmla="*/ 824995 w 1109770"/>
                <a:gd name="connsiteY9" fmla="*/ 836468 h 852343"/>
                <a:gd name="connsiteX10" fmla="*/ 822722 w 1109770"/>
                <a:gd name="connsiteY10" fmla="*/ 827397 h 852343"/>
                <a:gd name="connsiteX11" fmla="*/ 836360 w 1109770"/>
                <a:gd name="connsiteY11" fmla="*/ 816057 h 852343"/>
                <a:gd name="connsiteX12" fmla="*/ 834087 w 1109770"/>
                <a:gd name="connsiteY12" fmla="*/ 811522 h 852343"/>
                <a:gd name="connsiteX13" fmla="*/ 840906 w 1109770"/>
                <a:gd name="connsiteY13" fmla="*/ 813790 h 852343"/>
                <a:gd name="connsiteX14" fmla="*/ 838633 w 1109770"/>
                <a:gd name="connsiteY14" fmla="*/ 811522 h 852343"/>
                <a:gd name="connsiteX15" fmla="*/ 849998 w 1109770"/>
                <a:gd name="connsiteY15" fmla="*/ 811522 h 852343"/>
                <a:gd name="connsiteX16" fmla="*/ 859090 w 1109770"/>
                <a:gd name="connsiteY16" fmla="*/ 811522 h 852343"/>
                <a:gd name="connsiteX17" fmla="*/ 863636 w 1109770"/>
                <a:gd name="connsiteY17" fmla="*/ 811522 h 852343"/>
                <a:gd name="connsiteX18" fmla="*/ 864489 w 1109770"/>
                <a:gd name="connsiteY18" fmla="*/ 807269 h 852343"/>
                <a:gd name="connsiteX19" fmla="*/ 782241 w 1109770"/>
                <a:gd name="connsiteY19" fmla="*/ 789240 h 852343"/>
                <a:gd name="connsiteX20" fmla="*/ 784623 w 1109770"/>
                <a:gd name="connsiteY20" fmla="*/ 794003 h 852343"/>
                <a:gd name="connsiteX21" fmla="*/ 782241 w 1109770"/>
                <a:gd name="connsiteY21" fmla="*/ 789240 h 852343"/>
                <a:gd name="connsiteX22" fmla="*/ 791766 w 1109770"/>
                <a:gd name="connsiteY22" fmla="*/ 779715 h 852343"/>
                <a:gd name="connsiteX23" fmla="*/ 791766 w 1109770"/>
                <a:gd name="connsiteY23" fmla="*/ 784478 h 852343"/>
                <a:gd name="connsiteX24" fmla="*/ 791766 w 1109770"/>
                <a:gd name="connsiteY24" fmla="*/ 779715 h 852343"/>
                <a:gd name="connsiteX25" fmla="*/ 991494 w 1109770"/>
                <a:gd name="connsiteY25" fmla="*/ 719588 h 852343"/>
                <a:gd name="connsiteX26" fmla="*/ 991792 w 1109770"/>
                <a:gd name="connsiteY26" fmla="*/ 721374 h 852343"/>
                <a:gd name="connsiteX27" fmla="*/ 989410 w 1109770"/>
                <a:gd name="connsiteY27" fmla="*/ 721374 h 852343"/>
                <a:gd name="connsiteX28" fmla="*/ 991494 w 1109770"/>
                <a:gd name="connsiteY28" fmla="*/ 719588 h 852343"/>
                <a:gd name="connsiteX29" fmla="*/ 1009650 w 1109770"/>
                <a:gd name="connsiteY29" fmla="*/ 699943 h 852343"/>
                <a:gd name="connsiteX30" fmla="*/ 1009650 w 1109770"/>
                <a:gd name="connsiteY30" fmla="*/ 702324 h 852343"/>
                <a:gd name="connsiteX31" fmla="*/ 1007269 w 1109770"/>
                <a:gd name="connsiteY31" fmla="*/ 702324 h 852343"/>
                <a:gd name="connsiteX32" fmla="*/ 1009650 w 1109770"/>
                <a:gd name="connsiteY32" fmla="*/ 699943 h 852343"/>
                <a:gd name="connsiteX33" fmla="*/ 1032089 w 1109770"/>
                <a:gd name="connsiteY33" fmla="*/ 675124 h 852343"/>
                <a:gd name="connsiteX34" fmla="*/ 1031975 w 1109770"/>
                <a:gd name="connsiteY34" fmla="*/ 676726 h 852343"/>
                <a:gd name="connsiteX35" fmla="*/ 1029891 w 1109770"/>
                <a:gd name="connsiteY35" fmla="*/ 677322 h 852343"/>
                <a:gd name="connsiteX36" fmla="*/ 1032114 w 1109770"/>
                <a:gd name="connsiteY36" fmla="*/ 674782 h 852343"/>
                <a:gd name="connsiteX37" fmla="*/ 1032272 w 1109770"/>
                <a:gd name="connsiteY37" fmla="*/ 674940 h 852343"/>
                <a:gd name="connsiteX38" fmla="*/ 1032089 w 1109770"/>
                <a:gd name="connsiteY38" fmla="*/ 675124 h 852343"/>
                <a:gd name="connsiteX39" fmla="*/ 1029891 w 1109770"/>
                <a:gd name="connsiteY39" fmla="*/ 672559 h 852343"/>
                <a:gd name="connsiteX40" fmla="*/ 1032272 w 1109770"/>
                <a:gd name="connsiteY40" fmla="*/ 672559 h 852343"/>
                <a:gd name="connsiteX41" fmla="*/ 1032114 w 1109770"/>
                <a:gd name="connsiteY41" fmla="*/ 674782 h 852343"/>
                <a:gd name="connsiteX42" fmla="*/ 1048941 w 1109770"/>
                <a:gd name="connsiteY42" fmla="*/ 564211 h 852343"/>
                <a:gd name="connsiteX43" fmla="*/ 1057276 w 1109770"/>
                <a:gd name="connsiteY43" fmla="*/ 566593 h 852343"/>
                <a:gd name="connsiteX44" fmla="*/ 1051025 w 1109770"/>
                <a:gd name="connsiteY44" fmla="*/ 566593 h 852343"/>
                <a:gd name="connsiteX45" fmla="*/ 1048941 w 1109770"/>
                <a:gd name="connsiteY45" fmla="*/ 564211 h 852343"/>
                <a:gd name="connsiteX46" fmla="*/ 1019175 w 1109770"/>
                <a:gd name="connsiteY46" fmla="*/ 523391 h 852343"/>
                <a:gd name="connsiteX47" fmla="*/ 1037035 w 1109770"/>
                <a:gd name="connsiteY47" fmla="*/ 530024 h 852343"/>
                <a:gd name="connsiteX48" fmla="*/ 1019175 w 1109770"/>
                <a:gd name="connsiteY48" fmla="*/ 523391 h 852343"/>
                <a:gd name="connsiteX49" fmla="*/ 1089709 w 1109770"/>
                <a:gd name="connsiteY49" fmla="*/ 257027 h 852343"/>
                <a:gd name="connsiteX50" fmla="*/ 1100674 w 1109770"/>
                <a:gd name="connsiteY50" fmla="*/ 265797 h 852343"/>
                <a:gd name="connsiteX51" fmla="*/ 1096410 w 1109770"/>
                <a:gd name="connsiteY51" fmla="*/ 263524 h 852343"/>
                <a:gd name="connsiteX52" fmla="*/ 1089360 w 1109770"/>
                <a:gd name="connsiteY52" fmla="*/ 256688 h 852343"/>
                <a:gd name="connsiteX53" fmla="*/ 1089709 w 1109770"/>
                <a:gd name="connsiteY53" fmla="*/ 257027 h 852343"/>
                <a:gd name="connsiteX54" fmla="*/ 1089303 w 1109770"/>
                <a:gd name="connsiteY54" fmla="*/ 256702 h 852343"/>
                <a:gd name="connsiteX55" fmla="*/ 796795 w 1109770"/>
                <a:gd name="connsiteY55" fmla="*/ 316 h 852343"/>
                <a:gd name="connsiteX56" fmla="*/ 807312 w 1109770"/>
                <a:gd name="connsiteY56" fmla="*/ 2022 h 852343"/>
                <a:gd name="connsiteX57" fmla="*/ 818683 w 1109770"/>
                <a:gd name="connsiteY57" fmla="*/ 4296 h 852343"/>
                <a:gd name="connsiteX58" fmla="*/ 832328 w 1109770"/>
                <a:gd name="connsiteY58" fmla="*/ 11118 h 852343"/>
                <a:gd name="connsiteX59" fmla="*/ 850521 w 1109770"/>
                <a:gd name="connsiteY59" fmla="*/ 13392 h 852343"/>
                <a:gd name="connsiteX60" fmla="*/ 859617 w 1109770"/>
                <a:gd name="connsiteY60" fmla="*/ 17939 h 852343"/>
                <a:gd name="connsiteX61" fmla="*/ 861891 w 1109770"/>
                <a:gd name="connsiteY61" fmla="*/ 20213 h 852343"/>
                <a:gd name="connsiteX62" fmla="*/ 868714 w 1109770"/>
                <a:gd name="connsiteY62" fmla="*/ 24761 h 852343"/>
                <a:gd name="connsiteX63" fmla="*/ 880084 w 1109770"/>
                <a:gd name="connsiteY63" fmla="*/ 33857 h 852343"/>
                <a:gd name="connsiteX64" fmla="*/ 886906 w 1109770"/>
                <a:gd name="connsiteY64" fmla="*/ 42953 h 852343"/>
                <a:gd name="connsiteX65" fmla="*/ 896003 w 1109770"/>
                <a:gd name="connsiteY65" fmla="*/ 47500 h 852343"/>
                <a:gd name="connsiteX66" fmla="*/ 905099 w 1109770"/>
                <a:gd name="connsiteY66" fmla="*/ 56596 h 852343"/>
                <a:gd name="connsiteX67" fmla="*/ 916470 w 1109770"/>
                <a:gd name="connsiteY67" fmla="*/ 65692 h 852343"/>
                <a:gd name="connsiteX68" fmla="*/ 923292 w 1109770"/>
                <a:gd name="connsiteY68" fmla="*/ 74788 h 852343"/>
                <a:gd name="connsiteX69" fmla="*/ 930115 w 1109770"/>
                <a:gd name="connsiteY69" fmla="*/ 81609 h 852343"/>
                <a:gd name="connsiteX70" fmla="*/ 950582 w 1109770"/>
                <a:gd name="connsiteY70" fmla="*/ 92979 h 852343"/>
                <a:gd name="connsiteX71" fmla="*/ 961952 w 1109770"/>
                <a:gd name="connsiteY71" fmla="*/ 92979 h 852343"/>
                <a:gd name="connsiteX72" fmla="*/ 975597 w 1109770"/>
                <a:gd name="connsiteY72" fmla="*/ 97527 h 852343"/>
                <a:gd name="connsiteX73" fmla="*/ 982419 w 1109770"/>
                <a:gd name="connsiteY73" fmla="*/ 99801 h 852343"/>
                <a:gd name="connsiteX74" fmla="*/ 993790 w 1109770"/>
                <a:gd name="connsiteY74" fmla="*/ 106623 h 852343"/>
                <a:gd name="connsiteX75" fmla="*/ 1007435 w 1109770"/>
                <a:gd name="connsiteY75" fmla="*/ 108896 h 852343"/>
                <a:gd name="connsiteX76" fmla="*/ 1009709 w 1109770"/>
                <a:gd name="connsiteY76" fmla="*/ 115718 h 852343"/>
                <a:gd name="connsiteX77" fmla="*/ 1014257 w 1109770"/>
                <a:gd name="connsiteY77" fmla="*/ 117992 h 852343"/>
                <a:gd name="connsiteX78" fmla="*/ 1018805 w 1109770"/>
                <a:gd name="connsiteY78" fmla="*/ 127088 h 852343"/>
                <a:gd name="connsiteX79" fmla="*/ 1032450 w 1109770"/>
                <a:gd name="connsiteY79" fmla="*/ 138458 h 852343"/>
                <a:gd name="connsiteX80" fmla="*/ 1039272 w 1109770"/>
                <a:gd name="connsiteY80" fmla="*/ 136184 h 852343"/>
                <a:gd name="connsiteX81" fmla="*/ 1046095 w 1109770"/>
                <a:gd name="connsiteY81" fmla="*/ 138458 h 852343"/>
                <a:gd name="connsiteX82" fmla="*/ 1059739 w 1109770"/>
                <a:gd name="connsiteY82" fmla="*/ 133910 h 852343"/>
                <a:gd name="connsiteX83" fmla="*/ 1068836 w 1109770"/>
                <a:gd name="connsiteY83" fmla="*/ 127088 h 852343"/>
                <a:gd name="connsiteX84" fmla="*/ 1073384 w 1109770"/>
                <a:gd name="connsiteY84" fmla="*/ 127088 h 852343"/>
                <a:gd name="connsiteX85" fmla="*/ 1075658 w 1109770"/>
                <a:gd name="connsiteY85" fmla="*/ 124814 h 852343"/>
                <a:gd name="connsiteX86" fmla="*/ 1084755 w 1109770"/>
                <a:gd name="connsiteY86" fmla="*/ 120266 h 852343"/>
                <a:gd name="connsiteX87" fmla="*/ 1093851 w 1109770"/>
                <a:gd name="connsiteY87" fmla="*/ 124814 h 852343"/>
                <a:gd name="connsiteX88" fmla="*/ 1096125 w 1109770"/>
                <a:gd name="connsiteY88" fmla="*/ 131636 h 852343"/>
                <a:gd name="connsiteX89" fmla="*/ 1102948 w 1109770"/>
                <a:gd name="connsiteY89" fmla="*/ 143005 h 852343"/>
                <a:gd name="connsiteX90" fmla="*/ 1098399 w 1109770"/>
                <a:gd name="connsiteY90" fmla="*/ 145279 h 852343"/>
                <a:gd name="connsiteX91" fmla="*/ 1100674 w 1109770"/>
                <a:gd name="connsiteY91" fmla="*/ 149827 h 852343"/>
                <a:gd name="connsiteX92" fmla="*/ 1100674 w 1109770"/>
                <a:gd name="connsiteY92" fmla="*/ 154375 h 852343"/>
                <a:gd name="connsiteX93" fmla="*/ 1105222 w 1109770"/>
                <a:gd name="connsiteY93" fmla="*/ 163471 h 852343"/>
                <a:gd name="connsiteX94" fmla="*/ 1105222 w 1109770"/>
                <a:gd name="connsiteY94" fmla="*/ 174840 h 852343"/>
                <a:gd name="connsiteX95" fmla="*/ 1105222 w 1109770"/>
                <a:gd name="connsiteY95" fmla="*/ 181662 h 852343"/>
                <a:gd name="connsiteX96" fmla="*/ 1109770 w 1109770"/>
                <a:gd name="connsiteY96" fmla="*/ 188484 h 852343"/>
                <a:gd name="connsiteX97" fmla="*/ 1107496 w 1109770"/>
                <a:gd name="connsiteY97" fmla="*/ 195306 h 852343"/>
                <a:gd name="connsiteX98" fmla="*/ 1109770 w 1109770"/>
                <a:gd name="connsiteY98" fmla="*/ 199854 h 852343"/>
                <a:gd name="connsiteX99" fmla="*/ 1091577 w 1109770"/>
                <a:gd name="connsiteY99" fmla="*/ 197580 h 852343"/>
                <a:gd name="connsiteX100" fmla="*/ 1082481 w 1109770"/>
                <a:gd name="connsiteY100" fmla="*/ 195306 h 852343"/>
                <a:gd name="connsiteX101" fmla="*/ 1080207 w 1109770"/>
                <a:gd name="connsiteY101" fmla="*/ 202127 h 852343"/>
                <a:gd name="connsiteX102" fmla="*/ 1073384 w 1109770"/>
                <a:gd name="connsiteY102" fmla="*/ 204401 h 852343"/>
                <a:gd name="connsiteX103" fmla="*/ 1077932 w 1109770"/>
                <a:gd name="connsiteY103" fmla="*/ 211223 h 852343"/>
                <a:gd name="connsiteX104" fmla="*/ 1091577 w 1109770"/>
                <a:gd name="connsiteY104" fmla="*/ 231689 h 852343"/>
                <a:gd name="connsiteX105" fmla="*/ 1100674 w 1109770"/>
                <a:gd name="connsiteY105" fmla="*/ 249880 h 852343"/>
                <a:gd name="connsiteX106" fmla="*/ 1098399 w 1109770"/>
                <a:gd name="connsiteY106" fmla="*/ 254428 h 852343"/>
                <a:gd name="connsiteX107" fmla="*/ 1089360 w 1109770"/>
                <a:gd name="connsiteY107" fmla="*/ 256688 h 852343"/>
                <a:gd name="connsiteX108" fmla="*/ 1087029 w 1109770"/>
                <a:gd name="connsiteY108" fmla="*/ 254428 h 852343"/>
                <a:gd name="connsiteX109" fmla="*/ 1075658 w 1109770"/>
                <a:gd name="connsiteY109" fmla="*/ 249880 h 852343"/>
                <a:gd name="connsiteX110" fmla="*/ 1080207 w 1109770"/>
                <a:gd name="connsiteY110" fmla="*/ 263524 h 852343"/>
                <a:gd name="connsiteX111" fmla="*/ 1073384 w 1109770"/>
                <a:gd name="connsiteY111" fmla="*/ 265797 h 852343"/>
                <a:gd name="connsiteX112" fmla="*/ 1068836 w 1109770"/>
                <a:gd name="connsiteY112" fmla="*/ 272619 h 852343"/>
                <a:gd name="connsiteX113" fmla="*/ 1052917 w 1109770"/>
                <a:gd name="connsiteY113" fmla="*/ 274893 h 852343"/>
                <a:gd name="connsiteX114" fmla="*/ 1064288 w 1109770"/>
                <a:gd name="connsiteY114" fmla="*/ 286263 h 852343"/>
                <a:gd name="connsiteX115" fmla="*/ 1050643 w 1109770"/>
                <a:gd name="connsiteY115" fmla="*/ 288537 h 852343"/>
                <a:gd name="connsiteX116" fmla="*/ 1041547 w 1109770"/>
                <a:gd name="connsiteY116" fmla="*/ 286263 h 852343"/>
                <a:gd name="connsiteX117" fmla="*/ 1034724 w 1109770"/>
                <a:gd name="connsiteY117" fmla="*/ 279441 h 852343"/>
                <a:gd name="connsiteX118" fmla="*/ 1030176 w 1109770"/>
                <a:gd name="connsiteY118" fmla="*/ 281715 h 852343"/>
                <a:gd name="connsiteX119" fmla="*/ 1027902 w 1109770"/>
                <a:gd name="connsiteY119" fmla="*/ 293085 h 852343"/>
                <a:gd name="connsiteX120" fmla="*/ 1025628 w 1109770"/>
                <a:gd name="connsiteY120" fmla="*/ 299906 h 852343"/>
                <a:gd name="connsiteX121" fmla="*/ 1021079 w 1109770"/>
                <a:gd name="connsiteY121" fmla="*/ 302180 h 852343"/>
                <a:gd name="connsiteX122" fmla="*/ 1018805 w 1109770"/>
                <a:gd name="connsiteY122" fmla="*/ 306728 h 852343"/>
                <a:gd name="connsiteX123" fmla="*/ 1014257 w 1109770"/>
                <a:gd name="connsiteY123" fmla="*/ 306728 h 852343"/>
                <a:gd name="connsiteX124" fmla="*/ 1011983 w 1109770"/>
                <a:gd name="connsiteY124" fmla="*/ 311276 h 852343"/>
                <a:gd name="connsiteX125" fmla="*/ 1002887 w 1109770"/>
                <a:gd name="connsiteY125" fmla="*/ 322646 h 852343"/>
                <a:gd name="connsiteX126" fmla="*/ 991516 w 1109770"/>
                <a:gd name="connsiteY126" fmla="*/ 324920 h 852343"/>
                <a:gd name="connsiteX127" fmla="*/ 986968 w 1109770"/>
                <a:gd name="connsiteY127" fmla="*/ 327193 h 852343"/>
                <a:gd name="connsiteX128" fmla="*/ 982419 w 1109770"/>
                <a:gd name="connsiteY128" fmla="*/ 331741 h 852343"/>
                <a:gd name="connsiteX129" fmla="*/ 973323 w 1109770"/>
                <a:gd name="connsiteY129" fmla="*/ 336289 h 852343"/>
                <a:gd name="connsiteX130" fmla="*/ 968775 w 1109770"/>
                <a:gd name="connsiteY130" fmla="*/ 343111 h 852343"/>
                <a:gd name="connsiteX131" fmla="*/ 966501 w 1109770"/>
                <a:gd name="connsiteY131" fmla="*/ 347659 h 852343"/>
                <a:gd name="connsiteX132" fmla="*/ 961952 w 1109770"/>
                <a:gd name="connsiteY132" fmla="*/ 347659 h 852343"/>
                <a:gd name="connsiteX133" fmla="*/ 952856 w 1109770"/>
                <a:gd name="connsiteY133" fmla="*/ 349933 h 852343"/>
                <a:gd name="connsiteX134" fmla="*/ 959678 w 1109770"/>
                <a:gd name="connsiteY134" fmla="*/ 345385 h 852343"/>
                <a:gd name="connsiteX135" fmla="*/ 959678 w 1109770"/>
                <a:gd name="connsiteY135" fmla="*/ 340837 h 852343"/>
                <a:gd name="connsiteX136" fmla="*/ 961952 w 1109770"/>
                <a:gd name="connsiteY136" fmla="*/ 336289 h 852343"/>
                <a:gd name="connsiteX137" fmla="*/ 948308 w 1109770"/>
                <a:gd name="connsiteY137" fmla="*/ 334015 h 852343"/>
                <a:gd name="connsiteX138" fmla="*/ 952856 w 1109770"/>
                <a:gd name="connsiteY138" fmla="*/ 331741 h 852343"/>
                <a:gd name="connsiteX139" fmla="*/ 955130 w 1109770"/>
                <a:gd name="connsiteY139" fmla="*/ 322646 h 852343"/>
                <a:gd name="connsiteX140" fmla="*/ 957404 w 1109770"/>
                <a:gd name="connsiteY140" fmla="*/ 313550 h 852343"/>
                <a:gd name="connsiteX141" fmla="*/ 943759 w 1109770"/>
                <a:gd name="connsiteY141" fmla="*/ 297632 h 852343"/>
                <a:gd name="connsiteX142" fmla="*/ 936937 w 1109770"/>
                <a:gd name="connsiteY142" fmla="*/ 299906 h 852343"/>
                <a:gd name="connsiteX143" fmla="*/ 930115 w 1109770"/>
                <a:gd name="connsiteY143" fmla="*/ 304454 h 852343"/>
                <a:gd name="connsiteX144" fmla="*/ 925566 w 1109770"/>
                <a:gd name="connsiteY144" fmla="*/ 315824 h 852343"/>
                <a:gd name="connsiteX145" fmla="*/ 914196 w 1109770"/>
                <a:gd name="connsiteY145" fmla="*/ 324920 h 852343"/>
                <a:gd name="connsiteX146" fmla="*/ 907374 w 1109770"/>
                <a:gd name="connsiteY146" fmla="*/ 329467 h 852343"/>
                <a:gd name="connsiteX147" fmla="*/ 909648 w 1109770"/>
                <a:gd name="connsiteY147" fmla="*/ 336289 h 852343"/>
                <a:gd name="connsiteX148" fmla="*/ 896003 w 1109770"/>
                <a:gd name="connsiteY148" fmla="*/ 345385 h 852343"/>
                <a:gd name="connsiteX149" fmla="*/ 884632 w 1109770"/>
                <a:gd name="connsiteY149" fmla="*/ 343111 h 852343"/>
                <a:gd name="connsiteX150" fmla="*/ 884632 w 1109770"/>
                <a:gd name="connsiteY150" fmla="*/ 356755 h 852343"/>
                <a:gd name="connsiteX151" fmla="*/ 898277 w 1109770"/>
                <a:gd name="connsiteY151" fmla="*/ 368124 h 852343"/>
                <a:gd name="connsiteX152" fmla="*/ 905099 w 1109770"/>
                <a:gd name="connsiteY152" fmla="*/ 368124 h 852343"/>
                <a:gd name="connsiteX153" fmla="*/ 909648 w 1109770"/>
                <a:gd name="connsiteY153" fmla="*/ 370398 h 852343"/>
                <a:gd name="connsiteX154" fmla="*/ 909648 w 1109770"/>
                <a:gd name="connsiteY154" fmla="*/ 368124 h 852343"/>
                <a:gd name="connsiteX155" fmla="*/ 923292 w 1109770"/>
                <a:gd name="connsiteY155" fmla="*/ 374946 h 852343"/>
                <a:gd name="connsiteX156" fmla="*/ 927841 w 1109770"/>
                <a:gd name="connsiteY156" fmla="*/ 388589 h 852343"/>
                <a:gd name="connsiteX157" fmla="*/ 939211 w 1109770"/>
                <a:gd name="connsiteY157" fmla="*/ 390863 h 852343"/>
                <a:gd name="connsiteX158" fmla="*/ 943759 w 1109770"/>
                <a:gd name="connsiteY158" fmla="*/ 386316 h 852343"/>
                <a:gd name="connsiteX159" fmla="*/ 946034 w 1109770"/>
                <a:gd name="connsiteY159" fmla="*/ 379494 h 852343"/>
                <a:gd name="connsiteX160" fmla="*/ 955130 w 1109770"/>
                <a:gd name="connsiteY160" fmla="*/ 374946 h 852343"/>
                <a:gd name="connsiteX161" fmla="*/ 966501 w 1109770"/>
                <a:gd name="connsiteY161" fmla="*/ 379494 h 852343"/>
                <a:gd name="connsiteX162" fmla="*/ 971049 w 1109770"/>
                <a:gd name="connsiteY162" fmla="*/ 381768 h 852343"/>
                <a:gd name="connsiteX163" fmla="*/ 973323 w 1109770"/>
                <a:gd name="connsiteY163" fmla="*/ 384042 h 852343"/>
                <a:gd name="connsiteX164" fmla="*/ 984694 w 1109770"/>
                <a:gd name="connsiteY164" fmla="*/ 384042 h 852343"/>
                <a:gd name="connsiteX165" fmla="*/ 984694 w 1109770"/>
                <a:gd name="connsiteY165" fmla="*/ 381768 h 852343"/>
                <a:gd name="connsiteX166" fmla="*/ 998338 w 1109770"/>
                <a:gd name="connsiteY166" fmla="*/ 386316 h 852343"/>
                <a:gd name="connsiteX167" fmla="*/ 996064 w 1109770"/>
                <a:gd name="connsiteY167" fmla="*/ 388589 h 852343"/>
                <a:gd name="connsiteX168" fmla="*/ 998338 w 1109770"/>
                <a:gd name="connsiteY168" fmla="*/ 395411 h 852343"/>
                <a:gd name="connsiteX169" fmla="*/ 998338 w 1109770"/>
                <a:gd name="connsiteY169" fmla="*/ 399959 h 852343"/>
                <a:gd name="connsiteX170" fmla="*/ 993790 w 1109770"/>
                <a:gd name="connsiteY170" fmla="*/ 395411 h 852343"/>
                <a:gd name="connsiteX171" fmla="*/ 991516 w 1109770"/>
                <a:gd name="connsiteY171" fmla="*/ 397685 h 852343"/>
                <a:gd name="connsiteX172" fmla="*/ 986968 w 1109770"/>
                <a:gd name="connsiteY172" fmla="*/ 397685 h 852343"/>
                <a:gd name="connsiteX173" fmla="*/ 982419 w 1109770"/>
                <a:gd name="connsiteY173" fmla="*/ 399959 h 852343"/>
                <a:gd name="connsiteX174" fmla="*/ 973323 w 1109770"/>
                <a:gd name="connsiteY174" fmla="*/ 404507 h 852343"/>
                <a:gd name="connsiteX175" fmla="*/ 968775 w 1109770"/>
                <a:gd name="connsiteY175" fmla="*/ 406781 h 852343"/>
                <a:gd name="connsiteX176" fmla="*/ 973323 w 1109770"/>
                <a:gd name="connsiteY176" fmla="*/ 411329 h 852343"/>
                <a:gd name="connsiteX177" fmla="*/ 968775 w 1109770"/>
                <a:gd name="connsiteY177" fmla="*/ 411329 h 852343"/>
                <a:gd name="connsiteX178" fmla="*/ 971049 w 1109770"/>
                <a:gd name="connsiteY178" fmla="*/ 415877 h 852343"/>
                <a:gd name="connsiteX179" fmla="*/ 966501 w 1109770"/>
                <a:gd name="connsiteY179" fmla="*/ 418151 h 852343"/>
                <a:gd name="connsiteX180" fmla="*/ 961952 w 1109770"/>
                <a:gd name="connsiteY180" fmla="*/ 413603 h 852343"/>
                <a:gd name="connsiteX181" fmla="*/ 959678 w 1109770"/>
                <a:gd name="connsiteY181" fmla="*/ 413603 h 852343"/>
                <a:gd name="connsiteX182" fmla="*/ 964227 w 1109770"/>
                <a:gd name="connsiteY182" fmla="*/ 420424 h 852343"/>
                <a:gd name="connsiteX183" fmla="*/ 955130 w 1109770"/>
                <a:gd name="connsiteY183" fmla="*/ 429520 h 852343"/>
                <a:gd name="connsiteX184" fmla="*/ 952856 w 1109770"/>
                <a:gd name="connsiteY184" fmla="*/ 440890 h 852343"/>
                <a:gd name="connsiteX185" fmla="*/ 955130 w 1109770"/>
                <a:gd name="connsiteY185" fmla="*/ 452259 h 852343"/>
                <a:gd name="connsiteX186" fmla="*/ 964227 w 1109770"/>
                <a:gd name="connsiteY186" fmla="*/ 454533 h 852343"/>
                <a:gd name="connsiteX187" fmla="*/ 980145 w 1109770"/>
                <a:gd name="connsiteY187" fmla="*/ 461355 h 852343"/>
                <a:gd name="connsiteX188" fmla="*/ 986968 w 1109770"/>
                <a:gd name="connsiteY188" fmla="*/ 472725 h 852343"/>
                <a:gd name="connsiteX189" fmla="*/ 998338 w 1109770"/>
                <a:gd name="connsiteY189" fmla="*/ 488642 h 852343"/>
                <a:gd name="connsiteX190" fmla="*/ 1005161 w 1109770"/>
                <a:gd name="connsiteY190" fmla="*/ 500012 h 852343"/>
                <a:gd name="connsiteX191" fmla="*/ 1016531 w 1109770"/>
                <a:gd name="connsiteY191" fmla="*/ 506834 h 852343"/>
                <a:gd name="connsiteX192" fmla="*/ 1021079 w 1109770"/>
                <a:gd name="connsiteY192" fmla="*/ 511382 h 852343"/>
                <a:gd name="connsiteX193" fmla="*/ 1025628 w 1109770"/>
                <a:gd name="connsiteY193" fmla="*/ 515929 h 852343"/>
                <a:gd name="connsiteX194" fmla="*/ 1034724 w 1109770"/>
                <a:gd name="connsiteY194" fmla="*/ 525025 h 852343"/>
                <a:gd name="connsiteX195" fmla="*/ 1018805 w 1109770"/>
                <a:gd name="connsiteY195" fmla="*/ 520477 h 852343"/>
                <a:gd name="connsiteX196" fmla="*/ 1007435 w 1109770"/>
                <a:gd name="connsiteY196" fmla="*/ 515929 h 852343"/>
                <a:gd name="connsiteX197" fmla="*/ 1005540 w 1109770"/>
                <a:gd name="connsiteY197" fmla="*/ 516308 h 852343"/>
                <a:gd name="connsiteX198" fmla="*/ 1005161 w 1109770"/>
                <a:gd name="connsiteY198" fmla="*/ 515929 h 852343"/>
                <a:gd name="connsiteX199" fmla="*/ 1003645 w 1109770"/>
                <a:gd name="connsiteY199" fmla="*/ 516687 h 852343"/>
                <a:gd name="connsiteX200" fmla="*/ 1001750 w 1109770"/>
                <a:gd name="connsiteY200" fmla="*/ 517066 h 852343"/>
                <a:gd name="connsiteX201" fmla="*/ 997442 w 1109770"/>
                <a:gd name="connsiteY201" fmla="*/ 517928 h 852343"/>
                <a:gd name="connsiteX202" fmla="*/ 995382 w 1109770"/>
                <a:gd name="connsiteY202" fmla="*/ 517748 h 852343"/>
                <a:gd name="connsiteX203" fmla="*/ 989242 w 1109770"/>
                <a:gd name="connsiteY203" fmla="*/ 513655 h 852343"/>
                <a:gd name="connsiteX204" fmla="*/ 990379 w 1109770"/>
                <a:gd name="connsiteY204" fmla="*/ 512518 h 852343"/>
                <a:gd name="connsiteX205" fmla="*/ 988406 w 1109770"/>
                <a:gd name="connsiteY205" fmla="*/ 512124 h 852343"/>
                <a:gd name="connsiteX206" fmla="*/ 987536 w 1109770"/>
                <a:gd name="connsiteY206" fmla="*/ 510529 h 852343"/>
                <a:gd name="connsiteX207" fmla="*/ 982419 w 1109770"/>
                <a:gd name="connsiteY207" fmla="*/ 509108 h 852343"/>
                <a:gd name="connsiteX208" fmla="*/ 984694 w 1109770"/>
                <a:gd name="connsiteY208" fmla="*/ 513655 h 852343"/>
                <a:gd name="connsiteX209" fmla="*/ 986968 w 1109770"/>
                <a:gd name="connsiteY209" fmla="*/ 513655 h 852343"/>
                <a:gd name="connsiteX210" fmla="*/ 984694 w 1109770"/>
                <a:gd name="connsiteY210" fmla="*/ 511382 h 852343"/>
                <a:gd name="connsiteX211" fmla="*/ 988406 w 1109770"/>
                <a:gd name="connsiteY211" fmla="*/ 512124 h 852343"/>
                <a:gd name="connsiteX212" fmla="*/ 989242 w 1109770"/>
                <a:gd name="connsiteY212" fmla="*/ 513655 h 852343"/>
                <a:gd name="connsiteX213" fmla="*/ 994074 w 1109770"/>
                <a:gd name="connsiteY213" fmla="*/ 517635 h 852343"/>
                <a:gd name="connsiteX214" fmla="*/ 995382 w 1109770"/>
                <a:gd name="connsiteY214" fmla="*/ 517748 h 852343"/>
                <a:gd name="connsiteX215" fmla="*/ 996064 w 1109770"/>
                <a:gd name="connsiteY215" fmla="*/ 518203 h 852343"/>
                <a:gd name="connsiteX216" fmla="*/ 997442 w 1109770"/>
                <a:gd name="connsiteY216" fmla="*/ 517928 h 852343"/>
                <a:gd name="connsiteX217" fmla="*/ 1000612 w 1109770"/>
                <a:gd name="connsiteY217" fmla="*/ 518203 h 852343"/>
                <a:gd name="connsiteX218" fmla="*/ 1003645 w 1109770"/>
                <a:gd name="connsiteY218" fmla="*/ 516687 h 852343"/>
                <a:gd name="connsiteX219" fmla="*/ 1005540 w 1109770"/>
                <a:gd name="connsiteY219" fmla="*/ 516308 h 852343"/>
                <a:gd name="connsiteX220" fmla="*/ 1009709 w 1109770"/>
                <a:gd name="connsiteY220" fmla="*/ 520477 h 852343"/>
                <a:gd name="connsiteX221" fmla="*/ 1011983 w 1109770"/>
                <a:gd name="connsiteY221" fmla="*/ 522751 h 852343"/>
                <a:gd name="connsiteX222" fmla="*/ 1018805 w 1109770"/>
                <a:gd name="connsiteY222" fmla="*/ 525025 h 852343"/>
                <a:gd name="connsiteX223" fmla="*/ 1032450 w 1109770"/>
                <a:gd name="connsiteY223" fmla="*/ 534121 h 852343"/>
                <a:gd name="connsiteX224" fmla="*/ 1041547 w 1109770"/>
                <a:gd name="connsiteY224" fmla="*/ 543217 h 852343"/>
                <a:gd name="connsiteX225" fmla="*/ 1036998 w 1109770"/>
                <a:gd name="connsiteY225" fmla="*/ 545490 h 852343"/>
                <a:gd name="connsiteX226" fmla="*/ 1030176 w 1109770"/>
                <a:gd name="connsiteY226" fmla="*/ 550038 h 852343"/>
                <a:gd name="connsiteX227" fmla="*/ 1025628 w 1109770"/>
                <a:gd name="connsiteY227" fmla="*/ 554586 h 852343"/>
                <a:gd name="connsiteX228" fmla="*/ 1023354 w 1109770"/>
                <a:gd name="connsiteY228" fmla="*/ 556860 h 852343"/>
                <a:gd name="connsiteX229" fmla="*/ 1019942 w 1109770"/>
                <a:gd name="connsiteY229" fmla="*/ 556860 h 852343"/>
                <a:gd name="connsiteX230" fmla="*/ 1018805 w 1109770"/>
                <a:gd name="connsiteY230" fmla="*/ 556860 h 852343"/>
                <a:gd name="connsiteX231" fmla="*/ 1016531 w 1109770"/>
                <a:gd name="connsiteY231" fmla="*/ 556860 h 852343"/>
                <a:gd name="connsiteX232" fmla="*/ 1009709 w 1109770"/>
                <a:gd name="connsiteY232" fmla="*/ 561408 h 852343"/>
                <a:gd name="connsiteX233" fmla="*/ 1018805 w 1109770"/>
                <a:gd name="connsiteY233" fmla="*/ 556860 h 852343"/>
                <a:gd name="connsiteX234" fmla="*/ 1024978 w 1109770"/>
                <a:gd name="connsiteY234" fmla="*/ 563032 h 852343"/>
                <a:gd name="connsiteX235" fmla="*/ 1023354 w 1109770"/>
                <a:gd name="connsiteY235" fmla="*/ 563682 h 852343"/>
                <a:gd name="connsiteX236" fmla="*/ 1025628 w 1109770"/>
                <a:gd name="connsiteY236" fmla="*/ 563682 h 852343"/>
                <a:gd name="connsiteX237" fmla="*/ 1024978 w 1109770"/>
                <a:gd name="connsiteY237" fmla="*/ 563032 h 852343"/>
                <a:gd name="connsiteX238" fmla="*/ 1034724 w 1109770"/>
                <a:gd name="connsiteY238" fmla="*/ 559134 h 852343"/>
                <a:gd name="connsiteX239" fmla="*/ 1041547 w 1109770"/>
                <a:gd name="connsiteY239" fmla="*/ 565956 h 852343"/>
                <a:gd name="connsiteX240" fmla="*/ 1052917 w 1109770"/>
                <a:gd name="connsiteY240" fmla="*/ 568230 h 852343"/>
                <a:gd name="connsiteX241" fmla="*/ 1048369 w 1109770"/>
                <a:gd name="connsiteY241" fmla="*/ 575051 h 852343"/>
                <a:gd name="connsiteX242" fmla="*/ 1046095 w 1109770"/>
                <a:gd name="connsiteY242" fmla="*/ 577325 h 852343"/>
                <a:gd name="connsiteX243" fmla="*/ 1041547 w 1109770"/>
                <a:gd name="connsiteY243" fmla="*/ 579599 h 852343"/>
                <a:gd name="connsiteX244" fmla="*/ 1043821 w 1109770"/>
                <a:gd name="connsiteY244" fmla="*/ 579599 h 852343"/>
                <a:gd name="connsiteX245" fmla="*/ 1050643 w 1109770"/>
                <a:gd name="connsiteY245" fmla="*/ 577325 h 852343"/>
                <a:gd name="connsiteX246" fmla="*/ 1050643 w 1109770"/>
                <a:gd name="connsiteY246" fmla="*/ 575051 h 852343"/>
                <a:gd name="connsiteX247" fmla="*/ 1052917 w 1109770"/>
                <a:gd name="connsiteY247" fmla="*/ 581873 h 852343"/>
                <a:gd name="connsiteX248" fmla="*/ 1052917 w 1109770"/>
                <a:gd name="connsiteY248" fmla="*/ 586421 h 852343"/>
                <a:gd name="connsiteX249" fmla="*/ 1050643 w 1109770"/>
                <a:gd name="connsiteY249" fmla="*/ 581873 h 852343"/>
                <a:gd name="connsiteX250" fmla="*/ 1050643 w 1109770"/>
                <a:gd name="connsiteY250" fmla="*/ 586421 h 852343"/>
                <a:gd name="connsiteX251" fmla="*/ 1048369 w 1109770"/>
                <a:gd name="connsiteY251" fmla="*/ 584147 h 852343"/>
                <a:gd name="connsiteX252" fmla="*/ 1046095 w 1109770"/>
                <a:gd name="connsiteY252" fmla="*/ 584147 h 852343"/>
                <a:gd name="connsiteX253" fmla="*/ 1043821 w 1109770"/>
                <a:gd name="connsiteY253" fmla="*/ 588695 h 852343"/>
                <a:gd name="connsiteX254" fmla="*/ 1050643 w 1109770"/>
                <a:gd name="connsiteY254" fmla="*/ 593243 h 852343"/>
                <a:gd name="connsiteX255" fmla="*/ 1048369 w 1109770"/>
                <a:gd name="connsiteY255" fmla="*/ 593243 h 852343"/>
                <a:gd name="connsiteX256" fmla="*/ 1050643 w 1109770"/>
                <a:gd name="connsiteY256" fmla="*/ 597791 h 852343"/>
                <a:gd name="connsiteX257" fmla="*/ 1041547 w 1109770"/>
                <a:gd name="connsiteY257" fmla="*/ 595517 h 852343"/>
                <a:gd name="connsiteX258" fmla="*/ 1043821 w 1109770"/>
                <a:gd name="connsiteY258" fmla="*/ 597791 h 852343"/>
                <a:gd name="connsiteX259" fmla="*/ 1050643 w 1109770"/>
                <a:gd name="connsiteY259" fmla="*/ 600065 h 852343"/>
                <a:gd name="connsiteX260" fmla="*/ 1052917 w 1109770"/>
                <a:gd name="connsiteY260" fmla="*/ 606886 h 852343"/>
                <a:gd name="connsiteX261" fmla="*/ 1050643 w 1109770"/>
                <a:gd name="connsiteY261" fmla="*/ 611434 h 852343"/>
                <a:gd name="connsiteX262" fmla="*/ 1043821 w 1109770"/>
                <a:gd name="connsiteY262" fmla="*/ 604613 h 852343"/>
                <a:gd name="connsiteX263" fmla="*/ 1041547 w 1109770"/>
                <a:gd name="connsiteY263" fmla="*/ 606886 h 852343"/>
                <a:gd name="connsiteX264" fmla="*/ 1041262 w 1109770"/>
                <a:gd name="connsiteY264" fmla="*/ 613424 h 852343"/>
                <a:gd name="connsiteX265" fmla="*/ 1037537 w 1109770"/>
                <a:gd name="connsiteY265" fmla="*/ 614825 h 852343"/>
                <a:gd name="connsiteX266" fmla="*/ 1032450 w 1109770"/>
                <a:gd name="connsiteY266" fmla="*/ 611434 h 852343"/>
                <a:gd name="connsiteX267" fmla="*/ 1037389 w 1109770"/>
                <a:gd name="connsiteY267" fmla="*/ 614881 h 852343"/>
                <a:gd name="connsiteX268" fmla="*/ 1037537 w 1109770"/>
                <a:gd name="connsiteY268" fmla="*/ 614825 h 852343"/>
                <a:gd name="connsiteX269" fmla="*/ 1037567 w 1109770"/>
                <a:gd name="connsiteY269" fmla="*/ 614845 h 852343"/>
                <a:gd name="connsiteX270" fmla="*/ 1039272 w 1109770"/>
                <a:gd name="connsiteY270" fmla="*/ 618256 h 852343"/>
                <a:gd name="connsiteX271" fmla="*/ 1039272 w 1109770"/>
                <a:gd name="connsiteY271" fmla="*/ 627352 h 852343"/>
                <a:gd name="connsiteX272" fmla="*/ 1036998 w 1109770"/>
                <a:gd name="connsiteY272" fmla="*/ 631900 h 852343"/>
                <a:gd name="connsiteX273" fmla="*/ 1036998 w 1109770"/>
                <a:gd name="connsiteY273" fmla="*/ 634174 h 852343"/>
                <a:gd name="connsiteX274" fmla="*/ 1032450 w 1109770"/>
                <a:gd name="connsiteY274" fmla="*/ 631900 h 852343"/>
                <a:gd name="connsiteX275" fmla="*/ 1032450 w 1109770"/>
                <a:gd name="connsiteY275" fmla="*/ 636448 h 852343"/>
                <a:gd name="connsiteX276" fmla="*/ 1030176 w 1109770"/>
                <a:gd name="connsiteY276" fmla="*/ 640995 h 852343"/>
                <a:gd name="connsiteX277" fmla="*/ 1027902 w 1109770"/>
                <a:gd name="connsiteY277" fmla="*/ 650091 h 852343"/>
                <a:gd name="connsiteX278" fmla="*/ 1030176 w 1109770"/>
                <a:gd name="connsiteY278" fmla="*/ 645543 h 852343"/>
                <a:gd name="connsiteX279" fmla="*/ 1027902 w 1109770"/>
                <a:gd name="connsiteY279" fmla="*/ 647817 h 852343"/>
                <a:gd name="connsiteX280" fmla="*/ 1025628 w 1109770"/>
                <a:gd name="connsiteY280" fmla="*/ 643269 h 852343"/>
                <a:gd name="connsiteX281" fmla="*/ 1021079 w 1109770"/>
                <a:gd name="connsiteY281" fmla="*/ 645543 h 852343"/>
                <a:gd name="connsiteX282" fmla="*/ 1021079 w 1109770"/>
                <a:gd name="connsiteY282" fmla="*/ 650091 h 852343"/>
                <a:gd name="connsiteX283" fmla="*/ 1023354 w 1109770"/>
                <a:gd name="connsiteY283" fmla="*/ 652365 h 852343"/>
                <a:gd name="connsiteX284" fmla="*/ 1027902 w 1109770"/>
                <a:gd name="connsiteY284" fmla="*/ 654639 h 852343"/>
                <a:gd name="connsiteX285" fmla="*/ 1025628 w 1109770"/>
                <a:gd name="connsiteY285" fmla="*/ 656913 h 852343"/>
                <a:gd name="connsiteX286" fmla="*/ 1023354 w 1109770"/>
                <a:gd name="connsiteY286" fmla="*/ 663735 h 852343"/>
                <a:gd name="connsiteX287" fmla="*/ 1014257 w 1109770"/>
                <a:gd name="connsiteY287" fmla="*/ 659187 h 852343"/>
                <a:gd name="connsiteX288" fmla="*/ 1017033 w 1109770"/>
                <a:gd name="connsiteY288" fmla="*/ 661962 h 852343"/>
                <a:gd name="connsiteX289" fmla="*/ 1021079 w 1109770"/>
                <a:gd name="connsiteY289" fmla="*/ 666009 h 852343"/>
                <a:gd name="connsiteX290" fmla="*/ 1027902 w 1109770"/>
                <a:gd name="connsiteY290" fmla="*/ 666009 h 852343"/>
                <a:gd name="connsiteX291" fmla="*/ 1025628 w 1109770"/>
                <a:gd name="connsiteY291" fmla="*/ 670556 h 852343"/>
                <a:gd name="connsiteX292" fmla="*/ 1030176 w 1109770"/>
                <a:gd name="connsiteY292" fmla="*/ 679652 h 852343"/>
                <a:gd name="connsiteX293" fmla="*/ 1027902 w 1109770"/>
                <a:gd name="connsiteY293" fmla="*/ 679652 h 852343"/>
                <a:gd name="connsiteX294" fmla="*/ 1021079 w 1109770"/>
                <a:gd name="connsiteY294" fmla="*/ 675104 h 852343"/>
                <a:gd name="connsiteX295" fmla="*/ 1018805 w 1109770"/>
                <a:gd name="connsiteY295" fmla="*/ 677378 h 852343"/>
                <a:gd name="connsiteX296" fmla="*/ 1023354 w 1109770"/>
                <a:gd name="connsiteY296" fmla="*/ 681926 h 852343"/>
                <a:gd name="connsiteX297" fmla="*/ 1021079 w 1109770"/>
                <a:gd name="connsiteY297" fmla="*/ 686474 h 852343"/>
                <a:gd name="connsiteX298" fmla="*/ 1014257 w 1109770"/>
                <a:gd name="connsiteY298" fmla="*/ 681926 h 852343"/>
                <a:gd name="connsiteX299" fmla="*/ 1018805 w 1109770"/>
                <a:gd name="connsiteY299" fmla="*/ 688748 h 852343"/>
                <a:gd name="connsiteX300" fmla="*/ 1014257 w 1109770"/>
                <a:gd name="connsiteY300" fmla="*/ 688748 h 852343"/>
                <a:gd name="connsiteX301" fmla="*/ 1014257 w 1109770"/>
                <a:gd name="connsiteY301" fmla="*/ 693296 h 852343"/>
                <a:gd name="connsiteX302" fmla="*/ 1011983 w 1109770"/>
                <a:gd name="connsiteY302" fmla="*/ 700118 h 852343"/>
                <a:gd name="connsiteX303" fmla="*/ 1009709 w 1109770"/>
                <a:gd name="connsiteY303" fmla="*/ 695570 h 852343"/>
                <a:gd name="connsiteX304" fmla="*/ 1002887 w 1109770"/>
                <a:gd name="connsiteY304" fmla="*/ 697844 h 852343"/>
                <a:gd name="connsiteX305" fmla="*/ 1000612 w 1109770"/>
                <a:gd name="connsiteY305" fmla="*/ 702391 h 852343"/>
                <a:gd name="connsiteX306" fmla="*/ 1002887 w 1109770"/>
                <a:gd name="connsiteY306" fmla="*/ 704665 h 852343"/>
                <a:gd name="connsiteX307" fmla="*/ 1000612 w 1109770"/>
                <a:gd name="connsiteY307" fmla="*/ 706939 h 852343"/>
                <a:gd name="connsiteX308" fmla="*/ 998338 w 1109770"/>
                <a:gd name="connsiteY308" fmla="*/ 713761 h 852343"/>
                <a:gd name="connsiteX309" fmla="*/ 996064 w 1109770"/>
                <a:gd name="connsiteY309" fmla="*/ 711487 h 852343"/>
                <a:gd name="connsiteX310" fmla="*/ 996064 w 1109770"/>
                <a:gd name="connsiteY310" fmla="*/ 718309 h 852343"/>
                <a:gd name="connsiteX311" fmla="*/ 989242 w 1109770"/>
                <a:gd name="connsiteY311" fmla="*/ 718309 h 852343"/>
                <a:gd name="connsiteX312" fmla="*/ 984694 w 1109770"/>
                <a:gd name="connsiteY312" fmla="*/ 722857 h 852343"/>
                <a:gd name="connsiteX313" fmla="*/ 980145 w 1109770"/>
                <a:gd name="connsiteY313" fmla="*/ 722857 h 852343"/>
                <a:gd name="connsiteX314" fmla="*/ 975597 w 1109770"/>
                <a:gd name="connsiteY314" fmla="*/ 727405 h 852343"/>
                <a:gd name="connsiteX315" fmla="*/ 980145 w 1109770"/>
                <a:gd name="connsiteY315" fmla="*/ 731952 h 852343"/>
                <a:gd name="connsiteX316" fmla="*/ 975597 w 1109770"/>
                <a:gd name="connsiteY316" fmla="*/ 731952 h 852343"/>
                <a:gd name="connsiteX317" fmla="*/ 973323 w 1109770"/>
                <a:gd name="connsiteY317" fmla="*/ 738774 h 852343"/>
                <a:gd name="connsiteX318" fmla="*/ 966501 w 1109770"/>
                <a:gd name="connsiteY318" fmla="*/ 738774 h 852343"/>
                <a:gd name="connsiteX319" fmla="*/ 959678 w 1109770"/>
                <a:gd name="connsiteY319" fmla="*/ 738774 h 852343"/>
                <a:gd name="connsiteX320" fmla="*/ 952856 w 1109770"/>
                <a:gd name="connsiteY320" fmla="*/ 738774 h 852343"/>
                <a:gd name="connsiteX321" fmla="*/ 957404 w 1109770"/>
                <a:gd name="connsiteY321" fmla="*/ 745596 h 852343"/>
                <a:gd name="connsiteX322" fmla="*/ 952856 w 1109770"/>
                <a:gd name="connsiteY322" fmla="*/ 743322 h 852343"/>
                <a:gd name="connsiteX323" fmla="*/ 950582 w 1109770"/>
                <a:gd name="connsiteY323" fmla="*/ 741048 h 852343"/>
                <a:gd name="connsiteX324" fmla="*/ 941485 w 1109770"/>
                <a:gd name="connsiteY324" fmla="*/ 743322 h 852343"/>
                <a:gd name="connsiteX325" fmla="*/ 941485 w 1109770"/>
                <a:gd name="connsiteY325" fmla="*/ 741048 h 852343"/>
                <a:gd name="connsiteX326" fmla="*/ 934663 w 1109770"/>
                <a:gd name="connsiteY326" fmla="*/ 745596 h 852343"/>
                <a:gd name="connsiteX327" fmla="*/ 936937 w 1109770"/>
                <a:gd name="connsiteY327" fmla="*/ 750144 h 852343"/>
                <a:gd name="connsiteX328" fmla="*/ 934663 w 1109770"/>
                <a:gd name="connsiteY328" fmla="*/ 750144 h 852343"/>
                <a:gd name="connsiteX329" fmla="*/ 921018 w 1109770"/>
                <a:gd name="connsiteY329" fmla="*/ 750144 h 852343"/>
                <a:gd name="connsiteX330" fmla="*/ 914196 w 1109770"/>
                <a:gd name="connsiteY330" fmla="*/ 736500 h 852343"/>
                <a:gd name="connsiteX331" fmla="*/ 911922 w 1109770"/>
                <a:gd name="connsiteY331" fmla="*/ 736500 h 852343"/>
                <a:gd name="connsiteX332" fmla="*/ 918744 w 1109770"/>
                <a:gd name="connsiteY332" fmla="*/ 734226 h 852343"/>
                <a:gd name="connsiteX333" fmla="*/ 909648 w 1109770"/>
                <a:gd name="connsiteY333" fmla="*/ 734226 h 852343"/>
                <a:gd name="connsiteX334" fmla="*/ 907374 w 1109770"/>
                <a:gd name="connsiteY334" fmla="*/ 738774 h 852343"/>
                <a:gd name="connsiteX335" fmla="*/ 911922 w 1109770"/>
                <a:gd name="connsiteY335" fmla="*/ 743322 h 852343"/>
                <a:gd name="connsiteX336" fmla="*/ 909648 w 1109770"/>
                <a:gd name="connsiteY336" fmla="*/ 743322 h 852343"/>
                <a:gd name="connsiteX337" fmla="*/ 916470 w 1109770"/>
                <a:gd name="connsiteY337" fmla="*/ 756966 h 852343"/>
                <a:gd name="connsiteX338" fmla="*/ 907374 w 1109770"/>
                <a:gd name="connsiteY338" fmla="*/ 747870 h 852343"/>
                <a:gd name="connsiteX339" fmla="*/ 911922 w 1109770"/>
                <a:gd name="connsiteY339" fmla="*/ 756966 h 852343"/>
                <a:gd name="connsiteX340" fmla="*/ 909648 w 1109770"/>
                <a:gd name="connsiteY340" fmla="*/ 759240 h 852343"/>
                <a:gd name="connsiteX341" fmla="*/ 907374 w 1109770"/>
                <a:gd name="connsiteY341" fmla="*/ 756966 h 852343"/>
                <a:gd name="connsiteX342" fmla="*/ 905099 w 1109770"/>
                <a:gd name="connsiteY342" fmla="*/ 763787 h 852343"/>
                <a:gd name="connsiteX343" fmla="*/ 898277 w 1109770"/>
                <a:gd name="connsiteY343" fmla="*/ 766061 h 852343"/>
                <a:gd name="connsiteX344" fmla="*/ 896003 w 1109770"/>
                <a:gd name="connsiteY344" fmla="*/ 761514 h 852343"/>
                <a:gd name="connsiteX345" fmla="*/ 891455 w 1109770"/>
                <a:gd name="connsiteY345" fmla="*/ 759240 h 852343"/>
                <a:gd name="connsiteX346" fmla="*/ 893729 w 1109770"/>
                <a:gd name="connsiteY346" fmla="*/ 768335 h 852343"/>
                <a:gd name="connsiteX347" fmla="*/ 882358 w 1109770"/>
                <a:gd name="connsiteY347" fmla="*/ 763787 h 852343"/>
                <a:gd name="connsiteX348" fmla="*/ 880084 w 1109770"/>
                <a:gd name="connsiteY348" fmla="*/ 766061 h 852343"/>
                <a:gd name="connsiteX349" fmla="*/ 873262 w 1109770"/>
                <a:gd name="connsiteY349" fmla="*/ 770609 h 852343"/>
                <a:gd name="connsiteX350" fmla="*/ 870988 w 1109770"/>
                <a:gd name="connsiteY350" fmla="*/ 775157 h 852343"/>
                <a:gd name="connsiteX351" fmla="*/ 866439 w 1109770"/>
                <a:gd name="connsiteY351" fmla="*/ 775157 h 852343"/>
                <a:gd name="connsiteX352" fmla="*/ 859617 w 1109770"/>
                <a:gd name="connsiteY352" fmla="*/ 777431 h 852343"/>
                <a:gd name="connsiteX353" fmla="*/ 859617 w 1109770"/>
                <a:gd name="connsiteY353" fmla="*/ 779705 h 852343"/>
                <a:gd name="connsiteX354" fmla="*/ 852795 w 1109770"/>
                <a:gd name="connsiteY354" fmla="*/ 777431 h 852343"/>
                <a:gd name="connsiteX355" fmla="*/ 852795 w 1109770"/>
                <a:gd name="connsiteY355" fmla="*/ 781979 h 852343"/>
                <a:gd name="connsiteX356" fmla="*/ 850805 w 1109770"/>
                <a:gd name="connsiteY356" fmla="*/ 784537 h 852343"/>
                <a:gd name="connsiteX357" fmla="*/ 850662 w 1109770"/>
                <a:gd name="connsiteY357" fmla="*/ 786674 h 852343"/>
                <a:gd name="connsiteX358" fmla="*/ 855464 w 1109770"/>
                <a:gd name="connsiteY358" fmla="*/ 785073 h 852343"/>
                <a:gd name="connsiteX359" fmla="*/ 857250 w 1109770"/>
                <a:gd name="connsiteY359" fmla="*/ 786859 h 852343"/>
                <a:gd name="connsiteX360" fmla="*/ 850650 w 1109770"/>
                <a:gd name="connsiteY360" fmla="*/ 786859 h 852343"/>
                <a:gd name="connsiteX361" fmla="*/ 850521 w 1109770"/>
                <a:gd name="connsiteY361" fmla="*/ 788801 h 852343"/>
                <a:gd name="connsiteX362" fmla="*/ 855069 w 1109770"/>
                <a:gd name="connsiteY362" fmla="*/ 791075 h 852343"/>
                <a:gd name="connsiteX363" fmla="*/ 859617 w 1109770"/>
                <a:gd name="connsiteY363" fmla="*/ 800170 h 852343"/>
                <a:gd name="connsiteX364" fmla="*/ 848246 w 1109770"/>
                <a:gd name="connsiteY364" fmla="*/ 804718 h 852343"/>
                <a:gd name="connsiteX365" fmla="*/ 848246 w 1109770"/>
                <a:gd name="connsiteY365" fmla="*/ 800170 h 852343"/>
                <a:gd name="connsiteX366" fmla="*/ 843698 w 1109770"/>
                <a:gd name="connsiteY366" fmla="*/ 793349 h 852343"/>
                <a:gd name="connsiteX367" fmla="*/ 841424 w 1109770"/>
                <a:gd name="connsiteY367" fmla="*/ 788801 h 852343"/>
                <a:gd name="connsiteX368" fmla="*/ 839150 w 1109770"/>
                <a:gd name="connsiteY368" fmla="*/ 781979 h 852343"/>
                <a:gd name="connsiteX369" fmla="*/ 841424 w 1109770"/>
                <a:gd name="connsiteY369" fmla="*/ 777431 h 852343"/>
                <a:gd name="connsiteX370" fmla="*/ 839150 w 1109770"/>
                <a:gd name="connsiteY370" fmla="*/ 770609 h 852343"/>
                <a:gd name="connsiteX371" fmla="*/ 839150 w 1109770"/>
                <a:gd name="connsiteY371" fmla="*/ 772883 h 852343"/>
                <a:gd name="connsiteX372" fmla="*/ 834602 w 1109770"/>
                <a:gd name="connsiteY372" fmla="*/ 768335 h 852343"/>
                <a:gd name="connsiteX373" fmla="*/ 834602 w 1109770"/>
                <a:gd name="connsiteY373" fmla="*/ 772883 h 852343"/>
                <a:gd name="connsiteX374" fmla="*/ 827779 w 1109770"/>
                <a:gd name="connsiteY374" fmla="*/ 772883 h 852343"/>
                <a:gd name="connsiteX375" fmla="*/ 823231 w 1109770"/>
                <a:gd name="connsiteY375" fmla="*/ 770609 h 852343"/>
                <a:gd name="connsiteX376" fmla="*/ 820957 w 1109770"/>
                <a:gd name="connsiteY376" fmla="*/ 766061 h 852343"/>
                <a:gd name="connsiteX377" fmla="*/ 818683 w 1109770"/>
                <a:gd name="connsiteY377" fmla="*/ 766061 h 852343"/>
                <a:gd name="connsiteX378" fmla="*/ 818683 w 1109770"/>
                <a:gd name="connsiteY378" fmla="*/ 770609 h 852343"/>
                <a:gd name="connsiteX379" fmla="*/ 814135 w 1109770"/>
                <a:gd name="connsiteY379" fmla="*/ 766061 h 852343"/>
                <a:gd name="connsiteX380" fmla="*/ 811861 w 1109770"/>
                <a:gd name="connsiteY380" fmla="*/ 761514 h 852343"/>
                <a:gd name="connsiteX381" fmla="*/ 809586 w 1109770"/>
                <a:gd name="connsiteY381" fmla="*/ 763787 h 852343"/>
                <a:gd name="connsiteX382" fmla="*/ 811861 w 1109770"/>
                <a:gd name="connsiteY382" fmla="*/ 770609 h 852343"/>
                <a:gd name="connsiteX383" fmla="*/ 807312 w 1109770"/>
                <a:gd name="connsiteY383" fmla="*/ 768335 h 852343"/>
                <a:gd name="connsiteX384" fmla="*/ 807312 w 1109770"/>
                <a:gd name="connsiteY384" fmla="*/ 772883 h 852343"/>
                <a:gd name="connsiteX385" fmla="*/ 798216 w 1109770"/>
                <a:gd name="connsiteY385" fmla="*/ 770609 h 852343"/>
                <a:gd name="connsiteX386" fmla="*/ 791393 w 1109770"/>
                <a:gd name="connsiteY386" fmla="*/ 770609 h 852343"/>
                <a:gd name="connsiteX387" fmla="*/ 789119 w 1109770"/>
                <a:gd name="connsiteY387" fmla="*/ 770609 h 852343"/>
                <a:gd name="connsiteX388" fmla="*/ 782297 w 1109770"/>
                <a:gd name="connsiteY388" fmla="*/ 766061 h 852343"/>
                <a:gd name="connsiteX389" fmla="*/ 780023 w 1109770"/>
                <a:gd name="connsiteY389" fmla="*/ 763787 h 852343"/>
                <a:gd name="connsiteX390" fmla="*/ 773201 w 1109770"/>
                <a:gd name="connsiteY390" fmla="*/ 761514 h 852343"/>
                <a:gd name="connsiteX391" fmla="*/ 768652 w 1109770"/>
                <a:gd name="connsiteY391" fmla="*/ 747870 h 852343"/>
                <a:gd name="connsiteX392" fmla="*/ 764104 w 1109770"/>
                <a:gd name="connsiteY392" fmla="*/ 738774 h 852343"/>
                <a:gd name="connsiteX393" fmla="*/ 757282 w 1109770"/>
                <a:gd name="connsiteY393" fmla="*/ 738774 h 852343"/>
                <a:gd name="connsiteX394" fmla="*/ 750459 w 1109770"/>
                <a:gd name="connsiteY394" fmla="*/ 738774 h 852343"/>
                <a:gd name="connsiteX395" fmla="*/ 739089 w 1109770"/>
                <a:gd name="connsiteY395" fmla="*/ 727405 h 852343"/>
                <a:gd name="connsiteX396" fmla="*/ 729992 w 1109770"/>
                <a:gd name="connsiteY396" fmla="*/ 734226 h 852343"/>
                <a:gd name="connsiteX397" fmla="*/ 729992 w 1109770"/>
                <a:gd name="connsiteY397" fmla="*/ 738774 h 852343"/>
                <a:gd name="connsiteX398" fmla="*/ 718622 w 1109770"/>
                <a:gd name="connsiteY398" fmla="*/ 741048 h 852343"/>
                <a:gd name="connsiteX399" fmla="*/ 711799 w 1109770"/>
                <a:gd name="connsiteY399" fmla="*/ 747870 h 852343"/>
                <a:gd name="connsiteX400" fmla="*/ 707251 w 1109770"/>
                <a:gd name="connsiteY400" fmla="*/ 743322 h 852343"/>
                <a:gd name="connsiteX401" fmla="*/ 702703 w 1109770"/>
                <a:gd name="connsiteY401" fmla="*/ 747870 h 852343"/>
                <a:gd name="connsiteX402" fmla="*/ 695881 w 1109770"/>
                <a:gd name="connsiteY402" fmla="*/ 747870 h 852343"/>
                <a:gd name="connsiteX403" fmla="*/ 686784 w 1109770"/>
                <a:gd name="connsiteY403" fmla="*/ 745596 h 852343"/>
                <a:gd name="connsiteX404" fmla="*/ 677688 w 1109770"/>
                <a:gd name="connsiteY404" fmla="*/ 750144 h 852343"/>
                <a:gd name="connsiteX405" fmla="*/ 673139 w 1109770"/>
                <a:gd name="connsiteY405" fmla="*/ 750144 h 852343"/>
                <a:gd name="connsiteX406" fmla="*/ 668591 w 1109770"/>
                <a:gd name="connsiteY406" fmla="*/ 750144 h 852343"/>
                <a:gd name="connsiteX407" fmla="*/ 666317 w 1109770"/>
                <a:gd name="connsiteY407" fmla="*/ 750144 h 852343"/>
                <a:gd name="connsiteX408" fmla="*/ 666317 w 1109770"/>
                <a:gd name="connsiteY408" fmla="*/ 761514 h 852343"/>
                <a:gd name="connsiteX409" fmla="*/ 670865 w 1109770"/>
                <a:gd name="connsiteY409" fmla="*/ 768335 h 852343"/>
                <a:gd name="connsiteX410" fmla="*/ 670865 w 1109770"/>
                <a:gd name="connsiteY410" fmla="*/ 770609 h 852343"/>
                <a:gd name="connsiteX411" fmla="*/ 670865 w 1109770"/>
                <a:gd name="connsiteY411" fmla="*/ 775157 h 852343"/>
                <a:gd name="connsiteX412" fmla="*/ 673139 w 1109770"/>
                <a:gd name="connsiteY412" fmla="*/ 781979 h 852343"/>
                <a:gd name="connsiteX413" fmla="*/ 666317 w 1109770"/>
                <a:gd name="connsiteY413" fmla="*/ 779705 h 852343"/>
                <a:gd name="connsiteX414" fmla="*/ 659495 w 1109770"/>
                <a:gd name="connsiteY414" fmla="*/ 777431 h 852343"/>
                <a:gd name="connsiteX415" fmla="*/ 654946 w 1109770"/>
                <a:gd name="connsiteY415" fmla="*/ 766061 h 852343"/>
                <a:gd name="connsiteX416" fmla="*/ 641302 w 1109770"/>
                <a:gd name="connsiteY416" fmla="*/ 772883 h 852343"/>
                <a:gd name="connsiteX417" fmla="*/ 636753 w 1109770"/>
                <a:gd name="connsiteY417" fmla="*/ 775157 h 852343"/>
                <a:gd name="connsiteX418" fmla="*/ 636753 w 1109770"/>
                <a:gd name="connsiteY418" fmla="*/ 768335 h 852343"/>
                <a:gd name="connsiteX419" fmla="*/ 629931 w 1109770"/>
                <a:gd name="connsiteY419" fmla="*/ 759240 h 852343"/>
                <a:gd name="connsiteX420" fmla="*/ 616286 w 1109770"/>
                <a:gd name="connsiteY420" fmla="*/ 759240 h 852343"/>
                <a:gd name="connsiteX421" fmla="*/ 616286 w 1109770"/>
                <a:gd name="connsiteY421" fmla="*/ 750144 h 852343"/>
                <a:gd name="connsiteX422" fmla="*/ 618560 w 1109770"/>
                <a:gd name="connsiteY422" fmla="*/ 738774 h 852343"/>
                <a:gd name="connsiteX423" fmla="*/ 609464 w 1109770"/>
                <a:gd name="connsiteY423" fmla="*/ 734226 h 852343"/>
                <a:gd name="connsiteX424" fmla="*/ 602642 w 1109770"/>
                <a:gd name="connsiteY424" fmla="*/ 727405 h 852343"/>
                <a:gd name="connsiteX425" fmla="*/ 600368 w 1109770"/>
                <a:gd name="connsiteY425" fmla="*/ 722857 h 852343"/>
                <a:gd name="connsiteX426" fmla="*/ 598093 w 1109770"/>
                <a:gd name="connsiteY426" fmla="*/ 716035 h 852343"/>
                <a:gd name="connsiteX427" fmla="*/ 600368 w 1109770"/>
                <a:gd name="connsiteY427" fmla="*/ 709213 h 852343"/>
                <a:gd name="connsiteX428" fmla="*/ 584449 w 1109770"/>
                <a:gd name="connsiteY428" fmla="*/ 711487 h 852343"/>
                <a:gd name="connsiteX429" fmla="*/ 575352 w 1109770"/>
                <a:gd name="connsiteY429" fmla="*/ 716035 h 852343"/>
                <a:gd name="connsiteX430" fmla="*/ 575352 w 1109770"/>
                <a:gd name="connsiteY430" fmla="*/ 709213 h 852343"/>
                <a:gd name="connsiteX431" fmla="*/ 573078 w 1109770"/>
                <a:gd name="connsiteY431" fmla="*/ 702391 h 852343"/>
                <a:gd name="connsiteX432" fmla="*/ 570804 w 1109770"/>
                <a:gd name="connsiteY432" fmla="*/ 697844 h 852343"/>
                <a:gd name="connsiteX433" fmla="*/ 575352 w 1109770"/>
                <a:gd name="connsiteY433" fmla="*/ 691022 h 852343"/>
                <a:gd name="connsiteX434" fmla="*/ 573078 w 1109770"/>
                <a:gd name="connsiteY434" fmla="*/ 681926 h 852343"/>
                <a:gd name="connsiteX435" fmla="*/ 579900 w 1109770"/>
                <a:gd name="connsiteY435" fmla="*/ 672830 h 852343"/>
                <a:gd name="connsiteX436" fmla="*/ 586723 w 1109770"/>
                <a:gd name="connsiteY436" fmla="*/ 668283 h 852343"/>
                <a:gd name="connsiteX437" fmla="*/ 588997 w 1109770"/>
                <a:gd name="connsiteY437" fmla="*/ 668283 h 852343"/>
                <a:gd name="connsiteX438" fmla="*/ 586723 w 1109770"/>
                <a:gd name="connsiteY438" fmla="*/ 661461 h 852343"/>
                <a:gd name="connsiteX439" fmla="*/ 586723 w 1109770"/>
                <a:gd name="connsiteY439" fmla="*/ 652365 h 852343"/>
                <a:gd name="connsiteX440" fmla="*/ 584449 w 1109770"/>
                <a:gd name="connsiteY440" fmla="*/ 638722 h 852343"/>
                <a:gd name="connsiteX441" fmla="*/ 582175 w 1109770"/>
                <a:gd name="connsiteY441" fmla="*/ 629626 h 852343"/>
                <a:gd name="connsiteX442" fmla="*/ 575352 w 1109770"/>
                <a:gd name="connsiteY442" fmla="*/ 622804 h 852343"/>
                <a:gd name="connsiteX443" fmla="*/ 573078 w 1109770"/>
                <a:gd name="connsiteY443" fmla="*/ 625078 h 852343"/>
                <a:gd name="connsiteX444" fmla="*/ 568530 w 1109770"/>
                <a:gd name="connsiteY444" fmla="*/ 615982 h 852343"/>
                <a:gd name="connsiteX445" fmla="*/ 566256 w 1109770"/>
                <a:gd name="connsiteY445" fmla="*/ 609160 h 852343"/>
                <a:gd name="connsiteX446" fmla="*/ 552611 w 1109770"/>
                <a:gd name="connsiteY446" fmla="*/ 602339 h 852343"/>
                <a:gd name="connsiteX447" fmla="*/ 550337 w 1109770"/>
                <a:gd name="connsiteY447" fmla="*/ 609160 h 852343"/>
                <a:gd name="connsiteX448" fmla="*/ 550337 w 1109770"/>
                <a:gd name="connsiteY448" fmla="*/ 611434 h 852343"/>
                <a:gd name="connsiteX449" fmla="*/ 548063 w 1109770"/>
                <a:gd name="connsiteY449" fmla="*/ 606886 h 852343"/>
                <a:gd name="connsiteX450" fmla="*/ 541240 w 1109770"/>
                <a:gd name="connsiteY450" fmla="*/ 606886 h 852343"/>
                <a:gd name="connsiteX451" fmla="*/ 534418 w 1109770"/>
                <a:gd name="connsiteY451" fmla="*/ 604613 h 852343"/>
                <a:gd name="connsiteX452" fmla="*/ 527596 w 1109770"/>
                <a:gd name="connsiteY452" fmla="*/ 604613 h 852343"/>
                <a:gd name="connsiteX453" fmla="*/ 527596 w 1109770"/>
                <a:gd name="connsiteY453" fmla="*/ 602339 h 852343"/>
                <a:gd name="connsiteX454" fmla="*/ 532144 w 1109770"/>
                <a:gd name="connsiteY454" fmla="*/ 595517 h 852343"/>
                <a:gd name="connsiteX455" fmla="*/ 527596 w 1109770"/>
                <a:gd name="connsiteY455" fmla="*/ 588695 h 852343"/>
                <a:gd name="connsiteX456" fmla="*/ 523048 w 1109770"/>
                <a:gd name="connsiteY456" fmla="*/ 590969 h 852343"/>
                <a:gd name="connsiteX457" fmla="*/ 525322 w 1109770"/>
                <a:gd name="connsiteY457" fmla="*/ 586421 h 852343"/>
                <a:gd name="connsiteX458" fmla="*/ 518499 w 1109770"/>
                <a:gd name="connsiteY458" fmla="*/ 579599 h 852343"/>
                <a:gd name="connsiteX459" fmla="*/ 509403 w 1109770"/>
                <a:gd name="connsiteY459" fmla="*/ 584147 h 852343"/>
                <a:gd name="connsiteX460" fmla="*/ 504855 w 1109770"/>
                <a:gd name="connsiteY460" fmla="*/ 588695 h 852343"/>
                <a:gd name="connsiteX461" fmla="*/ 500306 w 1109770"/>
                <a:gd name="connsiteY461" fmla="*/ 588695 h 852343"/>
                <a:gd name="connsiteX462" fmla="*/ 495758 w 1109770"/>
                <a:gd name="connsiteY462" fmla="*/ 586421 h 852343"/>
                <a:gd name="connsiteX463" fmla="*/ 488936 w 1109770"/>
                <a:gd name="connsiteY463" fmla="*/ 584147 h 852343"/>
                <a:gd name="connsiteX464" fmla="*/ 484387 w 1109770"/>
                <a:gd name="connsiteY464" fmla="*/ 586421 h 852343"/>
                <a:gd name="connsiteX465" fmla="*/ 475291 w 1109770"/>
                <a:gd name="connsiteY465" fmla="*/ 593243 h 852343"/>
                <a:gd name="connsiteX466" fmla="*/ 466195 w 1109770"/>
                <a:gd name="connsiteY466" fmla="*/ 597791 h 852343"/>
                <a:gd name="connsiteX467" fmla="*/ 461646 w 1109770"/>
                <a:gd name="connsiteY467" fmla="*/ 604613 h 852343"/>
                <a:gd name="connsiteX468" fmla="*/ 454824 w 1109770"/>
                <a:gd name="connsiteY468" fmla="*/ 611434 h 852343"/>
                <a:gd name="connsiteX469" fmla="*/ 448002 w 1109770"/>
                <a:gd name="connsiteY469" fmla="*/ 620530 h 852343"/>
                <a:gd name="connsiteX470" fmla="*/ 436631 w 1109770"/>
                <a:gd name="connsiteY470" fmla="*/ 620530 h 852343"/>
                <a:gd name="connsiteX471" fmla="*/ 434357 w 1109770"/>
                <a:gd name="connsiteY471" fmla="*/ 620530 h 852343"/>
                <a:gd name="connsiteX472" fmla="*/ 432083 w 1109770"/>
                <a:gd name="connsiteY472" fmla="*/ 618256 h 852343"/>
                <a:gd name="connsiteX473" fmla="*/ 425260 w 1109770"/>
                <a:gd name="connsiteY473" fmla="*/ 613708 h 852343"/>
                <a:gd name="connsiteX474" fmla="*/ 418438 w 1109770"/>
                <a:gd name="connsiteY474" fmla="*/ 613708 h 852343"/>
                <a:gd name="connsiteX475" fmla="*/ 407067 w 1109770"/>
                <a:gd name="connsiteY475" fmla="*/ 613708 h 852343"/>
                <a:gd name="connsiteX476" fmla="*/ 402519 w 1109770"/>
                <a:gd name="connsiteY476" fmla="*/ 609160 h 852343"/>
                <a:gd name="connsiteX477" fmla="*/ 391149 w 1109770"/>
                <a:gd name="connsiteY477" fmla="*/ 611434 h 852343"/>
                <a:gd name="connsiteX478" fmla="*/ 384326 w 1109770"/>
                <a:gd name="connsiteY478" fmla="*/ 622804 h 852343"/>
                <a:gd name="connsiteX479" fmla="*/ 377504 w 1109770"/>
                <a:gd name="connsiteY479" fmla="*/ 631900 h 852343"/>
                <a:gd name="connsiteX480" fmla="*/ 375230 w 1109770"/>
                <a:gd name="connsiteY480" fmla="*/ 618256 h 852343"/>
                <a:gd name="connsiteX481" fmla="*/ 359311 w 1109770"/>
                <a:gd name="connsiteY481" fmla="*/ 615982 h 852343"/>
                <a:gd name="connsiteX482" fmla="*/ 359311 w 1109770"/>
                <a:gd name="connsiteY482" fmla="*/ 618256 h 852343"/>
                <a:gd name="connsiteX483" fmla="*/ 343392 w 1109770"/>
                <a:gd name="connsiteY483" fmla="*/ 618256 h 852343"/>
                <a:gd name="connsiteX484" fmla="*/ 332022 w 1109770"/>
                <a:gd name="connsiteY484" fmla="*/ 613708 h 852343"/>
                <a:gd name="connsiteX485" fmla="*/ 327473 w 1109770"/>
                <a:gd name="connsiteY485" fmla="*/ 613708 h 852343"/>
                <a:gd name="connsiteX486" fmla="*/ 325199 w 1109770"/>
                <a:gd name="connsiteY486" fmla="*/ 615982 h 852343"/>
                <a:gd name="connsiteX487" fmla="*/ 318377 w 1109770"/>
                <a:gd name="connsiteY487" fmla="*/ 611434 h 852343"/>
                <a:gd name="connsiteX488" fmla="*/ 316103 w 1109770"/>
                <a:gd name="connsiteY488" fmla="*/ 615982 h 852343"/>
                <a:gd name="connsiteX489" fmla="*/ 307006 w 1109770"/>
                <a:gd name="connsiteY489" fmla="*/ 606886 h 852343"/>
                <a:gd name="connsiteX490" fmla="*/ 293362 w 1109770"/>
                <a:gd name="connsiteY490" fmla="*/ 604613 h 852343"/>
                <a:gd name="connsiteX491" fmla="*/ 293362 w 1109770"/>
                <a:gd name="connsiteY491" fmla="*/ 600065 h 852343"/>
                <a:gd name="connsiteX492" fmla="*/ 286539 w 1109770"/>
                <a:gd name="connsiteY492" fmla="*/ 600065 h 852343"/>
                <a:gd name="connsiteX493" fmla="*/ 272894 w 1109770"/>
                <a:gd name="connsiteY493" fmla="*/ 590969 h 852343"/>
                <a:gd name="connsiteX494" fmla="*/ 261524 w 1109770"/>
                <a:gd name="connsiteY494" fmla="*/ 586421 h 852343"/>
                <a:gd name="connsiteX495" fmla="*/ 252427 w 1109770"/>
                <a:gd name="connsiteY495" fmla="*/ 577325 h 852343"/>
                <a:gd name="connsiteX496" fmla="*/ 238783 w 1109770"/>
                <a:gd name="connsiteY496" fmla="*/ 572778 h 852343"/>
                <a:gd name="connsiteX497" fmla="*/ 222864 w 1109770"/>
                <a:gd name="connsiteY497" fmla="*/ 559134 h 852343"/>
                <a:gd name="connsiteX498" fmla="*/ 213767 w 1109770"/>
                <a:gd name="connsiteY498" fmla="*/ 556860 h 852343"/>
                <a:gd name="connsiteX499" fmla="*/ 209219 w 1109770"/>
                <a:gd name="connsiteY499" fmla="*/ 556860 h 852343"/>
                <a:gd name="connsiteX500" fmla="*/ 202397 w 1109770"/>
                <a:gd name="connsiteY500" fmla="*/ 561408 h 852343"/>
                <a:gd name="connsiteX501" fmla="*/ 186478 w 1109770"/>
                <a:gd name="connsiteY501" fmla="*/ 554586 h 852343"/>
                <a:gd name="connsiteX502" fmla="*/ 181930 w 1109770"/>
                <a:gd name="connsiteY502" fmla="*/ 552312 h 852343"/>
                <a:gd name="connsiteX503" fmla="*/ 181930 w 1109770"/>
                <a:gd name="connsiteY503" fmla="*/ 547764 h 852343"/>
                <a:gd name="connsiteX504" fmla="*/ 177381 w 1109770"/>
                <a:gd name="connsiteY504" fmla="*/ 545490 h 852343"/>
                <a:gd name="connsiteX505" fmla="*/ 168285 w 1109770"/>
                <a:gd name="connsiteY505" fmla="*/ 543217 h 852343"/>
                <a:gd name="connsiteX506" fmla="*/ 156914 w 1109770"/>
                <a:gd name="connsiteY506" fmla="*/ 531847 h 852343"/>
                <a:gd name="connsiteX507" fmla="*/ 150092 w 1109770"/>
                <a:gd name="connsiteY507" fmla="*/ 531847 h 852343"/>
                <a:gd name="connsiteX508" fmla="*/ 147818 w 1109770"/>
                <a:gd name="connsiteY508" fmla="*/ 525025 h 852343"/>
                <a:gd name="connsiteX509" fmla="*/ 145544 w 1109770"/>
                <a:gd name="connsiteY509" fmla="*/ 518203 h 852343"/>
                <a:gd name="connsiteX510" fmla="*/ 140996 w 1109770"/>
                <a:gd name="connsiteY510" fmla="*/ 513655 h 852343"/>
                <a:gd name="connsiteX511" fmla="*/ 136447 w 1109770"/>
                <a:gd name="connsiteY511" fmla="*/ 504560 h 852343"/>
                <a:gd name="connsiteX512" fmla="*/ 145544 w 1109770"/>
                <a:gd name="connsiteY512" fmla="*/ 506834 h 852343"/>
                <a:gd name="connsiteX513" fmla="*/ 150092 w 1109770"/>
                <a:gd name="connsiteY513" fmla="*/ 506834 h 852343"/>
                <a:gd name="connsiteX514" fmla="*/ 156914 w 1109770"/>
                <a:gd name="connsiteY514" fmla="*/ 502286 h 852343"/>
                <a:gd name="connsiteX515" fmla="*/ 154640 w 1109770"/>
                <a:gd name="connsiteY515" fmla="*/ 495464 h 852343"/>
                <a:gd name="connsiteX516" fmla="*/ 152366 w 1109770"/>
                <a:gd name="connsiteY516" fmla="*/ 488642 h 852343"/>
                <a:gd name="connsiteX517" fmla="*/ 140996 w 1109770"/>
                <a:gd name="connsiteY517" fmla="*/ 481820 h 852343"/>
                <a:gd name="connsiteX518" fmla="*/ 136447 w 1109770"/>
                <a:gd name="connsiteY518" fmla="*/ 465903 h 852343"/>
                <a:gd name="connsiteX519" fmla="*/ 136447 w 1109770"/>
                <a:gd name="connsiteY519" fmla="*/ 461355 h 852343"/>
                <a:gd name="connsiteX520" fmla="*/ 122803 w 1109770"/>
                <a:gd name="connsiteY520" fmla="*/ 452259 h 852343"/>
                <a:gd name="connsiteX521" fmla="*/ 106884 w 1109770"/>
                <a:gd name="connsiteY521" fmla="*/ 431794 h 852343"/>
                <a:gd name="connsiteX522" fmla="*/ 79594 w 1109770"/>
                <a:gd name="connsiteY522" fmla="*/ 422698 h 852343"/>
                <a:gd name="connsiteX523" fmla="*/ 72772 w 1109770"/>
                <a:gd name="connsiteY523" fmla="*/ 424972 h 852343"/>
                <a:gd name="connsiteX524" fmla="*/ 65950 w 1109770"/>
                <a:gd name="connsiteY524" fmla="*/ 418151 h 852343"/>
                <a:gd name="connsiteX525" fmla="*/ 65950 w 1109770"/>
                <a:gd name="connsiteY525" fmla="*/ 411329 h 852343"/>
                <a:gd name="connsiteX526" fmla="*/ 61401 w 1109770"/>
                <a:gd name="connsiteY526" fmla="*/ 404507 h 852343"/>
                <a:gd name="connsiteX527" fmla="*/ 52305 w 1109770"/>
                <a:gd name="connsiteY527" fmla="*/ 399959 h 852343"/>
                <a:gd name="connsiteX528" fmla="*/ 40934 w 1109770"/>
                <a:gd name="connsiteY528" fmla="*/ 397685 h 852343"/>
                <a:gd name="connsiteX529" fmla="*/ 31838 w 1109770"/>
                <a:gd name="connsiteY529" fmla="*/ 393137 h 852343"/>
                <a:gd name="connsiteX530" fmla="*/ 38660 w 1109770"/>
                <a:gd name="connsiteY530" fmla="*/ 388589 h 852343"/>
                <a:gd name="connsiteX531" fmla="*/ 38660 w 1109770"/>
                <a:gd name="connsiteY531" fmla="*/ 381768 h 852343"/>
                <a:gd name="connsiteX532" fmla="*/ 38660 w 1109770"/>
                <a:gd name="connsiteY532" fmla="*/ 377220 h 852343"/>
                <a:gd name="connsiteX533" fmla="*/ 34112 w 1109770"/>
                <a:gd name="connsiteY533" fmla="*/ 372672 h 852343"/>
                <a:gd name="connsiteX534" fmla="*/ 31838 w 1109770"/>
                <a:gd name="connsiteY534" fmla="*/ 368124 h 852343"/>
                <a:gd name="connsiteX535" fmla="*/ 31838 w 1109770"/>
                <a:gd name="connsiteY535" fmla="*/ 361302 h 852343"/>
                <a:gd name="connsiteX536" fmla="*/ 20467 w 1109770"/>
                <a:gd name="connsiteY536" fmla="*/ 354481 h 852343"/>
                <a:gd name="connsiteX537" fmla="*/ 9097 w 1109770"/>
                <a:gd name="connsiteY537" fmla="*/ 356755 h 852343"/>
                <a:gd name="connsiteX538" fmla="*/ 6823 w 1109770"/>
                <a:gd name="connsiteY538" fmla="*/ 347659 h 852343"/>
                <a:gd name="connsiteX539" fmla="*/ 2274 w 1109770"/>
                <a:gd name="connsiteY539" fmla="*/ 343111 h 852343"/>
                <a:gd name="connsiteX540" fmla="*/ 0 w 1109770"/>
                <a:gd name="connsiteY540" fmla="*/ 336289 h 852343"/>
                <a:gd name="connsiteX541" fmla="*/ 4548 w 1109770"/>
                <a:gd name="connsiteY541" fmla="*/ 331741 h 852343"/>
                <a:gd name="connsiteX542" fmla="*/ 4548 w 1109770"/>
                <a:gd name="connsiteY542" fmla="*/ 322646 h 852343"/>
                <a:gd name="connsiteX543" fmla="*/ 9097 w 1109770"/>
                <a:gd name="connsiteY543" fmla="*/ 320372 h 852343"/>
                <a:gd name="connsiteX544" fmla="*/ 18193 w 1109770"/>
                <a:gd name="connsiteY544" fmla="*/ 313550 h 852343"/>
                <a:gd name="connsiteX545" fmla="*/ 18193 w 1109770"/>
                <a:gd name="connsiteY545" fmla="*/ 311276 h 852343"/>
                <a:gd name="connsiteX546" fmla="*/ 25016 w 1109770"/>
                <a:gd name="connsiteY546" fmla="*/ 311276 h 852343"/>
                <a:gd name="connsiteX547" fmla="*/ 31838 w 1109770"/>
                <a:gd name="connsiteY547" fmla="*/ 306728 h 852343"/>
                <a:gd name="connsiteX548" fmla="*/ 36386 w 1109770"/>
                <a:gd name="connsiteY548" fmla="*/ 313550 h 852343"/>
                <a:gd name="connsiteX549" fmla="*/ 45483 w 1109770"/>
                <a:gd name="connsiteY549" fmla="*/ 313550 h 852343"/>
                <a:gd name="connsiteX550" fmla="*/ 52305 w 1109770"/>
                <a:gd name="connsiteY550" fmla="*/ 302180 h 852343"/>
                <a:gd name="connsiteX551" fmla="*/ 59127 w 1109770"/>
                <a:gd name="connsiteY551" fmla="*/ 297632 h 852343"/>
                <a:gd name="connsiteX552" fmla="*/ 72772 w 1109770"/>
                <a:gd name="connsiteY552" fmla="*/ 297632 h 852343"/>
                <a:gd name="connsiteX553" fmla="*/ 79594 w 1109770"/>
                <a:gd name="connsiteY553" fmla="*/ 295358 h 852343"/>
                <a:gd name="connsiteX554" fmla="*/ 84143 w 1109770"/>
                <a:gd name="connsiteY554" fmla="*/ 288537 h 852343"/>
                <a:gd name="connsiteX555" fmla="*/ 104610 w 1109770"/>
                <a:gd name="connsiteY555" fmla="*/ 277167 h 852343"/>
                <a:gd name="connsiteX556" fmla="*/ 111432 w 1109770"/>
                <a:gd name="connsiteY556" fmla="*/ 272619 h 852343"/>
                <a:gd name="connsiteX557" fmla="*/ 111432 w 1109770"/>
                <a:gd name="connsiteY557" fmla="*/ 268071 h 852343"/>
                <a:gd name="connsiteX558" fmla="*/ 106884 w 1109770"/>
                <a:gd name="connsiteY558" fmla="*/ 258976 h 852343"/>
                <a:gd name="connsiteX559" fmla="*/ 113706 w 1109770"/>
                <a:gd name="connsiteY559" fmla="*/ 252154 h 852343"/>
                <a:gd name="connsiteX560" fmla="*/ 109158 w 1109770"/>
                <a:gd name="connsiteY560" fmla="*/ 249880 h 852343"/>
                <a:gd name="connsiteX561" fmla="*/ 115980 w 1109770"/>
                <a:gd name="connsiteY561" fmla="*/ 247606 h 852343"/>
                <a:gd name="connsiteX562" fmla="*/ 111432 w 1109770"/>
                <a:gd name="connsiteY562" fmla="*/ 240784 h 852343"/>
                <a:gd name="connsiteX563" fmla="*/ 104610 w 1109770"/>
                <a:gd name="connsiteY563" fmla="*/ 229415 h 852343"/>
                <a:gd name="connsiteX564" fmla="*/ 97787 w 1109770"/>
                <a:gd name="connsiteY564" fmla="*/ 218045 h 852343"/>
                <a:gd name="connsiteX565" fmla="*/ 95513 w 1109770"/>
                <a:gd name="connsiteY565" fmla="*/ 206675 h 852343"/>
                <a:gd name="connsiteX566" fmla="*/ 84143 w 1109770"/>
                <a:gd name="connsiteY566" fmla="*/ 202127 h 852343"/>
                <a:gd name="connsiteX567" fmla="*/ 95513 w 1109770"/>
                <a:gd name="connsiteY567" fmla="*/ 199854 h 852343"/>
                <a:gd name="connsiteX568" fmla="*/ 111432 w 1109770"/>
                <a:gd name="connsiteY568" fmla="*/ 195306 h 852343"/>
                <a:gd name="connsiteX569" fmla="*/ 120529 w 1109770"/>
                <a:gd name="connsiteY569" fmla="*/ 197580 h 852343"/>
                <a:gd name="connsiteX570" fmla="*/ 129625 w 1109770"/>
                <a:gd name="connsiteY570" fmla="*/ 197580 h 852343"/>
                <a:gd name="connsiteX571" fmla="*/ 134173 w 1109770"/>
                <a:gd name="connsiteY571" fmla="*/ 193032 h 852343"/>
                <a:gd name="connsiteX572" fmla="*/ 125077 w 1109770"/>
                <a:gd name="connsiteY572" fmla="*/ 188484 h 852343"/>
                <a:gd name="connsiteX573" fmla="*/ 125077 w 1109770"/>
                <a:gd name="connsiteY573" fmla="*/ 179388 h 852343"/>
                <a:gd name="connsiteX574" fmla="*/ 125077 w 1109770"/>
                <a:gd name="connsiteY574" fmla="*/ 165745 h 852343"/>
                <a:gd name="connsiteX575" fmla="*/ 125077 w 1109770"/>
                <a:gd name="connsiteY575" fmla="*/ 154375 h 852343"/>
                <a:gd name="connsiteX576" fmla="*/ 131899 w 1109770"/>
                <a:gd name="connsiteY576" fmla="*/ 149827 h 852343"/>
                <a:gd name="connsiteX577" fmla="*/ 140996 w 1109770"/>
                <a:gd name="connsiteY577" fmla="*/ 154375 h 852343"/>
                <a:gd name="connsiteX578" fmla="*/ 156914 w 1109770"/>
                <a:gd name="connsiteY578" fmla="*/ 154375 h 852343"/>
                <a:gd name="connsiteX579" fmla="*/ 163737 w 1109770"/>
                <a:gd name="connsiteY579" fmla="*/ 156649 h 852343"/>
                <a:gd name="connsiteX580" fmla="*/ 172833 w 1109770"/>
                <a:gd name="connsiteY580" fmla="*/ 152101 h 852343"/>
                <a:gd name="connsiteX581" fmla="*/ 166011 w 1109770"/>
                <a:gd name="connsiteY581" fmla="*/ 131636 h 852343"/>
                <a:gd name="connsiteX582" fmla="*/ 166011 w 1109770"/>
                <a:gd name="connsiteY582" fmla="*/ 120266 h 852343"/>
                <a:gd name="connsiteX583" fmla="*/ 175107 w 1109770"/>
                <a:gd name="connsiteY583" fmla="*/ 120266 h 852343"/>
                <a:gd name="connsiteX584" fmla="*/ 179656 w 1109770"/>
                <a:gd name="connsiteY584" fmla="*/ 106623 h 852343"/>
                <a:gd name="connsiteX585" fmla="*/ 184204 w 1109770"/>
                <a:gd name="connsiteY585" fmla="*/ 104349 h 852343"/>
                <a:gd name="connsiteX586" fmla="*/ 197849 w 1109770"/>
                <a:gd name="connsiteY586" fmla="*/ 102075 h 852343"/>
                <a:gd name="connsiteX587" fmla="*/ 200123 w 1109770"/>
                <a:gd name="connsiteY587" fmla="*/ 106623 h 852343"/>
                <a:gd name="connsiteX588" fmla="*/ 204671 w 1109770"/>
                <a:gd name="connsiteY588" fmla="*/ 111170 h 852343"/>
                <a:gd name="connsiteX589" fmla="*/ 206945 w 1109770"/>
                <a:gd name="connsiteY589" fmla="*/ 115718 h 852343"/>
                <a:gd name="connsiteX590" fmla="*/ 218316 w 1109770"/>
                <a:gd name="connsiteY590" fmla="*/ 122540 h 852343"/>
                <a:gd name="connsiteX591" fmla="*/ 236509 w 1109770"/>
                <a:gd name="connsiteY591" fmla="*/ 129362 h 852343"/>
                <a:gd name="connsiteX592" fmla="*/ 250153 w 1109770"/>
                <a:gd name="connsiteY592" fmla="*/ 131636 h 852343"/>
                <a:gd name="connsiteX593" fmla="*/ 259250 w 1109770"/>
                <a:gd name="connsiteY593" fmla="*/ 138458 h 852343"/>
                <a:gd name="connsiteX594" fmla="*/ 268346 w 1109770"/>
                <a:gd name="connsiteY594" fmla="*/ 149827 h 852343"/>
                <a:gd name="connsiteX595" fmla="*/ 279717 w 1109770"/>
                <a:gd name="connsiteY595" fmla="*/ 158923 h 852343"/>
                <a:gd name="connsiteX596" fmla="*/ 284265 w 1109770"/>
                <a:gd name="connsiteY596" fmla="*/ 165745 h 852343"/>
                <a:gd name="connsiteX597" fmla="*/ 286539 w 1109770"/>
                <a:gd name="connsiteY597" fmla="*/ 179388 h 852343"/>
                <a:gd name="connsiteX598" fmla="*/ 288813 w 1109770"/>
                <a:gd name="connsiteY598" fmla="*/ 190758 h 852343"/>
                <a:gd name="connsiteX599" fmla="*/ 297910 w 1109770"/>
                <a:gd name="connsiteY599" fmla="*/ 197580 h 852343"/>
                <a:gd name="connsiteX600" fmla="*/ 311554 w 1109770"/>
                <a:gd name="connsiteY600" fmla="*/ 199854 h 852343"/>
                <a:gd name="connsiteX601" fmla="*/ 325199 w 1109770"/>
                <a:gd name="connsiteY601" fmla="*/ 202127 h 852343"/>
                <a:gd name="connsiteX602" fmla="*/ 338844 w 1109770"/>
                <a:gd name="connsiteY602" fmla="*/ 202127 h 852343"/>
                <a:gd name="connsiteX603" fmla="*/ 359311 w 1109770"/>
                <a:gd name="connsiteY603" fmla="*/ 208949 h 852343"/>
                <a:gd name="connsiteX604" fmla="*/ 366133 w 1109770"/>
                <a:gd name="connsiteY604" fmla="*/ 211223 h 852343"/>
                <a:gd name="connsiteX605" fmla="*/ 377504 w 1109770"/>
                <a:gd name="connsiteY605" fmla="*/ 218045 h 852343"/>
                <a:gd name="connsiteX606" fmla="*/ 386600 w 1109770"/>
                <a:gd name="connsiteY606" fmla="*/ 218045 h 852343"/>
                <a:gd name="connsiteX607" fmla="*/ 391149 w 1109770"/>
                <a:gd name="connsiteY607" fmla="*/ 224867 h 852343"/>
                <a:gd name="connsiteX608" fmla="*/ 400245 w 1109770"/>
                <a:gd name="connsiteY608" fmla="*/ 231689 h 852343"/>
                <a:gd name="connsiteX609" fmla="*/ 409342 w 1109770"/>
                <a:gd name="connsiteY609" fmla="*/ 243058 h 852343"/>
                <a:gd name="connsiteX610" fmla="*/ 420712 w 1109770"/>
                <a:gd name="connsiteY610" fmla="*/ 249880 h 852343"/>
                <a:gd name="connsiteX611" fmla="*/ 425260 w 1109770"/>
                <a:gd name="connsiteY611" fmla="*/ 256702 h 852343"/>
                <a:gd name="connsiteX612" fmla="*/ 438905 w 1109770"/>
                <a:gd name="connsiteY612" fmla="*/ 254428 h 852343"/>
                <a:gd name="connsiteX613" fmla="*/ 468469 w 1109770"/>
                <a:gd name="connsiteY613" fmla="*/ 258976 h 852343"/>
                <a:gd name="connsiteX614" fmla="*/ 484387 w 1109770"/>
                <a:gd name="connsiteY614" fmla="*/ 258976 h 852343"/>
                <a:gd name="connsiteX615" fmla="*/ 498032 w 1109770"/>
                <a:gd name="connsiteY615" fmla="*/ 256702 h 852343"/>
                <a:gd name="connsiteX616" fmla="*/ 513951 w 1109770"/>
                <a:gd name="connsiteY616" fmla="*/ 258976 h 852343"/>
                <a:gd name="connsiteX617" fmla="*/ 529870 w 1109770"/>
                <a:gd name="connsiteY617" fmla="*/ 261250 h 852343"/>
                <a:gd name="connsiteX618" fmla="*/ 538966 w 1109770"/>
                <a:gd name="connsiteY618" fmla="*/ 268071 h 852343"/>
                <a:gd name="connsiteX619" fmla="*/ 557159 w 1109770"/>
                <a:gd name="connsiteY619" fmla="*/ 272619 h 852343"/>
                <a:gd name="connsiteX620" fmla="*/ 586723 w 1109770"/>
                <a:gd name="connsiteY620" fmla="*/ 277167 h 852343"/>
                <a:gd name="connsiteX621" fmla="*/ 593545 w 1109770"/>
                <a:gd name="connsiteY621" fmla="*/ 281715 h 852343"/>
                <a:gd name="connsiteX622" fmla="*/ 604916 w 1109770"/>
                <a:gd name="connsiteY622" fmla="*/ 283989 h 852343"/>
                <a:gd name="connsiteX623" fmla="*/ 627657 w 1109770"/>
                <a:gd name="connsiteY623" fmla="*/ 268071 h 852343"/>
                <a:gd name="connsiteX624" fmla="*/ 641302 w 1109770"/>
                <a:gd name="connsiteY624" fmla="*/ 265797 h 852343"/>
                <a:gd name="connsiteX625" fmla="*/ 659495 w 1109770"/>
                <a:gd name="connsiteY625" fmla="*/ 263524 h 852343"/>
                <a:gd name="connsiteX626" fmla="*/ 684510 w 1109770"/>
                <a:gd name="connsiteY626" fmla="*/ 261250 h 852343"/>
                <a:gd name="connsiteX627" fmla="*/ 698155 w 1109770"/>
                <a:gd name="connsiteY627" fmla="*/ 254428 h 852343"/>
                <a:gd name="connsiteX628" fmla="*/ 702703 w 1109770"/>
                <a:gd name="connsiteY628" fmla="*/ 243058 h 852343"/>
                <a:gd name="connsiteX629" fmla="*/ 709525 w 1109770"/>
                <a:gd name="connsiteY629" fmla="*/ 238510 h 852343"/>
                <a:gd name="connsiteX630" fmla="*/ 714073 w 1109770"/>
                <a:gd name="connsiteY630" fmla="*/ 233962 h 852343"/>
                <a:gd name="connsiteX631" fmla="*/ 716348 w 1109770"/>
                <a:gd name="connsiteY631" fmla="*/ 233962 h 852343"/>
                <a:gd name="connsiteX632" fmla="*/ 698155 w 1109770"/>
                <a:gd name="connsiteY632" fmla="*/ 218045 h 852343"/>
                <a:gd name="connsiteX633" fmla="*/ 698155 w 1109770"/>
                <a:gd name="connsiteY633" fmla="*/ 208949 h 852343"/>
                <a:gd name="connsiteX634" fmla="*/ 702703 w 1109770"/>
                <a:gd name="connsiteY634" fmla="*/ 199854 h 852343"/>
                <a:gd name="connsiteX635" fmla="*/ 729992 w 1109770"/>
                <a:gd name="connsiteY635" fmla="*/ 206675 h 852343"/>
                <a:gd name="connsiteX636" fmla="*/ 739089 w 1109770"/>
                <a:gd name="connsiteY636" fmla="*/ 206675 h 852343"/>
                <a:gd name="connsiteX637" fmla="*/ 745911 w 1109770"/>
                <a:gd name="connsiteY637" fmla="*/ 199854 h 852343"/>
                <a:gd name="connsiteX638" fmla="*/ 748185 w 1109770"/>
                <a:gd name="connsiteY638" fmla="*/ 193032 h 852343"/>
                <a:gd name="connsiteX639" fmla="*/ 757282 w 1109770"/>
                <a:gd name="connsiteY639" fmla="*/ 193032 h 852343"/>
                <a:gd name="connsiteX640" fmla="*/ 775475 w 1109770"/>
                <a:gd name="connsiteY640" fmla="*/ 183936 h 852343"/>
                <a:gd name="connsiteX641" fmla="*/ 773201 w 1109770"/>
                <a:gd name="connsiteY641" fmla="*/ 174840 h 852343"/>
                <a:gd name="connsiteX642" fmla="*/ 782297 w 1109770"/>
                <a:gd name="connsiteY642" fmla="*/ 168019 h 852343"/>
                <a:gd name="connsiteX643" fmla="*/ 789119 w 1109770"/>
                <a:gd name="connsiteY643" fmla="*/ 165745 h 852343"/>
                <a:gd name="connsiteX644" fmla="*/ 795942 w 1109770"/>
                <a:gd name="connsiteY644" fmla="*/ 163471 h 852343"/>
                <a:gd name="connsiteX645" fmla="*/ 802764 w 1109770"/>
                <a:gd name="connsiteY645" fmla="*/ 161197 h 852343"/>
                <a:gd name="connsiteX646" fmla="*/ 807312 w 1109770"/>
                <a:gd name="connsiteY646" fmla="*/ 161197 h 852343"/>
                <a:gd name="connsiteX647" fmla="*/ 814135 w 1109770"/>
                <a:gd name="connsiteY647" fmla="*/ 158923 h 852343"/>
                <a:gd name="connsiteX648" fmla="*/ 818683 w 1109770"/>
                <a:gd name="connsiteY648" fmla="*/ 161197 h 852343"/>
                <a:gd name="connsiteX649" fmla="*/ 827779 w 1109770"/>
                <a:gd name="connsiteY649" fmla="*/ 163471 h 852343"/>
                <a:gd name="connsiteX650" fmla="*/ 825505 w 1109770"/>
                <a:gd name="connsiteY650" fmla="*/ 149827 h 852343"/>
                <a:gd name="connsiteX651" fmla="*/ 791393 w 1109770"/>
                <a:gd name="connsiteY651" fmla="*/ 131636 h 852343"/>
                <a:gd name="connsiteX652" fmla="*/ 775475 w 1109770"/>
                <a:gd name="connsiteY652" fmla="*/ 133910 h 852343"/>
                <a:gd name="connsiteX653" fmla="*/ 757282 w 1109770"/>
                <a:gd name="connsiteY653" fmla="*/ 133910 h 852343"/>
                <a:gd name="connsiteX654" fmla="*/ 748185 w 1109770"/>
                <a:gd name="connsiteY654" fmla="*/ 133910 h 852343"/>
                <a:gd name="connsiteX655" fmla="*/ 741363 w 1109770"/>
                <a:gd name="connsiteY655" fmla="*/ 136184 h 852343"/>
                <a:gd name="connsiteX656" fmla="*/ 732266 w 1109770"/>
                <a:gd name="connsiteY656" fmla="*/ 127088 h 852343"/>
                <a:gd name="connsiteX657" fmla="*/ 734541 w 1109770"/>
                <a:gd name="connsiteY657" fmla="*/ 122540 h 852343"/>
                <a:gd name="connsiteX658" fmla="*/ 732266 w 1109770"/>
                <a:gd name="connsiteY658" fmla="*/ 113444 h 852343"/>
                <a:gd name="connsiteX659" fmla="*/ 732266 w 1109770"/>
                <a:gd name="connsiteY659" fmla="*/ 86157 h 852343"/>
                <a:gd name="connsiteX660" fmla="*/ 752733 w 1109770"/>
                <a:gd name="connsiteY660" fmla="*/ 92979 h 852343"/>
                <a:gd name="connsiteX661" fmla="*/ 764104 w 1109770"/>
                <a:gd name="connsiteY661" fmla="*/ 86157 h 852343"/>
                <a:gd name="connsiteX662" fmla="*/ 775475 w 1109770"/>
                <a:gd name="connsiteY662" fmla="*/ 79335 h 852343"/>
                <a:gd name="connsiteX663" fmla="*/ 770926 w 1109770"/>
                <a:gd name="connsiteY663" fmla="*/ 74788 h 852343"/>
                <a:gd name="connsiteX664" fmla="*/ 768652 w 1109770"/>
                <a:gd name="connsiteY664" fmla="*/ 70240 h 852343"/>
                <a:gd name="connsiteX665" fmla="*/ 768652 w 1109770"/>
                <a:gd name="connsiteY665" fmla="*/ 63418 h 852343"/>
                <a:gd name="connsiteX666" fmla="*/ 768652 w 1109770"/>
                <a:gd name="connsiteY666" fmla="*/ 58870 h 852343"/>
                <a:gd name="connsiteX667" fmla="*/ 768652 w 1109770"/>
                <a:gd name="connsiteY667" fmla="*/ 54322 h 852343"/>
                <a:gd name="connsiteX668" fmla="*/ 770926 w 1109770"/>
                <a:gd name="connsiteY668" fmla="*/ 38405 h 852343"/>
                <a:gd name="connsiteX669" fmla="*/ 766378 w 1109770"/>
                <a:gd name="connsiteY669" fmla="*/ 27035 h 852343"/>
                <a:gd name="connsiteX670" fmla="*/ 757282 w 1109770"/>
                <a:gd name="connsiteY670" fmla="*/ 22487 h 852343"/>
                <a:gd name="connsiteX671" fmla="*/ 748185 w 1109770"/>
                <a:gd name="connsiteY671" fmla="*/ 17939 h 852343"/>
                <a:gd name="connsiteX672" fmla="*/ 759556 w 1109770"/>
                <a:gd name="connsiteY672" fmla="*/ 6570 h 852343"/>
                <a:gd name="connsiteX673" fmla="*/ 784571 w 1109770"/>
                <a:gd name="connsiteY673" fmla="*/ 2022 h 852343"/>
                <a:gd name="connsiteX674" fmla="*/ 796795 w 1109770"/>
                <a:gd name="connsiteY674" fmla="*/ 316 h 852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Lst>
              <a:rect l="l" t="t" r="r" b="b"/>
              <a:pathLst>
                <a:path w="1109770" h="852343">
                  <a:moveTo>
                    <a:pt x="864489" y="807269"/>
                  </a:moveTo>
                  <a:cubicBezTo>
                    <a:pt x="866477" y="807553"/>
                    <a:pt x="869319" y="809254"/>
                    <a:pt x="870455" y="811522"/>
                  </a:cubicBezTo>
                  <a:cubicBezTo>
                    <a:pt x="870455" y="813790"/>
                    <a:pt x="872728" y="822861"/>
                    <a:pt x="868182" y="818325"/>
                  </a:cubicBezTo>
                  <a:cubicBezTo>
                    <a:pt x="868182" y="822861"/>
                    <a:pt x="865909" y="829665"/>
                    <a:pt x="863636" y="829665"/>
                  </a:cubicBezTo>
                  <a:cubicBezTo>
                    <a:pt x="865909" y="831932"/>
                    <a:pt x="863636" y="838736"/>
                    <a:pt x="861363" y="841004"/>
                  </a:cubicBezTo>
                  <a:cubicBezTo>
                    <a:pt x="861363" y="843272"/>
                    <a:pt x="854544" y="847807"/>
                    <a:pt x="854544" y="850075"/>
                  </a:cubicBezTo>
                  <a:cubicBezTo>
                    <a:pt x="854544" y="847807"/>
                    <a:pt x="847725" y="850075"/>
                    <a:pt x="849998" y="852343"/>
                  </a:cubicBezTo>
                  <a:cubicBezTo>
                    <a:pt x="847725" y="852343"/>
                    <a:pt x="840906" y="852343"/>
                    <a:pt x="838633" y="850075"/>
                  </a:cubicBezTo>
                  <a:cubicBezTo>
                    <a:pt x="836360" y="850075"/>
                    <a:pt x="829541" y="850075"/>
                    <a:pt x="827268" y="847807"/>
                  </a:cubicBezTo>
                  <a:cubicBezTo>
                    <a:pt x="824995" y="843272"/>
                    <a:pt x="824995" y="838736"/>
                    <a:pt x="824995" y="836468"/>
                  </a:cubicBezTo>
                  <a:cubicBezTo>
                    <a:pt x="824995" y="834200"/>
                    <a:pt x="822722" y="827397"/>
                    <a:pt x="822722" y="827397"/>
                  </a:cubicBezTo>
                  <a:cubicBezTo>
                    <a:pt x="827268" y="822861"/>
                    <a:pt x="829541" y="818325"/>
                    <a:pt x="836360" y="816057"/>
                  </a:cubicBezTo>
                  <a:cubicBezTo>
                    <a:pt x="834087" y="816057"/>
                    <a:pt x="831814" y="813790"/>
                    <a:pt x="834087" y="811522"/>
                  </a:cubicBezTo>
                  <a:cubicBezTo>
                    <a:pt x="836360" y="811522"/>
                    <a:pt x="838633" y="813790"/>
                    <a:pt x="840906" y="813790"/>
                  </a:cubicBezTo>
                  <a:cubicBezTo>
                    <a:pt x="840906" y="813790"/>
                    <a:pt x="840906" y="813790"/>
                    <a:pt x="838633" y="811522"/>
                  </a:cubicBezTo>
                  <a:cubicBezTo>
                    <a:pt x="840906" y="809254"/>
                    <a:pt x="847725" y="809254"/>
                    <a:pt x="849998" y="811522"/>
                  </a:cubicBezTo>
                  <a:cubicBezTo>
                    <a:pt x="849998" y="809254"/>
                    <a:pt x="856817" y="806986"/>
                    <a:pt x="859090" y="811522"/>
                  </a:cubicBezTo>
                  <a:cubicBezTo>
                    <a:pt x="854544" y="806986"/>
                    <a:pt x="861363" y="809254"/>
                    <a:pt x="863636" y="811522"/>
                  </a:cubicBezTo>
                  <a:cubicBezTo>
                    <a:pt x="861363" y="808120"/>
                    <a:pt x="862500" y="806986"/>
                    <a:pt x="864489" y="807269"/>
                  </a:cubicBezTo>
                  <a:close/>
                  <a:moveTo>
                    <a:pt x="782241" y="789240"/>
                  </a:moveTo>
                  <a:cubicBezTo>
                    <a:pt x="782241" y="789240"/>
                    <a:pt x="787004" y="791622"/>
                    <a:pt x="784623" y="794003"/>
                  </a:cubicBezTo>
                  <a:cubicBezTo>
                    <a:pt x="784623" y="791622"/>
                    <a:pt x="782241" y="791622"/>
                    <a:pt x="782241" y="789240"/>
                  </a:cubicBezTo>
                  <a:close/>
                  <a:moveTo>
                    <a:pt x="791766" y="779715"/>
                  </a:moveTo>
                  <a:cubicBezTo>
                    <a:pt x="796529" y="779715"/>
                    <a:pt x="794148" y="784478"/>
                    <a:pt x="791766" y="784478"/>
                  </a:cubicBezTo>
                  <a:cubicBezTo>
                    <a:pt x="791766" y="782097"/>
                    <a:pt x="791766" y="779715"/>
                    <a:pt x="791766" y="779715"/>
                  </a:cubicBezTo>
                  <a:close/>
                  <a:moveTo>
                    <a:pt x="991494" y="719588"/>
                  </a:moveTo>
                  <a:cubicBezTo>
                    <a:pt x="992387" y="719588"/>
                    <a:pt x="992982" y="720184"/>
                    <a:pt x="991792" y="721374"/>
                  </a:cubicBezTo>
                  <a:cubicBezTo>
                    <a:pt x="991792" y="721374"/>
                    <a:pt x="991792" y="721374"/>
                    <a:pt x="989410" y="721374"/>
                  </a:cubicBezTo>
                  <a:cubicBezTo>
                    <a:pt x="989410" y="720184"/>
                    <a:pt x="990601" y="719588"/>
                    <a:pt x="991494" y="719588"/>
                  </a:cubicBezTo>
                  <a:close/>
                  <a:moveTo>
                    <a:pt x="1009650" y="699943"/>
                  </a:moveTo>
                  <a:cubicBezTo>
                    <a:pt x="1009650" y="699943"/>
                    <a:pt x="1009650" y="699943"/>
                    <a:pt x="1009650" y="702324"/>
                  </a:cubicBezTo>
                  <a:cubicBezTo>
                    <a:pt x="1009650" y="702324"/>
                    <a:pt x="1007269" y="702324"/>
                    <a:pt x="1007269" y="702324"/>
                  </a:cubicBezTo>
                  <a:cubicBezTo>
                    <a:pt x="1007269" y="699943"/>
                    <a:pt x="1007269" y="699943"/>
                    <a:pt x="1009650" y="699943"/>
                  </a:cubicBezTo>
                  <a:close/>
                  <a:moveTo>
                    <a:pt x="1032089" y="675124"/>
                  </a:moveTo>
                  <a:lnTo>
                    <a:pt x="1031975" y="676726"/>
                  </a:lnTo>
                  <a:cubicBezTo>
                    <a:pt x="1031677" y="677917"/>
                    <a:pt x="1031082" y="678512"/>
                    <a:pt x="1029891" y="677322"/>
                  </a:cubicBezTo>
                  <a:close/>
                  <a:moveTo>
                    <a:pt x="1032114" y="674782"/>
                  </a:moveTo>
                  <a:lnTo>
                    <a:pt x="1032272" y="674940"/>
                  </a:lnTo>
                  <a:lnTo>
                    <a:pt x="1032089" y="675124"/>
                  </a:lnTo>
                  <a:close/>
                  <a:moveTo>
                    <a:pt x="1029891" y="672559"/>
                  </a:moveTo>
                  <a:cubicBezTo>
                    <a:pt x="1029891" y="672559"/>
                    <a:pt x="1029891" y="672559"/>
                    <a:pt x="1032272" y="672559"/>
                  </a:cubicBezTo>
                  <a:lnTo>
                    <a:pt x="1032114" y="674782"/>
                  </a:lnTo>
                  <a:close/>
                  <a:moveTo>
                    <a:pt x="1048941" y="564211"/>
                  </a:moveTo>
                  <a:cubicBezTo>
                    <a:pt x="1051025" y="561830"/>
                    <a:pt x="1055192" y="564211"/>
                    <a:pt x="1057276" y="566593"/>
                  </a:cubicBezTo>
                  <a:cubicBezTo>
                    <a:pt x="1055192" y="568974"/>
                    <a:pt x="1053109" y="566593"/>
                    <a:pt x="1051025" y="566593"/>
                  </a:cubicBezTo>
                  <a:cubicBezTo>
                    <a:pt x="1051025" y="566593"/>
                    <a:pt x="1051025" y="566593"/>
                    <a:pt x="1048941" y="564211"/>
                  </a:cubicBezTo>
                  <a:close/>
                  <a:moveTo>
                    <a:pt x="1019175" y="523391"/>
                  </a:moveTo>
                  <a:cubicBezTo>
                    <a:pt x="1023640" y="518968"/>
                    <a:pt x="1034803" y="527813"/>
                    <a:pt x="1037035" y="530024"/>
                  </a:cubicBezTo>
                  <a:cubicBezTo>
                    <a:pt x="1032570" y="534447"/>
                    <a:pt x="1023640" y="525602"/>
                    <a:pt x="1019175" y="523391"/>
                  </a:cubicBezTo>
                  <a:close/>
                  <a:moveTo>
                    <a:pt x="1089709" y="257027"/>
                  </a:moveTo>
                  <a:lnTo>
                    <a:pt x="1100674" y="265797"/>
                  </a:lnTo>
                  <a:cubicBezTo>
                    <a:pt x="1102948" y="268071"/>
                    <a:pt x="1100105" y="266366"/>
                    <a:pt x="1096410" y="263524"/>
                  </a:cubicBezTo>
                  <a:close/>
                  <a:moveTo>
                    <a:pt x="1089360" y="256688"/>
                  </a:moveTo>
                  <a:lnTo>
                    <a:pt x="1089709" y="257027"/>
                  </a:lnTo>
                  <a:lnTo>
                    <a:pt x="1089303" y="256702"/>
                  </a:lnTo>
                  <a:close/>
                  <a:moveTo>
                    <a:pt x="796795" y="316"/>
                  </a:moveTo>
                  <a:cubicBezTo>
                    <a:pt x="800490" y="-252"/>
                    <a:pt x="803901" y="-252"/>
                    <a:pt x="807312" y="2022"/>
                  </a:cubicBezTo>
                  <a:cubicBezTo>
                    <a:pt x="809586" y="2022"/>
                    <a:pt x="816409" y="2022"/>
                    <a:pt x="818683" y="4296"/>
                  </a:cubicBezTo>
                  <a:cubicBezTo>
                    <a:pt x="823231" y="8844"/>
                    <a:pt x="827779" y="8844"/>
                    <a:pt x="832328" y="11118"/>
                  </a:cubicBezTo>
                  <a:cubicBezTo>
                    <a:pt x="832328" y="4296"/>
                    <a:pt x="850521" y="11118"/>
                    <a:pt x="850521" y="13392"/>
                  </a:cubicBezTo>
                  <a:cubicBezTo>
                    <a:pt x="848246" y="15665"/>
                    <a:pt x="857343" y="17939"/>
                    <a:pt x="859617" y="17939"/>
                  </a:cubicBezTo>
                  <a:cubicBezTo>
                    <a:pt x="861891" y="17939"/>
                    <a:pt x="859617" y="20213"/>
                    <a:pt x="861891" y="20213"/>
                  </a:cubicBezTo>
                  <a:cubicBezTo>
                    <a:pt x="864165" y="22487"/>
                    <a:pt x="866439" y="22487"/>
                    <a:pt x="868714" y="24761"/>
                  </a:cubicBezTo>
                  <a:cubicBezTo>
                    <a:pt x="870988" y="29309"/>
                    <a:pt x="877810" y="31583"/>
                    <a:pt x="880084" y="33857"/>
                  </a:cubicBezTo>
                  <a:cubicBezTo>
                    <a:pt x="882358" y="38405"/>
                    <a:pt x="884632" y="40679"/>
                    <a:pt x="886906" y="42953"/>
                  </a:cubicBezTo>
                  <a:cubicBezTo>
                    <a:pt x="889181" y="42953"/>
                    <a:pt x="891455" y="47500"/>
                    <a:pt x="896003" y="47500"/>
                  </a:cubicBezTo>
                  <a:cubicBezTo>
                    <a:pt x="900551" y="49774"/>
                    <a:pt x="902825" y="54322"/>
                    <a:pt x="905099" y="56596"/>
                  </a:cubicBezTo>
                  <a:cubicBezTo>
                    <a:pt x="909648" y="61144"/>
                    <a:pt x="911922" y="63418"/>
                    <a:pt x="916470" y="65692"/>
                  </a:cubicBezTo>
                  <a:cubicBezTo>
                    <a:pt x="918744" y="67966"/>
                    <a:pt x="921018" y="72514"/>
                    <a:pt x="923292" y="74788"/>
                  </a:cubicBezTo>
                  <a:cubicBezTo>
                    <a:pt x="925566" y="77062"/>
                    <a:pt x="927841" y="77062"/>
                    <a:pt x="930115" y="81609"/>
                  </a:cubicBezTo>
                  <a:cubicBezTo>
                    <a:pt x="932389" y="88431"/>
                    <a:pt x="943759" y="92979"/>
                    <a:pt x="950582" y="92979"/>
                  </a:cubicBezTo>
                  <a:cubicBezTo>
                    <a:pt x="955130" y="92979"/>
                    <a:pt x="959678" y="90705"/>
                    <a:pt x="961952" y="92979"/>
                  </a:cubicBezTo>
                  <a:cubicBezTo>
                    <a:pt x="966501" y="95253"/>
                    <a:pt x="971049" y="97527"/>
                    <a:pt x="975597" y="97527"/>
                  </a:cubicBezTo>
                  <a:cubicBezTo>
                    <a:pt x="971049" y="92979"/>
                    <a:pt x="980145" y="99801"/>
                    <a:pt x="982419" y="99801"/>
                  </a:cubicBezTo>
                  <a:cubicBezTo>
                    <a:pt x="986968" y="99801"/>
                    <a:pt x="991516" y="104349"/>
                    <a:pt x="993790" y="106623"/>
                  </a:cubicBezTo>
                  <a:cubicBezTo>
                    <a:pt x="998338" y="108896"/>
                    <a:pt x="1002887" y="106623"/>
                    <a:pt x="1007435" y="108896"/>
                  </a:cubicBezTo>
                  <a:cubicBezTo>
                    <a:pt x="1009709" y="111170"/>
                    <a:pt x="1007435" y="113444"/>
                    <a:pt x="1009709" y="115718"/>
                  </a:cubicBezTo>
                  <a:cubicBezTo>
                    <a:pt x="1009709" y="115718"/>
                    <a:pt x="1011983" y="117992"/>
                    <a:pt x="1014257" y="117992"/>
                  </a:cubicBezTo>
                  <a:cubicBezTo>
                    <a:pt x="1018805" y="120266"/>
                    <a:pt x="1018805" y="124814"/>
                    <a:pt x="1018805" y="127088"/>
                  </a:cubicBezTo>
                  <a:cubicBezTo>
                    <a:pt x="1021079" y="131636"/>
                    <a:pt x="1030176" y="136184"/>
                    <a:pt x="1032450" y="138458"/>
                  </a:cubicBezTo>
                  <a:cubicBezTo>
                    <a:pt x="1034724" y="138458"/>
                    <a:pt x="1036998" y="136184"/>
                    <a:pt x="1039272" y="136184"/>
                  </a:cubicBezTo>
                  <a:cubicBezTo>
                    <a:pt x="1041547" y="136184"/>
                    <a:pt x="1043821" y="138458"/>
                    <a:pt x="1046095" y="138458"/>
                  </a:cubicBezTo>
                  <a:cubicBezTo>
                    <a:pt x="1050643" y="138458"/>
                    <a:pt x="1062014" y="138458"/>
                    <a:pt x="1059739" y="133910"/>
                  </a:cubicBezTo>
                  <a:cubicBezTo>
                    <a:pt x="1059739" y="129362"/>
                    <a:pt x="1066562" y="127088"/>
                    <a:pt x="1068836" y="127088"/>
                  </a:cubicBezTo>
                  <a:cubicBezTo>
                    <a:pt x="1068836" y="127088"/>
                    <a:pt x="1073384" y="129362"/>
                    <a:pt x="1073384" y="127088"/>
                  </a:cubicBezTo>
                  <a:cubicBezTo>
                    <a:pt x="1073384" y="124814"/>
                    <a:pt x="1073384" y="124814"/>
                    <a:pt x="1075658" y="124814"/>
                  </a:cubicBezTo>
                  <a:cubicBezTo>
                    <a:pt x="1077932" y="124814"/>
                    <a:pt x="1082481" y="120266"/>
                    <a:pt x="1084755" y="120266"/>
                  </a:cubicBezTo>
                  <a:cubicBezTo>
                    <a:pt x="1087029" y="122540"/>
                    <a:pt x="1091577" y="122540"/>
                    <a:pt x="1093851" y="124814"/>
                  </a:cubicBezTo>
                  <a:cubicBezTo>
                    <a:pt x="1093851" y="127088"/>
                    <a:pt x="1093851" y="129362"/>
                    <a:pt x="1096125" y="131636"/>
                  </a:cubicBezTo>
                  <a:cubicBezTo>
                    <a:pt x="1098399" y="133910"/>
                    <a:pt x="1105222" y="136184"/>
                    <a:pt x="1102948" y="143005"/>
                  </a:cubicBezTo>
                  <a:cubicBezTo>
                    <a:pt x="1100674" y="143005"/>
                    <a:pt x="1098399" y="145279"/>
                    <a:pt x="1098399" y="145279"/>
                  </a:cubicBezTo>
                  <a:cubicBezTo>
                    <a:pt x="1096125" y="147553"/>
                    <a:pt x="1100674" y="149827"/>
                    <a:pt x="1100674" y="149827"/>
                  </a:cubicBezTo>
                  <a:cubicBezTo>
                    <a:pt x="1100674" y="152101"/>
                    <a:pt x="1100674" y="154375"/>
                    <a:pt x="1100674" y="154375"/>
                  </a:cubicBezTo>
                  <a:cubicBezTo>
                    <a:pt x="1100674" y="158923"/>
                    <a:pt x="1105222" y="161197"/>
                    <a:pt x="1105222" y="163471"/>
                  </a:cubicBezTo>
                  <a:cubicBezTo>
                    <a:pt x="1102948" y="168019"/>
                    <a:pt x="1112044" y="172566"/>
                    <a:pt x="1105222" y="174840"/>
                  </a:cubicBezTo>
                  <a:cubicBezTo>
                    <a:pt x="1109770" y="177114"/>
                    <a:pt x="1105222" y="177114"/>
                    <a:pt x="1105222" y="181662"/>
                  </a:cubicBezTo>
                  <a:cubicBezTo>
                    <a:pt x="1107496" y="183936"/>
                    <a:pt x="1109770" y="186210"/>
                    <a:pt x="1109770" y="188484"/>
                  </a:cubicBezTo>
                  <a:cubicBezTo>
                    <a:pt x="1107496" y="190758"/>
                    <a:pt x="1102948" y="188484"/>
                    <a:pt x="1107496" y="195306"/>
                  </a:cubicBezTo>
                  <a:cubicBezTo>
                    <a:pt x="1107496" y="195306"/>
                    <a:pt x="1107496" y="197580"/>
                    <a:pt x="1109770" y="199854"/>
                  </a:cubicBezTo>
                  <a:cubicBezTo>
                    <a:pt x="1109770" y="202127"/>
                    <a:pt x="1093851" y="197580"/>
                    <a:pt x="1091577" y="197580"/>
                  </a:cubicBezTo>
                  <a:cubicBezTo>
                    <a:pt x="1089303" y="197580"/>
                    <a:pt x="1082481" y="193032"/>
                    <a:pt x="1082481" y="195306"/>
                  </a:cubicBezTo>
                  <a:cubicBezTo>
                    <a:pt x="1080207" y="197580"/>
                    <a:pt x="1082481" y="199854"/>
                    <a:pt x="1080207" y="202127"/>
                  </a:cubicBezTo>
                  <a:cubicBezTo>
                    <a:pt x="1077932" y="202127"/>
                    <a:pt x="1073384" y="204401"/>
                    <a:pt x="1073384" y="204401"/>
                  </a:cubicBezTo>
                  <a:cubicBezTo>
                    <a:pt x="1071110" y="206675"/>
                    <a:pt x="1077932" y="208949"/>
                    <a:pt x="1077932" y="211223"/>
                  </a:cubicBezTo>
                  <a:cubicBezTo>
                    <a:pt x="1082481" y="215771"/>
                    <a:pt x="1087029" y="222593"/>
                    <a:pt x="1091577" y="231689"/>
                  </a:cubicBezTo>
                  <a:cubicBezTo>
                    <a:pt x="1093851" y="238510"/>
                    <a:pt x="1100674" y="240784"/>
                    <a:pt x="1100674" y="249880"/>
                  </a:cubicBezTo>
                  <a:cubicBezTo>
                    <a:pt x="1100674" y="252154"/>
                    <a:pt x="1102948" y="254428"/>
                    <a:pt x="1098399" y="254428"/>
                  </a:cubicBezTo>
                  <a:lnTo>
                    <a:pt x="1089360" y="256688"/>
                  </a:lnTo>
                  <a:lnTo>
                    <a:pt x="1087029" y="254428"/>
                  </a:lnTo>
                  <a:cubicBezTo>
                    <a:pt x="1082481" y="252154"/>
                    <a:pt x="1080207" y="249880"/>
                    <a:pt x="1075658" y="249880"/>
                  </a:cubicBezTo>
                  <a:cubicBezTo>
                    <a:pt x="1077932" y="254428"/>
                    <a:pt x="1080207" y="261250"/>
                    <a:pt x="1080207" y="263524"/>
                  </a:cubicBezTo>
                  <a:cubicBezTo>
                    <a:pt x="1077932" y="265797"/>
                    <a:pt x="1073384" y="263524"/>
                    <a:pt x="1073384" y="265797"/>
                  </a:cubicBezTo>
                  <a:cubicBezTo>
                    <a:pt x="1068836" y="268071"/>
                    <a:pt x="1075658" y="272619"/>
                    <a:pt x="1068836" y="272619"/>
                  </a:cubicBezTo>
                  <a:cubicBezTo>
                    <a:pt x="1064288" y="274893"/>
                    <a:pt x="1057465" y="272619"/>
                    <a:pt x="1052917" y="274893"/>
                  </a:cubicBezTo>
                  <a:cubicBezTo>
                    <a:pt x="1055191" y="277167"/>
                    <a:pt x="1066562" y="281715"/>
                    <a:pt x="1064288" y="286263"/>
                  </a:cubicBezTo>
                  <a:cubicBezTo>
                    <a:pt x="1064288" y="290811"/>
                    <a:pt x="1052917" y="288537"/>
                    <a:pt x="1050643" y="288537"/>
                  </a:cubicBezTo>
                  <a:cubicBezTo>
                    <a:pt x="1046095" y="286263"/>
                    <a:pt x="1043821" y="286263"/>
                    <a:pt x="1041547" y="286263"/>
                  </a:cubicBezTo>
                  <a:cubicBezTo>
                    <a:pt x="1039272" y="283989"/>
                    <a:pt x="1036998" y="279441"/>
                    <a:pt x="1034724" y="279441"/>
                  </a:cubicBezTo>
                  <a:cubicBezTo>
                    <a:pt x="1032450" y="279441"/>
                    <a:pt x="1032450" y="281715"/>
                    <a:pt x="1030176" y="281715"/>
                  </a:cubicBezTo>
                  <a:cubicBezTo>
                    <a:pt x="1030176" y="286263"/>
                    <a:pt x="1030176" y="288537"/>
                    <a:pt x="1027902" y="293085"/>
                  </a:cubicBezTo>
                  <a:cubicBezTo>
                    <a:pt x="1027902" y="295358"/>
                    <a:pt x="1027902" y="299906"/>
                    <a:pt x="1025628" y="299906"/>
                  </a:cubicBezTo>
                  <a:cubicBezTo>
                    <a:pt x="1025628" y="299906"/>
                    <a:pt x="1021079" y="302180"/>
                    <a:pt x="1021079" y="302180"/>
                  </a:cubicBezTo>
                  <a:cubicBezTo>
                    <a:pt x="1021079" y="304454"/>
                    <a:pt x="1018805" y="304454"/>
                    <a:pt x="1018805" y="306728"/>
                  </a:cubicBezTo>
                  <a:cubicBezTo>
                    <a:pt x="1016531" y="306728"/>
                    <a:pt x="1016531" y="306728"/>
                    <a:pt x="1014257" y="306728"/>
                  </a:cubicBezTo>
                  <a:cubicBezTo>
                    <a:pt x="1014257" y="309002"/>
                    <a:pt x="1011983" y="311276"/>
                    <a:pt x="1011983" y="311276"/>
                  </a:cubicBezTo>
                  <a:cubicBezTo>
                    <a:pt x="1007435" y="313550"/>
                    <a:pt x="1002887" y="318098"/>
                    <a:pt x="1002887" y="322646"/>
                  </a:cubicBezTo>
                  <a:cubicBezTo>
                    <a:pt x="1002887" y="329467"/>
                    <a:pt x="996064" y="329467"/>
                    <a:pt x="991516" y="324920"/>
                  </a:cubicBezTo>
                  <a:cubicBezTo>
                    <a:pt x="991516" y="327193"/>
                    <a:pt x="986968" y="327193"/>
                    <a:pt x="986968" y="327193"/>
                  </a:cubicBezTo>
                  <a:cubicBezTo>
                    <a:pt x="986968" y="329467"/>
                    <a:pt x="984694" y="329467"/>
                    <a:pt x="982419" y="331741"/>
                  </a:cubicBezTo>
                  <a:cubicBezTo>
                    <a:pt x="980145" y="331741"/>
                    <a:pt x="977871" y="334015"/>
                    <a:pt x="973323" y="336289"/>
                  </a:cubicBezTo>
                  <a:cubicBezTo>
                    <a:pt x="971049" y="338563"/>
                    <a:pt x="968775" y="338563"/>
                    <a:pt x="968775" y="343111"/>
                  </a:cubicBezTo>
                  <a:cubicBezTo>
                    <a:pt x="968775" y="345385"/>
                    <a:pt x="966501" y="345385"/>
                    <a:pt x="966501" y="347659"/>
                  </a:cubicBezTo>
                  <a:cubicBezTo>
                    <a:pt x="966501" y="347659"/>
                    <a:pt x="964227" y="347659"/>
                    <a:pt x="961952" y="347659"/>
                  </a:cubicBezTo>
                  <a:cubicBezTo>
                    <a:pt x="964227" y="349933"/>
                    <a:pt x="955130" y="356755"/>
                    <a:pt x="952856" y="349933"/>
                  </a:cubicBezTo>
                  <a:cubicBezTo>
                    <a:pt x="952856" y="345385"/>
                    <a:pt x="959678" y="345385"/>
                    <a:pt x="959678" y="345385"/>
                  </a:cubicBezTo>
                  <a:cubicBezTo>
                    <a:pt x="961952" y="343111"/>
                    <a:pt x="959678" y="343111"/>
                    <a:pt x="959678" y="340837"/>
                  </a:cubicBezTo>
                  <a:cubicBezTo>
                    <a:pt x="959678" y="338563"/>
                    <a:pt x="961952" y="338563"/>
                    <a:pt x="961952" y="336289"/>
                  </a:cubicBezTo>
                  <a:cubicBezTo>
                    <a:pt x="957404" y="338563"/>
                    <a:pt x="952856" y="336289"/>
                    <a:pt x="948308" y="334015"/>
                  </a:cubicBezTo>
                  <a:cubicBezTo>
                    <a:pt x="948308" y="334015"/>
                    <a:pt x="950582" y="331741"/>
                    <a:pt x="952856" y="331741"/>
                  </a:cubicBezTo>
                  <a:cubicBezTo>
                    <a:pt x="948308" y="327193"/>
                    <a:pt x="950582" y="327193"/>
                    <a:pt x="955130" y="322646"/>
                  </a:cubicBezTo>
                  <a:cubicBezTo>
                    <a:pt x="957404" y="320372"/>
                    <a:pt x="957404" y="315824"/>
                    <a:pt x="957404" y="313550"/>
                  </a:cubicBezTo>
                  <a:cubicBezTo>
                    <a:pt x="957404" y="304454"/>
                    <a:pt x="943759" y="306728"/>
                    <a:pt x="943759" y="297632"/>
                  </a:cubicBezTo>
                  <a:cubicBezTo>
                    <a:pt x="943759" y="304454"/>
                    <a:pt x="939211" y="302180"/>
                    <a:pt x="936937" y="299906"/>
                  </a:cubicBezTo>
                  <a:cubicBezTo>
                    <a:pt x="932389" y="299906"/>
                    <a:pt x="925566" y="302180"/>
                    <a:pt x="930115" y="304454"/>
                  </a:cubicBezTo>
                  <a:cubicBezTo>
                    <a:pt x="925566" y="306728"/>
                    <a:pt x="923292" y="311276"/>
                    <a:pt x="925566" y="315824"/>
                  </a:cubicBezTo>
                  <a:cubicBezTo>
                    <a:pt x="925566" y="318098"/>
                    <a:pt x="916470" y="322646"/>
                    <a:pt x="914196" y="324920"/>
                  </a:cubicBezTo>
                  <a:cubicBezTo>
                    <a:pt x="911922" y="324920"/>
                    <a:pt x="909648" y="327193"/>
                    <a:pt x="907374" y="329467"/>
                  </a:cubicBezTo>
                  <a:cubicBezTo>
                    <a:pt x="907374" y="331741"/>
                    <a:pt x="909648" y="334015"/>
                    <a:pt x="909648" y="336289"/>
                  </a:cubicBezTo>
                  <a:cubicBezTo>
                    <a:pt x="907374" y="343111"/>
                    <a:pt x="900551" y="340837"/>
                    <a:pt x="896003" y="345385"/>
                  </a:cubicBezTo>
                  <a:cubicBezTo>
                    <a:pt x="893729" y="347659"/>
                    <a:pt x="889181" y="340837"/>
                    <a:pt x="884632" y="343111"/>
                  </a:cubicBezTo>
                  <a:cubicBezTo>
                    <a:pt x="880084" y="343111"/>
                    <a:pt x="882358" y="352207"/>
                    <a:pt x="884632" y="356755"/>
                  </a:cubicBezTo>
                  <a:cubicBezTo>
                    <a:pt x="886906" y="361302"/>
                    <a:pt x="893729" y="363576"/>
                    <a:pt x="898277" y="368124"/>
                  </a:cubicBezTo>
                  <a:cubicBezTo>
                    <a:pt x="898277" y="368124"/>
                    <a:pt x="902825" y="368124"/>
                    <a:pt x="905099" y="368124"/>
                  </a:cubicBezTo>
                  <a:cubicBezTo>
                    <a:pt x="907374" y="365850"/>
                    <a:pt x="907374" y="370398"/>
                    <a:pt x="909648" y="370398"/>
                  </a:cubicBezTo>
                  <a:cubicBezTo>
                    <a:pt x="911922" y="370398"/>
                    <a:pt x="911922" y="368124"/>
                    <a:pt x="909648" y="368124"/>
                  </a:cubicBezTo>
                  <a:cubicBezTo>
                    <a:pt x="914196" y="368124"/>
                    <a:pt x="921018" y="370398"/>
                    <a:pt x="923292" y="374946"/>
                  </a:cubicBezTo>
                  <a:cubicBezTo>
                    <a:pt x="925566" y="379494"/>
                    <a:pt x="921018" y="384042"/>
                    <a:pt x="927841" y="388589"/>
                  </a:cubicBezTo>
                  <a:cubicBezTo>
                    <a:pt x="930115" y="390863"/>
                    <a:pt x="934663" y="393137"/>
                    <a:pt x="939211" y="390863"/>
                  </a:cubicBezTo>
                  <a:cubicBezTo>
                    <a:pt x="941485" y="390863"/>
                    <a:pt x="946034" y="388589"/>
                    <a:pt x="943759" y="386316"/>
                  </a:cubicBezTo>
                  <a:cubicBezTo>
                    <a:pt x="943759" y="386316"/>
                    <a:pt x="952856" y="379494"/>
                    <a:pt x="946034" y="379494"/>
                  </a:cubicBezTo>
                  <a:cubicBezTo>
                    <a:pt x="950582" y="379494"/>
                    <a:pt x="952856" y="377220"/>
                    <a:pt x="955130" y="374946"/>
                  </a:cubicBezTo>
                  <a:cubicBezTo>
                    <a:pt x="959678" y="374946"/>
                    <a:pt x="964227" y="377220"/>
                    <a:pt x="966501" y="379494"/>
                  </a:cubicBezTo>
                  <a:cubicBezTo>
                    <a:pt x="966501" y="381768"/>
                    <a:pt x="968775" y="381768"/>
                    <a:pt x="971049" y="381768"/>
                  </a:cubicBezTo>
                  <a:cubicBezTo>
                    <a:pt x="971049" y="379494"/>
                    <a:pt x="973323" y="381768"/>
                    <a:pt x="973323" y="384042"/>
                  </a:cubicBezTo>
                  <a:cubicBezTo>
                    <a:pt x="975597" y="386316"/>
                    <a:pt x="982419" y="381768"/>
                    <a:pt x="984694" y="384042"/>
                  </a:cubicBezTo>
                  <a:cubicBezTo>
                    <a:pt x="984694" y="384042"/>
                    <a:pt x="984694" y="384042"/>
                    <a:pt x="984694" y="381768"/>
                  </a:cubicBezTo>
                  <a:cubicBezTo>
                    <a:pt x="989242" y="386316"/>
                    <a:pt x="996064" y="384042"/>
                    <a:pt x="998338" y="386316"/>
                  </a:cubicBezTo>
                  <a:cubicBezTo>
                    <a:pt x="996064" y="388589"/>
                    <a:pt x="996064" y="388589"/>
                    <a:pt x="996064" y="388589"/>
                  </a:cubicBezTo>
                  <a:cubicBezTo>
                    <a:pt x="1000612" y="390863"/>
                    <a:pt x="993790" y="393137"/>
                    <a:pt x="998338" y="395411"/>
                  </a:cubicBezTo>
                  <a:cubicBezTo>
                    <a:pt x="1000612" y="395411"/>
                    <a:pt x="1000612" y="397685"/>
                    <a:pt x="998338" y="399959"/>
                  </a:cubicBezTo>
                  <a:cubicBezTo>
                    <a:pt x="993790" y="399959"/>
                    <a:pt x="993790" y="397685"/>
                    <a:pt x="993790" y="395411"/>
                  </a:cubicBezTo>
                  <a:cubicBezTo>
                    <a:pt x="991516" y="395411"/>
                    <a:pt x="991516" y="397685"/>
                    <a:pt x="991516" y="397685"/>
                  </a:cubicBezTo>
                  <a:cubicBezTo>
                    <a:pt x="991516" y="395411"/>
                    <a:pt x="989242" y="395411"/>
                    <a:pt x="986968" y="397685"/>
                  </a:cubicBezTo>
                  <a:cubicBezTo>
                    <a:pt x="986968" y="397685"/>
                    <a:pt x="977871" y="404507"/>
                    <a:pt x="982419" y="399959"/>
                  </a:cubicBezTo>
                  <a:cubicBezTo>
                    <a:pt x="980145" y="399959"/>
                    <a:pt x="975597" y="404507"/>
                    <a:pt x="973323" y="404507"/>
                  </a:cubicBezTo>
                  <a:cubicBezTo>
                    <a:pt x="971049" y="404507"/>
                    <a:pt x="968775" y="402233"/>
                    <a:pt x="968775" y="406781"/>
                  </a:cubicBezTo>
                  <a:cubicBezTo>
                    <a:pt x="971049" y="404507"/>
                    <a:pt x="973323" y="406781"/>
                    <a:pt x="973323" y="411329"/>
                  </a:cubicBezTo>
                  <a:cubicBezTo>
                    <a:pt x="971049" y="409055"/>
                    <a:pt x="968775" y="409055"/>
                    <a:pt x="968775" y="411329"/>
                  </a:cubicBezTo>
                  <a:cubicBezTo>
                    <a:pt x="968775" y="413603"/>
                    <a:pt x="971049" y="413603"/>
                    <a:pt x="971049" y="415877"/>
                  </a:cubicBezTo>
                  <a:cubicBezTo>
                    <a:pt x="971049" y="418151"/>
                    <a:pt x="966501" y="418151"/>
                    <a:pt x="966501" y="418151"/>
                  </a:cubicBezTo>
                  <a:cubicBezTo>
                    <a:pt x="964227" y="418151"/>
                    <a:pt x="964227" y="413603"/>
                    <a:pt x="961952" y="413603"/>
                  </a:cubicBezTo>
                  <a:cubicBezTo>
                    <a:pt x="964227" y="418151"/>
                    <a:pt x="961952" y="413603"/>
                    <a:pt x="959678" y="413603"/>
                  </a:cubicBezTo>
                  <a:cubicBezTo>
                    <a:pt x="959678" y="415877"/>
                    <a:pt x="961952" y="420424"/>
                    <a:pt x="964227" y="420424"/>
                  </a:cubicBezTo>
                  <a:cubicBezTo>
                    <a:pt x="959678" y="420424"/>
                    <a:pt x="961952" y="431794"/>
                    <a:pt x="955130" y="429520"/>
                  </a:cubicBezTo>
                  <a:cubicBezTo>
                    <a:pt x="955130" y="431794"/>
                    <a:pt x="955130" y="438616"/>
                    <a:pt x="952856" y="440890"/>
                  </a:cubicBezTo>
                  <a:cubicBezTo>
                    <a:pt x="950582" y="445438"/>
                    <a:pt x="952856" y="447712"/>
                    <a:pt x="955130" y="452259"/>
                  </a:cubicBezTo>
                  <a:cubicBezTo>
                    <a:pt x="957404" y="447712"/>
                    <a:pt x="961952" y="452259"/>
                    <a:pt x="964227" y="454533"/>
                  </a:cubicBezTo>
                  <a:cubicBezTo>
                    <a:pt x="968775" y="456807"/>
                    <a:pt x="973323" y="459081"/>
                    <a:pt x="980145" y="461355"/>
                  </a:cubicBezTo>
                  <a:cubicBezTo>
                    <a:pt x="982419" y="463629"/>
                    <a:pt x="984694" y="468177"/>
                    <a:pt x="986968" y="472725"/>
                  </a:cubicBezTo>
                  <a:cubicBezTo>
                    <a:pt x="991516" y="477273"/>
                    <a:pt x="993790" y="484094"/>
                    <a:pt x="998338" y="488642"/>
                  </a:cubicBezTo>
                  <a:cubicBezTo>
                    <a:pt x="1002887" y="490916"/>
                    <a:pt x="1005161" y="495464"/>
                    <a:pt x="1005161" y="500012"/>
                  </a:cubicBezTo>
                  <a:cubicBezTo>
                    <a:pt x="1005161" y="504560"/>
                    <a:pt x="1014257" y="504560"/>
                    <a:pt x="1016531" y="506834"/>
                  </a:cubicBezTo>
                  <a:cubicBezTo>
                    <a:pt x="1021079" y="509108"/>
                    <a:pt x="1018805" y="509108"/>
                    <a:pt x="1021079" y="511382"/>
                  </a:cubicBezTo>
                  <a:cubicBezTo>
                    <a:pt x="1021079" y="513655"/>
                    <a:pt x="1023354" y="513655"/>
                    <a:pt x="1025628" y="515929"/>
                  </a:cubicBezTo>
                  <a:cubicBezTo>
                    <a:pt x="1027902" y="515929"/>
                    <a:pt x="1034724" y="520477"/>
                    <a:pt x="1034724" y="525025"/>
                  </a:cubicBezTo>
                  <a:cubicBezTo>
                    <a:pt x="1030176" y="522751"/>
                    <a:pt x="1023354" y="518203"/>
                    <a:pt x="1018805" y="520477"/>
                  </a:cubicBezTo>
                  <a:cubicBezTo>
                    <a:pt x="1014257" y="522751"/>
                    <a:pt x="1014257" y="518203"/>
                    <a:pt x="1007435" y="515929"/>
                  </a:cubicBezTo>
                  <a:lnTo>
                    <a:pt x="1005540" y="516308"/>
                  </a:lnTo>
                  <a:lnTo>
                    <a:pt x="1005161" y="515929"/>
                  </a:lnTo>
                  <a:lnTo>
                    <a:pt x="1003645" y="516687"/>
                  </a:lnTo>
                  <a:lnTo>
                    <a:pt x="1001750" y="517066"/>
                  </a:lnTo>
                  <a:lnTo>
                    <a:pt x="997442" y="517928"/>
                  </a:lnTo>
                  <a:lnTo>
                    <a:pt x="995382" y="517748"/>
                  </a:lnTo>
                  <a:lnTo>
                    <a:pt x="989242" y="513655"/>
                  </a:lnTo>
                  <a:cubicBezTo>
                    <a:pt x="991516" y="514792"/>
                    <a:pt x="991516" y="513655"/>
                    <a:pt x="990379" y="512518"/>
                  </a:cubicBezTo>
                  <a:lnTo>
                    <a:pt x="988406" y="512124"/>
                  </a:lnTo>
                  <a:lnTo>
                    <a:pt x="987536" y="510529"/>
                  </a:lnTo>
                  <a:cubicBezTo>
                    <a:pt x="986399" y="510245"/>
                    <a:pt x="984693" y="510245"/>
                    <a:pt x="982419" y="509108"/>
                  </a:cubicBezTo>
                  <a:cubicBezTo>
                    <a:pt x="984694" y="509108"/>
                    <a:pt x="984694" y="511382"/>
                    <a:pt x="984694" y="513655"/>
                  </a:cubicBezTo>
                  <a:cubicBezTo>
                    <a:pt x="984694" y="511382"/>
                    <a:pt x="986968" y="511382"/>
                    <a:pt x="986968" y="513655"/>
                  </a:cubicBezTo>
                  <a:cubicBezTo>
                    <a:pt x="984694" y="511382"/>
                    <a:pt x="984694" y="511382"/>
                    <a:pt x="984694" y="511382"/>
                  </a:cubicBezTo>
                  <a:lnTo>
                    <a:pt x="988406" y="512124"/>
                  </a:lnTo>
                  <a:lnTo>
                    <a:pt x="989242" y="513655"/>
                  </a:lnTo>
                  <a:cubicBezTo>
                    <a:pt x="990379" y="514792"/>
                    <a:pt x="992084" y="516498"/>
                    <a:pt x="994074" y="517635"/>
                  </a:cubicBezTo>
                  <a:lnTo>
                    <a:pt x="995382" y="517748"/>
                  </a:lnTo>
                  <a:lnTo>
                    <a:pt x="996064" y="518203"/>
                  </a:lnTo>
                  <a:lnTo>
                    <a:pt x="997442" y="517928"/>
                  </a:lnTo>
                  <a:lnTo>
                    <a:pt x="1000612" y="518203"/>
                  </a:lnTo>
                  <a:lnTo>
                    <a:pt x="1003645" y="516687"/>
                  </a:lnTo>
                  <a:lnTo>
                    <a:pt x="1005540" y="516308"/>
                  </a:lnTo>
                  <a:lnTo>
                    <a:pt x="1009709" y="520477"/>
                  </a:lnTo>
                  <a:cubicBezTo>
                    <a:pt x="1011983" y="520477"/>
                    <a:pt x="1009709" y="522751"/>
                    <a:pt x="1011983" y="522751"/>
                  </a:cubicBezTo>
                  <a:cubicBezTo>
                    <a:pt x="1014257" y="522751"/>
                    <a:pt x="1016531" y="522751"/>
                    <a:pt x="1018805" y="525025"/>
                  </a:cubicBezTo>
                  <a:cubicBezTo>
                    <a:pt x="1023354" y="527299"/>
                    <a:pt x="1027902" y="531847"/>
                    <a:pt x="1032450" y="534121"/>
                  </a:cubicBezTo>
                  <a:cubicBezTo>
                    <a:pt x="1034724" y="534121"/>
                    <a:pt x="1041547" y="540943"/>
                    <a:pt x="1041547" y="543217"/>
                  </a:cubicBezTo>
                  <a:cubicBezTo>
                    <a:pt x="1041547" y="545490"/>
                    <a:pt x="1036998" y="545490"/>
                    <a:pt x="1036998" y="545490"/>
                  </a:cubicBezTo>
                  <a:cubicBezTo>
                    <a:pt x="1032450" y="545490"/>
                    <a:pt x="1032450" y="547764"/>
                    <a:pt x="1030176" y="550038"/>
                  </a:cubicBezTo>
                  <a:cubicBezTo>
                    <a:pt x="1027902" y="552312"/>
                    <a:pt x="1025628" y="552312"/>
                    <a:pt x="1025628" y="554586"/>
                  </a:cubicBezTo>
                  <a:cubicBezTo>
                    <a:pt x="1025628" y="554586"/>
                    <a:pt x="1025628" y="556860"/>
                    <a:pt x="1023354" y="556860"/>
                  </a:cubicBezTo>
                  <a:cubicBezTo>
                    <a:pt x="1022217" y="557997"/>
                    <a:pt x="1021079" y="557429"/>
                    <a:pt x="1019942" y="556860"/>
                  </a:cubicBezTo>
                  <a:lnTo>
                    <a:pt x="1018805" y="556860"/>
                  </a:lnTo>
                  <a:lnTo>
                    <a:pt x="1016531" y="556860"/>
                  </a:lnTo>
                  <a:cubicBezTo>
                    <a:pt x="1014257" y="556860"/>
                    <a:pt x="1011983" y="559134"/>
                    <a:pt x="1009709" y="561408"/>
                  </a:cubicBezTo>
                  <a:cubicBezTo>
                    <a:pt x="1011983" y="561408"/>
                    <a:pt x="1016531" y="556860"/>
                    <a:pt x="1018805" y="556860"/>
                  </a:cubicBezTo>
                  <a:lnTo>
                    <a:pt x="1024978" y="563032"/>
                  </a:lnTo>
                  <a:lnTo>
                    <a:pt x="1023354" y="563682"/>
                  </a:lnTo>
                  <a:cubicBezTo>
                    <a:pt x="1023354" y="563682"/>
                    <a:pt x="1023354" y="563682"/>
                    <a:pt x="1025628" y="563682"/>
                  </a:cubicBezTo>
                  <a:lnTo>
                    <a:pt x="1024978" y="563032"/>
                  </a:lnTo>
                  <a:lnTo>
                    <a:pt x="1034724" y="559134"/>
                  </a:lnTo>
                  <a:cubicBezTo>
                    <a:pt x="1036998" y="561408"/>
                    <a:pt x="1039272" y="563682"/>
                    <a:pt x="1041547" y="565956"/>
                  </a:cubicBezTo>
                  <a:cubicBezTo>
                    <a:pt x="1043821" y="568230"/>
                    <a:pt x="1050643" y="568230"/>
                    <a:pt x="1052917" y="568230"/>
                  </a:cubicBezTo>
                  <a:cubicBezTo>
                    <a:pt x="1050643" y="570504"/>
                    <a:pt x="1050643" y="572778"/>
                    <a:pt x="1048369" y="575051"/>
                  </a:cubicBezTo>
                  <a:cubicBezTo>
                    <a:pt x="1048369" y="575051"/>
                    <a:pt x="1048369" y="575051"/>
                    <a:pt x="1046095" y="577325"/>
                  </a:cubicBezTo>
                  <a:cubicBezTo>
                    <a:pt x="1046095" y="577325"/>
                    <a:pt x="1043821" y="577325"/>
                    <a:pt x="1041547" y="579599"/>
                  </a:cubicBezTo>
                  <a:cubicBezTo>
                    <a:pt x="1043821" y="579599"/>
                    <a:pt x="1043821" y="579599"/>
                    <a:pt x="1043821" y="579599"/>
                  </a:cubicBezTo>
                  <a:cubicBezTo>
                    <a:pt x="1046095" y="579599"/>
                    <a:pt x="1048369" y="577325"/>
                    <a:pt x="1050643" y="577325"/>
                  </a:cubicBezTo>
                  <a:cubicBezTo>
                    <a:pt x="1048369" y="577325"/>
                    <a:pt x="1048369" y="575051"/>
                    <a:pt x="1050643" y="575051"/>
                  </a:cubicBezTo>
                  <a:cubicBezTo>
                    <a:pt x="1052917" y="577325"/>
                    <a:pt x="1050643" y="579599"/>
                    <a:pt x="1052917" y="581873"/>
                  </a:cubicBezTo>
                  <a:cubicBezTo>
                    <a:pt x="1052917" y="581873"/>
                    <a:pt x="1055191" y="588695"/>
                    <a:pt x="1052917" y="586421"/>
                  </a:cubicBezTo>
                  <a:cubicBezTo>
                    <a:pt x="1050643" y="584147"/>
                    <a:pt x="1050643" y="581873"/>
                    <a:pt x="1050643" y="581873"/>
                  </a:cubicBezTo>
                  <a:cubicBezTo>
                    <a:pt x="1050643" y="581873"/>
                    <a:pt x="1050643" y="584147"/>
                    <a:pt x="1050643" y="586421"/>
                  </a:cubicBezTo>
                  <a:cubicBezTo>
                    <a:pt x="1048369" y="586421"/>
                    <a:pt x="1048369" y="584147"/>
                    <a:pt x="1048369" y="584147"/>
                  </a:cubicBezTo>
                  <a:cubicBezTo>
                    <a:pt x="1048369" y="586421"/>
                    <a:pt x="1046095" y="584147"/>
                    <a:pt x="1046095" y="584147"/>
                  </a:cubicBezTo>
                  <a:cubicBezTo>
                    <a:pt x="1046095" y="584147"/>
                    <a:pt x="1046095" y="586421"/>
                    <a:pt x="1043821" y="588695"/>
                  </a:cubicBezTo>
                  <a:cubicBezTo>
                    <a:pt x="1046095" y="586421"/>
                    <a:pt x="1050643" y="590969"/>
                    <a:pt x="1050643" y="593243"/>
                  </a:cubicBezTo>
                  <a:cubicBezTo>
                    <a:pt x="1050643" y="590969"/>
                    <a:pt x="1048369" y="590969"/>
                    <a:pt x="1048369" y="593243"/>
                  </a:cubicBezTo>
                  <a:cubicBezTo>
                    <a:pt x="1050643" y="593243"/>
                    <a:pt x="1052917" y="595517"/>
                    <a:pt x="1050643" y="597791"/>
                  </a:cubicBezTo>
                  <a:cubicBezTo>
                    <a:pt x="1048369" y="600065"/>
                    <a:pt x="1043821" y="595517"/>
                    <a:pt x="1041547" y="595517"/>
                  </a:cubicBezTo>
                  <a:cubicBezTo>
                    <a:pt x="1041547" y="595517"/>
                    <a:pt x="1043821" y="597791"/>
                    <a:pt x="1043821" y="597791"/>
                  </a:cubicBezTo>
                  <a:cubicBezTo>
                    <a:pt x="1046095" y="600065"/>
                    <a:pt x="1048369" y="597791"/>
                    <a:pt x="1050643" y="600065"/>
                  </a:cubicBezTo>
                  <a:cubicBezTo>
                    <a:pt x="1050643" y="602339"/>
                    <a:pt x="1055191" y="604613"/>
                    <a:pt x="1052917" y="606886"/>
                  </a:cubicBezTo>
                  <a:cubicBezTo>
                    <a:pt x="1050643" y="609160"/>
                    <a:pt x="1048369" y="609160"/>
                    <a:pt x="1050643" y="611434"/>
                  </a:cubicBezTo>
                  <a:cubicBezTo>
                    <a:pt x="1046095" y="609160"/>
                    <a:pt x="1046095" y="606886"/>
                    <a:pt x="1043821" y="604613"/>
                  </a:cubicBezTo>
                  <a:cubicBezTo>
                    <a:pt x="1043821" y="606886"/>
                    <a:pt x="1043821" y="606886"/>
                    <a:pt x="1041547" y="606886"/>
                  </a:cubicBezTo>
                  <a:cubicBezTo>
                    <a:pt x="1043821" y="608023"/>
                    <a:pt x="1043252" y="611434"/>
                    <a:pt x="1041262" y="613424"/>
                  </a:cubicBezTo>
                  <a:lnTo>
                    <a:pt x="1037537" y="614825"/>
                  </a:lnTo>
                  <a:lnTo>
                    <a:pt x="1032450" y="611434"/>
                  </a:lnTo>
                  <a:cubicBezTo>
                    <a:pt x="1034156" y="613708"/>
                    <a:pt x="1035861" y="614703"/>
                    <a:pt x="1037389" y="614881"/>
                  </a:cubicBezTo>
                  <a:lnTo>
                    <a:pt x="1037537" y="614825"/>
                  </a:lnTo>
                  <a:lnTo>
                    <a:pt x="1037567" y="614845"/>
                  </a:lnTo>
                  <a:cubicBezTo>
                    <a:pt x="1039272" y="615414"/>
                    <a:pt x="1040409" y="615982"/>
                    <a:pt x="1039272" y="618256"/>
                  </a:cubicBezTo>
                  <a:cubicBezTo>
                    <a:pt x="1039272" y="620530"/>
                    <a:pt x="1036998" y="627352"/>
                    <a:pt x="1039272" y="627352"/>
                  </a:cubicBezTo>
                  <a:cubicBezTo>
                    <a:pt x="1036998" y="629626"/>
                    <a:pt x="1036998" y="629626"/>
                    <a:pt x="1036998" y="631900"/>
                  </a:cubicBezTo>
                  <a:cubicBezTo>
                    <a:pt x="1039272" y="636448"/>
                    <a:pt x="1034724" y="631900"/>
                    <a:pt x="1036998" y="634174"/>
                  </a:cubicBezTo>
                  <a:cubicBezTo>
                    <a:pt x="1034724" y="634174"/>
                    <a:pt x="1034724" y="631900"/>
                    <a:pt x="1032450" y="631900"/>
                  </a:cubicBezTo>
                  <a:cubicBezTo>
                    <a:pt x="1032450" y="631900"/>
                    <a:pt x="1039272" y="638722"/>
                    <a:pt x="1032450" y="636448"/>
                  </a:cubicBezTo>
                  <a:cubicBezTo>
                    <a:pt x="1034724" y="638722"/>
                    <a:pt x="1032450" y="640995"/>
                    <a:pt x="1030176" y="640995"/>
                  </a:cubicBezTo>
                  <a:cubicBezTo>
                    <a:pt x="1032450" y="645543"/>
                    <a:pt x="1034724" y="652365"/>
                    <a:pt x="1027902" y="650091"/>
                  </a:cubicBezTo>
                  <a:cubicBezTo>
                    <a:pt x="1030176" y="650091"/>
                    <a:pt x="1030176" y="647817"/>
                    <a:pt x="1030176" y="645543"/>
                  </a:cubicBezTo>
                  <a:cubicBezTo>
                    <a:pt x="1027902" y="645543"/>
                    <a:pt x="1027902" y="645543"/>
                    <a:pt x="1027902" y="647817"/>
                  </a:cubicBezTo>
                  <a:cubicBezTo>
                    <a:pt x="1025628" y="645543"/>
                    <a:pt x="1025628" y="645543"/>
                    <a:pt x="1025628" y="643269"/>
                  </a:cubicBezTo>
                  <a:cubicBezTo>
                    <a:pt x="1023354" y="645543"/>
                    <a:pt x="1023354" y="645543"/>
                    <a:pt x="1021079" y="645543"/>
                  </a:cubicBezTo>
                  <a:cubicBezTo>
                    <a:pt x="1021079" y="645543"/>
                    <a:pt x="1021079" y="647817"/>
                    <a:pt x="1021079" y="650091"/>
                  </a:cubicBezTo>
                  <a:cubicBezTo>
                    <a:pt x="1025628" y="647817"/>
                    <a:pt x="1030176" y="652365"/>
                    <a:pt x="1023354" y="652365"/>
                  </a:cubicBezTo>
                  <a:cubicBezTo>
                    <a:pt x="1025628" y="654639"/>
                    <a:pt x="1027902" y="656913"/>
                    <a:pt x="1027902" y="654639"/>
                  </a:cubicBezTo>
                  <a:cubicBezTo>
                    <a:pt x="1030176" y="656913"/>
                    <a:pt x="1027902" y="656913"/>
                    <a:pt x="1025628" y="656913"/>
                  </a:cubicBezTo>
                  <a:cubicBezTo>
                    <a:pt x="1025628" y="659187"/>
                    <a:pt x="1023354" y="661461"/>
                    <a:pt x="1023354" y="663735"/>
                  </a:cubicBezTo>
                  <a:cubicBezTo>
                    <a:pt x="1021079" y="661461"/>
                    <a:pt x="1016531" y="661461"/>
                    <a:pt x="1014257" y="659187"/>
                  </a:cubicBezTo>
                  <a:lnTo>
                    <a:pt x="1017033" y="661962"/>
                  </a:lnTo>
                  <a:lnTo>
                    <a:pt x="1021079" y="666009"/>
                  </a:lnTo>
                  <a:cubicBezTo>
                    <a:pt x="1023354" y="663735"/>
                    <a:pt x="1025628" y="661461"/>
                    <a:pt x="1027902" y="666009"/>
                  </a:cubicBezTo>
                  <a:cubicBezTo>
                    <a:pt x="1025628" y="666009"/>
                    <a:pt x="1025628" y="668283"/>
                    <a:pt x="1025628" y="670556"/>
                  </a:cubicBezTo>
                  <a:cubicBezTo>
                    <a:pt x="1025628" y="675104"/>
                    <a:pt x="1030176" y="675104"/>
                    <a:pt x="1030176" y="679652"/>
                  </a:cubicBezTo>
                  <a:cubicBezTo>
                    <a:pt x="1027902" y="675104"/>
                    <a:pt x="1027902" y="675104"/>
                    <a:pt x="1027902" y="679652"/>
                  </a:cubicBezTo>
                  <a:cubicBezTo>
                    <a:pt x="1025628" y="677378"/>
                    <a:pt x="1023354" y="675104"/>
                    <a:pt x="1021079" y="675104"/>
                  </a:cubicBezTo>
                  <a:cubicBezTo>
                    <a:pt x="1021079" y="675104"/>
                    <a:pt x="1021079" y="677378"/>
                    <a:pt x="1018805" y="677378"/>
                  </a:cubicBezTo>
                  <a:cubicBezTo>
                    <a:pt x="1021079" y="679652"/>
                    <a:pt x="1023354" y="679652"/>
                    <a:pt x="1023354" y="681926"/>
                  </a:cubicBezTo>
                  <a:cubicBezTo>
                    <a:pt x="1023354" y="686474"/>
                    <a:pt x="1021079" y="679652"/>
                    <a:pt x="1021079" y="686474"/>
                  </a:cubicBezTo>
                  <a:cubicBezTo>
                    <a:pt x="1018805" y="684200"/>
                    <a:pt x="1016531" y="679652"/>
                    <a:pt x="1014257" y="681926"/>
                  </a:cubicBezTo>
                  <a:cubicBezTo>
                    <a:pt x="1018805" y="684200"/>
                    <a:pt x="1016531" y="688748"/>
                    <a:pt x="1018805" y="688748"/>
                  </a:cubicBezTo>
                  <a:cubicBezTo>
                    <a:pt x="1018805" y="691022"/>
                    <a:pt x="1014257" y="693296"/>
                    <a:pt x="1014257" y="688748"/>
                  </a:cubicBezTo>
                  <a:cubicBezTo>
                    <a:pt x="1011983" y="691022"/>
                    <a:pt x="1011983" y="691022"/>
                    <a:pt x="1014257" y="693296"/>
                  </a:cubicBezTo>
                  <a:cubicBezTo>
                    <a:pt x="1016531" y="695570"/>
                    <a:pt x="1014257" y="697844"/>
                    <a:pt x="1011983" y="700118"/>
                  </a:cubicBezTo>
                  <a:cubicBezTo>
                    <a:pt x="1011983" y="697844"/>
                    <a:pt x="1009709" y="697844"/>
                    <a:pt x="1009709" y="695570"/>
                  </a:cubicBezTo>
                  <a:cubicBezTo>
                    <a:pt x="1009709" y="697844"/>
                    <a:pt x="1005161" y="700118"/>
                    <a:pt x="1002887" y="697844"/>
                  </a:cubicBezTo>
                  <a:cubicBezTo>
                    <a:pt x="1002887" y="700118"/>
                    <a:pt x="998338" y="697844"/>
                    <a:pt x="1000612" y="702391"/>
                  </a:cubicBezTo>
                  <a:cubicBezTo>
                    <a:pt x="1000612" y="704665"/>
                    <a:pt x="1002887" y="704665"/>
                    <a:pt x="1002887" y="704665"/>
                  </a:cubicBezTo>
                  <a:cubicBezTo>
                    <a:pt x="1002887" y="706939"/>
                    <a:pt x="1000612" y="706939"/>
                    <a:pt x="1000612" y="706939"/>
                  </a:cubicBezTo>
                  <a:cubicBezTo>
                    <a:pt x="998338" y="709213"/>
                    <a:pt x="1000612" y="711487"/>
                    <a:pt x="998338" y="713761"/>
                  </a:cubicBezTo>
                  <a:cubicBezTo>
                    <a:pt x="998338" y="711487"/>
                    <a:pt x="998338" y="711487"/>
                    <a:pt x="996064" y="711487"/>
                  </a:cubicBezTo>
                  <a:cubicBezTo>
                    <a:pt x="996064" y="713761"/>
                    <a:pt x="996064" y="716035"/>
                    <a:pt x="996064" y="718309"/>
                  </a:cubicBezTo>
                  <a:cubicBezTo>
                    <a:pt x="993790" y="713761"/>
                    <a:pt x="991516" y="718309"/>
                    <a:pt x="989242" y="718309"/>
                  </a:cubicBezTo>
                  <a:cubicBezTo>
                    <a:pt x="986968" y="718309"/>
                    <a:pt x="986968" y="725131"/>
                    <a:pt x="984694" y="722857"/>
                  </a:cubicBezTo>
                  <a:cubicBezTo>
                    <a:pt x="982419" y="720583"/>
                    <a:pt x="980145" y="720583"/>
                    <a:pt x="980145" y="722857"/>
                  </a:cubicBezTo>
                  <a:cubicBezTo>
                    <a:pt x="980145" y="727405"/>
                    <a:pt x="977871" y="729679"/>
                    <a:pt x="975597" y="727405"/>
                  </a:cubicBezTo>
                  <a:cubicBezTo>
                    <a:pt x="977871" y="729679"/>
                    <a:pt x="980145" y="729679"/>
                    <a:pt x="980145" y="731952"/>
                  </a:cubicBezTo>
                  <a:cubicBezTo>
                    <a:pt x="977871" y="729679"/>
                    <a:pt x="977871" y="734226"/>
                    <a:pt x="975597" y="731952"/>
                  </a:cubicBezTo>
                  <a:cubicBezTo>
                    <a:pt x="975597" y="734226"/>
                    <a:pt x="975597" y="736500"/>
                    <a:pt x="973323" y="738774"/>
                  </a:cubicBezTo>
                  <a:cubicBezTo>
                    <a:pt x="971049" y="738774"/>
                    <a:pt x="966501" y="738774"/>
                    <a:pt x="966501" y="738774"/>
                  </a:cubicBezTo>
                  <a:cubicBezTo>
                    <a:pt x="968775" y="741048"/>
                    <a:pt x="957404" y="743322"/>
                    <a:pt x="959678" y="738774"/>
                  </a:cubicBezTo>
                  <a:cubicBezTo>
                    <a:pt x="957404" y="741048"/>
                    <a:pt x="955130" y="738774"/>
                    <a:pt x="952856" y="738774"/>
                  </a:cubicBezTo>
                  <a:cubicBezTo>
                    <a:pt x="952856" y="741048"/>
                    <a:pt x="957404" y="743322"/>
                    <a:pt x="957404" y="745596"/>
                  </a:cubicBezTo>
                  <a:cubicBezTo>
                    <a:pt x="957404" y="745596"/>
                    <a:pt x="955130" y="745596"/>
                    <a:pt x="952856" y="743322"/>
                  </a:cubicBezTo>
                  <a:cubicBezTo>
                    <a:pt x="950582" y="743322"/>
                    <a:pt x="948308" y="743322"/>
                    <a:pt x="950582" y="741048"/>
                  </a:cubicBezTo>
                  <a:cubicBezTo>
                    <a:pt x="948308" y="741048"/>
                    <a:pt x="943759" y="745596"/>
                    <a:pt x="941485" y="743322"/>
                  </a:cubicBezTo>
                  <a:lnTo>
                    <a:pt x="941485" y="741048"/>
                  </a:lnTo>
                  <a:cubicBezTo>
                    <a:pt x="939211" y="741048"/>
                    <a:pt x="936937" y="743322"/>
                    <a:pt x="934663" y="745596"/>
                  </a:cubicBezTo>
                  <a:cubicBezTo>
                    <a:pt x="936937" y="745596"/>
                    <a:pt x="934663" y="747870"/>
                    <a:pt x="936937" y="750144"/>
                  </a:cubicBezTo>
                  <a:cubicBezTo>
                    <a:pt x="934663" y="750144"/>
                    <a:pt x="934663" y="750144"/>
                    <a:pt x="934663" y="750144"/>
                  </a:cubicBezTo>
                  <a:cubicBezTo>
                    <a:pt x="934663" y="745596"/>
                    <a:pt x="923292" y="745596"/>
                    <a:pt x="921018" y="750144"/>
                  </a:cubicBezTo>
                  <a:cubicBezTo>
                    <a:pt x="921018" y="743322"/>
                    <a:pt x="914196" y="743322"/>
                    <a:pt x="914196" y="736500"/>
                  </a:cubicBezTo>
                  <a:cubicBezTo>
                    <a:pt x="914196" y="741048"/>
                    <a:pt x="914196" y="738774"/>
                    <a:pt x="911922" y="736500"/>
                  </a:cubicBezTo>
                  <a:cubicBezTo>
                    <a:pt x="914196" y="734226"/>
                    <a:pt x="916470" y="734226"/>
                    <a:pt x="918744" y="734226"/>
                  </a:cubicBezTo>
                  <a:cubicBezTo>
                    <a:pt x="916470" y="731952"/>
                    <a:pt x="911922" y="736500"/>
                    <a:pt x="909648" y="734226"/>
                  </a:cubicBezTo>
                  <a:cubicBezTo>
                    <a:pt x="914196" y="736500"/>
                    <a:pt x="909648" y="741048"/>
                    <a:pt x="907374" y="738774"/>
                  </a:cubicBezTo>
                  <a:cubicBezTo>
                    <a:pt x="907374" y="738774"/>
                    <a:pt x="911922" y="741048"/>
                    <a:pt x="911922" y="743322"/>
                  </a:cubicBezTo>
                  <a:cubicBezTo>
                    <a:pt x="909648" y="743322"/>
                    <a:pt x="909648" y="743322"/>
                    <a:pt x="909648" y="743322"/>
                  </a:cubicBezTo>
                  <a:cubicBezTo>
                    <a:pt x="911922" y="743322"/>
                    <a:pt x="918744" y="752418"/>
                    <a:pt x="916470" y="756966"/>
                  </a:cubicBezTo>
                  <a:cubicBezTo>
                    <a:pt x="914196" y="759240"/>
                    <a:pt x="907374" y="747870"/>
                    <a:pt x="907374" y="747870"/>
                  </a:cubicBezTo>
                  <a:cubicBezTo>
                    <a:pt x="907374" y="750144"/>
                    <a:pt x="911922" y="754692"/>
                    <a:pt x="911922" y="756966"/>
                  </a:cubicBezTo>
                  <a:cubicBezTo>
                    <a:pt x="911922" y="756966"/>
                    <a:pt x="909648" y="759240"/>
                    <a:pt x="909648" y="759240"/>
                  </a:cubicBezTo>
                  <a:cubicBezTo>
                    <a:pt x="907374" y="759240"/>
                    <a:pt x="907374" y="756966"/>
                    <a:pt x="907374" y="756966"/>
                  </a:cubicBezTo>
                  <a:cubicBezTo>
                    <a:pt x="902825" y="756966"/>
                    <a:pt x="907374" y="761514"/>
                    <a:pt x="905099" y="763787"/>
                  </a:cubicBezTo>
                  <a:cubicBezTo>
                    <a:pt x="902825" y="761514"/>
                    <a:pt x="900551" y="763787"/>
                    <a:pt x="898277" y="766061"/>
                  </a:cubicBezTo>
                  <a:cubicBezTo>
                    <a:pt x="896003" y="768335"/>
                    <a:pt x="891455" y="763787"/>
                    <a:pt x="896003" y="761514"/>
                  </a:cubicBezTo>
                  <a:cubicBezTo>
                    <a:pt x="893729" y="763787"/>
                    <a:pt x="891455" y="761514"/>
                    <a:pt x="891455" y="759240"/>
                  </a:cubicBezTo>
                  <a:cubicBezTo>
                    <a:pt x="891455" y="761514"/>
                    <a:pt x="893729" y="763787"/>
                    <a:pt x="893729" y="768335"/>
                  </a:cubicBezTo>
                  <a:cubicBezTo>
                    <a:pt x="891455" y="770609"/>
                    <a:pt x="884632" y="763787"/>
                    <a:pt x="882358" y="763787"/>
                  </a:cubicBezTo>
                  <a:cubicBezTo>
                    <a:pt x="886906" y="768335"/>
                    <a:pt x="882358" y="766061"/>
                    <a:pt x="880084" y="766061"/>
                  </a:cubicBezTo>
                  <a:cubicBezTo>
                    <a:pt x="884632" y="768335"/>
                    <a:pt x="877810" y="775157"/>
                    <a:pt x="873262" y="770609"/>
                  </a:cubicBezTo>
                  <a:cubicBezTo>
                    <a:pt x="873262" y="772883"/>
                    <a:pt x="873262" y="775157"/>
                    <a:pt x="870988" y="775157"/>
                  </a:cubicBezTo>
                  <a:cubicBezTo>
                    <a:pt x="873262" y="772883"/>
                    <a:pt x="868714" y="772883"/>
                    <a:pt x="866439" y="775157"/>
                  </a:cubicBezTo>
                  <a:cubicBezTo>
                    <a:pt x="864165" y="775157"/>
                    <a:pt x="859617" y="775157"/>
                    <a:pt x="859617" y="777431"/>
                  </a:cubicBezTo>
                  <a:lnTo>
                    <a:pt x="859617" y="779705"/>
                  </a:lnTo>
                  <a:cubicBezTo>
                    <a:pt x="855069" y="781979"/>
                    <a:pt x="855069" y="777431"/>
                    <a:pt x="852795" y="777431"/>
                  </a:cubicBezTo>
                  <a:cubicBezTo>
                    <a:pt x="852795" y="779705"/>
                    <a:pt x="855069" y="779705"/>
                    <a:pt x="852795" y="781979"/>
                  </a:cubicBezTo>
                  <a:cubicBezTo>
                    <a:pt x="852795" y="783116"/>
                    <a:pt x="851658" y="783684"/>
                    <a:pt x="850805" y="784537"/>
                  </a:cubicBezTo>
                  <a:lnTo>
                    <a:pt x="850662" y="786674"/>
                  </a:lnTo>
                  <a:lnTo>
                    <a:pt x="855464" y="785073"/>
                  </a:lnTo>
                  <a:cubicBezTo>
                    <a:pt x="857250" y="785073"/>
                    <a:pt x="858441" y="785669"/>
                    <a:pt x="857250" y="786859"/>
                  </a:cubicBezTo>
                  <a:lnTo>
                    <a:pt x="850650" y="786859"/>
                  </a:lnTo>
                  <a:lnTo>
                    <a:pt x="850521" y="788801"/>
                  </a:lnTo>
                  <a:cubicBezTo>
                    <a:pt x="850521" y="788801"/>
                    <a:pt x="852795" y="788801"/>
                    <a:pt x="855069" y="791075"/>
                  </a:cubicBezTo>
                  <a:cubicBezTo>
                    <a:pt x="855069" y="793349"/>
                    <a:pt x="859617" y="795622"/>
                    <a:pt x="859617" y="800170"/>
                  </a:cubicBezTo>
                  <a:cubicBezTo>
                    <a:pt x="859617" y="804718"/>
                    <a:pt x="850521" y="802444"/>
                    <a:pt x="848246" y="804718"/>
                  </a:cubicBezTo>
                  <a:cubicBezTo>
                    <a:pt x="848246" y="802444"/>
                    <a:pt x="845972" y="797896"/>
                    <a:pt x="848246" y="800170"/>
                  </a:cubicBezTo>
                  <a:cubicBezTo>
                    <a:pt x="848246" y="797896"/>
                    <a:pt x="841424" y="797896"/>
                    <a:pt x="843698" y="793349"/>
                  </a:cubicBezTo>
                  <a:cubicBezTo>
                    <a:pt x="841424" y="793349"/>
                    <a:pt x="843698" y="788801"/>
                    <a:pt x="841424" y="788801"/>
                  </a:cubicBezTo>
                  <a:cubicBezTo>
                    <a:pt x="839150" y="788801"/>
                    <a:pt x="839150" y="784253"/>
                    <a:pt x="839150" y="781979"/>
                  </a:cubicBezTo>
                  <a:cubicBezTo>
                    <a:pt x="841424" y="779705"/>
                    <a:pt x="839150" y="779705"/>
                    <a:pt x="841424" y="777431"/>
                  </a:cubicBezTo>
                  <a:cubicBezTo>
                    <a:pt x="845972" y="775157"/>
                    <a:pt x="839150" y="772883"/>
                    <a:pt x="839150" y="770609"/>
                  </a:cubicBezTo>
                  <a:cubicBezTo>
                    <a:pt x="839150" y="772883"/>
                    <a:pt x="839150" y="772883"/>
                    <a:pt x="839150" y="772883"/>
                  </a:cubicBezTo>
                  <a:cubicBezTo>
                    <a:pt x="836876" y="775157"/>
                    <a:pt x="834602" y="770609"/>
                    <a:pt x="834602" y="768335"/>
                  </a:cubicBezTo>
                  <a:cubicBezTo>
                    <a:pt x="832328" y="770609"/>
                    <a:pt x="832328" y="770609"/>
                    <a:pt x="834602" y="772883"/>
                  </a:cubicBezTo>
                  <a:cubicBezTo>
                    <a:pt x="834602" y="772883"/>
                    <a:pt x="830054" y="777431"/>
                    <a:pt x="827779" y="772883"/>
                  </a:cubicBezTo>
                  <a:cubicBezTo>
                    <a:pt x="825505" y="779705"/>
                    <a:pt x="825505" y="770609"/>
                    <a:pt x="823231" y="770609"/>
                  </a:cubicBezTo>
                  <a:cubicBezTo>
                    <a:pt x="823231" y="768335"/>
                    <a:pt x="816409" y="770609"/>
                    <a:pt x="820957" y="766061"/>
                  </a:cubicBezTo>
                  <a:cubicBezTo>
                    <a:pt x="818683" y="766061"/>
                    <a:pt x="818683" y="766061"/>
                    <a:pt x="818683" y="766061"/>
                  </a:cubicBezTo>
                  <a:cubicBezTo>
                    <a:pt x="818683" y="768335"/>
                    <a:pt x="818683" y="768335"/>
                    <a:pt x="818683" y="770609"/>
                  </a:cubicBezTo>
                  <a:cubicBezTo>
                    <a:pt x="816409" y="770609"/>
                    <a:pt x="816409" y="766061"/>
                    <a:pt x="814135" y="766061"/>
                  </a:cubicBezTo>
                  <a:cubicBezTo>
                    <a:pt x="814135" y="763787"/>
                    <a:pt x="814135" y="763787"/>
                    <a:pt x="811861" y="761514"/>
                  </a:cubicBezTo>
                  <a:cubicBezTo>
                    <a:pt x="811861" y="763787"/>
                    <a:pt x="811861" y="766061"/>
                    <a:pt x="809586" y="763787"/>
                  </a:cubicBezTo>
                  <a:cubicBezTo>
                    <a:pt x="809586" y="766061"/>
                    <a:pt x="814135" y="768335"/>
                    <a:pt x="811861" y="770609"/>
                  </a:cubicBezTo>
                  <a:cubicBezTo>
                    <a:pt x="811861" y="772883"/>
                    <a:pt x="809586" y="768335"/>
                    <a:pt x="807312" y="768335"/>
                  </a:cubicBezTo>
                  <a:cubicBezTo>
                    <a:pt x="809586" y="770609"/>
                    <a:pt x="807312" y="772883"/>
                    <a:pt x="807312" y="772883"/>
                  </a:cubicBezTo>
                  <a:cubicBezTo>
                    <a:pt x="807312" y="770609"/>
                    <a:pt x="800490" y="770609"/>
                    <a:pt x="798216" y="770609"/>
                  </a:cubicBezTo>
                  <a:cubicBezTo>
                    <a:pt x="793668" y="768335"/>
                    <a:pt x="791393" y="772883"/>
                    <a:pt x="791393" y="770609"/>
                  </a:cubicBezTo>
                  <a:cubicBezTo>
                    <a:pt x="789119" y="770609"/>
                    <a:pt x="789119" y="770609"/>
                    <a:pt x="789119" y="770609"/>
                  </a:cubicBezTo>
                  <a:cubicBezTo>
                    <a:pt x="786845" y="768335"/>
                    <a:pt x="784571" y="768335"/>
                    <a:pt x="782297" y="766061"/>
                  </a:cubicBezTo>
                  <a:cubicBezTo>
                    <a:pt x="780023" y="766061"/>
                    <a:pt x="780023" y="766061"/>
                    <a:pt x="780023" y="763787"/>
                  </a:cubicBezTo>
                  <a:cubicBezTo>
                    <a:pt x="780023" y="763787"/>
                    <a:pt x="775475" y="761514"/>
                    <a:pt x="773201" y="761514"/>
                  </a:cubicBezTo>
                  <a:cubicBezTo>
                    <a:pt x="770926" y="756966"/>
                    <a:pt x="768652" y="752418"/>
                    <a:pt x="768652" y="747870"/>
                  </a:cubicBezTo>
                  <a:cubicBezTo>
                    <a:pt x="773201" y="747870"/>
                    <a:pt x="770926" y="736500"/>
                    <a:pt x="764104" y="738774"/>
                  </a:cubicBezTo>
                  <a:cubicBezTo>
                    <a:pt x="761830" y="741048"/>
                    <a:pt x="759556" y="738774"/>
                    <a:pt x="757282" y="738774"/>
                  </a:cubicBezTo>
                  <a:cubicBezTo>
                    <a:pt x="755008" y="736500"/>
                    <a:pt x="752733" y="738774"/>
                    <a:pt x="750459" y="738774"/>
                  </a:cubicBezTo>
                  <a:cubicBezTo>
                    <a:pt x="743637" y="734226"/>
                    <a:pt x="741363" y="731952"/>
                    <a:pt x="739089" y="727405"/>
                  </a:cubicBezTo>
                  <a:cubicBezTo>
                    <a:pt x="736815" y="731952"/>
                    <a:pt x="732266" y="731952"/>
                    <a:pt x="729992" y="734226"/>
                  </a:cubicBezTo>
                  <a:cubicBezTo>
                    <a:pt x="727718" y="734226"/>
                    <a:pt x="732266" y="738774"/>
                    <a:pt x="729992" y="738774"/>
                  </a:cubicBezTo>
                  <a:cubicBezTo>
                    <a:pt x="727718" y="741048"/>
                    <a:pt x="716348" y="747870"/>
                    <a:pt x="718622" y="741048"/>
                  </a:cubicBezTo>
                  <a:cubicBezTo>
                    <a:pt x="714073" y="741048"/>
                    <a:pt x="714073" y="750144"/>
                    <a:pt x="711799" y="747870"/>
                  </a:cubicBezTo>
                  <a:cubicBezTo>
                    <a:pt x="711799" y="747870"/>
                    <a:pt x="709525" y="745596"/>
                    <a:pt x="707251" y="743322"/>
                  </a:cubicBezTo>
                  <a:cubicBezTo>
                    <a:pt x="704977" y="741048"/>
                    <a:pt x="704977" y="745596"/>
                    <a:pt x="702703" y="747870"/>
                  </a:cubicBezTo>
                  <a:cubicBezTo>
                    <a:pt x="700429" y="743322"/>
                    <a:pt x="698155" y="741048"/>
                    <a:pt x="695881" y="747870"/>
                  </a:cubicBezTo>
                  <a:cubicBezTo>
                    <a:pt x="693606" y="752418"/>
                    <a:pt x="689058" y="747870"/>
                    <a:pt x="686784" y="745596"/>
                  </a:cubicBezTo>
                  <a:cubicBezTo>
                    <a:pt x="679962" y="738774"/>
                    <a:pt x="679962" y="747870"/>
                    <a:pt x="677688" y="750144"/>
                  </a:cubicBezTo>
                  <a:cubicBezTo>
                    <a:pt x="675413" y="752418"/>
                    <a:pt x="675413" y="750144"/>
                    <a:pt x="673139" y="750144"/>
                  </a:cubicBezTo>
                  <a:cubicBezTo>
                    <a:pt x="670865" y="750144"/>
                    <a:pt x="670865" y="750144"/>
                    <a:pt x="668591" y="750144"/>
                  </a:cubicBezTo>
                  <a:cubicBezTo>
                    <a:pt x="668591" y="752418"/>
                    <a:pt x="668591" y="750144"/>
                    <a:pt x="666317" y="750144"/>
                  </a:cubicBezTo>
                  <a:cubicBezTo>
                    <a:pt x="661769" y="750144"/>
                    <a:pt x="664043" y="759240"/>
                    <a:pt x="666317" y="761514"/>
                  </a:cubicBezTo>
                  <a:cubicBezTo>
                    <a:pt x="666317" y="763787"/>
                    <a:pt x="668591" y="766061"/>
                    <a:pt x="670865" y="768335"/>
                  </a:cubicBezTo>
                  <a:cubicBezTo>
                    <a:pt x="670865" y="768335"/>
                    <a:pt x="670865" y="770609"/>
                    <a:pt x="670865" y="770609"/>
                  </a:cubicBezTo>
                  <a:cubicBezTo>
                    <a:pt x="670865" y="772883"/>
                    <a:pt x="670865" y="772883"/>
                    <a:pt x="670865" y="775157"/>
                  </a:cubicBezTo>
                  <a:cubicBezTo>
                    <a:pt x="670865" y="777431"/>
                    <a:pt x="673139" y="779705"/>
                    <a:pt x="673139" y="781979"/>
                  </a:cubicBezTo>
                  <a:cubicBezTo>
                    <a:pt x="670865" y="784253"/>
                    <a:pt x="668591" y="779705"/>
                    <a:pt x="666317" y="779705"/>
                  </a:cubicBezTo>
                  <a:cubicBezTo>
                    <a:pt x="661769" y="781979"/>
                    <a:pt x="661769" y="781979"/>
                    <a:pt x="659495" y="777431"/>
                  </a:cubicBezTo>
                  <a:cubicBezTo>
                    <a:pt x="657220" y="772883"/>
                    <a:pt x="657220" y="770609"/>
                    <a:pt x="654946" y="766061"/>
                  </a:cubicBezTo>
                  <a:cubicBezTo>
                    <a:pt x="652672" y="768335"/>
                    <a:pt x="645850" y="777431"/>
                    <a:pt x="641302" y="772883"/>
                  </a:cubicBezTo>
                  <a:cubicBezTo>
                    <a:pt x="639028" y="772883"/>
                    <a:pt x="639028" y="775157"/>
                    <a:pt x="636753" y="775157"/>
                  </a:cubicBezTo>
                  <a:cubicBezTo>
                    <a:pt x="636753" y="775157"/>
                    <a:pt x="634479" y="770609"/>
                    <a:pt x="636753" y="768335"/>
                  </a:cubicBezTo>
                  <a:cubicBezTo>
                    <a:pt x="629931" y="768335"/>
                    <a:pt x="634479" y="761514"/>
                    <a:pt x="629931" y="759240"/>
                  </a:cubicBezTo>
                  <a:cubicBezTo>
                    <a:pt x="625383" y="759240"/>
                    <a:pt x="620835" y="759240"/>
                    <a:pt x="616286" y="759240"/>
                  </a:cubicBezTo>
                  <a:cubicBezTo>
                    <a:pt x="611738" y="759240"/>
                    <a:pt x="616286" y="752418"/>
                    <a:pt x="616286" y="750144"/>
                  </a:cubicBezTo>
                  <a:cubicBezTo>
                    <a:pt x="616286" y="747870"/>
                    <a:pt x="614012" y="738774"/>
                    <a:pt x="618560" y="738774"/>
                  </a:cubicBezTo>
                  <a:cubicBezTo>
                    <a:pt x="616286" y="734226"/>
                    <a:pt x="614012" y="734226"/>
                    <a:pt x="609464" y="734226"/>
                  </a:cubicBezTo>
                  <a:cubicBezTo>
                    <a:pt x="604916" y="734226"/>
                    <a:pt x="604916" y="729679"/>
                    <a:pt x="602642" y="727405"/>
                  </a:cubicBezTo>
                  <a:cubicBezTo>
                    <a:pt x="600368" y="722857"/>
                    <a:pt x="600368" y="722857"/>
                    <a:pt x="600368" y="722857"/>
                  </a:cubicBezTo>
                  <a:cubicBezTo>
                    <a:pt x="602642" y="720583"/>
                    <a:pt x="600368" y="718309"/>
                    <a:pt x="598093" y="716035"/>
                  </a:cubicBezTo>
                  <a:cubicBezTo>
                    <a:pt x="595819" y="713761"/>
                    <a:pt x="600368" y="711487"/>
                    <a:pt x="600368" y="709213"/>
                  </a:cubicBezTo>
                  <a:cubicBezTo>
                    <a:pt x="595819" y="711487"/>
                    <a:pt x="588997" y="706939"/>
                    <a:pt x="584449" y="711487"/>
                  </a:cubicBezTo>
                  <a:cubicBezTo>
                    <a:pt x="582175" y="711487"/>
                    <a:pt x="575352" y="716035"/>
                    <a:pt x="575352" y="716035"/>
                  </a:cubicBezTo>
                  <a:cubicBezTo>
                    <a:pt x="573078" y="713761"/>
                    <a:pt x="575352" y="711487"/>
                    <a:pt x="575352" y="709213"/>
                  </a:cubicBezTo>
                  <a:cubicBezTo>
                    <a:pt x="575352" y="706939"/>
                    <a:pt x="575352" y="704665"/>
                    <a:pt x="573078" y="702391"/>
                  </a:cubicBezTo>
                  <a:cubicBezTo>
                    <a:pt x="573078" y="700118"/>
                    <a:pt x="570804" y="700118"/>
                    <a:pt x="570804" y="697844"/>
                  </a:cubicBezTo>
                  <a:cubicBezTo>
                    <a:pt x="570804" y="693296"/>
                    <a:pt x="570804" y="693296"/>
                    <a:pt x="575352" y="691022"/>
                  </a:cubicBezTo>
                  <a:cubicBezTo>
                    <a:pt x="573078" y="688748"/>
                    <a:pt x="573078" y="686474"/>
                    <a:pt x="573078" y="681926"/>
                  </a:cubicBezTo>
                  <a:cubicBezTo>
                    <a:pt x="577626" y="686474"/>
                    <a:pt x="579900" y="675104"/>
                    <a:pt x="579900" y="672830"/>
                  </a:cubicBezTo>
                  <a:cubicBezTo>
                    <a:pt x="586723" y="675104"/>
                    <a:pt x="582175" y="670556"/>
                    <a:pt x="586723" y="668283"/>
                  </a:cubicBezTo>
                  <a:cubicBezTo>
                    <a:pt x="586723" y="668283"/>
                    <a:pt x="588997" y="668283"/>
                    <a:pt x="588997" y="668283"/>
                  </a:cubicBezTo>
                  <a:cubicBezTo>
                    <a:pt x="588997" y="666009"/>
                    <a:pt x="586723" y="663735"/>
                    <a:pt x="586723" y="661461"/>
                  </a:cubicBezTo>
                  <a:cubicBezTo>
                    <a:pt x="588997" y="663735"/>
                    <a:pt x="586723" y="654639"/>
                    <a:pt x="586723" y="652365"/>
                  </a:cubicBezTo>
                  <a:cubicBezTo>
                    <a:pt x="586723" y="647817"/>
                    <a:pt x="586723" y="643269"/>
                    <a:pt x="584449" y="638722"/>
                  </a:cubicBezTo>
                  <a:cubicBezTo>
                    <a:pt x="584449" y="636448"/>
                    <a:pt x="584449" y="631900"/>
                    <a:pt x="582175" y="629626"/>
                  </a:cubicBezTo>
                  <a:cubicBezTo>
                    <a:pt x="579900" y="627352"/>
                    <a:pt x="577626" y="625078"/>
                    <a:pt x="575352" y="622804"/>
                  </a:cubicBezTo>
                  <a:cubicBezTo>
                    <a:pt x="575352" y="625078"/>
                    <a:pt x="575352" y="625078"/>
                    <a:pt x="573078" y="625078"/>
                  </a:cubicBezTo>
                  <a:cubicBezTo>
                    <a:pt x="573078" y="622804"/>
                    <a:pt x="568530" y="620530"/>
                    <a:pt x="568530" y="615982"/>
                  </a:cubicBezTo>
                  <a:cubicBezTo>
                    <a:pt x="568530" y="613708"/>
                    <a:pt x="568530" y="611434"/>
                    <a:pt x="566256" y="609160"/>
                  </a:cubicBezTo>
                  <a:cubicBezTo>
                    <a:pt x="561708" y="606886"/>
                    <a:pt x="554885" y="604613"/>
                    <a:pt x="552611" y="602339"/>
                  </a:cubicBezTo>
                  <a:cubicBezTo>
                    <a:pt x="552611" y="604613"/>
                    <a:pt x="550337" y="606886"/>
                    <a:pt x="550337" y="609160"/>
                  </a:cubicBezTo>
                  <a:cubicBezTo>
                    <a:pt x="550337" y="611434"/>
                    <a:pt x="550337" y="611434"/>
                    <a:pt x="550337" y="611434"/>
                  </a:cubicBezTo>
                  <a:cubicBezTo>
                    <a:pt x="548063" y="611434"/>
                    <a:pt x="550337" y="609160"/>
                    <a:pt x="548063" y="606886"/>
                  </a:cubicBezTo>
                  <a:cubicBezTo>
                    <a:pt x="545789" y="604613"/>
                    <a:pt x="543515" y="606886"/>
                    <a:pt x="541240" y="606886"/>
                  </a:cubicBezTo>
                  <a:cubicBezTo>
                    <a:pt x="538966" y="604613"/>
                    <a:pt x="536692" y="604613"/>
                    <a:pt x="534418" y="604613"/>
                  </a:cubicBezTo>
                  <a:cubicBezTo>
                    <a:pt x="532144" y="604613"/>
                    <a:pt x="529870" y="606886"/>
                    <a:pt x="527596" y="604613"/>
                  </a:cubicBezTo>
                  <a:cubicBezTo>
                    <a:pt x="525322" y="604613"/>
                    <a:pt x="527596" y="602339"/>
                    <a:pt x="527596" y="602339"/>
                  </a:cubicBezTo>
                  <a:cubicBezTo>
                    <a:pt x="529870" y="600065"/>
                    <a:pt x="529870" y="597791"/>
                    <a:pt x="532144" y="595517"/>
                  </a:cubicBezTo>
                  <a:cubicBezTo>
                    <a:pt x="532144" y="593243"/>
                    <a:pt x="527596" y="593243"/>
                    <a:pt x="527596" y="588695"/>
                  </a:cubicBezTo>
                  <a:cubicBezTo>
                    <a:pt x="525322" y="588695"/>
                    <a:pt x="525322" y="590969"/>
                    <a:pt x="523048" y="590969"/>
                  </a:cubicBezTo>
                  <a:cubicBezTo>
                    <a:pt x="518499" y="590969"/>
                    <a:pt x="523048" y="586421"/>
                    <a:pt x="525322" y="586421"/>
                  </a:cubicBezTo>
                  <a:cubicBezTo>
                    <a:pt x="523048" y="584147"/>
                    <a:pt x="520773" y="581873"/>
                    <a:pt x="518499" y="579599"/>
                  </a:cubicBezTo>
                  <a:cubicBezTo>
                    <a:pt x="516225" y="579599"/>
                    <a:pt x="509403" y="581873"/>
                    <a:pt x="509403" y="584147"/>
                  </a:cubicBezTo>
                  <a:cubicBezTo>
                    <a:pt x="507129" y="586421"/>
                    <a:pt x="507129" y="588695"/>
                    <a:pt x="504855" y="588695"/>
                  </a:cubicBezTo>
                  <a:cubicBezTo>
                    <a:pt x="504855" y="590969"/>
                    <a:pt x="502580" y="588695"/>
                    <a:pt x="500306" y="588695"/>
                  </a:cubicBezTo>
                  <a:cubicBezTo>
                    <a:pt x="500306" y="588695"/>
                    <a:pt x="493484" y="584147"/>
                    <a:pt x="495758" y="586421"/>
                  </a:cubicBezTo>
                  <a:cubicBezTo>
                    <a:pt x="493484" y="586421"/>
                    <a:pt x="491210" y="584147"/>
                    <a:pt x="488936" y="584147"/>
                  </a:cubicBezTo>
                  <a:cubicBezTo>
                    <a:pt x="486662" y="581873"/>
                    <a:pt x="486662" y="584147"/>
                    <a:pt x="484387" y="586421"/>
                  </a:cubicBezTo>
                  <a:cubicBezTo>
                    <a:pt x="479839" y="588695"/>
                    <a:pt x="477565" y="590969"/>
                    <a:pt x="475291" y="593243"/>
                  </a:cubicBezTo>
                  <a:cubicBezTo>
                    <a:pt x="473017" y="597791"/>
                    <a:pt x="470743" y="597791"/>
                    <a:pt x="466195" y="597791"/>
                  </a:cubicBezTo>
                  <a:cubicBezTo>
                    <a:pt x="461646" y="600065"/>
                    <a:pt x="463920" y="602339"/>
                    <a:pt x="461646" y="604613"/>
                  </a:cubicBezTo>
                  <a:cubicBezTo>
                    <a:pt x="459372" y="606886"/>
                    <a:pt x="454824" y="609160"/>
                    <a:pt x="454824" y="611434"/>
                  </a:cubicBezTo>
                  <a:cubicBezTo>
                    <a:pt x="452550" y="615982"/>
                    <a:pt x="452550" y="618256"/>
                    <a:pt x="448002" y="620530"/>
                  </a:cubicBezTo>
                  <a:cubicBezTo>
                    <a:pt x="443453" y="620530"/>
                    <a:pt x="441179" y="622804"/>
                    <a:pt x="436631" y="620530"/>
                  </a:cubicBezTo>
                  <a:cubicBezTo>
                    <a:pt x="436631" y="620530"/>
                    <a:pt x="434357" y="620530"/>
                    <a:pt x="434357" y="620530"/>
                  </a:cubicBezTo>
                  <a:cubicBezTo>
                    <a:pt x="432083" y="620530"/>
                    <a:pt x="432083" y="618256"/>
                    <a:pt x="432083" y="618256"/>
                  </a:cubicBezTo>
                  <a:cubicBezTo>
                    <a:pt x="432083" y="615982"/>
                    <a:pt x="427535" y="613708"/>
                    <a:pt x="425260" y="613708"/>
                  </a:cubicBezTo>
                  <a:cubicBezTo>
                    <a:pt x="420712" y="613708"/>
                    <a:pt x="422986" y="618256"/>
                    <a:pt x="418438" y="613708"/>
                  </a:cubicBezTo>
                  <a:cubicBezTo>
                    <a:pt x="411616" y="613708"/>
                    <a:pt x="407067" y="613708"/>
                    <a:pt x="407067" y="613708"/>
                  </a:cubicBezTo>
                  <a:cubicBezTo>
                    <a:pt x="402519" y="611434"/>
                    <a:pt x="407067" y="609160"/>
                    <a:pt x="402519" y="609160"/>
                  </a:cubicBezTo>
                  <a:cubicBezTo>
                    <a:pt x="397971" y="606886"/>
                    <a:pt x="395697" y="606886"/>
                    <a:pt x="391149" y="611434"/>
                  </a:cubicBezTo>
                  <a:cubicBezTo>
                    <a:pt x="388875" y="613708"/>
                    <a:pt x="386600" y="618256"/>
                    <a:pt x="384326" y="622804"/>
                  </a:cubicBezTo>
                  <a:cubicBezTo>
                    <a:pt x="382052" y="625078"/>
                    <a:pt x="377504" y="629626"/>
                    <a:pt x="377504" y="631900"/>
                  </a:cubicBezTo>
                  <a:cubicBezTo>
                    <a:pt x="370682" y="625078"/>
                    <a:pt x="375230" y="620530"/>
                    <a:pt x="375230" y="618256"/>
                  </a:cubicBezTo>
                  <a:cubicBezTo>
                    <a:pt x="372956" y="611434"/>
                    <a:pt x="363859" y="615982"/>
                    <a:pt x="359311" y="615982"/>
                  </a:cubicBezTo>
                  <a:cubicBezTo>
                    <a:pt x="359311" y="618256"/>
                    <a:pt x="359311" y="618256"/>
                    <a:pt x="359311" y="618256"/>
                  </a:cubicBezTo>
                  <a:cubicBezTo>
                    <a:pt x="354763" y="615982"/>
                    <a:pt x="347940" y="618256"/>
                    <a:pt x="343392" y="618256"/>
                  </a:cubicBezTo>
                  <a:cubicBezTo>
                    <a:pt x="338844" y="618256"/>
                    <a:pt x="336570" y="615982"/>
                    <a:pt x="332022" y="613708"/>
                  </a:cubicBezTo>
                  <a:cubicBezTo>
                    <a:pt x="332022" y="613708"/>
                    <a:pt x="329747" y="611434"/>
                    <a:pt x="327473" y="613708"/>
                  </a:cubicBezTo>
                  <a:cubicBezTo>
                    <a:pt x="325199" y="613708"/>
                    <a:pt x="327473" y="615982"/>
                    <a:pt x="325199" y="615982"/>
                  </a:cubicBezTo>
                  <a:cubicBezTo>
                    <a:pt x="322925" y="615982"/>
                    <a:pt x="318377" y="613708"/>
                    <a:pt x="318377" y="611434"/>
                  </a:cubicBezTo>
                  <a:cubicBezTo>
                    <a:pt x="316103" y="611434"/>
                    <a:pt x="316103" y="620530"/>
                    <a:pt x="316103" y="615982"/>
                  </a:cubicBezTo>
                  <a:cubicBezTo>
                    <a:pt x="313829" y="613708"/>
                    <a:pt x="309280" y="611434"/>
                    <a:pt x="307006" y="606886"/>
                  </a:cubicBezTo>
                  <a:cubicBezTo>
                    <a:pt x="307006" y="609160"/>
                    <a:pt x="295636" y="609160"/>
                    <a:pt x="293362" y="604613"/>
                  </a:cubicBezTo>
                  <a:cubicBezTo>
                    <a:pt x="293362" y="604613"/>
                    <a:pt x="295636" y="602339"/>
                    <a:pt x="293362" y="600065"/>
                  </a:cubicBezTo>
                  <a:cubicBezTo>
                    <a:pt x="293362" y="597791"/>
                    <a:pt x="288813" y="602339"/>
                    <a:pt x="286539" y="600065"/>
                  </a:cubicBezTo>
                  <a:cubicBezTo>
                    <a:pt x="284265" y="597791"/>
                    <a:pt x="275169" y="595517"/>
                    <a:pt x="272894" y="590969"/>
                  </a:cubicBezTo>
                  <a:cubicBezTo>
                    <a:pt x="272894" y="586421"/>
                    <a:pt x="266072" y="579599"/>
                    <a:pt x="261524" y="586421"/>
                  </a:cubicBezTo>
                  <a:cubicBezTo>
                    <a:pt x="259250" y="588695"/>
                    <a:pt x="252427" y="579599"/>
                    <a:pt x="252427" y="577325"/>
                  </a:cubicBezTo>
                  <a:cubicBezTo>
                    <a:pt x="250153" y="575051"/>
                    <a:pt x="243331" y="575051"/>
                    <a:pt x="238783" y="572778"/>
                  </a:cubicBezTo>
                  <a:cubicBezTo>
                    <a:pt x="234234" y="568230"/>
                    <a:pt x="227412" y="563682"/>
                    <a:pt x="222864" y="559134"/>
                  </a:cubicBezTo>
                  <a:cubicBezTo>
                    <a:pt x="220590" y="556860"/>
                    <a:pt x="216042" y="556860"/>
                    <a:pt x="213767" y="556860"/>
                  </a:cubicBezTo>
                  <a:cubicBezTo>
                    <a:pt x="211493" y="554586"/>
                    <a:pt x="211493" y="559134"/>
                    <a:pt x="209219" y="556860"/>
                  </a:cubicBezTo>
                  <a:cubicBezTo>
                    <a:pt x="209219" y="565956"/>
                    <a:pt x="206945" y="565956"/>
                    <a:pt x="202397" y="561408"/>
                  </a:cubicBezTo>
                  <a:cubicBezTo>
                    <a:pt x="197849" y="556860"/>
                    <a:pt x="193300" y="554586"/>
                    <a:pt x="186478" y="554586"/>
                  </a:cubicBezTo>
                  <a:cubicBezTo>
                    <a:pt x="186478" y="552312"/>
                    <a:pt x="184204" y="552312"/>
                    <a:pt x="181930" y="552312"/>
                  </a:cubicBezTo>
                  <a:cubicBezTo>
                    <a:pt x="181930" y="550038"/>
                    <a:pt x="184204" y="547764"/>
                    <a:pt x="181930" y="547764"/>
                  </a:cubicBezTo>
                  <a:cubicBezTo>
                    <a:pt x="179656" y="545490"/>
                    <a:pt x="177381" y="545490"/>
                    <a:pt x="177381" y="545490"/>
                  </a:cubicBezTo>
                  <a:cubicBezTo>
                    <a:pt x="172833" y="540943"/>
                    <a:pt x="170559" y="543217"/>
                    <a:pt x="168285" y="543217"/>
                  </a:cubicBezTo>
                  <a:cubicBezTo>
                    <a:pt x="163737" y="540943"/>
                    <a:pt x="161463" y="536395"/>
                    <a:pt x="156914" y="531847"/>
                  </a:cubicBezTo>
                  <a:cubicBezTo>
                    <a:pt x="154640" y="529573"/>
                    <a:pt x="150092" y="538669"/>
                    <a:pt x="150092" y="531847"/>
                  </a:cubicBezTo>
                  <a:cubicBezTo>
                    <a:pt x="147818" y="529573"/>
                    <a:pt x="150092" y="527299"/>
                    <a:pt x="147818" y="525025"/>
                  </a:cubicBezTo>
                  <a:cubicBezTo>
                    <a:pt x="145544" y="522751"/>
                    <a:pt x="145544" y="520477"/>
                    <a:pt x="145544" y="518203"/>
                  </a:cubicBezTo>
                  <a:cubicBezTo>
                    <a:pt x="145544" y="515929"/>
                    <a:pt x="143270" y="513655"/>
                    <a:pt x="140996" y="513655"/>
                  </a:cubicBezTo>
                  <a:cubicBezTo>
                    <a:pt x="138721" y="511382"/>
                    <a:pt x="138721" y="506834"/>
                    <a:pt x="136447" y="504560"/>
                  </a:cubicBezTo>
                  <a:cubicBezTo>
                    <a:pt x="140996" y="500012"/>
                    <a:pt x="143270" y="502286"/>
                    <a:pt x="145544" y="506834"/>
                  </a:cubicBezTo>
                  <a:cubicBezTo>
                    <a:pt x="147818" y="509108"/>
                    <a:pt x="150092" y="509108"/>
                    <a:pt x="150092" y="506834"/>
                  </a:cubicBezTo>
                  <a:cubicBezTo>
                    <a:pt x="152366" y="504560"/>
                    <a:pt x="154640" y="504560"/>
                    <a:pt x="156914" y="502286"/>
                  </a:cubicBezTo>
                  <a:cubicBezTo>
                    <a:pt x="159189" y="500012"/>
                    <a:pt x="156914" y="497738"/>
                    <a:pt x="154640" y="495464"/>
                  </a:cubicBezTo>
                  <a:cubicBezTo>
                    <a:pt x="152366" y="493190"/>
                    <a:pt x="154640" y="488642"/>
                    <a:pt x="152366" y="488642"/>
                  </a:cubicBezTo>
                  <a:cubicBezTo>
                    <a:pt x="145544" y="486368"/>
                    <a:pt x="145544" y="486368"/>
                    <a:pt x="140996" y="481820"/>
                  </a:cubicBezTo>
                  <a:cubicBezTo>
                    <a:pt x="136447" y="477273"/>
                    <a:pt x="136447" y="465903"/>
                    <a:pt x="136447" y="465903"/>
                  </a:cubicBezTo>
                  <a:cubicBezTo>
                    <a:pt x="136447" y="465903"/>
                    <a:pt x="143270" y="463629"/>
                    <a:pt x="136447" y="461355"/>
                  </a:cubicBezTo>
                  <a:cubicBezTo>
                    <a:pt x="131899" y="459081"/>
                    <a:pt x="127351" y="454533"/>
                    <a:pt x="122803" y="452259"/>
                  </a:cubicBezTo>
                  <a:cubicBezTo>
                    <a:pt x="115980" y="447712"/>
                    <a:pt x="118254" y="438616"/>
                    <a:pt x="106884" y="431794"/>
                  </a:cubicBezTo>
                  <a:cubicBezTo>
                    <a:pt x="100061" y="431794"/>
                    <a:pt x="81869" y="431794"/>
                    <a:pt x="79594" y="422698"/>
                  </a:cubicBezTo>
                  <a:cubicBezTo>
                    <a:pt x="79594" y="422698"/>
                    <a:pt x="75046" y="424972"/>
                    <a:pt x="72772" y="424972"/>
                  </a:cubicBezTo>
                  <a:cubicBezTo>
                    <a:pt x="72772" y="422698"/>
                    <a:pt x="68224" y="420424"/>
                    <a:pt x="65950" y="418151"/>
                  </a:cubicBezTo>
                  <a:cubicBezTo>
                    <a:pt x="65950" y="415877"/>
                    <a:pt x="65950" y="413603"/>
                    <a:pt x="65950" y="411329"/>
                  </a:cubicBezTo>
                  <a:cubicBezTo>
                    <a:pt x="65950" y="409055"/>
                    <a:pt x="63676" y="406781"/>
                    <a:pt x="61401" y="404507"/>
                  </a:cubicBezTo>
                  <a:cubicBezTo>
                    <a:pt x="59127" y="399959"/>
                    <a:pt x="54579" y="402233"/>
                    <a:pt x="52305" y="399959"/>
                  </a:cubicBezTo>
                  <a:cubicBezTo>
                    <a:pt x="50031" y="397685"/>
                    <a:pt x="43209" y="393137"/>
                    <a:pt x="40934" y="397685"/>
                  </a:cubicBezTo>
                  <a:cubicBezTo>
                    <a:pt x="38660" y="393137"/>
                    <a:pt x="34112" y="395411"/>
                    <a:pt x="31838" y="393137"/>
                  </a:cubicBezTo>
                  <a:cubicBezTo>
                    <a:pt x="29564" y="388589"/>
                    <a:pt x="36386" y="390863"/>
                    <a:pt x="38660" y="388589"/>
                  </a:cubicBezTo>
                  <a:cubicBezTo>
                    <a:pt x="43209" y="388589"/>
                    <a:pt x="40934" y="384042"/>
                    <a:pt x="38660" y="381768"/>
                  </a:cubicBezTo>
                  <a:cubicBezTo>
                    <a:pt x="36386" y="379494"/>
                    <a:pt x="38660" y="379494"/>
                    <a:pt x="38660" y="377220"/>
                  </a:cubicBezTo>
                  <a:cubicBezTo>
                    <a:pt x="36386" y="374946"/>
                    <a:pt x="36386" y="372672"/>
                    <a:pt x="34112" y="372672"/>
                  </a:cubicBezTo>
                  <a:cubicBezTo>
                    <a:pt x="34112" y="370398"/>
                    <a:pt x="31838" y="370398"/>
                    <a:pt x="31838" y="368124"/>
                  </a:cubicBezTo>
                  <a:cubicBezTo>
                    <a:pt x="31838" y="365850"/>
                    <a:pt x="31838" y="363576"/>
                    <a:pt x="31838" y="361302"/>
                  </a:cubicBezTo>
                  <a:cubicBezTo>
                    <a:pt x="29564" y="356755"/>
                    <a:pt x="22741" y="356755"/>
                    <a:pt x="20467" y="354481"/>
                  </a:cubicBezTo>
                  <a:cubicBezTo>
                    <a:pt x="15919" y="354481"/>
                    <a:pt x="11371" y="359028"/>
                    <a:pt x="9097" y="356755"/>
                  </a:cubicBezTo>
                  <a:cubicBezTo>
                    <a:pt x="6823" y="354481"/>
                    <a:pt x="2274" y="347659"/>
                    <a:pt x="6823" y="347659"/>
                  </a:cubicBezTo>
                  <a:cubicBezTo>
                    <a:pt x="6823" y="345385"/>
                    <a:pt x="4548" y="345385"/>
                    <a:pt x="2274" y="343111"/>
                  </a:cubicBezTo>
                  <a:cubicBezTo>
                    <a:pt x="0" y="340837"/>
                    <a:pt x="2274" y="338563"/>
                    <a:pt x="0" y="336289"/>
                  </a:cubicBezTo>
                  <a:cubicBezTo>
                    <a:pt x="4548" y="336289"/>
                    <a:pt x="4548" y="334015"/>
                    <a:pt x="4548" y="331741"/>
                  </a:cubicBezTo>
                  <a:cubicBezTo>
                    <a:pt x="4548" y="327193"/>
                    <a:pt x="2274" y="327193"/>
                    <a:pt x="4548" y="322646"/>
                  </a:cubicBezTo>
                  <a:cubicBezTo>
                    <a:pt x="4548" y="320372"/>
                    <a:pt x="6823" y="320372"/>
                    <a:pt x="9097" y="320372"/>
                  </a:cubicBezTo>
                  <a:cubicBezTo>
                    <a:pt x="13645" y="318098"/>
                    <a:pt x="13645" y="313550"/>
                    <a:pt x="18193" y="313550"/>
                  </a:cubicBezTo>
                  <a:cubicBezTo>
                    <a:pt x="18193" y="313550"/>
                    <a:pt x="18193" y="311276"/>
                    <a:pt x="18193" y="311276"/>
                  </a:cubicBezTo>
                  <a:cubicBezTo>
                    <a:pt x="20467" y="311276"/>
                    <a:pt x="25016" y="313550"/>
                    <a:pt x="25016" y="311276"/>
                  </a:cubicBezTo>
                  <a:cubicBezTo>
                    <a:pt x="27290" y="309002"/>
                    <a:pt x="29564" y="306728"/>
                    <a:pt x="31838" y="306728"/>
                  </a:cubicBezTo>
                  <a:cubicBezTo>
                    <a:pt x="34112" y="306728"/>
                    <a:pt x="34112" y="313550"/>
                    <a:pt x="36386" y="313550"/>
                  </a:cubicBezTo>
                  <a:cubicBezTo>
                    <a:pt x="38660" y="315824"/>
                    <a:pt x="43209" y="313550"/>
                    <a:pt x="45483" y="313550"/>
                  </a:cubicBezTo>
                  <a:cubicBezTo>
                    <a:pt x="52305" y="313550"/>
                    <a:pt x="52305" y="306728"/>
                    <a:pt x="52305" y="302180"/>
                  </a:cubicBezTo>
                  <a:cubicBezTo>
                    <a:pt x="54579" y="297632"/>
                    <a:pt x="54579" y="297632"/>
                    <a:pt x="59127" y="297632"/>
                  </a:cubicBezTo>
                  <a:cubicBezTo>
                    <a:pt x="63676" y="297632"/>
                    <a:pt x="68224" y="297632"/>
                    <a:pt x="72772" y="297632"/>
                  </a:cubicBezTo>
                  <a:cubicBezTo>
                    <a:pt x="75046" y="297632"/>
                    <a:pt x="77320" y="297632"/>
                    <a:pt x="79594" y="295358"/>
                  </a:cubicBezTo>
                  <a:cubicBezTo>
                    <a:pt x="81869" y="293085"/>
                    <a:pt x="81869" y="290811"/>
                    <a:pt x="84143" y="288537"/>
                  </a:cubicBezTo>
                  <a:cubicBezTo>
                    <a:pt x="88691" y="281715"/>
                    <a:pt x="97787" y="281715"/>
                    <a:pt x="104610" y="277167"/>
                  </a:cubicBezTo>
                  <a:cubicBezTo>
                    <a:pt x="106884" y="274893"/>
                    <a:pt x="106884" y="272619"/>
                    <a:pt x="111432" y="272619"/>
                  </a:cubicBezTo>
                  <a:cubicBezTo>
                    <a:pt x="113706" y="272619"/>
                    <a:pt x="113706" y="272619"/>
                    <a:pt x="111432" y="268071"/>
                  </a:cubicBezTo>
                  <a:cubicBezTo>
                    <a:pt x="111432" y="265797"/>
                    <a:pt x="109158" y="263524"/>
                    <a:pt x="106884" y="258976"/>
                  </a:cubicBezTo>
                  <a:cubicBezTo>
                    <a:pt x="104610" y="254428"/>
                    <a:pt x="109158" y="254428"/>
                    <a:pt x="113706" y="252154"/>
                  </a:cubicBezTo>
                  <a:cubicBezTo>
                    <a:pt x="111432" y="252154"/>
                    <a:pt x="111432" y="249880"/>
                    <a:pt x="109158" y="249880"/>
                  </a:cubicBezTo>
                  <a:cubicBezTo>
                    <a:pt x="109158" y="247606"/>
                    <a:pt x="111432" y="245332"/>
                    <a:pt x="115980" y="247606"/>
                  </a:cubicBezTo>
                  <a:cubicBezTo>
                    <a:pt x="115980" y="243058"/>
                    <a:pt x="111432" y="243058"/>
                    <a:pt x="111432" y="240784"/>
                  </a:cubicBezTo>
                  <a:cubicBezTo>
                    <a:pt x="111432" y="236236"/>
                    <a:pt x="106884" y="233962"/>
                    <a:pt x="104610" y="229415"/>
                  </a:cubicBezTo>
                  <a:cubicBezTo>
                    <a:pt x="102336" y="227141"/>
                    <a:pt x="100061" y="222593"/>
                    <a:pt x="97787" y="218045"/>
                  </a:cubicBezTo>
                  <a:cubicBezTo>
                    <a:pt x="95513" y="213497"/>
                    <a:pt x="97787" y="208949"/>
                    <a:pt x="95513" y="206675"/>
                  </a:cubicBezTo>
                  <a:cubicBezTo>
                    <a:pt x="93239" y="206675"/>
                    <a:pt x="81869" y="206675"/>
                    <a:pt x="84143" y="202127"/>
                  </a:cubicBezTo>
                  <a:cubicBezTo>
                    <a:pt x="86417" y="199854"/>
                    <a:pt x="93239" y="199854"/>
                    <a:pt x="95513" y="199854"/>
                  </a:cubicBezTo>
                  <a:cubicBezTo>
                    <a:pt x="100061" y="197580"/>
                    <a:pt x="104610" y="197580"/>
                    <a:pt x="111432" y="195306"/>
                  </a:cubicBezTo>
                  <a:cubicBezTo>
                    <a:pt x="115980" y="193032"/>
                    <a:pt x="115980" y="195306"/>
                    <a:pt x="120529" y="197580"/>
                  </a:cubicBezTo>
                  <a:cubicBezTo>
                    <a:pt x="125077" y="199854"/>
                    <a:pt x="127351" y="195306"/>
                    <a:pt x="129625" y="197580"/>
                  </a:cubicBezTo>
                  <a:cubicBezTo>
                    <a:pt x="134173" y="199854"/>
                    <a:pt x="134173" y="195306"/>
                    <a:pt x="134173" y="193032"/>
                  </a:cubicBezTo>
                  <a:cubicBezTo>
                    <a:pt x="131899" y="188484"/>
                    <a:pt x="127351" y="190758"/>
                    <a:pt x="125077" y="188484"/>
                  </a:cubicBezTo>
                  <a:cubicBezTo>
                    <a:pt x="122803" y="186210"/>
                    <a:pt x="125077" y="181662"/>
                    <a:pt x="125077" y="179388"/>
                  </a:cubicBezTo>
                  <a:cubicBezTo>
                    <a:pt x="125077" y="174840"/>
                    <a:pt x="125077" y="170293"/>
                    <a:pt x="125077" y="165745"/>
                  </a:cubicBezTo>
                  <a:cubicBezTo>
                    <a:pt x="125077" y="161197"/>
                    <a:pt x="127351" y="158923"/>
                    <a:pt x="125077" y="154375"/>
                  </a:cubicBezTo>
                  <a:cubicBezTo>
                    <a:pt x="125077" y="149827"/>
                    <a:pt x="127351" y="147553"/>
                    <a:pt x="131899" y="149827"/>
                  </a:cubicBezTo>
                  <a:cubicBezTo>
                    <a:pt x="134173" y="152101"/>
                    <a:pt x="138721" y="154375"/>
                    <a:pt x="140996" y="154375"/>
                  </a:cubicBezTo>
                  <a:cubicBezTo>
                    <a:pt x="145544" y="154375"/>
                    <a:pt x="152366" y="154375"/>
                    <a:pt x="156914" y="154375"/>
                  </a:cubicBezTo>
                  <a:cubicBezTo>
                    <a:pt x="159189" y="154375"/>
                    <a:pt x="161463" y="158923"/>
                    <a:pt x="163737" y="156649"/>
                  </a:cubicBezTo>
                  <a:cubicBezTo>
                    <a:pt x="168285" y="154375"/>
                    <a:pt x="170559" y="154375"/>
                    <a:pt x="172833" y="152101"/>
                  </a:cubicBezTo>
                  <a:cubicBezTo>
                    <a:pt x="177381" y="147553"/>
                    <a:pt x="166011" y="136184"/>
                    <a:pt x="166011" y="131636"/>
                  </a:cubicBezTo>
                  <a:cubicBezTo>
                    <a:pt x="163737" y="129362"/>
                    <a:pt x="163737" y="122540"/>
                    <a:pt x="166011" y="120266"/>
                  </a:cubicBezTo>
                  <a:cubicBezTo>
                    <a:pt x="168285" y="117992"/>
                    <a:pt x="172833" y="120266"/>
                    <a:pt x="175107" y="120266"/>
                  </a:cubicBezTo>
                  <a:cubicBezTo>
                    <a:pt x="181930" y="115718"/>
                    <a:pt x="181930" y="113444"/>
                    <a:pt x="179656" y="106623"/>
                  </a:cubicBezTo>
                  <a:cubicBezTo>
                    <a:pt x="177381" y="104349"/>
                    <a:pt x="181930" y="104349"/>
                    <a:pt x="184204" y="104349"/>
                  </a:cubicBezTo>
                  <a:cubicBezTo>
                    <a:pt x="186478" y="104349"/>
                    <a:pt x="191026" y="106623"/>
                    <a:pt x="197849" y="102075"/>
                  </a:cubicBezTo>
                  <a:cubicBezTo>
                    <a:pt x="197849" y="104349"/>
                    <a:pt x="200123" y="106623"/>
                    <a:pt x="200123" y="106623"/>
                  </a:cubicBezTo>
                  <a:cubicBezTo>
                    <a:pt x="195574" y="108896"/>
                    <a:pt x="202397" y="111170"/>
                    <a:pt x="204671" y="111170"/>
                  </a:cubicBezTo>
                  <a:cubicBezTo>
                    <a:pt x="209219" y="113444"/>
                    <a:pt x="204671" y="115718"/>
                    <a:pt x="206945" y="115718"/>
                  </a:cubicBezTo>
                  <a:cubicBezTo>
                    <a:pt x="211493" y="117992"/>
                    <a:pt x="216042" y="117992"/>
                    <a:pt x="218316" y="122540"/>
                  </a:cubicBezTo>
                  <a:cubicBezTo>
                    <a:pt x="222864" y="127088"/>
                    <a:pt x="231960" y="131636"/>
                    <a:pt x="236509" y="129362"/>
                  </a:cubicBezTo>
                  <a:cubicBezTo>
                    <a:pt x="243331" y="129362"/>
                    <a:pt x="247879" y="136184"/>
                    <a:pt x="250153" y="131636"/>
                  </a:cubicBezTo>
                  <a:cubicBezTo>
                    <a:pt x="252427" y="133910"/>
                    <a:pt x="256976" y="136184"/>
                    <a:pt x="259250" y="138458"/>
                  </a:cubicBezTo>
                  <a:cubicBezTo>
                    <a:pt x="263798" y="143005"/>
                    <a:pt x="266072" y="147553"/>
                    <a:pt x="268346" y="149827"/>
                  </a:cubicBezTo>
                  <a:cubicBezTo>
                    <a:pt x="272894" y="152101"/>
                    <a:pt x="275169" y="154375"/>
                    <a:pt x="279717" y="158923"/>
                  </a:cubicBezTo>
                  <a:cubicBezTo>
                    <a:pt x="284265" y="163471"/>
                    <a:pt x="284265" y="161197"/>
                    <a:pt x="284265" y="165745"/>
                  </a:cubicBezTo>
                  <a:cubicBezTo>
                    <a:pt x="284265" y="174840"/>
                    <a:pt x="288813" y="174840"/>
                    <a:pt x="286539" y="179388"/>
                  </a:cubicBezTo>
                  <a:cubicBezTo>
                    <a:pt x="284265" y="183936"/>
                    <a:pt x="284265" y="186210"/>
                    <a:pt x="288813" y="190758"/>
                  </a:cubicBezTo>
                  <a:cubicBezTo>
                    <a:pt x="291087" y="193032"/>
                    <a:pt x="293362" y="195306"/>
                    <a:pt x="297910" y="197580"/>
                  </a:cubicBezTo>
                  <a:cubicBezTo>
                    <a:pt x="302458" y="197580"/>
                    <a:pt x="307006" y="199854"/>
                    <a:pt x="311554" y="199854"/>
                  </a:cubicBezTo>
                  <a:cubicBezTo>
                    <a:pt x="316103" y="199854"/>
                    <a:pt x="320651" y="202127"/>
                    <a:pt x="325199" y="202127"/>
                  </a:cubicBezTo>
                  <a:cubicBezTo>
                    <a:pt x="329747" y="202127"/>
                    <a:pt x="334296" y="199854"/>
                    <a:pt x="338844" y="202127"/>
                  </a:cubicBezTo>
                  <a:cubicBezTo>
                    <a:pt x="345666" y="202127"/>
                    <a:pt x="354763" y="206675"/>
                    <a:pt x="359311" y="208949"/>
                  </a:cubicBezTo>
                  <a:cubicBezTo>
                    <a:pt x="361585" y="208949"/>
                    <a:pt x="363859" y="211223"/>
                    <a:pt x="366133" y="211223"/>
                  </a:cubicBezTo>
                  <a:cubicBezTo>
                    <a:pt x="370682" y="215771"/>
                    <a:pt x="372956" y="215771"/>
                    <a:pt x="377504" y="218045"/>
                  </a:cubicBezTo>
                  <a:cubicBezTo>
                    <a:pt x="382052" y="218045"/>
                    <a:pt x="384326" y="218045"/>
                    <a:pt x="386600" y="218045"/>
                  </a:cubicBezTo>
                  <a:cubicBezTo>
                    <a:pt x="391149" y="220319"/>
                    <a:pt x="388875" y="222593"/>
                    <a:pt x="391149" y="224867"/>
                  </a:cubicBezTo>
                  <a:cubicBezTo>
                    <a:pt x="395697" y="227141"/>
                    <a:pt x="397971" y="227141"/>
                    <a:pt x="400245" y="231689"/>
                  </a:cubicBezTo>
                  <a:cubicBezTo>
                    <a:pt x="402519" y="236236"/>
                    <a:pt x="407067" y="238510"/>
                    <a:pt x="409342" y="243058"/>
                  </a:cubicBezTo>
                  <a:cubicBezTo>
                    <a:pt x="411616" y="245332"/>
                    <a:pt x="416164" y="247606"/>
                    <a:pt x="420712" y="249880"/>
                  </a:cubicBezTo>
                  <a:cubicBezTo>
                    <a:pt x="422986" y="252154"/>
                    <a:pt x="422986" y="256702"/>
                    <a:pt x="425260" y="256702"/>
                  </a:cubicBezTo>
                  <a:cubicBezTo>
                    <a:pt x="429809" y="256702"/>
                    <a:pt x="434357" y="254428"/>
                    <a:pt x="438905" y="254428"/>
                  </a:cubicBezTo>
                  <a:cubicBezTo>
                    <a:pt x="445727" y="254428"/>
                    <a:pt x="459372" y="258976"/>
                    <a:pt x="468469" y="258976"/>
                  </a:cubicBezTo>
                  <a:cubicBezTo>
                    <a:pt x="475291" y="258976"/>
                    <a:pt x="479839" y="261250"/>
                    <a:pt x="484387" y="258976"/>
                  </a:cubicBezTo>
                  <a:cubicBezTo>
                    <a:pt x="488936" y="258976"/>
                    <a:pt x="493484" y="256702"/>
                    <a:pt x="498032" y="256702"/>
                  </a:cubicBezTo>
                  <a:cubicBezTo>
                    <a:pt x="502580" y="256702"/>
                    <a:pt x="509403" y="258976"/>
                    <a:pt x="513951" y="258976"/>
                  </a:cubicBezTo>
                  <a:cubicBezTo>
                    <a:pt x="518499" y="261250"/>
                    <a:pt x="523048" y="258976"/>
                    <a:pt x="529870" y="261250"/>
                  </a:cubicBezTo>
                  <a:cubicBezTo>
                    <a:pt x="532144" y="263524"/>
                    <a:pt x="536692" y="268071"/>
                    <a:pt x="538966" y="268071"/>
                  </a:cubicBezTo>
                  <a:cubicBezTo>
                    <a:pt x="545789" y="270345"/>
                    <a:pt x="552611" y="272619"/>
                    <a:pt x="557159" y="272619"/>
                  </a:cubicBezTo>
                  <a:cubicBezTo>
                    <a:pt x="566256" y="274893"/>
                    <a:pt x="575352" y="279441"/>
                    <a:pt x="586723" y="277167"/>
                  </a:cubicBezTo>
                  <a:cubicBezTo>
                    <a:pt x="591271" y="277167"/>
                    <a:pt x="591271" y="279441"/>
                    <a:pt x="593545" y="281715"/>
                  </a:cubicBezTo>
                  <a:cubicBezTo>
                    <a:pt x="598093" y="283989"/>
                    <a:pt x="607190" y="281715"/>
                    <a:pt x="604916" y="283989"/>
                  </a:cubicBezTo>
                  <a:cubicBezTo>
                    <a:pt x="600368" y="283989"/>
                    <a:pt x="623109" y="270345"/>
                    <a:pt x="627657" y="268071"/>
                  </a:cubicBezTo>
                  <a:cubicBezTo>
                    <a:pt x="632205" y="268071"/>
                    <a:pt x="636753" y="265797"/>
                    <a:pt x="641302" y="265797"/>
                  </a:cubicBezTo>
                  <a:cubicBezTo>
                    <a:pt x="648124" y="265797"/>
                    <a:pt x="652672" y="263524"/>
                    <a:pt x="659495" y="263524"/>
                  </a:cubicBezTo>
                  <a:cubicBezTo>
                    <a:pt x="668591" y="263524"/>
                    <a:pt x="679962" y="265797"/>
                    <a:pt x="684510" y="261250"/>
                  </a:cubicBezTo>
                  <a:cubicBezTo>
                    <a:pt x="689058" y="258976"/>
                    <a:pt x="693606" y="256702"/>
                    <a:pt x="698155" y="254428"/>
                  </a:cubicBezTo>
                  <a:cubicBezTo>
                    <a:pt x="700429" y="252154"/>
                    <a:pt x="700429" y="247606"/>
                    <a:pt x="702703" y="243058"/>
                  </a:cubicBezTo>
                  <a:cubicBezTo>
                    <a:pt x="704977" y="240784"/>
                    <a:pt x="707251" y="240784"/>
                    <a:pt x="709525" y="238510"/>
                  </a:cubicBezTo>
                  <a:cubicBezTo>
                    <a:pt x="711799" y="236236"/>
                    <a:pt x="711799" y="236236"/>
                    <a:pt x="714073" y="233962"/>
                  </a:cubicBezTo>
                  <a:cubicBezTo>
                    <a:pt x="714073" y="233962"/>
                    <a:pt x="716348" y="233962"/>
                    <a:pt x="716348" y="233962"/>
                  </a:cubicBezTo>
                  <a:cubicBezTo>
                    <a:pt x="716348" y="227141"/>
                    <a:pt x="702703" y="220319"/>
                    <a:pt x="698155" y="218045"/>
                  </a:cubicBezTo>
                  <a:cubicBezTo>
                    <a:pt x="695881" y="213497"/>
                    <a:pt x="700429" y="213497"/>
                    <a:pt x="698155" y="208949"/>
                  </a:cubicBezTo>
                  <a:cubicBezTo>
                    <a:pt x="695881" y="204401"/>
                    <a:pt x="698155" y="199854"/>
                    <a:pt x="702703" y="199854"/>
                  </a:cubicBezTo>
                  <a:cubicBezTo>
                    <a:pt x="709525" y="197580"/>
                    <a:pt x="711799" y="204401"/>
                    <a:pt x="729992" y="206675"/>
                  </a:cubicBezTo>
                  <a:cubicBezTo>
                    <a:pt x="732266" y="206675"/>
                    <a:pt x="736815" y="208949"/>
                    <a:pt x="739089" y="206675"/>
                  </a:cubicBezTo>
                  <a:cubicBezTo>
                    <a:pt x="739089" y="202127"/>
                    <a:pt x="743637" y="202127"/>
                    <a:pt x="745911" y="199854"/>
                  </a:cubicBezTo>
                  <a:cubicBezTo>
                    <a:pt x="748185" y="197580"/>
                    <a:pt x="745911" y="195306"/>
                    <a:pt x="748185" y="193032"/>
                  </a:cubicBezTo>
                  <a:cubicBezTo>
                    <a:pt x="750459" y="190758"/>
                    <a:pt x="755008" y="193032"/>
                    <a:pt x="757282" y="193032"/>
                  </a:cubicBezTo>
                  <a:cubicBezTo>
                    <a:pt x="764104" y="193032"/>
                    <a:pt x="770926" y="188484"/>
                    <a:pt x="775475" y="183936"/>
                  </a:cubicBezTo>
                  <a:cubicBezTo>
                    <a:pt x="775475" y="181662"/>
                    <a:pt x="770926" y="179388"/>
                    <a:pt x="773201" y="174840"/>
                  </a:cubicBezTo>
                  <a:cubicBezTo>
                    <a:pt x="775475" y="170293"/>
                    <a:pt x="773201" y="168019"/>
                    <a:pt x="782297" y="168019"/>
                  </a:cubicBezTo>
                  <a:cubicBezTo>
                    <a:pt x="786845" y="168019"/>
                    <a:pt x="786845" y="170293"/>
                    <a:pt x="789119" y="165745"/>
                  </a:cubicBezTo>
                  <a:cubicBezTo>
                    <a:pt x="789119" y="161197"/>
                    <a:pt x="793668" y="163471"/>
                    <a:pt x="795942" y="163471"/>
                  </a:cubicBezTo>
                  <a:cubicBezTo>
                    <a:pt x="795942" y="163471"/>
                    <a:pt x="800490" y="161197"/>
                    <a:pt x="802764" y="161197"/>
                  </a:cubicBezTo>
                  <a:cubicBezTo>
                    <a:pt x="805038" y="161197"/>
                    <a:pt x="807312" y="161197"/>
                    <a:pt x="807312" y="161197"/>
                  </a:cubicBezTo>
                  <a:cubicBezTo>
                    <a:pt x="811861" y="161197"/>
                    <a:pt x="814135" y="158923"/>
                    <a:pt x="814135" y="158923"/>
                  </a:cubicBezTo>
                  <a:cubicBezTo>
                    <a:pt x="814135" y="158923"/>
                    <a:pt x="818683" y="161197"/>
                    <a:pt x="818683" y="161197"/>
                  </a:cubicBezTo>
                  <a:cubicBezTo>
                    <a:pt x="823231" y="163471"/>
                    <a:pt x="825505" y="163471"/>
                    <a:pt x="827779" y="163471"/>
                  </a:cubicBezTo>
                  <a:cubicBezTo>
                    <a:pt x="839150" y="161197"/>
                    <a:pt x="827779" y="154375"/>
                    <a:pt x="825505" y="149827"/>
                  </a:cubicBezTo>
                  <a:cubicBezTo>
                    <a:pt x="814135" y="143005"/>
                    <a:pt x="802764" y="136184"/>
                    <a:pt x="791393" y="131636"/>
                  </a:cubicBezTo>
                  <a:cubicBezTo>
                    <a:pt x="786845" y="129362"/>
                    <a:pt x="777749" y="127088"/>
                    <a:pt x="775475" y="133910"/>
                  </a:cubicBezTo>
                  <a:cubicBezTo>
                    <a:pt x="770926" y="140731"/>
                    <a:pt x="764104" y="131636"/>
                    <a:pt x="757282" y="133910"/>
                  </a:cubicBezTo>
                  <a:cubicBezTo>
                    <a:pt x="755008" y="133910"/>
                    <a:pt x="750459" y="133910"/>
                    <a:pt x="748185" y="133910"/>
                  </a:cubicBezTo>
                  <a:cubicBezTo>
                    <a:pt x="745911" y="133910"/>
                    <a:pt x="745911" y="138458"/>
                    <a:pt x="741363" y="136184"/>
                  </a:cubicBezTo>
                  <a:cubicBezTo>
                    <a:pt x="739089" y="133910"/>
                    <a:pt x="729992" y="129362"/>
                    <a:pt x="732266" y="127088"/>
                  </a:cubicBezTo>
                  <a:cubicBezTo>
                    <a:pt x="734541" y="124814"/>
                    <a:pt x="736815" y="124814"/>
                    <a:pt x="734541" y="122540"/>
                  </a:cubicBezTo>
                  <a:cubicBezTo>
                    <a:pt x="732266" y="117992"/>
                    <a:pt x="732266" y="115718"/>
                    <a:pt x="732266" y="113444"/>
                  </a:cubicBezTo>
                  <a:cubicBezTo>
                    <a:pt x="732266" y="104349"/>
                    <a:pt x="732266" y="95253"/>
                    <a:pt x="732266" y="86157"/>
                  </a:cubicBezTo>
                  <a:cubicBezTo>
                    <a:pt x="739089" y="90705"/>
                    <a:pt x="745911" y="90705"/>
                    <a:pt x="752733" y="92979"/>
                  </a:cubicBezTo>
                  <a:cubicBezTo>
                    <a:pt x="759556" y="95253"/>
                    <a:pt x="759556" y="88431"/>
                    <a:pt x="764104" y="86157"/>
                  </a:cubicBezTo>
                  <a:cubicBezTo>
                    <a:pt x="766378" y="81609"/>
                    <a:pt x="775475" y="83883"/>
                    <a:pt x="775475" y="79335"/>
                  </a:cubicBezTo>
                  <a:cubicBezTo>
                    <a:pt x="777749" y="77062"/>
                    <a:pt x="770926" y="77062"/>
                    <a:pt x="770926" y="74788"/>
                  </a:cubicBezTo>
                  <a:cubicBezTo>
                    <a:pt x="768652" y="72514"/>
                    <a:pt x="768652" y="72514"/>
                    <a:pt x="768652" y="70240"/>
                  </a:cubicBezTo>
                  <a:cubicBezTo>
                    <a:pt x="768652" y="67966"/>
                    <a:pt x="770926" y="65692"/>
                    <a:pt x="768652" y="63418"/>
                  </a:cubicBezTo>
                  <a:cubicBezTo>
                    <a:pt x="768652" y="63418"/>
                    <a:pt x="768652" y="61144"/>
                    <a:pt x="768652" y="58870"/>
                  </a:cubicBezTo>
                  <a:cubicBezTo>
                    <a:pt x="770926" y="56596"/>
                    <a:pt x="768652" y="56596"/>
                    <a:pt x="768652" y="54322"/>
                  </a:cubicBezTo>
                  <a:cubicBezTo>
                    <a:pt x="768652" y="47500"/>
                    <a:pt x="766378" y="42953"/>
                    <a:pt x="770926" y="38405"/>
                  </a:cubicBezTo>
                  <a:cubicBezTo>
                    <a:pt x="777749" y="33857"/>
                    <a:pt x="768652" y="29309"/>
                    <a:pt x="766378" y="27035"/>
                  </a:cubicBezTo>
                  <a:cubicBezTo>
                    <a:pt x="764104" y="22487"/>
                    <a:pt x="759556" y="20213"/>
                    <a:pt x="757282" y="22487"/>
                  </a:cubicBezTo>
                  <a:cubicBezTo>
                    <a:pt x="752733" y="22487"/>
                    <a:pt x="750459" y="20213"/>
                    <a:pt x="748185" y="17939"/>
                  </a:cubicBezTo>
                  <a:cubicBezTo>
                    <a:pt x="755008" y="15665"/>
                    <a:pt x="752733" y="6570"/>
                    <a:pt x="759556" y="6570"/>
                  </a:cubicBezTo>
                  <a:cubicBezTo>
                    <a:pt x="768652" y="4296"/>
                    <a:pt x="775475" y="-252"/>
                    <a:pt x="784571" y="2022"/>
                  </a:cubicBezTo>
                  <a:cubicBezTo>
                    <a:pt x="789120" y="2022"/>
                    <a:pt x="793099" y="885"/>
                    <a:pt x="796795" y="316"/>
                  </a:cubicBezTo>
                  <a:close/>
                </a:path>
              </a:pathLst>
            </a:custGeom>
            <a:solidFill>
              <a:schemeClr val="accent2">
                <a:lumMod val="20000"/>
                <a:lumOff val="80000"/>
              </a:schemeClr>
            </a:solidFill>
            <a:ln w="3175">
              <a:solidFill>
                <a:schemeClr val="accent2">
                  <a:lumMod val="20000"/>
                  <a:lumOff val="80000"/>
                </a:schemeClr>
              </a:solidFill>
              <a:round/>
              <a:headEnd/>
              <a:tailEnd/>
            </a:ln>
          </p:spPr>
          <p:txBody>
            <a:bodyPr vert="horz" wrap="square" lIns="68455" tIns="34227" rIns="68455" bIns="3422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48" b="0" i="0" u="none" strike="noStrike" kern="1200" cap="none" spc="0" normalizeH="0" baseline="0" noProof="0" dirty="0">
                <a:ln>
                  <a:noFill/>
                </a:ln>
                <a:solidFill>
                  <a:srgbClr val="000000"/>
                </a:solidFill>
                <a:effectLst/>
                <a:uLnTx/>
                <a:uFillTx/>
                <a:latin typeface="Calibri"/>
                <a:ea typeface="+mn-ea"/>
                <a:cs typeface="+mn-cs"/>
              </a:endParaRPr>
            </a:p>
          </p:txBody>
        </p:sp>
        <p:sp>
          <p:nvSpPr>
            <p:cNvPr id="242" name="Freihandform 238">
              <a:extLst>
                <a:ext uri="{FF2B5EF4-FFF2-40B4-BE49-F238E27FC236}">
                  <a16:creationId xmlns:a16="http://schemas.microsoft.com/office/drawing/2014/main" id="{9772EE22-85C3-65B5-BD6E-601E9F8F5A11}"/>
                </a:ext>
              </a:extLst>
            </p:cNvPr>
            <p:cNvSpPr/>
            <p:nvPr/>
          </p:nvSpPr>
          <p:spPr>
            <a:xfrm>
              <a:off x="3450301" y="1564866"/>
              <a:ext cx="386302" cy="463111"/>
            </a:xfrm>
            <a:custGeom>
              <a:avLst/>
              <a:gdLst>
                <a:gd name="connsiteX0" fmla="*/ 265655 w 1448747"/>
                <a:gd name="connsiteY0" fmla="*/ 1067991 h 1736805"/>
                <a:gd name="connsiteX1" fmla="*/ 271987 w 1448747"/>
                <a:gd name="connsiteY1" fmla="*/ 1074062 h 1736805"/>
                <a:gd name="connsiteX2" fmla="*/ 266436 w 1448747"/>
                <a:gd name="connsiteY2" fmla="*/ 1085164 h 1736805"/>
                <a:gd name="connsiteX3" fmla="*/ 265655 w 1448747"/>
                <a:gd name="connsiteY3" fmla="*/ 1067991 h 1736805"/>
                <a:gd name="connsiteX4" fmla="*/ 1059012 w 1448747"/>
                <a:gd name="connsiteY4" fmla="*/ 923069 h 1736805"/>
                <a:gd name="connsiteX5" fmla="*/ 1059500 w 1448747"/>
                <a:gd name="connsiteY5" fmla="*/ 924186 h 1736805"/>
                <a:gd name="connsiteX6" fmla="*/ 1060194 w 1448747"/>
                <a:gd name="connsiteY6" fmla="*/ 935288 h 1736805"/>
                <a:gd name="connsiteX7" fmla="*/ 446221 w 1448747"/>
                <a:gd name="connsiteY7" fmla="*/ 207141 h 1736805"/>
                <a:gd name="connsiteX8" fmla="*/ 446221 w 1448747"/>
                <a:gd name="connsiteY8" fmla="*/ 215413 h 1736805"/>
                <a:gd name="connsiteX9" fmla="*/ 455162 w 1448747"/>
                <a:gd name="connsiteY9" fmla="*/ 230314 h 1736805"/>
                <a:gd name="connsiteX10" fmla="*/ 460732 w 1448747"/>
                <a:gd name="connsiteY10" fmla="*/ 232660 h 1736805"/>
                <a:gd name="connsiteX11" fmla="*/ 390491 w 1448747"/>
                <a:gd name="connsiteY11" fmla="*/ 109134 h 1736805"/>
                <a:gd name="connsiteX12" fmla="*/ 390491 w 1448747"/>
                <a:gd name="connsiteY12" fmla="*/ 120588 h 1736805"/>
                <a:gd name="connsiteX13" fmla="*/ 397004 w 1448747"/>
                <a:gd name="connsiteY13" fmla="*/ 120588 h 1736805"/>
                <a:gd name="connsiteX14" fmla="*/ 385271 w 1448747"/>
                <a:gd name="connsiteY14" fmla="*/ 99953 h 1736805"/>
                <a:gd name="connsiteX15" fmla="*/ 375622 w 1448747"/>
                <a:gd name="connsiteY15" fmla="*/ 102642 h 1736805"/>
                <a:gd name="connsiteX16" fmla="*/ 386800 w 1448747"/>
                <a:gd name="connsiteY16" fmla="*/ 102642 h 1736805"/>
                <a:gd name="connsiteX17" fmla="*/ 266927 w 1448747"/>
                <a:gd name="connsiteY17" fmla="*/ 0 h 1736805"/>
                <a:gd name="connsiteX18" fmla="*/ 289152 w 1448747"/>
                <a:gd name="connsiteY18" fmla="*/ 9525 h 1736805"/>
                <a:gd name="connsiteX19" fmla="*/ 305027 w 1448747"/>
                <a:gd name="connsiteY19" fmla="*/ 25400 h 1736805"/>
                <a:gd name="connsiteX20" fmla="*/ 327252 w 1448747"/>
                <a:gd name="connsiteY20" fmla="*/ 28575 h 1736805"/>
                <a:gd name="connsiteX21" fmla="*/ 333602 w 1448747"/>
                <a:gd name="connsiteY21" fmla="*/ 38100 h 1736805"/>
                <a:gd name="connsiteX22" fmla="*/ 336777 w 1448747"/>
                <a:gd name="connsiteY22" fmla="*/ 47625 h 1736805"/>
                <a:gd name="connsiteX23" fmla="*/ 355827 w 1448747"/>
                <a:gd name="connsiteY23" fmla="*/ 60325 h 1736805"/>
                <a:gd name="connsiteX24" fmla="*/ 378052 w 1448747"/>
                <a:gd name="connsiteY24" fmla="*/ 85725 h 1736805"/>
                <a:gd name="connsiteX25" fmla="*/ 387577 w 1448747"/>
                <a:gd name="connsiteY25" fmla="*/ 88900 h 1736805"/>
                <a:gd name="connsiteX26" fmla="*/ 390752 w 1448747"/>
                <a:gd name="connsiteY26" fmla="*/ 98425 h 1736805"/>
                <a:gd name="connsiteX27" fmla="*/ 386116 w 1448747"/>
                <a:gd name="connsiteY27" fmla="*/ 99717 h 1736805"/>
                <a:gd name="connsiteX28" fmla="*/ 389995 w 1448747"/>
                <a:gd name="connsiteY28" fmla="*/ 102642 h 1736805"/>
                <a:gd name="connsiteX29" fmla="*/ 390491 w 1448747"/>
                <a:gd name="connsiteY29" fmla="*/ 102642 h 1736805"/>
                <a:gd name="connsiteX30" fmla="*/ 390491 w 1448747"/>
                <a:gd name="connsiteY30" fmla="*/ 103016 h 1736805"/>
                <a:gd name="connsiteX31" fmla="*/ 392019 w 1448747"/>
                <a:gd name="connsiteY31" fmla="*/ 104168 h 1736805"/>
                <a:gd name="connsiteX32" fmla="*/ 400277 w 1448747"/>
                <a:gd name="connsiteY32" fmla="*/ 107950 h 1736805"/>
                <a:gd name="connsiteX33" fmla="*/ 419327 w 1448747"/>
                <a:gd name="connsiteY33" fmla="*/ 101600 h 1736805"/>
                <a:gd name="connsiteX34" fmla="*/ 438377 w 1448747"/>
                <a:gd name="connsiteY34" fmla="*/ 88900 h 1736805"/>
                <a:gd name="connsiteX35" fmla="*/ 457427 w 1448747"/>
                <a:gd name="connsiteY35" fmla="*/ 76200 h 1736805"/>
                <a:gd name="connsiteX36" fmla="*/ 492352 w 1448747"/>
                <a:gd name="connsiteY36" fmla="*/ 76200 h 1736805"/>
                <a:gd name="connsiteX37" fmla="*/ 501877 w 1448747"/>
                <a:gd name="connsiteY37" fmla="*/ 79375 h 1736805"/>
                <a:gd name="connsiteX38" fmla="*/ 520927 w 1448747"/>
                <a:gd name="connsiteY38" fmla="*/ 92075 h 1736805"/>
                <a:gd name="connsiteX39" fmla="*/ 524102 w 1448747"/>
                <a:gd name="connsiteY39" fmla="*/ 101600 h 1736805"/>
                <a:gd name="connsiteX40" fmla="*/ 520927 w 1448747"/>
                <a:gd name="connsiteY40" fmla="*/ 111125 h 1736805"/>
                <a:gd name="connsiteX41" fmla="*/ 514577 w 1448747"/>
                <a:gd name="connsiteY41" fmla="*/ 136525 h 1736805"/>
                <a:gd name="connsiteX42" fmla="*/ 511402 w 1448747"/>
                <a:gd name="connsiteY42" fmla="*/ 149225 h 1736805"/>
                <a:gd name="connsiteX43" fmla="*/ 489177 w 1448747"/>
                <a:gd name="connsiteY43" fmla="*/ 158750 h 1736805"/>
                <a:gd name="connsiteX44" fmla="*/ 473302 w 1448747"/>
                <a:gd name="connsiteY44" fmla="*/ 184150 h 1736805"/>
                <a:gd name="connsiteX45" fmla="*/ 457427 w 1448747"/>
                <a:gd name="connsiteY45" fmla="*/ 187325 h 1736805"/>
                <a:gd name="connsiteX46" fmla="*/ 470127 w 1448747"/>
                <a:gd name="connsiteY46" fmla="*/ 228600 h 1736805"/>
                <a:gd name="connsiteX47" fmla="*/ 479652 w 1448747"/>
                <a:gd name="connsiteY47" fmla="*/ 234950 h 1736805"/>
                <a:gd name="connsiteX48" fmla="*/ 482827 w 1448747"/>
                <a:gd name="connsiteY48" fmla="*/ 244475 h 1736805"/>
                <a:gd name="connsiteX49" fmla="*/ 481953 w 1448747"/>
                <a:gd name="connsiteY49" fmla="*/ 246660 h 1736805"/>
                <a:gd name="connsiteX50" fmla="*/ 482222 w 1448747"/>
                <a:gd name="connsiteY50" fmla="*/ 246967 h 1736805"/>
                <a:gd name="connsiteX51" fmla="*/ 482916 w 1448747"/>
                <a:gd name="connsiteY51" fmla="*/ 252518 h 1736805"/>
                <a:gd name="connsiteX52" fmla="*/ 488466 w 1448747"/>
                <a:gd name="connsiteY52" fmla="*/ 263620 h 1736805"/>
                <a:gd name="connsiteX53" fmla="*/ 477365 w 1448747"/>
                <a:gd name="connsiteY53" fmla="*/ 280273 h 1736805"/>
                <a:gd name="connsiteX54" fmla="*/ 460713 w 1448747"/>
                <a:gd name="connsiteY54" fmla="*/ 285824 h 1736805"/>
                <a:gd name="connsiteX55" fmla="*/ 438509 w 1448747"/>
                <a:gd name="connsiteY55" fmla="*/ 280273 h 1736805"/>
                <a:gd name="connsiteX56" fmla="*/ 444060 w 1448747"/>
                <a:gd name="connsiteY56" fmla="*/ 291375 h 1736805"/>
                <a:gd name="connsiteX57" fmla="*/ 455162 w 1448747"/>
                <a:gd name="connsiteY57" fmla="*/ 308028 h 1736805"/>
                <a:gd name="connsiteX58" fmla="*/ 466263 w 1448747"/>
                <a:gd name="connsiteY58" fmla="*/ 330232 h 1736805"/>
                <a:gd name="connsiteX59" fmla="*/ 477365 w 1448747"/>
                <a:gd name="connsiteY59" fmla="*/ 352436 h 1736805"/>
                <a:gd name="connsiteX60" fmla="*/ 488466 w 1448747"/>
                <a:gd name="connsiteY60" fmla="*/ 346885 h 1736805"/>
                <a:gd name="connsiteX61" fmla="*/ 494017 w 1448747"/>
                <a:gd name="connsiteY61" fmla="*/ 357987 h 1736805"/>
                <a:gd name="connsiteX62" fmla="*/ 516220 w 1448747"/>
                <a:gd name="connsiteY62" fmla="*/ 374640 h 1736805"/>
                <a:gd name="connsiteX63" fmla="*/ 538423 w 1448747"/>
                <a:gd name="connsiteY63" fmla="*/ 374640 h 1736805"/>
                <a:gd name="connsiteX64" fmla="*/ 549525 w 1448747"/>
                <a:gd name="connsiteY64" fmla="*/ 380191 h 1736805"/>
                <a:gd name="connsiteX65" fmla="*/ 549525 w 1448747"/>
                <a:gd name="connsiteY65" fmla="*/ 391293 h 1736805"/>
                <a:gd name="connsiteX66" fmla="*/ 566177 w 1448747"/>
                <a:gd name="connsiteY66" fmla="*/ 402395 h 1736805"/>
                <a:gd name="connsiteX67" fmla="*/ 599482 w 1448747"/>
                <a:gd name="connsiteY67" fmla="*/ 419048 h 1736805"/>
                <a:gd name="connsiteX68" fmla="*/ 571728 w 1448747"/>
                <a:gd name="connsiteY68" fmla="*/ 452353 h 1736805"/>
                <a:gd name="connsiteX69" fmla="*/ 571728 w 1448747"/>
                <a:gd name="connsiteY69" fmla="*/ 463455 h 1736805"/>
                <a:gd name="connsiteX70" fmla="*/ 571728 w 1448747"/>
                <a:gd name="connsiteY70" fmla="*/ 474557 h 1736805"/>
                <a:gd name="connsiteX71" fmla="*/ 566177 w 1448747"/>
                <a:gd name="connsiteY71" fmla="*/ 496761 h 1736805"/>
                <a:gd name="connsiteX72" fmla="*/ 588380 w 1448747"/>
                <a:gd name="connsiteY72" fmla="*/ 507863 h 1736805"/>
                <a:gd name="connsiteX73" fmla="*/ 616134 w 1448747"/>
                <a:gd name="connsiteY73" fmla="*/ 524516 h 1736805"/>
                <a:gd name="connsiteX74" fmla="*/ 643888 w 1448747"/>
                <a:gd name="connsiteY74" fmla="*/ 541169 h 1736805"/>
                <a:gd name="connsiteX75" fmla="*/ 666091 w 1448747"/>
                <a:gd name="connsiteY75" fmla="*/ 557822 h 1736805"/>
                <a:gd name="connsiteX76" fmla="*/ 693844 w 1448747"/>
                <a:gd name="connsiteY76" fmla="*/ 563373 h 1736805"/>
                <a:gd name="connsiteX77" fmla="*/ 710497 w 1448747"/>
                <a:gd name="connsiteY77" fmla="*/ 568924 h 1736805"/>
                <a:gd name="connsiteX78" fmla="*/ 727149 w 1448747"/>
                <a:gd name="connsiteY78" fmla="*/ 580026 h 1736805"/>
                <a:gd name="connsiteX79" fmla="*/ 749352 w 1448747"/>
                <a:gd name="connsiteY79" fmla="*/ 585577 h 1736805"/>
                <a:gd name="connsiteX80" fmla="*/ 771555 w 1448747"/>
                <a:gd name="connsiteY80" fmla="*/ 585577 h 1736805"/>
                <a:gd name="connsiteX81" fmla="*/ 804859 w 1448747"/>
                <a:gd name="connsiteY81" fmla="*/ 591128 h 1736805"/>
                <a:gd name="connsiteX82" fmla="*/ 821512 w 1448747"/>
                <a:gd name="connsiteY82" fmla="*/ 607781 h 1736805"/>
                <a:gd name="connsiteX83" fmla="*/ 849266 w 1448747"/>
                <a:gd name="connsiteY83" fmla="*/ 624434 h 1736805"/>
                <a:gd name="connsiteX84" fmla="*/ 865918 w 1448747"/>
                <a:gd name="connsiteY84" fmla="*/ 618883 h 1736805"/>
                <a:gd name="connsiteX85" fmla="*/ 888121 w 1448747"/>
                <a:gd name="connsiteY85" fmla="*/ 629985 h 1736805"/>
                <a:gd name="connsiteX86" fmla="*/ 915875 w 1448747"/>
                <a:gd name="connsiteY86" fmla="*/ 635535 h 1736805"/>
                <a:gd name="connsiteX87" fmla="*/ 943628 w 1448747"/>
                <a:gd name="connsiteY87" fmla="*/ 635535 h 1736805"/>
                <a:gd name="connsiteX88" fmla="*/ 960281 w 1448747"/>
                <a:gd name="connsiteY88" fmla="*/ 646637 h 1736805"/>
                <a:gd name="connsiteX89" fmla="*/ 982484 w 1448747"/>
                <a:gd name="connsiteY89" fmla="*/ 646637 h 1736805"/>
                <a:gd name="connsiteX90" fmla="*/ 999136 w 1448747"/>
                <a:gd name="connsiteY90" fmla="*/ 635535 h 1736805"/>
                <a:gd name="connsiteX91" fmla="*/ 982484 w 1448747"/>
                <a:gd name="connsiteY91" fmla="*/ 602230 h 1736805"/>
                <a:gd name="connsiteX92" fmla="*/ 982484 w 1448747"/>
                <a:gd name="connsiteY92" fmla="*/ 580026 h 1736805"/>
                <a:gd name="connsiteX93" fmla="*/ 982484 w 1448747"/>
                <a:gd name="connsiteY93" fmla="*/ 552271 h 1736805"/>
                <a:gd name="connsiteX94" fmla="*/ 1010237 w 1448747"/>
                <a:gd name="connsiteY94" fmla="*/ 546720 h 1736805"/>
                <a:gd name="connsiteX95" fmla="*/ 1021339 w 1448747"/>
                <a:gd name="connsiteY95" fmla="*/ 585577 h 1736805"/>
                <a:gd name="connsiteX96" fmla="*/ 1026890 w 1448747"/>
                <a:gd name="connsiteY96" fmla="*/ 591128 h 1736805"/>
                <a:gd name="connsiteX97" fmla="*/ 1026890 w 1448747"/>
                <a:gd name="connsiteY97" fmla="*/ 602230 h 1736805"/>
                <a:gd name="connsiteX98" fmla="*/ 1060194 w 1448747"/>
                <a:gd name="connsiteY98" fmla="*/ 618883 h 1736805"/>
                <a:gd name="connsiteX99" fmla="*/ 1082397 w 1448747"/>
                <a:gd name="connsiteY99" fmla="*/ 624434 h 1736805"/>
                <a:gd name="connsiteX100" fmla="*/ 1093499 w 1448747"/>
                <a:gd name="connsiteY100" fmla="*/ 624434 h 1736805"/>
                <a:gd name="connsiteX101" fmla="*/ 1110151 w 1448747"/>
                <a:gd name="connsiteY101" fmla="*/ 618883 h 1736805"/>
                <a:gd name="connsiteX102" fmla="*/ 1154557 w 1448747"/>
                <a:gd name="connsiteY102" fmla="*/ 618883 h 1736805"/>
                <a:gd name="connsiteX103" fmla="*/ 1165659 w 1448747"/>
                <a:gd name="connsiteY103" fmla="*/ 618883 h 1736805"/>
                <a:gd name="connsiteX104" fmla="*/ 1187862 w 1448747"/>
                <a:gd name="connsiteY104" fmla="*/ 618883 h 1736805"/>
                <a:gd name="connsiteX105" fmla="*/ 1187862 w 1448747"/>
                <a:gd name="connsiteY105" fmla="*/ 596679 h 1736805"/>
                <a:gd name="connsiteX106" fmla="*/ 1165659 w 1448747"/>
                <a:gd name="connsiteY106" fmla="*/ 580026 h 1736805"/>
                <a:gd name="connsiteX107" fmla="*/ 1171209 w 1448747"/>
                <a:gd name="connsiteY107" fmla="*/ 563373 h 1736805"/>
                <a:gd name="connsiteX108" fmla="*/ 1193412 w 1448747"/>
                <a:gd name="connsiteY108" fmla="*/ 563373 h 1736805"/>
                <a:gd name="connsiteX109" fmla="*/ 1210065 w 1448747"/>
                <a:gd name="connsiteY109" fmla="*/ 546720 h 1736805"/>
                <a:gd name="connsiteX110" fmla="*/ 1232268 w 1448747"/>
                <a:gd name="connsiteY110" fmla="*/ 518965 h 1736805"/>
                <a:gd name="connsiteX111" fmla="*/ 1265572 w 1448747"/>
                <a:gd name="connsiteY111" fmla="*/ 502312 h 1736805"/>
                <a:gd name="connsiteX112" fmla="*/ 1287775 w 1448747"/>
                <a:gd name="connsiteY112" fmla="*/ 480108 h 1736805"/>
                <a:gd name="connsiteX113" fmla="*/ 1298877 w 1448747"/>
                <a:gd name="connsiteY113" fmla="*/ 469006 h 1736805"/>
                <a:gd name="connsiteX114" fmla="*/ 1315529 w 1448747"/>
                <a:gd name="connsiteY114" fmla="*/ 480108 h 1736805"/>
                <a:gd name="connsiteX115" fmla="*/ 1321080 w 1448747"/>
                <a:gd name="connsiteY115" fmla="*/ 480108 h 1736805"/>
                <a:gd name="connsiteX116" fmla="*/ 1337732 w 1448747"/>
                <a:gd name="connsiteY116" fmla="*/ 485659 h 1736805"/>
                <a:gd name="connsiteX117" fmla="*/ 1343283 w 1448747"/>
                <a:gd name="connsiteY117" fmla="*/ 474557 h 1736805"/>
                <a:gd name="connsiteX118" fmla="*/ 1365486 w 1448747"/>
                <a:gd name="connsiteY118" fmla="*/ 463455 h 1736805"/>
                <a:gd name="connsiteX119" fmla="*/ 1387689 w 1448747"/>
                <a:gd name="connsiteY119" fmla="*/ 480108 h 1736805"/>
                <a:gd name="connsiteX120" fmla="*/ 1376587 w 1448747"/>
                <a:gd name="connsiteY120" fmla="*/ 491210 h 1736805"/>
                <a:gd name="connsiteX121" fmla="*/ 1393240 w 1448747"/>
                <a:gd name="connsiteY121" fmla="*/ 485659 h 1736805"/>
                <a:gd name="connsiteX122" fmla="*/ 1404341 w 1448747"/>
                <a:gd name="connsiteY122" fmla="*/ 502312 h 1736805"/>
                <a:gd name="connsiteX123" fmla="*/ 1393240 w 1448747"/>
                <a:gd name="connsiteY123" fmla="*/ 524516 h 1736805"/>
                <a:gd name="connsiteX124" fmla="*/ 1404341 w 1448747"/>
                <a:gd name="connsiteY124" fmla="*/ 524516 h 1736805"/>
                <a:gd name="connsiteX125" fmla="*/ 1432095 w 1448747"/>
                <a:gd name="connsiteY125" fmla="*/ 530067 h 1736805"/>
                <a:gd name="connsiteX126" fmla="*/ 1448747 w 1448747"/>
                <a:gd name="connsiteY126" fmla="*/ 541169 h 1736805"/>
                <a:gd name="connsiteX127" fmla="*/ 1448747 w 1448747"/>
                <a:gd name="connsiteY127" fmla="*/ 552271 h 1736805"/>
                <a:gd name="connsiteX128" fmla="*/ 1437646 w 1448747"/>
                <a:gd name="connsiteY128" fmla="*/ 563373 h 1736805"/>
                <a:gd name="connsiteX129" fmla="*/ 1448747 w 1448747"/>
                <a:gd name="connsiteY129" fmla="*/ 602230 h 1736805"/>
                <a:gd name="connsiteX130" fmla="*/ 1426544 w 1448747"/>
                <a:gd name="connsiteY130" fmla="*/ 591128 h 1736805"/>
                <a:gd name="connsiteX131" fmla="*/ 1393240 w 1448747"/>
                <a:gd name="connsiteY131" fmla="*/ 602230 h 1736805"/>
                <a:gd name="connsiteX132" fmla="*/ 1376587 w 1448747"/>
                <a:gd name="connsiteY132" fmla="*/ 618883 h 1736805"/>
                <a:gd name="connsiteX133" fmla="*/ 1371037 w 1448747"/>
                <a:gd name="connsiteY133" fmla="*/ 618883 h 1736805"/>
                <a:gd name="connsiteX134" fmla="*/ 1365486 w 1448747"/>
                <a:gd name="connsiteY134" fmla="*/ 629985 h 1736805"/>
                <a:gd name="connsiteX135" fmla="*/ 1354384 w 1448747"/>
                <a:gd name="connsiteY135" fmla="*/ 635535 h 1736805"/>
                <a:gd name="connsiteX136" fmla="*/ 1354384 w 1448747"/>
                <a:gd name="connsiteY136" fmla="*/ 652188 h 1736805"/>
                <a:gd name="connsiteX137" fmla="*/ 1359935 w 1448747"/>
                <a:gd name="connsiteY137" fmla="*/ 663290 h 1736805"/>
                <a:gd name="connsiteX138" fmla="*/ 1359935 w 1448747"/>
                <a:gd name="connsiteY138" fmla="*/ 679943 h 1736805"/>
                <a:gd name="connsiteX139" fmla="*/ 1343283 w 1448747"/>
                <a:gd name="connsiteY139" fmla="*/ 713249 h 1736805"/>
                <a:gd name="connsiteX140" fmla="*/ 1348834 w 1448747"/>
                <a:gd name="connsiteY140" fmla="*/ 729902 h 1736805"/>
                <a:gd name="connsiteX141" fmla="*/ 1332181 w 1448747"/>
                <a:gd name="connsiteY141" fmla="*/ 796513 h 1736805"/>
                <a:gd name="connsiteX142" fmla="*/ 1304428 w 1448747"/>
                <a:gd name="connsiteY142" fmla="*/ 785412 h 1736805"/>
                <a:gd name="connsiteX143" fmla="*/ 1298877 w 1448747"/>
                <a:gd name="connsiteY143" fmla="*/ 790962 h 1736805"/>
                <a:gd name="connsiteX144" fmla="*/ 1287775 w 1448747"/>
                <a:gd name="connsiteY144" fmla="*/ 785412 h 1736805"/>
                <a:gd name="connsiteX145" fmla="*/ 1293326 w 1448747"/>
                <a:gd name="connsiteY145" fmla="*/ 829819 h 1736805"/>
                <a:gd name="connsiteX146" fmla="*/ 1282225 w 1448747"/>
                <a:gd name="connsiteY146" fmla="*/ 846472 h 1736805"/>
                <a:gd name="connsiteX147" fmla="*/ 1293326 w 1448747"/>
                <a:gd name="connsiteY147" fmla="*/ 879778 h 1736805"/>
                <a:gd name="connsiteX148" fmla="*/ 1287775 w 1448747"/>
                <a:gd name="connsiteY148" fmla="*/ 896431 h 1736805"/>
                <a:gd name="connsiteX149" fmla="*/ 1271123 w 1448747"/>
                <a:gd name="connsiteY149" fmla="*/ 896431 h 1736805"/>
                <a:gd name="connsiteX150" fmla="*/ 1265572 w 1448747"/>
                <a:gd name="connsiteY150" fmla="*/ 907533 h 1736805"/>
                <a:gd name="connsiteX151" fmla="*/ 1237818 w 1448747"/>
                <a:gd name="connsiteY151" fmla="*/ 807615 h 1736805"/>
                <a:gd name="connsiteX152" fmla="*/ 1215615 w 1448747"/>
                <a:gd name="connsiteY152" fmla="*/ 807615 h 1736805"/>
                <a:gd name="connsiteX153" fmla="*/ 1215615 w 1448747"/>
                <a:gd name="connsiteY153" fmla="*/ 824268 h 1736805"/>
                <a:gd name="connsiteX154" fmla="*/ 1215615 w 1448747"/>
                <a:gd name="connsiteY154" fmla="*/ 840921 h 1736805"/>
                <a:gd name="connsiteX155" fmla="*/ 1204514 w 1448747"/>
                <a:gd name="connsiteY155" fmla="*/ 846472 h 1736805"/>
                <a:gd name="connsiteX156" fmla="*/ 1193412 w 1448747"/>
                <a:gd name="connsiteY156" fmla="*/ 829819 h 1736805"/>
                <a:gd name="connsiteX157" fmla="*/ 1193412 w 1448747"/>
                <a:gd name="connsiteY157" fmla="*/ 840921 h 1736805"/>
                <a:gd name="connsiteX158" fmla="*/ 1176760 w 1448747"/>
                <a:gd name="connsiteY158" fmla="*/ 813166 h 1736805"/>
                <a:gd name="connsiteX159" fmla="*/ 1187862 w 1448747"/>
                <a:gd name="connsiteY159" fmla="*/ 779861 h 1736805"/>
                <a:gd name="connsiteX160" fmla="*/ 1198963 w 1448747"/>
                <a:gd name="connsiteY160" fmla="*/ 774310 h 1736805"/>
                <a:gd name="connsiteX161" fmla="*/ 1210065 w 1448747"/>
                <a:gd name="connsiteY161" fmla="*/ 779861 h 1736805"/>
                <a:gd name="connsiteX162" fmla="*/ 1221166 w 1448747"/>
                <a:gd name="connsiteY162" fmla="*/ 735453 h 1736805"/>
                <a:gd name="connsiteX163" fmla="*/ 1232268 w 1448747"/>
                <a:gd name="connsiteY163" fmla="*/ 729902 h 1736805"/>
                <a:gd name="connsiteX164" fmla="*/ 1204514 w 1448747"/>
                <a:gd name="connsiteY164" fmla="*/ 718800 h 1736805"/>
                <a:gd name="connsiteX165" fmla="*/ 1176760 w 1448747"/>
                <a:gd name="connsiteY165" fmla="*/ 718800 h 1736805"/>
                <a:gd name="connsiteX166" fmla="*/ 1143456 w 1448747"/>
                <a:gd name="connsiteY166" fmla="*/ 718800 h 1736805"/>
                <a:gd name="connsiteX167" fmla="*/ 1093499 w 1448747"/>
                <a:gd name="connsiteY167" fmla="*/ 696596 h 1736805"/>
                <a:gd name="connsiteX168" fmla="*/ 1076847 w 1448747"/>
                <a:gd name="connsiteY168" fmla="*/ 657739 h 1736805"/>
                <a:gd name="connsiteX169" fmla="*/ 1076847 w 1448747"/>
                <a:gd name="connsiteY169" fmla="*/ 668841 h 1736805"/>
                <a:gd name="connsiteX170" fmla="*/ 1054644 w 1448747"/>
                <a:gd name="connsiteY170" fmla="*/ 657739 h 1736805"/>
                <a:gd name="connsiteX171" fmla="*/ 1037991 w 1448747"/>
                <a:gd name="connsiteY171" fmla="*/ 646637 h 1736805"/>
                <a:gd name="connsiteX172" fmla="*/ 1043542 w 1448747"/>
                <a:gd name="connsiteY172" fmla="*/ 652188 h 1736805"/>
                <a:gd name="connsiteX173" fmla="*/ 1032440 w 1448747"/>
                <a:gd name="connsiteY173" fmla="*/ 652188 h 1736805"/>
                <a:gd name="connsiteX174" fmla="*/ 1021339 w 1448747"/>
                <a:gd name="connsiteY174" fmla="*/ 641086 h 1736805"/>
                <a:gd name="connsiteX175" fmla="*/ 1010237 w 1448747"/>
                <a:gd name="connsiteY175" fmla="*/ 635535 h 1736805"/>
                <a:gd name="connsiteX176" fmla="*/ 1010237 w 1448747"/>
                <a:gd name="connsiteY176" fmla="*/ 641086 h 1736805"/>
                <a:gd name="connsiteX177" fmla="*/ 1021339 w 1448747"/>
                <a:gd name="connsiteY177" fmla="*/ 646637 h 1736805"/>
                <a:gd name="connsiteX178" fmla="*/ 1010237 w 1448747"/>
                <a:gd name="connsiteY178" fmla="*/ 679943 h 1736805"/>
                <a:gd name="connsiteX179" fmla="*/ 1026890 w 1448747"/>
                <a:gd name="connsiteY179" fmla="*/ 696596 h 1736805"/>
                <a:gd name="connsiteX180" fmla="*/ 1043542 w 1448747"/>
                <a:gd name="connsiteY180" fmla="*/ 702147 h 1736805"/>
                <a:gd name="connsiteX181" fmla="*/ 1054644 w 1448747"/>
                <a:gd name="connsiteY181" fmla="*/ 718800 h 1736805"/>
                <a:gd name="connsiteX182" fmla="*/ 1037991 w 1448747"/>
                <a:gd name="connsiteY182" fmla="*/ 718800 h 1736805"/>
                <a:gd name="connsiteX183" fmla="*/ 1026890 w 1448747"/>
                <a:gd name="connsiteY183" fmla="*/ 724351 h 1736805"/>
                <a:gd name="connsiteX184" fmla="*/ 1015788 w 1448747"/>
                <a:gd name="connsiteY184" fmla="*/ 729902 h 1736805"/>
                <a:gd name="connsiteX185" fmla="*/ 1015788 w 1448747"/>
                <a:gd name="connsiteY185" fmla="*/ 757657 h 1736805"/>
                <a:gd name="connsiteX186" fmla="*/ 1043542 w 1448747"/>
                <a:gd name="connsiteY186" fmla="*/ 768759 h 1736805"/>
                <a:gd name="connsiteX187" fmla="*/ 1049093 w 1448747"/>
                <a:gd name="connsiteY187" fmla="*/ 790962 h 1736805"/>
                <a:gd name="connsiteX188" fmla="*/ 1049093 w 1448747"/>
                <a:gd name="connsiteY188" fmla="*/ 807615 h 1736805"/>
                <a:gd name="connsiteX189" fmla="*/ 1054644 w 1448747"/>
                <a:gd name="connsiteY189" fmla="*/ 818717 h 1736805"/>
                <a:gd name="connsiteX190" fmla="*/ 1060194 w 1448747"/>
                <a:gd name="connsiteY190" fmla="*/ 829819 h 1736805"/>
                <a:gd name="connsiteX191" fmla="*/ 1065745 w 1448747"/>
                <a:gd name="connsiteY191" fmla="*/ 835370 h 1736805"/>
                <a:gd name="connsiteX192" fmla="*/ 1071296 w 1448747"/>
                <a:gd name="connsiteY192" fmla="*/ 846472 h 1736805"/>
                <a:gd name="connsiteX193" fmla="*/ 1071296 w 1448747"/>
                <a:gd name="connsiteY193" fmla="*/ 863125 h 1736805"/>
                <a:gd name="connsiteX194" fmla="*/ 1076847 w 1448747"/>
                <a:gd name="connsiteY194" fmla="*/ 885329 h 1736805"/>
                <a:gd name="connsiteX195" fmla="*/ 1082397 w 1448747"/>
                <a:gd name="connsiteY195" fmla="*/ 913084 h 1736805"/>
                <a:gd name="connsiteX196" fmla="*/ 1076847 w 1448747"/>
                <a:gd name="connsiteY196" fmla="*/ 907533 h 1736805"/>
                <a:gd name="connsiteX197" fmla="*/ 1082397 w 1448747"/>
                <a:gd name="connsiteY197" fmla="*/ 929737 h 1736805"/>
                <a:gd name="connsiteX198" fmla="*/ 1076847 w 1448747"/>
                <a:gd name="connsiteY198" fmla="*/ 918635 h 1736805"/>
                <a:gd name="connsiteX199" fmla="*/ 1065745 w 1448747"/>
                <a:gd name="connsiteY199" fmla="*/ 924186 h 1736805"/>
                <a:gd name="connsiteX200" fmla="*/ 1065745 w 1448747"/>
                <a:gd name="connsiteY200" fmla="*/ 901982 h 1736805"/>
                <a:gd name="connsiteX201" fmla="*/ 1060194 w 1448747"/>
                <a:gd name="connsiteY201" fmla="*/ 913084 h 1736805"/>
                <a:gd name="connsiteX202" fmla="*/ 1060194 w 1448747"/>
                <a:gd name="connsiteY202" fmla="*/ 896431 h 1736805"/>
                <a:gd name="connsiteX203" fmla="*/ 1058113 w 1448747"/>
                <a:gd name="connsiteY203" fmla="*/ 913778 h 1736805"/>
                <a:gd name="connsiteX204" fmla="*/ 1059012 w 1448747"/>
                <a:gd name="connsiteY204" fmla="*/ 923069 h 1736805"/>
                <a:gd name="connsiteX205" fmla="*/ 1054644 w 1448747"/>
                <a:gd name="connsiteY205" fmla="*/ 913084 h 1736805"/>
                <a:gd name="connsiteX206" fmla="*/ 1054644 w 1448747"/>
                <a:gd name="connsiteY206" fmla="*/ 929737 h 1736805"/>
                <a:gd name="connsiteX207" fmla="*/ 1049093 w 1448747"/>
                <a:gd name="connsiteY207" fmla="*/ 924186 h 1736805"/>
                <a:gd name="connsiteX208" fmla="*/ 1046664 w 1448747"/>
                <a:gd name="connsiteY208" fmla="*/ 924186 h 1736805"/>
                <a:gd name="connsiteX209" fmla="*/ 1046462 w 1448747"/>
                <a:gd name="connsiteY209" fmla="*/ 926619 h 1736805"/>
                <a:gd name="connsiteX210" fmla="*/ 1043542 w 1448747"/>
                <a:gd name="connsiteY210" fmla="*/ 924186 h 1736805"/>
                <a:gd name="connsiteX211" fmla="*/ 1046317 w 1448747"/>
                <a:gd name="connsiteY211" fmla="*/ 928349 h 1736805"/>
                <a:gd name="connsiteX212" fmla="*/ 1046462 w 1448747"/>
                <a:gd name="connsiteY212" fmla="*/ 926619 h 1736805"/>
                <a:gd name="connsiteX213" fmla="*/ 1047705 w 1448747"/>
                <a:gd name="connsiteY213" fmla="*/ 927655 h 1736805"/>
                <a:gd name="connsiteX214" fmla="*/ 1043542 w 1448747"/>
                <a:gd name="connsiteY214" fmla="*/ 935288 h 1736805"/>
                <a:gd name="connsiteX215" fmla="*/ 1037991 w 1448747"/>
                <a:gd name="connsiteY215" fmla="*/ 907533 h 1736805"/>
                <a:gd name="connsiteX216" fmla="*/ 1021339 w 1448747"/>
                <a:gd name="connsiteY216" fmla="*/ 885329 h 1736805"/>
                <a:gd name="connsiteX217" fmla="*/ 1032440 w 1448747"/>
                <a:gd name="connsiteY217" fmla="*/ 907533 h 1736805"/>
                <a:gd name="connsiteX218" fmla="*/ 999136 w 1448747"/>
                <a:gd name="connsiteY218" fmla="*/ 935288 h 1736805"/>
                <a:gd name="connsiteX219" fmla="*/ 976933 w 1448747"/>
                <a:gd name="connsiteY219" fmla="*/ 951941 h 1736805"/>
                <a:gd name="connsiteX220" fmla="*/ 988034 w 1448747"/>
                <a:gd name="connsiteY220" fmla="*/ 985247 h 1736805"/>
                <a:gd name="connsiteX221" fmla="*/ 976933 w 1448747"/>
                <a:gd name="connsiteY221" fmla="*/ 996348 h 1736805"/>
                <a:gd name="connsiteX222" fmla="*/ 971382 w 1448747"/>
                <a:gd name="connsiteY222" fmla="*/ 1013001 h 1736805"/>
                <a:gd name="connsiteX223" fmla="*/ 949179 w 1448747"/>
                <a:gd name="connsiteY223" fmla="*/ 1018552 h 1736805"/>
                <a:gd name="connsiteX224" fmla="*/ 960281 w 1448747"/>
                <a:gd name="connsiteY224" fmla="*/ 1029654 h 1736805"/>
                <a:gd name="connsiteX225" fmla="*/ 915875 w 1448747"/>
                <a:gd name="connsiteY225" fmla="*/ 1046307 h 1736805"/>
                <a:gd name="connsiteX226" fmla="*/ 910324 w 1448747"/>
                <a:gd name="connsiteY226" fmla="*/ 1035205 h 1736805"/>
                <a:gd name="connsiteX227" fmla="*/ 899222 w 1448747"/>
                <a:gd name="connsiteY227" fmla="*/ 1057409 h 1736805"/>
                <a:gd name="connsiteX228" fmla="*/ 910324 w 1448747"/>
                <a:gd name="connsiteY228" fmla="*/ 1046307 h 1736805"/>
                <a:gd name="connsiteX229" fmla="*/ 893672 w 1448747"/>
                <a:gd name="connsiteY229" fmla="*/ 1068511 h 1736805"/>
                <a:gd name="connsiteX230" fmla="*/ 871469 w 1448747"/>
                <a:gd name="connsiteY230" fmla="*/ 1101817 h 1736805"/>
                <a:gd name="connsiteX231" fmla="*/ 838164 w 1448747"/>
                <a:gd name="connsiteY231" fmla="*/ 1135123 h 1736805"/>
                <a:gd name="connsiteX232" fmla="*/ 810410 w 1448747"/>
                <a:gd name="connsiteY232" fmla="*/ 1162878 h 1736805"/>
                <a:gd name="connsiteX233" fmla="*/ 777106 w 1448747"/>
                <a:gd name="connsiteY233" fmla="*/ 1190632 h 1736805"/>
                <a:gd name="connsiteX234" fmla="*/ 766004 w 1448747"/>
                <a:gd name="connsiteY234" fmla="*/ 1207285 h 1736805"/>
                <a:gd name="connsiteX235" fmla="*/ 771555 w 1448747"/>
                <a:gd name="connsiteY235" fmla="*/ 1223938 h 1736805"/>
                <a:gd name="connsiteX236" fmla="*/ 721598 w 1448747"/>
                <a:gd name="connsiteY236" fmla="*/ 1246142 h 1736805"/>
                <a:gd name="connsiteX237" fmla="*/ 716047 w 1448747"/>
                <a:gd name="connsiteY237" fmla="*/ 1257244 h 1736805"/>
                <a:gd name="connsiteX238" fmla="*/ 704946 w 1448747"/>
                <a:gd name="connsiteY238" fmla="*/ 1279448 h 1736805"/>
                <a:gd name="connsiteX239" fmla="*/ 699395 w 1448747"/>
                <a:gd name="connsiteY239" fmla="*/ 1262795 h 1736805"/>
                <a:gd name="connsiteX240" fmla="*/ 693844 w 1448747"/>
                <a:gd name="connsiteY240" fmla="*/ 1279448 h 1736805"/>
                <a:gd name="connsiteX241" fmla="*/ 671641 w 1448747"/>
                <a:gd name="connsiteY241" fmla="*/ 1279448 h 1736805"/>
                <a:gd name="connsiteX242" fmla="*/ 660540 w 1448747"/>
                <a:gd name="connsiteY242" fmla="*/ 1323856 h 1736805"/>
                <a:gd name="connsiteX243" fmla="*/ 671641 w 1448747"/>
                <a:gd name="connsiteY243" fmla="*/ 1357162 h 1736805"/>
                <a:gd name="connsiteX244" fmla="*/ 677192 w 1448747"/>
                <a:gd name="connsiteY244" fmla="*/ 1412671 h 1736805"/>
                <a:gd name="connsiteX245" fmla="*/ 671641 w 1448747"/>
                <a:gd name="connsiteY245" fmla="*/ 1407120 h 1736805"/>
                <a:gd name="connsiteX246" fmla="*/ 671641 w 1448747"/>
                <a:gd name="connsiteY246" fmla="*/ 1412671 h 1736805"/>
                <a:gd name="connsiteX247" fmla="*/ 682743 w 1448747"/>
                <a:gd name="connsiteY247" fmla="*/ 1418222 h 1736805"/>
                <a:gd name="connsiteX248" fmla="*/ 682743 w 1448747"/>
                <a:gd name="connsiteY248" fmla="*/ 1457079 h 1736805"/>
                <a:gd name="connsiteX249" fmla="*/ 666091 w 1448747"/>
                <a:gd name="connsiteY249" fmla="*/ 1507038 h 1736805"/>
                <a:gd name="connsiteX250" fmla="*/ 654989 w 1448747"/>
                <a:gd name="connsiteY250" fmla="*/ 1545895 h 1736805"/>
                <a:gd name="connsiteX251" fmla="*/ 660540 w 1448747"/>
                <a:gd name="connsiteY251" fmla="*/ 1540344 h 1736805"/>
                <a:gd name="connsiteX252" fmla="*/ 666091 w 1448747"/>
                <a:gd name="connsiteY252" fmla="*/ 1562548 h 1736805"/>
                <a:gd name="connsiteX253" fmla="*/ 671641 w 1448747"/>
                <a:gd name="connsiteY253" fmla="*/ 1601404 h 1736805"/>
                <a:gd name="connsiteX254" fmla="*/ 660540 w 1448747"/>
                <a:gd name="connsiteY254" fmla="*/ 1601404 h 1736805"/>
                <a:gd name="connsiteX255" fmla="*/ 654989 w 1448747"/>
                <a:gd name="connsiteY255" fmla="*/ 1606955 h 1736805"/>
                <a:gd name="connsiteX256" fmla="*/ 643888 w 1448747"/>
                <a:gd name="connsiteY256" fmla="*/ 1606955 h 1736805"/>
                <a:gd name="connsiteX257" fmla="*/ 638337 w 1448747"/>
                <a:gd name="connsiteY257" fmla="*/ 1618057 h 1736805"/>
                <a:gd name="connsiteX258" fmla="*/ 632786 w 1448747"/>
                <a:gd name="connsiteY258" fmla="*/ 1629159 h 1736805"/>
                <a:gd name="connsiteX259" fmla="*/ 632786 w 1448747"/>
                <a:gd name="connsiteY259" fmla="*/ 1662465 h 1736805"/>
                <a:gd name="connsiteX260" fmla="*/ 643888 w 1448747"/>
                <a:gd name="connsiteY260" fmla="*/ 1662465 h 1736805"/>
                <a:gd name="connsiteX261" fmla="*/ 649438 w 1448747"/>
                <a:gd name="connsiteY261" fmla="*/ 1673567 h 1736805"/>
                <a:gd name="connsiteX262" fmla="*/ 599482 w 1448747"/>
                <a:gd name="connsiteY262" fmla="*/ 1673567 h 1736805"/>
                <a:gd name="connsiteX263" fmla="*/ 582829 w 1448747"/>
                <a:gd name="connsiteY263" fmla="*/ 1717975 h 1736805"/>
                <a:gd name="connsiteX264" fmla="*/ 560626 w 1448747"/>
                <a:gd name="connsiteY264" fmla="*/ 1734628 h 1736805"/>
                <a:gd name="connsiteX265" fmla="*/ 532872 w 1448747"/>
                <a:gd name="connsiteY265" fmla="*/ 1723526 h 1736805"/>
                <a:gd name="connsiteX266" fmla="*/ 505118 w 1448747"/>
                <a:gd name="connsiteY266" fmla="*/ 1684669 h 1736805"/>
                <a:gd name="connsiteX267" fmla="*/ 488466 w 1448747"/>
                <a:gd name="connsiteY267" fmla="*/ 1662465 h 1736805"/>
                <a:gd name="connsiteX268" fmla="*/ 482915 w 1448747"/>
                <a:gd name="connsiteY268" fmla="*/ 1623608 h 1736805"/>
                <a:gd name="connsiteX269" fmla="*/ 488466 w 1448747"/>
                <a:gd name="connsiteY269" fmla="*/ 1640261 h 1736805"/>
                <a:gd name="connsiteX270" fmla="*/ 494017 w 1448747"/>
                <a:gd name="connsiteY270" fmla="*/ 1651363 h 1736805"/>
                <a:gd name="connsiteX271" fmla="*/ 488466 w 1448747"/>
                <a:gd name="connsiteY271" fmla="*/ 1629159 h 1736805"/>
                <a:gd name="connsiteX272" fmla="*/ 482915 w 1448747"/>
                <a:gd name="connsiteY272" fmla="*/ 1618057 h 1736805"/>
                <a:gd name="connsiteX273" fmla="*/ 477365 w 1448747"/>
                <a:gd name="connsiteY273" fmla="*/ 1612506 h 1736805"/>
                <a:gd name="connsiteX274" fmla="*/ 471814 w 1448747"/>
                <a:gd name="connsiteY274" fmla="*/ 1601404 h 1736805"/>
                <a:gd name="connsiteX275" fmla="*/ 455162 w 1448747"/>
                <a:gd name="connsiteY275" fmla="*/ 1562548 h 1736805"/>
                <a:gd name="connsiteX276" fmla="*/ 427408 w 1448747"/>
                <a:gd name="connsiteY276" fmla="*/ 1507038 h 1736805"/>
                <a:gd name="connsiteX277" fmla="*/ 388553 w 1448747"/>
                <a:gd name="connsiteY277" fmla="*/ 1429324 h 1736805"/>
                <a:gd name="connsiteX278" fmla="*/ 383002 w 1448747"/>
                <a:gd name="connsiteY278" fmla="*/ 1401569 h 1736805"/>
                <a:gd name="connsiteX279" fmla="*/ 377451 w 1448747"/>
                <a:gd name="connsiteY279" fmla="*/ 1384917 h 1736805"/>
                <a:gd name="connsiteX280" fmla="*/ 377451 w 1448747"/>
                <a:gd name="connsiteY280" fmla="*/ 1368264 h 1736805"/>
                <a:gd name="connsiteX281" fmla="*/ 366350 w 1448747"/>
                <a:gd name="connsiteY281" fmla="*/ 1346060 h 1736805"/>
                <a:gd name="connsiteX282" fmla="*/ 360799 w 1448747"/>
                <a:gd name="connsiteY282" fmla="*/ 1329407 h 1736805"/>
                <a:gd name="connsiteX283" fmla="*/ 344147 w 1448747"/>
                <a:gd name="connsiteY283" fmla="*/ 1318305 h 1736805"/>
                <a:gd name="connsiteX284" fmla="*/ 338596 w 1448747"/>
                <a:gd name="connsiteY284" fmla="*/ 1307203 h 1736805"/>
                <a:gd name="connsiteX285" fmla="*/ 338596 w 1448747"/>
                <a:gd name="connsiteY285" fmla="*/ 1301652 h 1736805"/>
                <a:gd name="connsiteX286" fmla="*/ 333045 w 1448747"/>
                <a:gd name="connsiteY286" fmla="*/ 1290550 h 1736805"/>
                <a:gd name="connsiteX287" fmla="*/ 321944 w 1448747"/>
                <a:gd name="connsiteY287" fmla="*/ 1279448 h 1736805"/>
                <a:gd name="connsiteX288" fmla="*/ 305291 w 1448747"/>
                <a:gd name="connsiteY288" fmla="*/ 1240591 h 1736805"/>
                <a:gd name="connsiteX289" fmla="*/ 299740 w 1448747"/>
                <a:gd name="connsiteY289" fmla="*/ 1212836 h 1736805"/>
                <a:gd name="connsiteX290" fmla="*/ 294190 w 1448747"/>
                <a:gd name="connsiteY290" fmla="*/ 1179531 h 1736805"/>
                <a:gd name="connsiteX291" fmla="*/ 283088 w 1448747"/>
                <a:gd name="connsiteY291" fmla="*/ 1151776 h 1736805"/>
                <a:gd name="connsiteX292" fmla="*/ 277537 w 1448747"/>
                <a:gd name="connsiteY292" fmla="*/ 1129572 h 1736805"/>
                <a:gd name="connsiteX293" fmla="*/ 277537 w 1448747"/>
                <a:gd name="connsiteY293" fmla="*/ 1118470 h 1736805"/>
                <a:gd name="connsiteX294" fmla="*/ 266436 w 1448747"/>
                <a:gd name="connsiteY294" fmla="*/ 1096266 h 1736805"/>
                <a:gd name="connsiteX295" fmla="*/ 271987 w 1448747"/>
                <a:gd name="connsiteY295" fmla="*/ 1101817 h 1736805"/>
                <a:gd name="connsiteX296" fmla="*/ 271987 w 1448747"/>
                <a:gd name="connsiteY296" fmla="*/ 1090715 h 1736805"/>
                <a:gd name="connsiteX297" fmla="*/ 271987 w 1448747"/>
                <a:gd name="connsiteY297" fmla="*/ 1074062 h 1736805"/>
                <a:gd name="connsiteX298" fmla="*/ 260885 w 1448747"/>
                <a:gd name="connsiteY298" fmla="*/ 1057409 h 1736805"/>
                <a:gd name="connsiteX299" fmla="*/ 255334 w 1448747"/>
                <a:gd name="connsiteY299" fmla="*/ 1040756 h 1736805"/>
                <a:gd name="connsiteX300" fmla="*/ 249784 w 1448747"/>
                <a:gd name="connsiteY300" fmla="*/ 1018552 h 1736805"/>
                <a:gd name="connsiteX301" fmla="*/ 255334 w 1448747"/>
                <a:gd name="connsiteY301" fmla="*/ 979696 h 1736805"/>
                <a:gd name="connsiteX302" fmla="*/ 244233 w 1448747"/>
                <a:gd name="connsiteY302" fmla="*/ 963043 h 1736805"/>
                <a:gd name="connsiteX303" fmla="*/ 238682 w 1448747"/>
                <a:gd name="connsiteY303" fmla="*/ 946390 h 1736805"/>
                <a:gd name="connsiteX304" fmla="*/ 244233 w 1448747"/>
                <a:gd name="connsiteY304" fmla="*/ 935288 h 1736805"/>
                <a:gd name="connsiteX305" fmla="*/ 266436 w 1448747"/>
                <a:gd name="connsiteY305" fmla="*/ 918635 h 1736805"/>
                <a:gd name="connsiteX306" fmla="*/ 244233 w 1448747"/>
                <a:gd name="connsiteY306" fmla="*/ 907533 h 1736805"/>
                <a:gd name="connsiteX307" fmla="*/ 233131 w 1448747"/>
                <a:gd name="connsiteY307" fmla="*/ 901982 h 1736805"/>
                <a:gd name="connsiteX308" fmla="*/ 244233 w 1448747"/>
                <a:gd name="connsiteY308" fmla="*/ 890880 h 1736805"/>
                <a:gd name="connsiteX309" fmla="*/ 222030 w 1448747"/>
                <a:gd name="connsiteY309" fmla="*/ 885329 h 1736805"/>
                <a:gd name="connsiteX310" fmla="*/ 216479 w 1448747"/>
                <a:gd name="connsiteY310" fmla="*/ 890880 h 1736805"/>
                <a:gd name="connsiteX311" fmla="*/ 222030 w 1448747"/>
                <a:gd name="connsiteY311" fmla="*/ 896431 h 1736805"/>
                <a:gd name="connsiteX312" fmla="*/ 210928 w 1448747"/>
                <a:gd name="connsiteY312" fmla="*/ 907533 h 1736805"/>
                <a:gd name="connsiteX313" fmla="*/ 210928 w 1448747"/>
                <a:gd name="connsiteY313" fmla="*/ 913084 h 1736805"/>
                <a:gd name="connsiteX314" fmla="*/ 205378 w 1448747"/>
                <a:gd name="connsiteY314" fmla="*/ 918635 h 1736805"/>
                <a:gd name="connsiteX315" fmla="*/ 216479 w 1448747"/>
                <a:gd name="connsiteY315" fmla="*/ 946390 h 1736805"/>
                <a:gd name="connsiteX316" fmla="*/ 210928 w 1448747"/>
                <a:gd name="connsiteY316" fmla="*/ 957492 h 1736805"/>
                <a:gd name="connsiteX317" fmla="*/ 188725 w 1448747"/>
                <a:gd name="connsiteY317" fmla="*/ 968594 h 1736805"/>
                <a:gd name="connsiteX318" fmla="*/ 144319 w 1448747"/>
                <a:gd name="connsiteY318" fmla="*/ 985247 h 1736805"/>
                <a:gd name="connsiteX319" fmla="*/ 105464 w 1448747"/>
                <a:gd name="connsiteY319" fmla="*/ 951941 h 1736805"/>
                <a:gd name="connsiteX320" fmla="*/ 55507 w 1448747"/>
                <a:gd name="connsiteY320" fmla="*/ 901982 h 1736805"/>
                <a:gd name="connsiteX321" fmla="*/ 49956 w 1448747"/>
                <a:gd name="connsiteY321" fmla="*/ 879778 h 1736805"/>
                <a:gd name="connsiteX322" fmla="*/ 61058 w 1448747"/>
                <a:gd name="connsiteY322" fmla="*/ 890880 h 1736805"/>
                <a:gd name="connsiteX323" fmla="*/ 72160 w 1448747"/>
                <a:gd name="connsiteY323" fmla="*/ 879778 h 1736805"/>
                <a:gd name="connsiteX324" fmla="*/ 111015 w 1448747"/>
                <a:gd name="connsiteY324" fmla="*/ 868676 h 1736805"/>
                <a:gd name="connsiteX325" fmla="*/ 116566 w 1448747"/>
                <a:gd name="connsiteY325" fmla="*/ 857574 h 1736805"/>
                <a:gd name="connsiteX326" fmla="*/ 122116 w 1448747"/>
                <a:gd name="connsiteY326" fmla="*/ 840921 h 1736805"/>
                <a:gd name="connsiteX327" fmla="*/ 111015 w 1448747"/>
                <a:gd name="connsiteY327" fmla="*/ 852023 h 1736805"/>
                <a:gd name="connsiteX328" fmla="*/ 94363 w 1448747"/>
                <a:gd name="connsiteY328" fmla="*/ 852023 h 1736805"/>
                <a:gd name="connsiteX329" fmla="*/ 77710 w 1448747"/>
                <a:gd name="connsiteY329" fmla="*/ 863125 h 1736805"/>
                <a:gd name="connsiteX330" fmla="*/ 49956 w 1448747"/>
                <a:gd name="connsiteY330" fmla="*/ 852023 h 1736805"/>
                <a:gd name="connsiteX331" fmla="*/ 27753 w 1448747"/>
                <a:gd name="connsiteY331" fmla="*/ 840921 h 1736805"/>
                <a:gd name="connsiteX332" fmla="*/ 16652 w 1448747"/>
                <a:gd name="connsiteY332" fmla="*/ 824268 h 1736805"/>
                <a:gd name="connsiteX333" fmla="*/ 27753 w 1448747"/>
                <a:gd name="connsiteY333" fmla="*/ 796513 h 1736805"/>
                <a:gd name="connsiteX334" fmla="*/ 0 w 1448747"/>
                <a:gd name="connsiteY334" fmla="*/ 813166 h 1736805"/>
                <a:gd name="connsiteX335" fmla="*/ 0 w 1448747"/>
                <a:gd name="connsiteY335" fmla="*/ 802064 h 1736805"/>
                <a:gd name="connsiteX336" fmla="*/ 22203 w 1448747"/>
                <a:gd name="connsiteY336" fmla="*/ 790962 h 1736805"/>
                <a:gd name="connsiteX337" fmla="*/ 22203 w 1448747"/>
                <a:gd name="connsiteY337" fmla="*/ 768759 h 1736805"/>
                <a:gd name="connsiteX338" fmla="*/ 49956 w 1448747"/>
                <a:gd name="connsiteY338" fmla="*/ 768759 h 1736805"/>
                <a:gd name="connsiteX339" fmla="*/ 88812 w 1448747"/>
                <a:gd name="connsiteY339" fmla="*/ 774310 h 1736805"/>
                <a:gd name="connsiteX340" fmla="*/ 94363 w 1448747"/>
                <a:gd name="connsiteY340" fmla="*/ 768759 h 1736805"/>
                <a:gd name="connsiteX341" fmla="*/ 116566 w 1448747"/>
                <a:gd name="connsiteY341" fmla="*/ 763208 h 1736805"/>
                <a:gd name="connsiteX342" fmla="*/ 144319 w 1448747"/>
                <a:gd name="connsiteY342" fmla="*/ 763208 h 1736805"/>
                <a:gd name="connsiteX343" fmla="*/ 138769 w 1448747"/>
                <a:gd name="connsiteY343" fmla="*/ 746555 h 1736805"/>
                <a:gd name="connsiteX344" fmla="*/ 116566 w 1448747"/>
                <a:gd name="connsiteY344" fmla="*/ 702147 h 1736805"/>
                <a:gd name="connsiteX345" fmla="*/ 105464 w 1448747"/>
                <a:gd name="connsiteY345" fmla="*/ 685494 h 1736805"/>
                <a:gd name="connsiteX346" fmla="*/ 83261 w 1448747"/>
                <a:gd name="connsiteY346" fmla="*/ 668841 h 1736805"/>
                <a:gd name="connsiteX347" fmla="*/ 77710 w 1448747"/>
                <a:gd name="connsiteY347" fmla="*/ 635535 h 1736805"/>
                <a:gd name="connsiteX348" fmla="*/ 44406 w 1448747"/>
                <a:gd name="connsiteY348" fmla="*/ 618882 h 1736805"/>
                <a:gd name="connsiteX349" fmla="*/ 55507 w 1448747"/>
                <a:gd name="connsiteY349" fmla="*/ 580026 h 1736805"/>
                <a:gd name="connsiteX350" fmla="*/ 66609 w 1448747"/>
                <a:gd name="connsiteY350" fmla="*/ 563373 h 1736805"/>
                <a:gd name="connsiteX351" fmla="*/ 83261 w 1448747"/>
                <a:gd name="connsiteY351" fmla="*/ 546720 h 1736805"/>
                <a:gd name="connsiteX352" fmla="*/ 105464 w 1448747"/>
                <a:gd name="connsiteY352" fmla="*/ 568924 h 1736805"/>
                <a:gd name="connsiteX353" fmla="*/ 122116 w 1448747"/>
                <a:gd name="connsiteY353" fmla="*/ 557822 h 1736805"/>
                <a:gd name="connsiteX354" fmla="*/ 144319 w 1448747"/>
                <a:gd name="connsiteY354" fmla="*/ 557822 h 1736805"/>
                <a:gd name="connsiteX355" fmla="*/ 166522 w 1448747"/>
                <a:gd name="connsiteY355" fmla="*/ 530067 h 1736805"/>
                <a:gd name="connsiteX356" fmla="*/ 183175 w 1448747"/>
                <a:gd name="connsiteY356" fmla="*/ 496761 h 1736805"/>
                <a:gd name="connsiteX357" fmla="*/ 210928 w 1448747"/>
                <a:gd name="connsiteY357" fmla="*/ 463455 h 1736805"/>
                <a:gd name="connsiteX358" fmla="*/ 227581 w 1448747"/>
                <a:gd name="connsiteY358" fmla="*/ 430149 h 1736805"/>
                <a:gd name="connsiteX359" fmla="*/ 238682 w 1448747"/>
                <a:gd name="connsiteY359" fmla="*/ 419047 h 1736805"/>
                <a:gd name="connsiteX360" fmla="*/ 233131 w 1448747"/>
                <a:gd name="connsiteY360" fmla="*/ 407945 h 1736805"/>
                <a:gd name="connsiteX361" fmla="*/ 249784 w 1448747"/>
                <a:gd name="connsiteY361" fmla="*/ 385742 h 1736805"/>
                <a:gd name="connsiteX362" fmla="*/ 266436 w 1448747"/>
                <a:gd name="connsiteY362" fmla="*/ 363538 h 1736805"/>
                <a:gd name="connsiteX363" fmla="*/ 260885 w 1448747"/>
                <a:gd name="connsiteY363" fmla="*/ 346885 h 1736805"/>
                <a:gd name="connsiteX364" fmla="*/ 249784 w 1448747"/>
                <a:gd name="connsiteY364" fmla="*/ 324681 h 1736805"/>
                <a:gd name="connsiteX365" fmla="*/ 283088 w 1448747"/>
                <a:gd name="connsiteY365" fmla="*/ 302477 h 1736805"/>
                <a:gd name="connsiteX366" fmla="*/ 255334 w 1448747"/>
                <a:gd name="connsiteY366" fmla="*/ 280273 h 1736805"/>
                <a:gd name="connsiteX367" fmla="*/ 244233 w 1448747"/>
                <a:gd name="connsiteY367" fmla="*/ 269171 h 1736805"/>
                <a:gd name="connsiteX368" fmla="*/ 227581 w 1448747"/>
                <a:gd name="connsiteY368" fmla="*/ 263620 h 1736805"/>
                <a:gd name="connsiteX369" fmla="*/ 227581 w 1448747"/>
                <a:gd name="connsiteY369" fmla="*/ 252518 h 1736805"/>
                <a:gd name="connsiteX370" fmla="*/ 210928 w 1448747"/>
                <a:gd name="connsiteY370" fmla="*/ 235865 h 1736805"/>
                <a:gd name="connsiteX371" fmla="*/ 210928 w 1448747"/>
                <a:gd name="connsiteY371" fmla="*/ 219212 h 1736805"/>
                <a:gd name="connsiteX372" fmla="*/ 205378 w 1448747"/>
                <a:gd name="connsiteY372" fmla="*/ 202559 h 1736805"/>
                <a:gd name="connsiteX373" fmla="*/ 210928 w 1448747"/>
                <a:gd name="connsiteY373" fmla="*/ 191457 h 1736805"/>
                <a:gd name="connsiteX374" fmla="*/ 194276 w 1448747"/>
                <a:gd name="connsiteY374" fmla="*/ 185907 h 1736805"/>
                <a:gd name="connsiteX375" fmla="*/ 188725 w 1448747"/>
                <a:gd name="connsiteY375" fmla="*/ 169254 h 1736805"/>
                <a:gd name="connsiteX376" fmla="*/ 194276 w 1448747"/>
                <a:gd name="connsiteY376" fmla="*/ 152601 h 1736805"/>
                <a:gd name="connsiteX377" fmla="*/ 197735 w 1448747"/>
                <a:gd name="connsiteY377" fmla="*/ 151304 h 1736805"/>
                <a:gd name="connsiteX378" fmla="*/ 206602 w 1448747"/>
                <a:gd name="connsiteY378" fmla="*/ 136525 h 1736805"/>
                <a:gd name="connsiteX379" fmla="*/ 210471 w 1448747"/>
                <a:gd name="connsiteY379" fmla="*/ 135235 h 1736805"/>
                <a:gd name="connsiteX380" fmla="*/ 210471 w 1448747"/>
                <a:gd name="connsiteY380" fmla="*/ 113464 h 1736805"/>
                <a:gd name="connsiteX381" fmla="*/ 206602 w 1448747"/>
                <a:gd name="connsiteY381" fmla="*/ 111125 h 1736805"/>
                <a:gd name="connsiteX382" fmla="*/ 200252 w 1448747"/>
                <a:gd name="connsiteY382" fmla="*/ 101600 h 1736805"/>
                <a:gd name="connsiteX383" fmla="*/ 203427 w 1448747"/>
                <a:gd name="connsiteY383" fmla="*/ 88900 h 1736805"/>
                <a:gd name="connsiteX384" fmla="*/ 184377 w 1448747"/>
                <a:gd name="connsiteY384" fmla="*/ 79375 h 1736805"/>
                <a:gd name="connsiteX385" fmla="*/ 162152 w 1448747"/>
                <a:gd name="connsiteY385" fmla="*/ 57150 h 1736805"/>
                <a:gd name="connsiteX386" fmla="*/ 152627 w 1448747"/>
                <a:gd name="connsiteY386" fmla="*/ 60325 h 1736805"/>
                <a:gd name="connsiteX387" fmla="*/ 152627 w 1448747"/>
                <a:gd name="connsiteY387" fmla="*/ 41275 h 1736805"/>
                <a:gd name="connsiteX388" fmla="*/ 171677 w 1448747"/>
                <a:gd name="connsiteY388" fmla="*/ 28575 h 1736805"/>
                <a:gd name="connsiteX389" fmla="*/ 190727 w 1448747"/>
                <a:gd name="connsiteY389" fmla="*/ 22225 h 1736805"/>
                <a:gd name="connsiteX390" fmla="*/ 238352 w 1448747"/>
                <a:gd name="connsiteY390" fmla="*/ 9525 h 1736805"/>
                <a:gd name="connsiteX391" fmla="*/ 257402 w 1448747"/>
                <a:gd name="connsiteY391" fmla="*/ 3175 h 1736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Lst>
              <a:rect l="l" t="t" r="r" b="b"/>
              <a:pathLst>
                <a:path w="1448747" h="1736805">
                  <a:moveTo>
                    <a:pt x="265655" y="1067991"/>
                  </a:moveTo>
                  <a:cubicBezTo>
                    <a:pt x="267130" y="1068164"/>
                    <a:pt x="269211" y="1069899"/>
                    <a:pt x="271987" y="1074062"/>
                  </a:cubicBezTo>
                  <a:cubicBezTo>
                    <a:pt x="271987" y="1079613"/>
                    <a:pt x="271987" y="1085164"/>
                    <a:pt x="266436" y="1085164"/>
                  </a:cubicBezTo>
                  <a:cubicBezTo>
                    <a:pt x="262273" y="1081001"/>
                    <a:pt x="261232" y="1067470"/>
                    <a:pt x="265655" y="1067991"/>
                  </a:cubicBezTo>
                  <a:close/>
                  <a:moveTo>
                    <a:pt x="1059012" y="923069"/>
                  </a:moveTo>
                  <a:lnTo>
                    <a:pt x="1059500" y="924186"/>
                  </a:lnTo>
                  <a:cubicBezTo>
                    <a:pt x="1060194" y="928349"/>
                    <a:pt x="1060194" y="932512"/>
                    <a:pt x="1060194" y="935288"/>
                  </a:cubicBezTo>
                  <a:close/>
                  <a:moveTo>
                    <a:pt x="446221" y="207141"/>
                  </a:moveTo>
                  <a:lnTo>
                    <a:pt x="446221" y="215413"/>
                  </a:lnTo>
                  <a:lnTo>
                    <a:pt x="455162" y="230314"/>
                  </a:lnTo>
                  <a:lnTo>
                    <a:pt x="460732" y="232660"/>
                  </a:lnTo>
                  <a:close/>
                  <a:moveTo>
                    <a:pt x="390491" y="109134"/>
                  </a:moveTo>
                  <a:lnTo>
                    <a:pt x="390491" y="120588"/>
                  </a:lnTo>
                  <a:lnTo>
                    <a:pt x="397004" y="120588"/>
                  </a:lnTo>
                  <a:close/>
                  <a:moveTo>
                    <a:pt x="385271" y="99953"/>
                  </a:moveTo>
                  <a:lnTo>
                    <a:pt x="375622" y="102642"/>
                  </a:lnTo>
                  <a:lnTo>
                    <a:pt x="386800" y="102642"/>
                  </a:lnTo>
                  <a:close/>
                  <a:moveTo>
                    <a:pt x="266927" y="0"/>
                  </a:moveTo>
                  <a:cubicBezTo>
                    <a:pt x="276643" y="2429"/>
                    <a:pt x="281843" y="2216"/>
                    <a:pt x="289152" y="9525"/>
                  </a:cubicBezTo>
                  <a:cubicBezTo>
                    <a:pt x="297014" y="17387"/>
                    <a:pt x="292932" y="21771"/>
                    <a:pt x="305027" y="25400"/>
                  </a:cubicBezTo>
                  <a:cubicBezTo>
                    <a:pt x="312195" y="27550"/>
                    <a:pt x="319844" y="27517"/>
                    <a:pt x="327252" y="28575"/>
                  </a:cubicBezTo>
                  <a:cubicBezTo>
                    <a:pt x="329369" y="31750"/>
                    <a:pt x="331895" y="34687"/>
                    <a:pt x="333602" y="38100"/>
                  </a:cubicBezTo>
                  <a:cubicBezTo>
                    <a:pt x="335099" y="41093"/>
                    <a:pt x="334410" y="45258"/>
                    <a:pt x="336777" y="47625"/>
                  </a:cubicBezTo>
                  <a:cubicBezTo>
                    <a:pt x="342173" y="53021"/>
                    <a:pt x="355827" y="60325"/>
                    <a:pt x="355827" y="60325"/>
                  </a:cubicBezTo>
                  <a:cubicBezTo>
                    <a:pt x="365352" y="74613"/>
                    <a:pt x="364823" y="79110"/>
                    <a:pt x="378052" y="85725"/>
                  </a:cubicBezTo>
                  <a:cubicBezTo>
                    <a:pt x="381045" y="87222"/>
                    <a:pt x="384402" y="87842"/>
                    <a:pt x="387577" y="88900"/>
                  </a:cubicBezTo>
                  <a:lnTo>
                    <a:pt x="390752" y="98425"/>
                  </a:lnTo>
                  <a:lnTo>
                    <a:pt x="386116" y="99717"/>
                  </a:lnTo>
                  <a:lnTo>
                    <a:pt x="389995" y="102642"/>
                  </a:lnTo>
                  <a:lnTo>
                    <a:pt x="390491" y="102642"/>
                  </a:lnTo>
                  <a:lnTo>
                    <a:pt x="390491" y="103016"/>
                  </a:lnTo>
                  <a:lnTo>
                    <a:pt x="392019" y="104168"/>
                  </a:lnTo>
                  <a:cubicBezTo>
                    <a:pt x="394558" y="106083"/>
                    <a:pt x="397204" y="107670"/>
                    <a:pt x="400277" y="107950"/>
                  </a:cubicBezTo>
                  <a:cubicBezTo>
                    <a:pt x="406943" y="108556"/>
                    <a:pt x="413758" y="105313"/>
                    <a:pt x="419327" y="101600"/>
                  </a:cubicBezTo>
                  <a:cubicBezTo>
                    <a:pt x="425677" y="97367"/>
                    <a:pt x="432981" y="94296"/>
                    <a:pt x="438377" y="88900"/>
                  </a:cubicBezTo>
                  <a:cubicBezTo>
                    <a:pt x="450269" y="77008"/>
                    <a:pt x="443642" y="80795"/>
                    <a:pt x="457427" y="76200"/>
                  </a:cubicBezTo>
                  <a:cubicBezTo>
                    <a:pt x="479271" y="83481"/>
                    <a:pt x="452861" y="76200"/>
                    <a:pt x="492352" y="76200"/>
                  </a:cubicBezTo>
                  <a:cubicBezTo>
                    <a:pt x="495699" y="76200"/>
                    <a:pt x="498951" y="77750"/>
                    <a:pt x="501877" y="79375"/>
                  </a:cubicBezTo>
                  <a:cubicBezTo>
                    <a:pt x="508548" y="83081"/>
                    <a:pt x="520927" y="92075"/>
                    <a:pt x="520927" y="92075"/>
                  </a:cubicBezTo>
                  <a:cubicBezTo>
                    <a:pt x="521985" y="95250"/>
                    <a:pt x="524102" y="98253"/>
                    <a:pt x="524102" y="101600"/>
                  </a:cubicBezTo>
                  <a:cubicBezTo>
                    <a:pt x="524102" y="104947"/>
                    <a:pt x="521808" y="107896"/>
                    <a:pt x="520927" y="111125"/>
                  </a:cubicBezTo>
                  <a:cubicBezTo>
                    <a:pt x="518631" y="119545"/>
                    <a:pt x="516694" y="128058"/>
                    <a:pt x="514577" y="136525"/>
                  </a:cubicBezTo>
                  <a:cubicBezTo>
                    <a:pt x="513519" y="140758"/>
                    <a:pt x="515033" y="146804"/>
                    <a:pt x="511402" y="149225"/>
                  </a:cubicBezTo>
                  <a:cubicBezTo>
                    <a:pt x="498246" y="157996"/>
                    <a:pt x="505579" y="154650"/>
                    <a:pt x="489177" y="158750"/>
                  </a:cubicBezTo>
                  <a:cubicBezTo>
                    <a:pt x="484562" y="172594"/>
                    <a:pt x="486719" y="179119"/>
                    <a:pt x="473302" y="184150"/>
                  </a:cubicBezTo>
                  <a:cubicBezTo>
                    <a:pt x="468249" y="186045"/>
                    <a:pt x="462719" y="186267"/>
                    <a:pt x="457427" y="187325"/>
                  </a:cubicBezTo>
                  <a:cubicBezTo>
                    <a:pt x="460315" y="216201"/>
                    <a:pt x="453391" y="214653"/>
                    <a:pt x="470127" y="228600"/>
                  </a:cubicBezTo>
                  <a:cubicBezTo>
                    <a:pt x="473058" y="231043"/>
                    <a:pt x="476477" y="232833"/>
                    <a:pt x="479652" y="234950"/>
                  </a:cubicBezTo>
                  <a:cubicBezTo>
                    <a:pt x="480710" y="238125"/>
                    <a:pt x="482827" y="241128"/>
                    <a:pt x="482827" y="244475"/>
                  </a:cubicBezTo>
                  <a:lnTo>
                    <a:pt x="481953" y="246660"/>
                  </a:lnTo>
                  <a:lnTo>
                    <a:pt x="482222" y="246967"/>
                  </a:lnTo>
                  <a:cubicBezTo>
                    <a:pt x="482916" y="248355"/>
                    <a:pt x="482916" y="249743"/>
                    <a:pt x="482916" y="252518"/>
                  </a:cubicBezTo>
                  <a:cubicBezTo>
                    <a:pt x="482916" y="258069"/>
                    <a:pt x="482916" y="258069"/>
                    <a:pt x="488466" y="263620"/>
                  </a:cubicBezTo>
                  <a:cubicBezTo>
                    <a:pt x="494017" y="274722"/>
                    <a:pt x="482916" y="280273"/>
                    <a:pt x="477365" y="280273"/>
                  </a:cubicBezTo>
                  <a:cubicBezTo>
                    <a:pt x="471814" y="285824"/>
                    <a:pt x="466263" y="296926"/>
                    <a:pt x="460713" y="285824"/>
                  </a:cubicBezTo>
                  <a:cubicBezTo>
                    <a:pt x="455162" y="274722"/>
                    <a:pt x="449611" y="269171"/>
                    <a:pt x="438509" y="280273"/>
                  </a:cubicBezTo>
                  <a:cubicBezTo>
                    <a:pt x="438509" y="285824"/>
                    <a:pt x="444060" y="285824"/>
                    <a:pt x="444060" y="291375"/>
                  </a:cubicBezTo>
                  <a:cubicBezTo>
                    <a:pt x="444060" y="296926"/>
                    <a:pt x="449611" y="302477"/>
                    <a:pt x="455162" y="308028"/>
                  </a:cubicBezTo>
                  <a:cubicBezTo>
                    <a:pt x="466263" y="319130"/>
                    <a:pt x="460713" y="324681"/>
                    <a:pt x="466263" y="330232"/>
                  </a:cubicBezTo>
                  <a:cubicBezTo>
                    <a:pt x="471814" y="335783"/>
                    <a:pt x="466263" y="357987"/>
                    <a:pt x="477365" y="352436"/>
                  </a:cubicBezTo>
                  <a:cubicBezTo>
                    <a:pt x="477365" y="352436"/>
                    <a:pt x="482916" y="346885"/>
                    <a:pt x="488466" y="346885"/>
                  </a:cubicBezTo>
                  <a:cubicBezTo>
                    <a:pt x="494017" y="346885"/>
                    <a:pt x="494017" y="352436"/>
                    <a:pt x="494017" y="357987"/>
                  </a:cubicBezTo>
                  <a:cubicBezTo>
                    <a:pt x="499568" y="357987"/>
                    <a:pt x="510669" y="369089"/>
                    <a:pt x="516220" y="374640"/>
                  </a:cubicBezTo>
                  <a:cubicBezTo>
                    <a:pt x="521771" y="374640"/>
                    <a:pt x="527322" y="369089"/>
                    <a:pt x="538423" y="374640"/>
                  </a:cubicBezTo>
                  <a:cubicBezTo>
                    <a:pt x="538423" y="380191"/>
                    <a:pt x="543974" y="380191"/>
                    <a:pt x="549525" y="380191"/>
                  </a:cubicBezTo>
                  <a:cubicBezTo>
                    <a:pt x="555075" y="385742"/>
                    <a:pt x="555075" y="391293"/>
                    <a:pt x="549525" y="391293"/>
                  </a:cubicBezTo>
                  <a:cubicBezTo>
                    <a:pt x="549525" y="396844"/>
                    <a:pt x="560626" y="396844"/>
                    <a:pt x="566177" y="402395"/>
                  </a:cubicBezTo>
                  <a:cubicBezTo>
                    <a:pt x="577279" y="402395"/>
                    <a:pt x="588380" y="407946"/>
                    <a:pt x="599482" y="419048"/>
                  </a:cubicBezTo>
                  <a:cubicBezTo>
                    <a:pt x="582829" y="419048"/>
                    <a:pt x="582829" y="446802"/>
                    <a:pt x="571728" y="452353"/>
                  </a:cubicBezTo>
                  <a:cubicBezTo>
                    <a:pt x="571728" y="452353"/>
                    <a:pt x="571728" y="457904"/>
                    <a:pt x="571728" y="463455"/>
                  </a:cubicBezTo>
                  <a:cubicBezTo>
                    <a:pt x="566177" y="469006"/>
                    <a:pt x="571728" y="469006"/>
                    <a:pt x="571728" y="474557"/>
                  </a:cubicBezTo>
                  <a:cubicBezTo>
                    <a:pt x="571728" y="485659"/>
                    <a:pt x="560626" y="491210"/>
                    <a:pt x="566177" y="496761"/>
                  </a:cubicBezTo>
                  <a:cubicBezTo>
                    <a:pt x="571728" y="502312"/>
                    <a:pt x="588380" y="518965"/>
                    <a:pt x="588380" y="507863"/>
                  </a:cubicBezTo>
                  <a:cubicBezTo>
                    <a:pt x="599482" y="513414"/>
                    <a:pt x="610583" y="518965"/>
                    <a:pt x="616134" y="524516"/>
                  </a:cubicBezTo>
                  <a:cubicBezTo>
                    <a:pt x="627235" y="530067"/>
                    <a:pt x="632786" y="535618"/>
                    <a:pt x="643888" y="541169"/>
                  </a:cubicBezTo>
                  <a:cubicBezTo>
                    <a:pt x="643888" y="546720"/>
                    <a:pt x="660540" y="557822"/>
                    <a:pt x="666091" y="557822"/>
                  </a:cubicBezTo>
                  <a:cubicBezTo>
                    <a:pt x="677192" y="552271"/>
                    <a:pt x="682743" y="563373"/>
                    <a:pt x="693844" y="563373"/>
                  </a:cubicBezTo>
                  <a:cubicBezTo>
                    <a:pt x="693844" y="568924"/>
                    <a:pt x="710497" y="568924"/>
                    <a:pt x="710497" y="568924"/>
                  </a:cubicBezTo>
                  <a:cubicBezTo>
                    <a:pt x="716047" y="580026"/>
                    <a:pt x="716047" y="580026"/>
                    <a:pt x="727149" y="580026"/>
                  </a:cubicBezTo>
                  <a:cubicBezTo>
                    <a:pt x="738250" y="585577"/>
                    <a:pt x="743801" y="585577"/>
                    <a:pt x="749352" y="585577"/>
                  </a:cubicBezTo>
                  <a:cubicBezTo>
                    <a:pt x="754903" y="574475"/>
                    <a:pt x="760453" y="585577"/>
                    <a:pt x="771555" y="585577"/>
                  </a:cubicBezTo>
                  <a:cubicBezTo>
                    <a:pt x="766004" y="574475"/>
                    <a:pt x="804859" y="585577"/>
                    <a:pt x="804859" y="591128"/>
                  </a:cubicBezTo>
                  <a:cubicBezTo>
                    <a:pt x="815961" y="591128"/>
                    <a:pt x="815961" y="607781"/>
                    <a:pt x="821512" y="607781"/>
                  </a:cubicBezTo>
                  <a:cubicBezTo>
                    <a:pt x="832613" y="613332"/>
                    <a:pt x="843715" y="613332"/>
                    <a:pt x="849266" y="624434"/>
                  </a:cubicBezTo>
                  <a:cubicBezTo>
                    <a:pt x="849266" y="629985"/>
                    <a:pt x="860367" y="618883"/>
                    <a:pt x="865918" y="618883"/>
                  </a:cubicBezTo>
                  <a:cubicBezTo>
                    <a:pt x="877019" y="618883"/>
                    <a:pt x="871469" y="635535"/>
                    <a:pt x="888121" y="629985"/>
                  </a:cubicBezTo>
                  <a:cubicBezTo>
                    <a:pt x="893672" y="629985"/>
                    <a:pt x="915875" y="635535"/>
                    <a:pt x="915875" y="635535"/>
                  </a:cubicBezTo>
                  <a:cubicBezTo>
                    <a:pt x="926976" y="646637"/>
                    <a:pt x="932527" y="635535"/>
                    <a:pt x="943628" y="635535"/>
                  </a:cubicBezTo>
                  <a:cubicBezTo>
                    <a:pt x="943628" y="641086"/>
                    <a:pt x="954730" y="646637"/>
                    <a:pt x="960281" y="646637"/>
                  </a:cubicBezTo>
                  <a:cubicBezTo>
                    <a:pt x="965831" y="641086"/>
                    <a:pt x="982484" y="646637"/>
                    <a:pt x="982484" y="646637"/>
                  </a:cubicBezTo>
                  <a:cubicBezTo>
                    <a:pt x="993585" y="646637"/>
                    <a:pt x="993585" y="641086"/>
                    <a:pt x="999136" y="635535"/>
                  </a:cubicBezTo>
                  <a:cubicBezTo>
                    <a:pt x="999136" y="618883"/>
                    <a:pt x="988034" y="613332"/>
                    <a:pt x="982484" y="602230"/>
                  </a:cubicBezTo>
                  <a:cubicBezTo>
                    <a:pt x="982484" y="596679"/>
                    <a:pt x="982484" y="585577"/>
                    <a:pt x="982484" y="580026"/>
                  </a:cubicBezTo>
                  <a:cubicBezTo>
                    <a:pt x="988034" y="568924"/>
                    <a:pt x="982484" y="563373"/>
                    <a:pt x="982484" y="552271"/>
                  </a:cubicBezTo>
                  <a:cubicBezTo>
                    <a:pt x="993585" y="552271"/>
                    <a:pt x="1004687" y="541169"/>
                    <a:pt x="1010237" y="546720"/>
                  </a:cubicBezTo>
                  <a:cubicBezTo>
                    <a:pt x="1032440" y="552271"/>
                    <a:pt x="1015788" y="574475"/>
                    <a:pt x="1021339" y="585577"/>
                  </a:cubicBezTo>
                  <a:cubicBezTo>
                    <a:pt x="1021339" y="585577"/>
                    <a:pt x="1032440" y="591128"/>
                    <a:pt x="1026890" y="591128"/>
                  </a:cubicBezTo>
                  <a:cubicBezTo>
                    <a:pt x="1026890" y="596679"/>
                    <a:pt x="1021339" y="596679"/>
                    <a:pt x="1026890" y="602230"/>
                  </a:cubicBezTo>
                  <a:cubicBezTo>
                    <a:pt x="1032440" y="618883"/>
                    <a:pt x="1043542" y="618883"/>
                    <a:pt x="1060194" y="618883"/>
                  </a:cubicBezTo>
                  <a:cubicBezTo>
                    <a:pt x="1065745" y="618883"/>
                    <a:pt x="1071296" y="629985"/>
                    <a:pt x="1082397" y="624434"/>
                  </a:cubicBezTo>
                  <a:cubicBezTo>
                    <a:pt x="1087948" y="624434"/>
                    <a:pt x="1093499" y="624434"/>
                    <a:pt x="1093499" y="624434"/>
                  </a:cubicBezTo>
                  <a:cubicBezTo>
                    <a:pt x="1099050" y="618883"/>
                    <a:pt x="1104600" y="613332"/>
                    <a:pt x="1110151" y="618883"/>
                  </a:cubicBezTo>
                  <a:cubicBezTo>
                    <a:pt x="1121253" y="624434"/>
                    <a:pt x="1137905" y="624434"/>
                    <a:pt x="1154557" y="618883"/>
                  </a:cubicBezTo>
                  <a:cubicBezTo>
                    <a:pt x="1160108" y="618883"/>
                    <a:pt x="1165659" y="613332"/>
                    <a:pt x="1165659" y="618883"/>
                  </a:cubicBezTo>
                  <a:cubicBezTo>
                    <a:pt x="1171209" y="624434"/>
                    <a:pt x="1182311" y="618883"/>
                    <a:pt x="1187862" y="618883"/>
                  </a:cubicBezTo>
                  <a:cubicBezTo>
                    <a:pt x="1204514" y="618883"/>
                    <a:pt x="1187862" y="607781"/>
                    <a:pt x="1187862" y="596679"/>
                  </a:cubicBezTo>
                  <a:cubicBezTo>
                    <a:pt x="1193412" y="574475"/>
                    <a:pt x="1171209" y="591128"/>
                    <a:pt x="1165659" y="580026"/>
                  </a:cubicBezTo>
                  <a:cubicBezTo>
                    <a:pt x="1165659" y="568924"/>
                    <a:pt x="1160108" y="563373"/>
                    <a:pt x="1171209" y="563373"/>
                  </a:cubicBezTo>
                  <a:cubicBezTo>
                    <a:pt x="1176760" y="568924"/>
                    <a:pt x="1187862" y="563373"/>
                    <a:pt x="1193412" y="563373"/>
                  </a:cubicBezTo>
                  <a:cubicBezTo>
                    <a:pt x="1204514" y="557822"/>
                    <a:pt x="1210065" y="563373"/>
                    <a:pt x="1210065" y="546720"/>
                  </a:cubicBezTo>
                  <a:cubicBezTo>
                    <a:pt x="1215615" y="535618"/>
                    <a:pt x="1232268" y="530067"/>
                    <a:pt x="1232268" y="518965"/>
                  </a:cubicBezTo>
                  <a:cubicBezTo>
                    <a:pt x="1232268" y="502312"/>
                    <a:pt x="1254471" y="513414"/>
                    <a:pt x="1265572" y="502312"/>
                  </a:cubicBezTo>
                  <a:cubicBezTo>
                    <a:pt x="1271123" y="496761"/>
                    <a:pt x="1276674" y="485659"/>
                    <a:pt x="1287775" y="480108"/>
                  </a:cubicBezTo>
                  <a:cubicBezTo>
                    <a:pt x="1287775" y="474557"/>
                    <a:pt x="1293326" y="474557"/>
                    <a:pt x="1298877" y="469006"/>
                  </a:cubicBezTo>
                  <a:cubicBezTo>
                    <a:pt x="1298877" y="469006"/>
                    <a:pt x="1315529" y="480108"/>
                    <a:pt x="1315529" y="480108"/>
                  </a:cubicBezTo>
                  <a:cubicBezTo>
                    <a:pt x="1315529" y="480108"/>
                    <a:pt x="1315529" y="480108"/>
                    <a:pt x="1321080" y="480108"/>
                  </a:cubicBezTo>
                  <a:cubicBezTo>
                    <a:pt x="1326631" y="485659"/>
                    <a:pt x="1332181" y="485659"/>
                    <a:pt x="1337732" y="485659"/>
                  </a:cubicBezTo>
                  <a:cubicBezTo>
                    <a:pt x="1343283" y="485659"/>
                    <a:pt x="1343283" y="480108"/>
                    <a:pt x="1343283" y="474557"/>
                  </a:cubicBezTo>
                  <a:cubicBezTo>
                    <a:pt x="1348834" y="469006"/>
                    <a:pt x="1359935" y="463455"/>
                    <a:pt x="1365486" y="463455"/>
                  </a:cubicBezTo>
                  <a:cubicBezTo>
                    <a:pt x="1387689" y="480108"/>
                    <a:pt x="1387689" y="480108"/>
                    <a:pt x="1387689" y="480108"/>
                  </a:cubicBezTo>
                  <a:cubicBezTo>
                    <a:pt x="1371037" y="485659"/>
                    <a:pt x="1376587" y="485659"/>
                    <a:pt x="1376587" y="491210"/>
                  </a:cubicBezTo>
                  <a:cubicBezTo>
                    <a:pt x="1382138" y="496761"/>
                    <a:pt x="1393240" y="485659"/>
                    <a:pt x="1393240" y="485659"/>
                  </a:cubicBezTo>
                  <a:cubicBezTo>
                    <a:pt x="1393240" y="491210"/>
                    <a:pt x="1404341" y="496761"/>
                    <a:pt x="1404341" y="502312"/>
                  </a:cubicBezTo>
                  <a:cubicBezTo>
                    <a:pt x="1398790" y="513414"/>
                    <a:pt x="1393240" y="513414"/>
                    <a:pt x="1393240" y="524516"/>
                  </a:cubicBezTo>
                  <a:cubicBezTo>
                    <a:pt x="1393240" y="530067"/>
                    <a:pt x="1404341" y="524516"/>
                    <a:pt x="1404341" y="524516"/>
                  </a:cubicBezTo>
                  <a:cubicBezTo>
                    <a:pt x="1415443" y="518965"/>
                    <a:pt x="1426544" y="530067"/>
                    <a:pt x="1432095" y="530067"/>
                  </a:cubicBezTo>
                  <a:cubicBezTo>
                    <a:pt x="1443196" y="524516"/>
                    <a:pt x="1448747" y="535618"/>
                    <a:pt x="1448747" y="541169"/>
                  </a:cubicBezTo>
                  <a:cubicBezTo>
                    <a:pt x="1448747" y="546720"/>
                    <a:pt x="1448747" y="546720"/>
                    <a:pt x="1448747" y="552271"/>
                  </a:cubicBezTo>
                  <a:cubicBezTo>
                    <a:pt x="1448747" y="552271"/>
                    <a:pt x="1443196" y="557822"/>
                    <a:pt x="1437646" y="563373"/>
                  </a:cubicBezTo>
                  <a:cubicBezTo>
                    <a:pt x="1420993" y="580026"/>
                    <a:pt x="1448747" y="591128"/>
                    <a:pt x="1448747" y="602230"/>
                  </a:cubicBezTo>
                  <a:cubicBezTo>
                    <a:pt x="1437646" y="607781"/>
                    <a:pt x="1432095" y="591128"/>
                    <a:pt x="1426544" y="591128"/>
                  </a:cubicBezTo>
                  <a:cubicBezTo>
                    <a:pt x="1404341" y="596679"/>
                    <a:pt x="1398790" y="591128"/>
                    <a:pt x="1393240" y="602230"/>
                  </a:cubicBezTo>
                  <a:cubicBezTo>
                    <a:pt x="1387689" y="607781"/>
                    <a:pt x="1387689" y="613332"/>
                    <a:pt x="1376587" y="618883"/>
                  </a:cubicBezTo>
                  <a:cubicBezTo>
                    <a:pt x="1376587" y="618883"/>
                    <a:pt x="1376587" y="618883"/>
                    <a:pt x="1371037" y="618883"/>
                  </a:cubicBezTo>
                  <a:cubicBezTo>
                    <a:pt x="1371037" y="624434"/>
                    <a:pt x="1371037" y="624434"/>
                    <a:pt x="1365486" y="629985"/>
                  </a:cubicBezTo>
                  <a:cubicBezTo>
                    <a:pt x="1365486" y="629985"/>
                    <a:pt x="1359935" y="624434"/>
                    <a:pt x="1354384" y="635535"/>
                  </a:cubicBezTo>
                  <a:cubicBezTo>
                    <a:pt x="1348834" y="641086"/>
                    <a:pt x="1354384" y="646637"/>
                    <a:pt x="1354384" y="652188"/>
                  </a:cubicBezTo>
                  <a:cubicBezTo>
                    <a:pt x="1354384" y="657739"/>
                    <a:pt x="1359935" y="657739"/>
                    <a:pt x="1359935" y="663290"/>
                  </a:cubicBezTo>
                  <a:cubicBezTo>
                    <a:pt x="1359935" y="668841"/>
                    <a:pt x="1359935" y="674392"/>
                    <a:pt x="1359935" y="679943"/>
                  </a:cubicBezTo>
                  <a:cubicBezTo>
                    <a:pt x="1354384" y="696596"/>
                    <a:pt x="1337732" y="702147"/>
                    <a:pt x="1343283" y="713249"/>
                  </a:cubicBezTo>
                  <a:cubicBezTo>
                    <a:pt x="1343283" y="718800"/>
                    <a:pt x="1348834" y="724351"/>
                    <a:pt x="1348834" y="729902"/>
                  </a:cubicBezTo>
                  <a:cubicBezTo>
                    <a:pt x="1348834" y="752106"/>
                    <a:pt x="1332181" y="774310"/>
                    <a:pt x="1332181" y="796513"/>
                  </a:cubicBezTo>
                  <a:cubicBezTo>
                    <a:pt x="1326631" y="790962"/>
                    <a:pt x="1309978" y="790962"/>
                    <a:pt x="1304428" y="785412"/>
                  </a:cubicBezTo>
                  <a:cubicBezTo>
                    <a:pt x="1304428" y="785412"/>
                    <a:pt x="1298877" y="790962"/>
                    <a:pt x="1298877" y="790962"/>
                  </a:cubicBezTo>
                  <a:cubicBezTo>
                    <a:pt x="1293326" y="790962"/>
                    <a:pt x="1293326" y="785412"/>
                    <a:pt x="1287775" y="785412"/>
                  </a:cubicBezTo>
                  <a:cubicBezTo>
                    <a:pt x="1293326" y="802064"/>
                    <a:pt x="1293326" y="813166"/>
                    <a:pt x="1293326" y="829819"/>
                  </a:cubicBezTo>
                  <a:cubicBezTo>
                    <a:pt x="1293326" y="835370"/>
                    <a:pt x="1298877" y="852023"/>
                    <a:pt x="1282225" y="846472"/>
                  </a:cubicBezTo>
                  <a:cubicBezTo>
                    <a:pt x="1287775" y="857574"/>
                    <a:pt x="1287775" y="868676"/>
                    <a:pt x="1293326" y="879778"/>
                  </a:cubicBezTo>
                  <a:cubicBezTo>
                    <a:pt x="1293326" y="885329"/>
                    <a:pt x="1298877" y="901982"/>
                    <a:pt x="1287775" y="896431"/>
                  </a:cubicBezTo>
                  <a:cubicBezTo>
                    <a:pt x="1287775" y="918635"/>
                    <a:pt x="1276674" y="907533"/>
                    <a:pt x="1271123" y="896431"/>
                  </a:cubicBezTo>
                  <a:cubicBezTo>
                    <a:pt x="1271123" y="901982"/>
                    <a:pt x="1265572" y="907533"/>
                    <a:pt x="1265572" y="907533"/>
                  </a:cubicBezTo>
                  <a:cubicBezTo>
                    <a:pt x="1254471" y="874227"/>
                    <a:pt x="1248920" y="846472"/>
                    <a:pt x="1237818" y="807615"/>
                  </a:cubicBezTo>
                  <a:cubicBezTo>
                    <a:pt x="1232268" y="796513"/>
                    <a:pt x="1221166" y="813166"/>
                    <a:pt x="1215615" y="807615"/>
                  </a:cubicBezTo>
                  <a:cubicBezTo>
                    <a:pt x="1221166" y="813166"/>
                    <a:pt x="1221166" y="818717"/>
                    <a:pt x="1215615" y="824268"/>
                  </a:cubicBezTo>
                  <a:cubicBezTo>
                    <a:pt x="1215615" y="829819"/>
                    <a:pt x="1215615" y="835370"/>
                    <a:pt x="1215615" y="840921"/>
                  </a:cubicBezTo>
                  <a:cubicBezTo>
                    <a:pt x="1215615" y="846472"/>
                    <a:pt x="1215615" y="852023"/>
                    <a:pt x="1204514" y="846472"/>
                  </a:cubicBezTo>
                  <a:cubicBezTo>
                    <a:pt x="1198963" y="846472"/>
                    <a:pt x="1198963" y="835370"/>
                    <a:pt x="1193412" y="829819"/>
                  </a:cubicBezTo>
                  <a:cubicBezTo>
                    <a:pt x="1193412" y="835370"/>
                    <a:pt x="1193412" y="840921"/>
                    <a:pt x="1193412" y="840921"/>
                  </a:cubicBezTo>
                  <a:cubicBezTo>
                    <a:pt x="1187862" y="829819"/>
                    <a:pt x="1182311" y="824268"/>
                    <a:pt x="1176760" y="813166"/>
                  </a:cubicBezTo>
                  <a:cubicBezTo>
                    <a:pt x="1176760" y="802064"/>
                    <a:pt x="1187862" y="790962"/>
                    <a:pt x="1187862" y="779861"/>
                  </a:cubicBezTo>
                  <a:cubicBezTo>
                    <a:pt x="1193412" y="779861"/>
                    <a:pt x="1198963" y="785412"/>
                    <a:pt x="1198963" y="774310"/>
                  </a:cubicBezTo>
                  <a:cubicBezTo>
                    <a:pt x="1204514" y="779861"/>
                    <a:pt x="1204514" y="774310"/>
                    <a:pt x="1210065" y="779861"/>
                  </a:cubicBezTo>
                  <a:cubicBezTo>
                    <a:pt x="1215615" y="763208"/>
                    <a:pt x="1232268" y="752106"/>
                    <a:pt x="1221166" y="735453"/>
                  </a:cubicBezTo>
                  <a:cubicBezTo>
                    <a:pt x="1226717" y="735453"/>
                    <a:pt x="1237818" y="735453"/>
                    <a:pt x="1232268" y="729902"/>
                  </a:cubicBezTo>
                  <a:cubicBezTo>
                    <a:pt x="1226717" y="724351"/>
                    <a:pt x="1215615" y="718800"/>
                    <a:pt x="1204514" y="718800"/>
                  </a:cubicBezTo>
                  <a:cubicBezTo>
                    <a:pt x="1193412" y="718800"/>
                    <a:pt x="1187862" y="718800"/>
                    <a:pt x="1176760" y="718800"/>
                  </a:cubicBezTo>
                  <a:cubicBezTo>
                    <a:pt x="1165659" y="718800"/>
                    <a:pt x="1154557" y="718800"/>
                    <a:pt x="1143456" y="718800"/>
                  </a:cubicBezTo>
                  <a:cubicBezTo>
                    <a:pt x="1126803" y="718800"/>
                    <a:pt x="1093499" y="718800"/>
                    <a:pt x="1093499" y="696596"/>
                  </a:cubicBezTo>
                  <a:cubicBezTo>
                    <a:pt x="1093499" y="691045"/>
                    <a:pt x="1093499" y="657739"/>
                    <a:pt x="1076847" y="657739"/>
                  </a:cubicBezTo>
                  <a:cubicBezTo>
                    <a:pt x="1076847" y="663290"/>
                    <a:pt x="1076847" y="668841"/>
                    <a:pt x="1076847" y="668841"/>
                  </a:cubicBezTo>
                  <a:cubicBezTo>
                    <a:pt x="1071296" y="668841"/>
                    <a:pt x="1060194" y="663290"/>
                    <a:pt x="1054644" y="657739"/>
                  </a:cubicBezTo>
                  <a:cubicBezTo>
                    <a:pt x="1049093" y="652188"/>
                    <a:pt x="1049093" y="641086"/>
                    <a:pt x="1037991" y="646637"/>
                  </a:cubicBezTo>
                  <a:cubicBezTo>
                    <a:pt x="1043542" y="646637"/>
                    <a:pt x="1043542" y="652188"/>
                    <a:pt x="1043542" y="652188"/>
                  </a:cubicBezTo>
                  <a:cubicBezTo>
                    <a:pt x="1043542" y="652188"/>
                    <a:pt x="1037991" y="652188"/>
                    <a:pt x="1032440" y="652188"/>
                  </a:cubicBezTo>
                  <a:cubicBezTo>
                    <a:pt x="1026890" y="646637"/>
                    <a:pt x="1026890" y="641086"/>
                    <a:pt x="1021339" y="641086"/>
                  </a:cubicBezTo>
                  <a:cubicBezTo>
                    <a:pt x="1021339" y="635535"/>
                    <a:pt x="1015788" y="635535"/>
                    <a:pt x="1010237" y="635535"/>
                  </a:cubicBezTo>
                  <a:cubicBezTo>
                    <a:pt x="1010237" y="641086"/>
                    <a:pt x="1010237" y="641086"/>
                    <a:pt x="1010237" y="641086"/>
                  </a:cubicBezTo>
                  <a:cubicBezTo>
                    <a:pt x="1010237" y="641086"/>
                    <a:pt x="1015788" y="641086"/>
                    <a:pt x="1021339" y="646637"/>
                  </a:cubicBezTo>
                  <a:cubicBezTo>
                    <a:pt x="1004687" y="652188"/>
                    <a:pt x="993585" y="674392"/>
                    <a:pt x="1010237" y="679943"/>
                  </a:cubicBezTo>
                  <a:cubicBezTo>
                    <a:pt x="1021339" y="685494"/>
                    <a:pt x="1021339" y="691045"/>
                    <a:pt x="1026890" y="696596"/>
                  </a:cubicBezTo>
                  <a:cubicBezTo>
                    <a:pt x="1032440" y="702147"/>
                    <a:pt x="1043542" y="696596"/>
                    <a:pt x="1043542" y="702147"/>
                  </a:cubicBezTo>
                  <a:cubicBezTo>
                    <a:pt x="1043542" y="713249"/>
                    <a:pt x="1060194" y="707698"/>
                    <a:pt x="1054644" y="718800"/>
                  </a:cubicBezTo>
                  <a:cubicBezTo>
                    <a:pt x="1049093" y="718800"/>
                    <a:pt x="1037991" y="718800"/>
                    <a:pt x="1037991" y="718800"/>
                  </a:cubicBezTo>
                  <a:cubicBezTo>
                    <a:pt x="1032440" y="718800"/>
                    <a:pt x="1026890" y="718800"/>
                    <a:pt x="1026890" y="724351"/>
                  </a:cubicBezTo>
                  <a:cubicBezTo>
                    <a:pt x="1026890" y="729902"/>
                    <a:pt x="1021339" y="741004"/>
                    <a:pt x="1015788" y="729902"/>
                  </a:cubicBezTo>
                  <a:cubicBezTo>
                    <a:pt x="1015788" y="741004"/>
                    <a:pt x="1004687" y="746555"/>
                    <a:pt x="1015788" y="757657"/>
                  </a:cubicBezTo>
                  <a:cubicBezTo>
                    <a:pt x="1026890" y="763208"/>
                    <a:pt x="1037991" y="763208"/>
                    <a:pt x="1043542" y="768759"/>
                  </a:cubicBezTo>
                  <a:cubicBezTo>
                    <a:pt x="1054644" y="779861"/>
                    <a:pt x="1049093" y="785412"/>
                    <a:pt x="1049093" y="790962"/>
                  </a:cubicBezTo>
                  <a:cubicBezTo>
                    <a:pt x="1054644" y="796513"/>
                    <a:pt x="1037991" y="802064"/>
                    <a:pt x="1049093" y="807615"/>
                  </a:cubicBezTo>
                  <a:cubicBezTo>
                    <a:pt x="1054644" y="813166"/>
                    <a:pt x="1054644" y="813166"/>
                    <a:pt x="1054644" y="818717"/>
                  </a:cubicBezTo>
                  <a:cubicBezTo>
                    <a:pt x="1060194" y="818717"/>
                    <a:pt x="1054644" y="824268"/>
                    <a:pt x="1060194" y="829819"/>
                  </a:cubicBezTo>
                  <a:cubicBezTo>
                    <a:pt x="1065745" y="835370"/>
                    <a:pt x="1065745" y="835370"/>
                    <a:pt x="1065745" y="835370"/>
                  </a:cubicBezTo>
                  <a:cubicBezTo>
                    <a:pt x="1071296" y="835370"/>
                    <a:pt x="1065745" y="840921"/>
                    <a:pt x="1071296" y="846472"/>
                  </a:cubicBezTo>
                  <a:cubicBezTo>
                    <a:pt x="1071296" y="852023"/>
                    <a:pt x="1071296" y="857574"/>
                    <a:pt x="1071296" y="863125"/>
                  </a:cubicBezTo>
                  <a:cubicBezTo>
                    <a:pt x="1071296" y="874227"/>
                    <a:pt x="1076847" y="874227"/>
                    <a:pt x="1076847" y="885329"/>
                  </a:cubicBezTo>
                  <a:cubicBezTo>
                    <a:pt x="1082397" y="890880"/>
                    <a:pt x="1087948" y="901982"/>
                    <a:pt x="1082397" y="913084"/>
                  </a:cubicBezTo>
                  <a:cubicBezTo>
                    <a:pt x="1082397" y="913084"/>
                    <a:pt x="1076847" y="907533"/>
                    <a:pt x="1076847" y="907533"/>
                  </a:cubicBezTo>
                  <a:cubicBezTo>
                    <a:pt x="1076847" y="913084"/>
                    <a:pt x="1087948" y="924186"/>
                    <a:pt x="1082397" y="929737"/>
                  </a:cubicBezTo>
                  <a:cubicBezTo>
                    <a:pt x="1082397" y="929737"/>
                    <a:pt x="1076847" y="924186"/>
                    <a:pt x="1076847" y="918635"/>
                  </a:cubicBezTo>
                  <a:cubicBezTo>
                    <a:pt x="1071296" y="924186"/>
                    <a:pt x="1071296" y="929737"/>
                    <a:pt x="1065745" y="924186"/>
                  </a:cubicBezTo>
                  <a:cubicBezTo>
                    <a:pt x="1060194" y="918635"/>
                    <a:pt x="1065745" y="907533"/>
                    <a:pt x="1065745" y="901982"/>
                  </a:cubicBezTo>
                  <a:cubicBezTo>
                    <a:pt x="1060194" y="901982"/>
                    <a:pt x="1065745" y="907533"/>
                    <a:pt x="1060194" y="913084"/>
                  </a:cubicBezTo>
                  <a:cubicBezTo>
                    <a:pt x="1065745" y="907533"/>
                    <a:pt x="1060194" y="901982"/>
                    <a:pt x="1060194" y="896431"/>
                  </a:cubicBezTo>
                  <a:cubicBezTo>
                    <a:pt x="1057419" y="899206"/>
                    <a:pt x="1057419" y="906145"/>
                    <a:pt x="1058113" y="913778"/>
                  </a:cubicBezTo>
                  <a:lnTo>
                    <a:pt x="1059012" y="923069"/>
                  </a:lnTo>
                  <a:lnTo>
                    <a:pt x="1054644" y="913084"/>
                  </a:lnTo>
                  <a:cubicBezTo>
                    <a:pt x="1054644" y="913084"/>
                    <a:pt x="1054644" y="929737"/>
                    <a:pt x="1054644" y="929737"/>
                  </a:cubicBezTo>
                  <a:cubicBezTo>
                    <a:pt x="1049093" y="924186"/>
                    <a:pt x="1049093" y="924186"/>
                    <a:pt x="1049093" y="924186"/>
                  </a:cubicBezTo>
                  <a:cubicBezTo>
                    <a:pt x="1047705" y="922798"/>
                    <a:pt x="1047011" y="923145"/>
                    <a:pt x="1046664" y="924186"/>
                  </a:cubicBezTo>
                  <a:lnTo>
                    <a:pt x="1046462" y="926619"/>
                  </a:lnTo>
                  <a:lnTo>
                    <a:pt x="1043542" y="924186"/>
                  </a:lnTo>
                  <a:cubicBezTo>
                    <a:pt x="1046317" y="932512"/>
                    <a:pt x="1046317" y="931125"/>
                    <a:pt x="1046317" y="928349"/>
                  </a:cubicBezTo>
                  <a:lnTo>
                    <a:pt x="1046462" y="926619"/>
                  </a:lnTo>
                  <a:lnTo>
                    <a:pt x="1047705" y="927655"/>
                  </a:lnTo>
                  <a:cubicBezTo>
                    <a:pt x="1047705" y="929737"/>
                    <a:pt x="1046317" y="932512"/>
                    <a:pt x="1043542" y="935288"/>
                  </a:cubicBezTo>
                  <a:cubicBezTo>
                    <a:pt x="1037991" y="929737"/>
                    <a:pt x="1037991" y="913084"/>
                    <a:pt x="1037991" y="907533"/>
                  </a:cubicBezTo>
                  <a:cubicBezTo>
                    <a:pt x="1037991" y="890880"/>
                    <a:pt x="1026890" y="896431"/>
                    <a:pt x="1021339" y="885329"/>
                  </a:cubicBezTo>
                  <a:cubicBezTo>
                    <a:pt x="1021339" y="896431"/>
                    <a:pt x="1037991" y="896431"/>
                    <a:pt x="1032440" y="907533"/>
                  </a:cubicBezTo>
                  <a:cubicBezTo>
                    <a:pt x="1021339" y="924186"/>
                    <a:pt x="1015788" y="929737"/>
                    <a:pt x="999136" y="935288"/>
                  </a:cubicBezTo>
                  <a:cubicBezTo>
                    <a:pt x="988034" y="935288"/>
                    <a:pt x="976933" y="940839"/>
                    <a:pt x="976933" y="951941"/>
                  </a:cubicBezTo>
                  <a:cubicBezTo>
                    <a:pt x="971382" y="957492"/>
                    <a:pt x="982484" y="979696"/>
                    <a:pt x="988034" y="985247"/>
                  </a:cubicBezTo>
                  <a:cubicBezTo>
                    <a:pt x="982484" y="990798"/>
                    <a:pt x="976933" y="990798"/>
                    <a:pt x="976933" y="996348"/>
                  </a:cubicBezTo>
                  <a:cubicBezTo>
                    <a:pt x="971382" y="1001899"/>
                    <a:pt x="976933" y="1001899"/>
                    <a:pt x="971382" y="1013001"/>
                  </a:cubicBezTo>
                  <a:cubicBezTo>
                    <a:pt x="960281" y="1018552"/>
                    <a:pt x="960281" y="1035205"/>
                    <a:pt x="949179" y="1018552"/>
                  </a:cubicBezTo>
                  <a:cubicBezTo>
                    <a:pt x="949179" y="1024103"/>
                    <a:pt x="954730" y="1024103"/>
                    <a:pt x="960281" y="1029654"/>
                  </a:cubicBezTo>
                  <a:cubicBezTo>
                    <a:pt x="943628" y="1035205"/>
                    <a:pt x="926976" y="1040756"/>
                    <a:pt x="915875" y="1046307"/>
                  </a:cubicBezTo>
                  <a:cubicBezTo>
                    <a:pt x="915875" y="1040756"/>
                    <a:pt x="921425" y="1029654"/>
                    <a:pt x="910324" y="1035205"/>
                  </a:cubicBezTo>
                  <a:cubicBezTo>
                    <a:pt x="904773" y="1035205"/>
                    <a:pt x="893672" y="1046307"/>
                    <a:pt x="899222" y="1057409"/>
                  </a:cubicBezTo>
                  <a:cubicBezTo>
                    <a:pt x="899222" y="1051858"/>
                    <a:pt x="910324" y="1040756"/>
                    <a:pt x="910324" y="1046307"/>
                  </a:cubicBezTo>
                  <a:cubicBezTo>
                    <a:pt x="904773" y="1051858"/>
                    <a:pt x="899222" y="1062960"/>
                    <a:pt x="893672" y="1068511"/>
                  </a:cubicBezTo>
                  <a:cubicBezTo>
                    <a:pt x="882570" y="1079613"/>
                    <a:pt x="877019" y="1090715"/>
                    <a:pt x="871469" y="1101817"/>
                  </a:cubicBezTo>
                  <a:cubicBezTo>
                    <a:pt x="860367" y="1118470"/>
                    <a:pt x="854816" y="1129572"/>
                    <a:pt x="838164" y="1135123"/>
                  </a:cubicBezTo>
                  <a:cubicBezTo>
                    <a:pt x="827063" y="1140674"/>
                    <a:pt x="827063" y="1157327"/>
                    <a:pt x="810410" y="1162878"/>
                  </a:cubicBezTo>
                  <a:cubicBezTo>
                    <a:pt x="821512" y="1168429"/>
                    <a:pt x="782656" y="1185082"/>
                    <a:pt x="777106" y="1190632"/>
                  </a:cubicBezTo>
                  <a:cubicBezTo>
                    <a:pt x="771555" y="1196183"/>
                    <a:pt x="766004" y="1201734"/>
                    <a:pt x="766004" y="1207285"/>
                  </a:cubicBezTo>
                  <a:cubicBezTo>
                    <a:pt x="760453" y="1212836"/>
                    <a:pt x="771555" y="1218387"/>
                    <a:pt x="771555" y="1223938"/>
                  </a:cubicBezTo>
                  <a:cubicBezTo>
                    <a:pt x="760453" y="1246142"/>
                    <a:pt x="738250" y="1240591"/>
                    <a:pt x="721598" y="1246142"/>
                  </a:cubicBezTo>
                  <a:cubicBezTo>
                    <a:pt x="716047" y="1246142"/>
                    <a:pt x="716047" y="1251693"/>
                    <a:pt x="716047" y="1257244"/>
                  </a:cubicBezTo>
                  <a:cubicBezTo>
                    <a:pt x="710497" y="1262795"/>
                    <a:pt x="704946" y="1273897"/>
                    <a:pt x="704946" y="1279448"/>
                  </a:cubicBezTo>
                  <a:cubicBezTo>
                    <a:pt x="699395" y="1273897"/>
                    <a:pt x="699395" y="1268346"/>
                    <a:pt x="699395" y="1262795"/>
                  </a:cubicBezTo>
                  <a:cubicBezTo>
                    <a:pt x="699395" y="1268346"/>
                    <a:pt x="699395" y="1273897"/>
                    <a:pt x="693844" y="1279448"/>
                  </a:cubicBezTo>
                  <a:cubicBezTo>
                    <a:pt x="699395" y="1262795"/>
                    <a:pt x="677192" y="1273897"/>
                    <a:pt x="671641" y="1279448"/>
                  </a:cubicBezTo>
                  <a:cubicBezTo>
                    <a:pt x="666091" y="1296101"/>
                    <a:pt x="654989" y="1312754"/>
                    <a:pt x="660540" y="1323856"/>
                  </a:cubicBezTo>
                  <a:cubicBezTo>
                    <a:pt x="666091" y="1334958"/>
                    <a:pt x="671641" y="1346060"/>
                    <a:pt x="671641" y="1357162"/>
                  </a:cubicBezTo>
                  <a:cubicBezTo>
                    <a:pt x="671641" y="1379366"/>
                    <a:pt x="671641" y="1396018"/>
                    <a:pt x="677192" y="1412671"/>
                  </a:cubicBezTo>
                  <a:cubicBezTo>
                    <a:pt x="677192" y="1407120"/>
                    <a:pt x="671641" y="1396018"/>
                    <a:pt x="671641" y="1407120"/>
                  </a:cubicBezTo>
                  <a:cubicBezTo>
                    <a:pt x="666091" y="1396018"/>
                    <a:pt x="666091" y="1407120"/>
                    <a:pt x="671641" y="1412671"/>
                  </a:cubicBezTo>
                  <a:cubicBezTo>
                    <a:pt x="677192" y="1412671"/>
                    <a:pt x="677192" y="1412671"/>
                    <a:pt x="682743" y="1418222"/>
                  </a:cubicBezTo>
                  <a:cubicBezTo>
                    <a:pt x="688294" y="1429324"/>
                    <a:pt x="682743" y="1451528"/>
                    <a:pt x="682743" y="1457079"/>
                  </a:cubicBezTo>
                  <a:cubicBezTo>
                    <a:pt x="677192" y="1473732"/>
                    <a:pt x="666091" y="1490385"/>
                    <a:pt x="666091" y="1507038"/>
                  </a:cubicBezTo>
                  <a:cubicBezTo>
                    <a:pt x="660540" y="1518140"/>
                    <a:pt x="666091" y="1534793"/>
                    <a:pt x="654989" y="1545895"/>
                  </a:cubicBezTo>
                  <a:cubicBezTo>
                    <a:pt x="660540" y="1540344"/>
                    <a:pt x="660540" y="1540344"/>
                    <a:pt x="660540" y="1540344"/>
                  </a:cubicBezTo>
                  <a:cubicBezTo>
                    <a:pt x="666091" y="1545895"/>
                    <a:pt x="666091" y="1556997"/>
                    <a:pt x="666091" y="1562548"/>
                  </a:cubicBezTo>
                  <a:cubicBezTo>
                    <a:pt x="666091" y="1579201"/>
                    <a:pt x="671641" y="1590303"/>
                    <a:pt x="671641" y="1601404"/>
                  </a:cubicBezTo>
                  <a:cubicBezTo>
                    <a:pt x="666091" y="1601404"/>
                    <a:pt x="660540" y="1601404"/>
                    <a:pt x="660540" y="1601404"/>
                  </a:cubicBezTo>
                  <a:cubicBezTo>
                    <a:pt x="671641" y="1606955"/>
                    <a:pt x="660540" y="1606955"/>
                    <a:pt x="654989" y="1606955"/>
                  </a:cubicBezTo>
                  <a:cubicBezTo>
                    <a:pt x="649438" y="1601404"/>
                    <a:pt x="643888" y="1601404"/>
                    <a:pt x="643888" y="1606955"/>
                  </a:cubicBezTo>
                  <a:cubicBezTo>
                    <a:pt x="638337" y="1606955"/>
                    <a:pt x="638337" y="1612506"/>
                    <a:pt x="638337" y="1618057"/>
                  </a:cubicBezTo>
                  <a:cubicBezTo>
                    <a:pt x="643888" y="1623608"/>
                    <a:pt x="632786" y="1629159"/>
                    <a:pt x="632786" y="1629159"/>
                  </a:cubicBezTo>
                  <a:cubicBezTo>
                    <a:pt x="627235" y="1640261"/>
                    <a:pt x="616134" y="1656914"/>
                    <a:pt x="632786" y="1662465"/>
                  </a:cubicBezTo>
                  <a:cubicBezTo>
                    <a:pt x="632786" y="1662465"/>
                    <a:pt x="638337" y="1662465"/>
                    <a:pt x="643888" y="1662465"/>
                  </a:cubicBezTo>
                  <a:cubicBezTo>
                    <a:pt x="643888" y="1662465"/>
                    <a:pt x="649438" y="1673567"/>
                    <a:pt x="649438" y="1673567"/>
                  </a:cubicBezTo>
                  <a:cubicBezTo>
                    <a:pt x="638337" y="1656914"/>
                    <a:pt x="616134" y="1668016"/>
                    <a:pt x="599482" y="1673567"/>
                  </a:cubicBezTo>
                  <a:cubicBezTo>
                    <a:pt x="582829" y="1684669"/>
                    <a:pt x="588380" y="1701322"/>
                    <a:pt x="582829" y="1717975"/>
                  </a:cubicBezTo>
                  <a:cubicBezTo>
                    <a:pt x="577279" y="1723526"/>
                    <a:pt x="566177" y="1729077"/>
                    <a:pt x="560626" y="1734628"/>
                  </a:cubicBezTo>
                  <a:cubicBezTo>
                    <a:pt x="549525" y="1740179"/>
                    <a:pt x="538423" y="1734628"/>
                    <a:pt x="532872" y="1723526"/>
                  </a:cubicBezTo>
                  <a:cubicBezTo>
                    <a:pt x="527321" y="1717975"/>
                    <a:pt x="494017" y="1684669"/>
                    <a:pt x="505118" y="1684669"/>
                  </a:cubicBezTo>
                  <a:cubicBezTo>
                    <a:pt x="494017" y="1684669"/>
                    <a:pt x="494017" y="1668016"/>
                    <a:pt x="488466" y="1662465"/>
                  </a:cubicBezTo>
                  <a:cubicBezTo>
                    <a:pt x="482915" y="1651363"/>
                    <a:pt x="477365" y="1634710"/>
                    <a:pt x="482915" y="1623608"/>
                  </a:cubicBezTo>
                  <a:cubicBezTo>
                    <a:pt x="482915" y="1629159"/>
                    <a:pt x="488466" y="1634710"/>
                    <a:pt x="488466" y="1640261"/>
                  </a:cubicBezTo>
                  <a:cubicBezTo>
                    <a:pt x="488466" y="1629159"/>
                    <a:pt x="488466" y="1651363"/>
                    <a:pt x="494017" y="1651363"/>
                  </a:cubicBezTo>
                  <a:cubicBezTo>
                    <a:pt x="488466" y="1645812"/>
                    <a:pt x="494017" y="1640261"/>
                    <a:pt x="488466" y="1629159"/>
                  </a:cubicBezTo>
                  <a:cubicBezTo>
                    <a:pt x="488466" y="1623608"/>
                    <a:pt x="482915" y="1623608"/>
                    <a:pt x="482915" y="1618057"/>
                  </a:cubicBezTo>
                  <a:cubicBezTo>
                    <a:pt x="482915" y="1629159"/>
                    <a:pt x="477365" y="1618057"/>
                    <a:pt x="477365" y="1612506"/>
                  </a:cubicBezTo>
                  <a:cubicBezTo>
                    <a:pt x="477365" y="1606955"/>
                    <a:pt x="471814" y="1606955"/>
                    <a:pt x="471814" y="1601404"/>
                  </a:cubicBezTo>
                  <a:cubicBezTo>
                    <a:pt x="466263" y="1584752"/>
                    <a:pt x="460712" y="1573650"/>
                    <a:pt x="455162" y="1562548"/>
                  </a:cubicBezTo>
                  <a:cubicBezTo>
                    <a:pt x="455162" y="1556997"/>
                    <a:pt x="427408" y="1507038"/>
                    <a:pt x="427408" y="1507038"/>
                  </a:cubicBezTo>
                  <a:cubicBezTo>
                    <a:pt x="410756" y="1484834"/>
                    <a:pt x="399654" y="1457079"/>
                    <a:pt x="388553" y="1429324"/>
                  </a:cubicBezTo>
                  <a:cubicBezTo>
                    <a:pt x="388553" y="1418222"/>
                    <a:pt x="388553" y="1412671"/>
                    <a:pt x="383002" y="1401569"/>
                  </a:cubicBezTo>
                  <a:cubicBezTo>
                    <a:pt x="383002" y="1396018"/>
                    <a:pt x="377451" y="1390468"/>
                    <a:pt x="377451" y="1384917"/>
                  </a:cubicBezTo>
                  <a:cubicBezTo>
                    <a:pt x="371900" y="1379366"/>
                    <a:pt x="366350" y="1368264"/>
                    <a:pt x="377451" y="1368264"/>
                  </a:cubicBezTo>
                  <a:cubicBezTo>
                    <a:pt x="366350" y="1368264"/>
                    <a:pt x="366350" y="1351611"/>
                    <a:pt x="366350" y="1346060"/>
                  </a:cubicBezTo>
                  <a:cubicBezTo>
                    <a:pt x="360799" y="1340509"/>
                    <a:pt x="344147" y="1334958"/>
                    <a:pt x="360799" y="1329407"/>
                  </a:cubicBezTo>
                  <a:cubicBezTo>
                    <a:pt x="349697" y="1334958"/>
                    <a:pt x="344147" y="1323856"/>
                    <a:pt x="344147" y="1318305"/>
                  </a:cubicBezTo>
                  <a:cubicBezTo>
                    <a:pt x="344147" y="1318305"/>
                    <a:pt x="344147" y="1312754"/>
                    <a:pt x="338596" y="1307203"/>
                  </a:cubicBezTo>
                  <a:cubicBezTo>
                    <a:pt x="338596" y="1301652"/>
                    <a:pt x="327494" y="1301652"/>
                    <a:pt x="338596" y="1301652"/>
                  </a:cubicBezTo>
                  <a:cubicBezTo>
                    <a:pt x="333045" y="1301652"/>
                    <a:pt x="333045" y="1290550"/>
                    <a:pt x="333045" y="1290550"/>
                  </a:cubicBezTo>
                  <a:cubicBezTo>
                    <a:pt x="333045" y="1284999"/>
                    <a:pt x="327494" y="1284999"/>
                    <a:pt x="321944" y="1279448"/>
                  </a:cubicBezTo>
                  <a:cubicBezTo>
                    <a:pt x="316393" y="1268346"/>
                    <a:pt x="310842" y="1251693"/>
                    <a:pt x="305291" y="1240591"/>
                  </a:cubicBezTo>
                  <a:cubicBezTo>
                    <a:pt x="299740" y="1229489"/>
                    <a:pt x="299740" y="1218387"/>
                    <a:pt x="299740" y="1212836"/>
                  </a:cubicBezTo>
                  <a:cubicBezTo>
                    <a:pt x="299740" y="1201734"/>
                    <a:pt x="294190" y="1190632"/>
                    <a:pt x="294190" y="1179531"/>
                  </a:cubicBezTo>
                  <a:cubicBezTo>
                    <a:pt x="288639" y="1168429"/>
                    <a:pt x="283088" y="1162878"/>
                    <a:pt x="283088" y="1151776"/>
                  </a:cubicBezTo>
                  <a:cubicBezTo>
                    <a:pt x="283088" y="1146225"/>
                    <a:pt x="271987" y="1129572"/>
                    <a:pt x="277537" y="1129572"/>
                  </a:cubicBezTo>
                  <a:cubicBezTo>
                    <a:pt x="277537" y="1129572"/>
                    <a:pt x="266436" y="1112919"/>
                    <a:pt x="277537" y="1118470"/>
                  </a:cubicBezTo>
                  <a:cubicBezTo>
                    <a:pt x="271987" y="1112919"/>
                    <a:pt x="266436" y="1107368"/>
                    <a:pt x="266436" y="1096266"/>
                  </a:cubicBezTo>
                  <a:cubicBezTo>
                    <a:pt x="271987" y="1101817"/>
                    <a:pt x="271987" y="1101817"/>
                    <a:pt x="271987" y="1101817"/>
                  </a:cubicBezTo>
                  <a:cubicBezTo>
                    <a:pt x="271987" y="1096266"/>
                    <a:pt x="271987" y="1096266"/>
                    <a:pt x="271987" y="1090715"/>
                  </a:cubicBezTo>
                  <a:cubicBezTo>
                    <a:pt x="277537" y="1090715"/>
                    <a:pt x="271987" y="1079613"/>
                    <a:pt x="271987" y="1074062"/>
                  </a:cubicBezTo>
                  <a:cubicBezTo>
                    <a:pt x="271987" y="1068511"/>
                    <a:pt x="255334" y="1062960"/>
                    <a:pt x="260885" y="1057409"/>
                  </a:cubicBezTo>
                  <a:cubicBezTo>
                    <a:pt x="260885" y="1057409"/>
                    <a:pt x="255334" y="1046307"/>
                    <a:pt x="255334" y="1040756"/>
                  </a:cubicBezTo>
                  <a:cubicBezTo>
                    <a:pt x="249784" y="1035205"/>
                    <a:pt x="249784" y="1024103"/>
                    <a:pt x="249784" y="1018552"/>
                  </a:cubicBezTo>
                  <a:cubicBezTo>
                    <a:pt x="255334" y="1007450"/>
                    <a:pt x="260885" y="990798"/>
                    <a:pt x="255334" y="979696"/>
                  </a:cubicBezTo>
                  <a:cubicBezTo>
                    <a:pt x="255334" y="974145"/>
                    <a:pt x="255334" y="951941"/>
                    <a:pt x="244233" y="963043"/>
                  </a:cubicBezTo>
                  <a:cubicBezTo>
                    <a:pt x="249784" y="951941"/>
                    <a:pt x="238682" y="951941"/>
                    <a:pt x="238682" y="946390"/>
                  </a:cubicBezTo>
                  <a:cubicBezTo>
                    <a:pt x="238682" y="940839"/>
                    <a:pt x="244233" y="940839"/>
                    <a:pt x="244233" y="935288"/>
                  </a:cubicBezTo>
                  <a:cubicBezTo>
                    <a:pt x="244233" y="929737"/>
                    <a:pt x="260885" y="929737"/>
                    <a:pt x="266436" y="918635"/>
                  </a:cubicBezTo>
                  <a:cubicBezTo>
                    <a:pt x="249784" y="929737"/>
                    <a:pt x="222030" y="924186"/>
                    <a:pt x="244233" y="907533"/>
                  </a:cubicBezTo>
                  <a:cubicBezTo>
                    <a:pt x="233131" y="913084"/>
                    <a:pt x="227581" y="907533"/>
                    <a:pt x="233131" y="901982"/>
                  </a:cubicBezTo>
                  <a:cubicBezTo>
                    <a:pt x="233131" y="890880"/>
                    <a:pt x="244233" y="901982"/>
                    <a:pt x="244233" y="890880"/>
                  </a:cubicBezTo>
                  <a:cubicBezTo>
                    <a:pt x="238682" y="896431"/>
                    <a:pt x="227581" y="890880"/>
                    <a:pt x="222030" y="885329"/>
                  </a:cubicBezTo>
                  <a:cubicBezTo>
                    <a:pt x="222030" y="890880"/>
                    <a:pt x="216479" y="890880"/>
                    <a:pt x="216479" y="890880"/>
                  </a:cubicBezTo>
                  <a:cubicBezTo>
                    <a:pt x="216479" y="890880"/>
                    <a:pt x="222030" y="890880"/>
                    <a:pt x="222030" y="896431"/>
                  </a:cubicBezTo>
                  <a:cubicBezTo>
                    <a:pt x="222030" y="907533"/>
                    <a:pt x="216479" y="907533"/>
                    <a:pt x="210928" y="907533"/>
                  </a:cubicBezTo>
                  <a:cubicBezTo>
                    <a:pt x="210928" y="913084"/>
                    <a:pt x="210928" y="913084"/>
                    <a:pt x="210928" y="913084"/>
                  </a:cubicBezTo>
                  <a:cubicBezTo>
                    <a:pt x="210928" y="913084"/>
                    <a:pt x="205378" y="913084"/>
                    <a:pt x="205378" y="918635"/>
                  </a:cubicBezTo>
                  <a:cubicBezTo>
                    <a:pt x="222030" y="924186"/>
                    <a:pt x="227581" y="929737"/>
                    <a:pt x="216479" y="946390"/>
                  </a:cubicBezTo>
                  <a:cubicBezTo>
                    <a:pt x="210928" y="951941"/>
                    <a:pt x="216479" y="957492"/>
                    <a:pt x="210928" y="957492"/>
                  </a:cubicBezTo>
                  <a:cubicBezTo>
                    <a:pt x="199827" y="963043"/>
                    <a:pt x="194276" y="968594"/>
                    <a:pt x="188725" y="968594"/>
                  </a:cubicBezTo>
                  <a:cubicBezTo>
                    <a:pt x="172073" y="979696"/>
                    <a:pt x="160972" y="985247"/>
                    <a:pt x="144319" y="985247"/>
                  </a:cubicBezTo>
                  <a:cubicBezTo>
                    <a:pt x="127667" y="979696"/>
                    <a:pt x="111015" y="963043"/>
                    <a:pt x="105464" y="951941"/>
                  </a:cubicBezTo>
                  <a:cubicBezTo>
                    <a:pt x="88812" y="929737"/>
                    <a:pt x="72160" y="918635"/>
                    <a:pt x="55507" y="901982"/>
                  </a:cubicBezTo>
                  <a:cubicBezTo>
                    <a:pt x="49956" y="896431"/>
                    <a:pt x="38855" y="879778"/>
                    <a:pt x="49956" y="879778"/>
                  </a:cubicBezTo>
                  <a:cubicBezTo>
                    <a:pt x="55507" y="879778"/>
                    <a:pt x="55507" y="885329"/>
                    <a:pt x="61058" y="890880"/>
                  </a:cubicBezTo>
                  <a:cubicBezTo>
                    <a:pt x="61058" y="890880"/>
                    <a:pt x="72160" y="890880"/>
                    <a:pt x="72160" y="879778"/>
                  </a:cubicBezTo>
                  <a:cubicBezTo>
                    <a:pt x="77710" y="890880"/>
                    <a:pt x="105464" y="874227"/>
                    <a:pt x="111015" y="868676"/>
                  </a:cubicBezTo>
                  <a:cubicBezTo>
                    <a:pt x="111015" y="868676"/>
                    <a:pt x="111015" y="857574"/>
                    <a:pt x="116566" y="857574"/>
                  </a:cubicBezTo>
                  <a:cubicBezTo>
                    <a:pt x="116566" y="852023"/>
                    <a:pt x="127667" y="846472"/>
                    <a:pt x="122116" y="840921"/>
                  </a:cubicBezTo>
                  <a:cubicBezTo>
                    <a:pt x="116566" y="840921"/>
                    <a:pt x="122116" y="852023"/>
                    <a:pt x="111015" y="852023"/>
                  </a:cubicBezTo>
                  <a:cubicBezTo>
                    <a:pt x="105464" y="852023"/>
                    <a:pt x="99913" y="852023"/>
                    <a:pt x="94363" y="852023"/>
                  </a:cubicBezTo>
                  <a:cubicBezTo>
                    <a:pt x="88812" y="857574"/>
                    <a:pt x="83261" y="863125"/>
                    <a:pt x="77710" y="863125"/>
                  </a:cubicBezTo>
                  <a:cubicBezTo>
                    <a:pt x="66609" y="863125"/>
                    <a:pt x="61058" y="857574"/>
                    <a:pt x="49956" y="852023"/>
                  </a:cubicBezTo>
                  <a:cubicBezTo>
                    <a:pt x="44406" y="852023"/>
                    <a:pt x="38855" y="846472"/>
                    <a:pt x="27753" y="840921"/>
                  </a:cubicBezTo>
                  <a:cubicBezTo>
                    <a:pt x="27753" y="835370"/>
                    <a:pt x="22203" y="829819"/>
                    <a:pt x="16652" y="824268"/>
                  </a:cubicBezTo>
                  <a:cubicBezTo>
                    <a:pt x="-5551" y="818717"/>
                    <a:pt x="22203" y="802064"/>
                    <a:pt x="27753" y="796513"/>
                  </a:cubicBezTo>
                  <a:cubicBezTo>
                    <a:pt x="16652" y="796513"/>
                    <a:pt x="11101" y="818717"/>
                    <a:pt x="0" y="813166"/>
                  </a:cubicBezTo>
                  <a:cubicBezTo>
                    <a:pt x="0" y="807615"/>
                    <a:pt x="0" y="807615"/>
                    <a:pt x="0" y="802064"/>
                  </a:cubicBezTo>
                  <a:cubicBezTo>
                    <a:pt x="0" y="790962"/>
                    <a:pt x="11101" y="790962"/>
                    <a:pt x="22203" y="790962"/>
                  </a:cubicBezTo>
                  <a:cubicBezTo>
                    <a:pt x="27753" y="790962"/>
                    <a:pt x="22203" y="774310"/>
                    <a:pt x="22203" y="768759"/>
                  </a:cubicBezTo>
                  <a:cubicBezTo>
                    <a:pt x="27753" y="774310"/>
                    <a:pt x="44406" y="768759"/>
                    <a:pt x="49956" y="768759"/>
                  </a:cubicBezTo>
                  <a:cubicBezTo>
                    <a:pt x="66609" y="774310"/>
                    <a:pt x="77710" y="779861"/>
                    <a:pt x="88812" y="774310"/>
                  </a:cubicBezTo>
                  <a:cubicBezTo>
                    <a:pt x="94363" y="774310"/>
                    <a:pt x="88812" y="768759"/>
                    <a:pt x="94363" y="768759"/>
                  </a:cubicBezTo>
                  <a:cubicBezTo>
                    <a:pt x="99913" y="768759"/>
                    <a:pt x="111015" y="757657"/>
                    <a:pt x="116566" y="763208"/>
                  </a:cubicBezTo>
                  <a:cubicBezTo>
                    <a:pt x="122116" y="779861"/>
                    <a:pt x="133218" y="774310"/>
                    <a:pt x="144319" y="763208"/>
                  </a:cubicBezTo>
                  <a:cubicBezTo>
                    <a:pt x="127667" y="752106"/>
                    <a:pt x="138769" y="752106"/>
                    <a:pt x="138769" y="746555"/>
                  </a:cubicBezTo>
                  <a:cubicBezTo>
                    <a:pt x="133218" y="724351"/>
                    <a:pt x="122116" y="713249"/>
                    <a:pt x="116566" y="702147"/>
                  </a:cubicBezTo>
                  <a:cubicBezTo>
                    <a:pt x="111015" y="696596"/>
                    <a:pt x="116566" y="685494"/>
                    <a:pt x="105464" y="685494"/>
                  </a:cubicBezTo>
                  <a:cubicBezTo>
                    <a:pt x="88812" y="691045"/>
                    <a:pt x="83261" y="679943"/>
                    <a:pt x="83261" y="668841"/>
                  </a:cubicBezTo>
                  <a:cubicBezTo>
                    <a:pt x="83261" y="657739"/>
                    <a:pt x="88812" y="641086"/>
                    <a:pt x="77710" y="635535"/>
                  </a:cubicBezTo>
                  <a:cubicBezTo>
                    <a:pt x="66609" y="629984"/>
                    <a:pt x="49956" y="635535"/>
                    <a:pt x="44406" y="618882"/>
                  </a:cubicBezTo>
                  <a:cubicBezTo>
                    <a:pt x="38855" y="602229"/>
                    <a:pt x="49956" y="591128"/>
                    <a:pt x="55507" y="580026"/>
                  </a:cubicBezTo>
                  <a:cubicBezTo>
                    <a:pt x="61058" y="574475"/>
                    <a:pt x="66609" y="568924"/>
                    <a:pt x="66609" y="563373"/>
                  </a:cubicBezTo>
                  <a:cubicBezTo>
                    <a:pt x="72160" y="557822"/>
                    <a:pt x="77710" y="546720"/>
                    <a:pt x="83261" y="546720"/>
                  </a:cubicBezTo>
                  <a:cubicBezTo>
                    <a:pt x="94363" y="552271"/>
                    <a:pt x="94363" y="563373"/>
                    <a:pt x="105464" y="568924"/>
                  </a:cubicBezTo>
                  <a:cubicBezTo>
                    <a:pt x="111015" y="568924"/>
                    <a:pt x="116566" y="563373"/>
                    <a:pt x="122116" y="557822"/>
                  </a:cubicBezTo>
                  <a:cubicBezTo>
                    <a:pt x="127667" y="557822"/>
                    <a:pt x="138769" y="557822"/>
                    <a:pt x="144319" y="557822"/>
                  </a:cubicBezTo>
                  <a:cubicBezTo>
                    <a:pt x="155421" y="552271"/>
                    <a:pt x="155421" y="541169"/>
                    <a:pt x="166522" y="530067"/>
                  </a:cubicBezTo>
                  <a:cubicBezTo>
                    <a:pt x="177624" y="518965"/>
                    <a:pt x="172073" y="507863"/>
                    <a:pt x="183175" y="496761"/>
                  </a:cubicBezTo>
                  <a:cubicBezTo>
                    <a:pt x="199827" y="485659"/>
                    <a:pt x="205378" y="480108"/>
                    <a:pt x="210928" y="463455"/>
                  </a:cubicBezTo>
                  <a:cubicBezTo>
                    <a:pt x="216479" y="452353"/>
                    <a:pt x="210928" y="435700"/>
                    <a:pt x="227581" y="430149"/>
                  </a:cubicBezTo>
                  <a:cubicBezTo>
                    <a:pt x="233131" y="424598"/>
                    <a:pt x="238682" y="424598"/>
                    <a:pt x="238682" y="419047"/>
                  </a:cubicBezTo>
                  <a:cubicBezTo>
                    <a:pt x="244233" y="413496"/>
                    <a:pt x="233131" y="413496"/>
                    <a:pt x="233131" y="407945"/>
                  </a:cubicBezTo>
                  <a:cubicBezTo>
                    <a:pt x="233131" y="402394"/>
                    <a:pt x="244233" y="391293"/>
                    <a:pt x="249784" y="385742"/>
                  </a:cubicBezTo>
                  <a:cubicBezTo>
                    <a:pt x="255334" y="374640"/>
                    <a:pt x="266436" y="374640"/>
                    <a:pt x="266436" y="363538"/>
                  </a:cubicBezTo>
                  <a:cubicBezTo>
                    <a:pt x="255334" y="363538"/>
                    <a:pt x="260885" y="352436"/>
                    <a:pt x="260885" y="346885"/>
                  </a:cubicBezTo>
                  <a:cubicBezTo>
                    <a:pt x="260885" y="341334"/>
                    <a:pt x="249784" y="330232"/>
                    <a:pt x="249784" y="324681"/>
                  </a:cubicBezTo>
                  <a:cubicBezTo>
                    <a:pt x="249784" y="313579"/>
                    <a:pt x="277537" y="308028"/>
                    <a:pt x="283088" y="302477"/>
                  </a:cubicBezTo>
                  <a:cubicBezTo>
                    <a:pt x="299740" y="285824"/>
                    <a:pt x="260885" y="285824"/>
                    <a:pt x="255334" y="280273"/>
                  </a:cubicBezTo>
                  <a:cubicBezTo>
                    <a:pt x="249784" y="280273"/>
                    <a:pt x="249784" y="269171"/>
                    <a:pt x="244233" y="269171"/>
                  </a:cubicBezTo>
                  <a:cubicBezTo>
                    <a:pt x="238682" y="263620"/>
                    <a:pt x="233131" y="263620"/>
                    <a:pt x="227581" y="263620"/>
                  </a:cubicBezTo>
                  <a:cubicBezTo>
                    <a:pt x="233131" y="258069"/>
                    <a:pt x="227581" y="252518"/>
                    <a:pt x="227581" y="252518"/>
                  </a:cubicBezTo>
                  <a:cubicBezTo>
                    <a:pt x="222030" y="246967"/>
                    <a:pt x="205378" y="241416"/>
                    <a:pt x="210928" y="235865"/>
                  </a:cubicBezTo>
                  <a:cubicBezTo>
                    <a:pt x="216479" y="230314"/>
                    <a:pt x="216479" y="224763"/>
                    <a:pt x="210928" y="219212"/>
                  </a:cubicBezTo>
                  <a:cubicBezTo>
                    <a:pt x="205378" y="213661"/>
                    <a:pt x="199827" y="208110"/>
                    <a:pt x="205378" y="202559"/>
                  </a:cubicBezTo>
                  <a:cubicBezTo>
                    <a:pt x="205378" y="202559"/>
                    <a:pt x="222030" y="191457"/>
                    <a:pt x="210928" y="191457"/>
                  </a:cubicBezTo>
                  <a:cubicBezTo>
                    <a:pt x="205378" y="191457"/>
                    <a:pt x="188725" y="191457"/>
                    <a:pt x="194276" y="185907"/>
                  </a:cubicBezTo>
                  <a:cubicBezTo>
                    <a:pt x="199827" y="174805"/>
                    <a:pt x="194276" y="174805"/>
                    <a:pt x="188725" y="169254"/>
                  </a:cubicBezTo>
                  <a:cubicBezTo>
                    <a:pt x="177624" y="169254"/>
                    <a:pt x="188725" y="152601"/>
                    <a:pt x="194276" y="152601"/>
                  </a:cubicBezTo>
                  <a:lnTo>
                    <a:pt x="197735" y="151304"/>
                  </a:lnTo>
                  <a:lnTo>
                    <a:pt x="206602" y="136525"/>
                  </a:lnTo>
                  <a:lnTo>
                    <a:pt x="210471" y="135235"/>
                  </a:lnTo>
                  <a:lnTo>
                    <a:pt x="210471" y="113464"/>
                  </a:lnTo>
                  <a:lnTo>
                    <a:pt x="206602" y="111125"/>
                  </a:lnTo>
                  <a:cubicBezTo>
                    <a:pt x="203622" y="108741"/>
                    <a:pt x="202369" y="104775"/>
                    <a:pt x="200252" y="101600"/>
                  </a:cubicBezTo>
                  <a:cubicBezTo>
                    <a:pt x="201310" y="97367"/>
                    <a:pt x="204807" y="93040"/>
                    <a:pt x="203427" y="88900"/>
                  </a:cubicBezTo>
                  <a:cubicBezTo>
                    <a:pt x="201888" y="84284"/>
                    <a:pt x="188075" y="80608"/>
                    <a:pt x="184377" y="79375"/>
                  </a:cubicBezTo>
                  <a:cubicBezTo>
                    <a:pt x="169821" y="57540"/>
                    <a:pt x="178917" y="62738"/>
                    <a:pt x="162152" y="57150"/>
                  </a:cubicBezTo>
                  <a:cubicBezTo>
                    <a:pt x="158977" y="58208"/>
                    <a:pt x="155734" y="61568"/>
                    <a:pt x="152627" y="60325"/>
                  </a:cubicBezTo>
                  <a:cubicBezTo>
                    <a:pt x="141006" y="55677"/>
                    <a:pt x="147315" y="45923"/>
                    <a:pt x="152627" y="41275"/>
                  </a:cubicBezTo>
                  <a:cubicBezTo>
                    <a:pt x="158370" y="36249"/>
                    <a:pt x="164437" y="30988"/>
                    <a:pt x="171677" y="28575"/>
                  </a:cubicBezTo>
                  <a:lnTo>
                    <a:pt x="190727" y="22225"/>
                  </a:lnTo>
                  <a:cubicBezTo>
                    <a:pt x="205483" y="90"/>
                    <a:pt x="190553" y="17072"/>
                    <a:pt x="238352" y="9525"/>
                  </a:cubicBezTo>
                  <a:cubicBezTo>
                    <a:pt x="244964" y="8481"/>
                    <a:pt x="251052" y="5292"/>
                    <a:pt x="257402" y="317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a:ea typeface="+mn-ea"/>
                <a:cs typeface="+mn-cs"/>
              </a:endParaRPr>
            </a:p>
          </p:txBody>
        </p:sp>
      </p:grpSp>
      <p:sp>
        <p:nvSpPr>
          <p:cNvPr id="257" name="TextBox 256">
            <a:extLst>
              <a:ext uri="{FF2B5EF4-FFF2-40B4-BE49-F238E27FC236}">
                <a16:creationId xmlns:a16="http://schemas.microsoft.com/office/drawing/2014/main" id="{D79B9BC1-B035-5940-3EA5-6DA8D93EE35C}"/>
              </a:ext>
            </a:extLst>
          </p:cNvPr>
          <p:cNvSpPr txBox="1">
            <a:spLocks noChangeArrowheads="1"/>
          </p:cNvSpPr>
          <p:nvPr/>
        </p:nvSpPr>
        <p:spPr bwMode="auto">
          <a:xfrm>
            <a:off x="718985" y="3392276"/>
            <a:ext cx="4391712" cy="540422"/>
          </a:xfrm>
          <a:prstGeom prst="rect">
            <a:avLst/>
          </a:prstGeom>
        </p:spPr>
        <p:txBody>
          <a:bodyPr vert="horz" lIns="91273" tIns="45637" rIns="91273" bIns="45637" rtlCol="0" anchor="ctr">
            <a:normAutofit/>
          </a:bodyPr>
          <a:lstStyle>
            <a:defPPr>
              <a:defRPr lang="de-DE"/>
            </a:defPPr>
            <a:lvl1pPr marL="266700" indent="-266700" fontAlgn="base">
              <a:lnSpc>
                <a:spcPct val="150000"/>
              </a:lnSpc>
              <a:spcBef>
                <a:spcPts val="0"/>
              </a:spcBef>
              <a:spcAft>
                <a:spcPts val="300"/>
              </a:spcAft>
              <a:buClr>
                <a:schemeClr val="accent5"/>
              </a:buClr>
              <a:buSzPct val="90000"/>
              <a:buFont typeface="Wingdings" panose="05000000000000000000" pitchFamily="2" charset="2"/>
              <a:buChar char="u"/>
              <a:defRPr sz="1600" b="1">
                <a:solidFill>
                  <a:prstClr val="black"/>
                </a:solidFill>
                <a:cs typeface="Arial" pitchFamily="34" charset="0"/>
              </a:defRPr>
            </a:lvl1pPr>
            <a:lvl2pPr marL="539750" indent="-273050" fontAlgn="base">
              <a:spcBef>
                <a:spcPct val="0"/>
              </a:spcBef>
              <a:spcAft>
                <a:spcPts val="1200"/>
              </a:spcAft>
              <a:buClr>
                <a:schemeClr val="bg2"/>
              </a:buClr>
              <a:buFont typeface="Wingdings" pitchFamily="2" charset="2"/>
              <a:buChar char="§"/>
              <a:defRPr sz="1600">
                <a:cs typeface="Arial" charset="0"/>
              </a:defRPr>
            </a:lvl2pPr>
            <a:lvl3pPr marL="806450" indent="-266700" fontAlgn="base">
              <a:spcBef>
                <a:spcPct val="0"/>
              </a:spcBef>
              <a:spcAft>
                <a:spcPts val="1200"/>
              </a:spcAft>
              <a:buClr>
                <a:schemeClr val="bg2"/>
              </a:buClr>
              <a:buFont typeface="Arial" pitchFamily="34" charset="0"/>
              <a:buChar char="•"/>
              <a:defRPr sz="1600">
                <a:cs typeface="Arial" charset="0"/>
              </a:defRPr>
            </a:lvl3pPr>
            <a:lvl4pPr marL="1073150" indent="-266700" fontAlgn="base">
              <a:spcBef>
                <a:spcPct val="0"/>
              </a:spcBef>
              <a:spcAft>
                <a:spcPts val="1200"/>
              </a:spcAft>
              <a:buClr>
                <a:schemeClr val="bg2"/>
              </a:buClr>
              <a:buFont typeface="Arial" pitchFamily="34" charset="0"/>
              <a:buChar char="•"/>
              <a:defRPr sz="1600">
                <a:cs typeface="Arial" charset="0"/>
              </a:defRPr>
            </a:lvl4pPr>
            <a:lvl5pPr marL="1073150" indent="273050" fontAlgn="base">
              <a:spcBef>
                <a:spcPct val="0"/>
              </a:spcBef>
              <a:spcAft>
                <a:spcPts val="1200"/>
              </a:spcAft>
              <a:buClr>
                <a:schemeClr val="bg2"/>
              </a:buClr>
              <a:buFont typeface="Arial" pitchFamily="34" charset="0"/>
              <a:buChar char="•"/>
              <a:defRPr sz="1600">
                <a:cs typeface="Arial"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algn="ctr" defTabSz="914400" rtl="0" eaLnBrk="1" fontAlgn="base" latinLnBrk="0" hangingPunct="1">
              <a:lnSpc>
                <a:spcPct val="90000"/>
              </a:lnSpc>
              <a:spcBef>
                <a:spcPts val="0"/>
              </a:spcBef>
              <a:spcAft>
                <a:spcPts val="300"/>
              </a:spcAft>
              <a:buClrTx/>
              <a:buSzPct val="90000"/>
              <a:buFont typeface="Wingdings" panose="05000000000000000000" pitchFamily="2" charset="2"/>
              <a:buNone/>
              <a:tabLst/>
              <a:defRPr/>
            </a:pPr>
            <a:r>
              <a:rPr kumimoji="0" lang="en-US" altLang="en-US" sz="1600" b="1" i="0" u="none" strike="noStrike" kern="1200" cap="none" spc="0" normalizeH="0" baseline="0" noProof="0" dirty="0">
                <a:ln>
                  <a:noFill/>
                </a:ln>
                <a:solidFill>
                  <a:srgbClr val="000000"/>
                </a:solidFill>
                <a:effectLst/>
                <a:uLnTx/>
                <a:uFillTx/>
                <a:latin typeface="Calibri"/>
                <a:ea typeface="+mn-ea"/>
                <a:cs typeface="Arial" pitchFamily="34" charset="0"/>
              </a:rPr>
              <a:t>Tailored process solutions for (but not limited to):</a:t>
            </a:r>
          </a:p>
        </p:txBody>
      </p:sp>
      <p:grpSp>
        <p:nvGrpSpPr>
          <p:cNvPr id="238" name="Group 237">
            <a:extLst>
              <a:ext uri="{FF2B5EF4-FFF2-40B4-BE49-F238E27FC236}">
                <a16:creationId xmlns:a16="http://schemas.microsoft.com/office/drawing/2014/main" id="{22EC7526-5C8B-A71B-2C15-BC449DB0BC5A}"/>
              </a:ext>
            </a:extLst>
          </p:cNvPr>
          <p:cNvGrpSpPr/>
          <p:nvPr/>
        </p:nvGrpSpPr>
        <p:grpSpPr>
          <a:xfrm>
            <a:off x="8467096" y="260648"/>
            <a:ext cx="3146057" cy="2394806"/>
            <a:chOff x="8467096" y="260648"/>
            <a:chExt cx="3146057" cy="2394806"/>
          </a:xfrm>
        </p:grpSpPr>
        <p:pic>
          <p:nvPicPr>
            <p:cNvPr id="283" name="Picture 282" descr="Engineering drawing&#10;&#10;Description automatically generated">
              <a:extLst>
                <a:ext uri="{FF2B5EF4-FFF2-40B4-BE49-F238E27FC236}">
                  <a16:creationId xmlns:a16="http://schemas.microsoft.com/office/drawing/2014/main" id="{71FB77A8-7E27-7B69-849C-A2EB9E4EF5E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41" r="1710" b="-4"/>
            <a:stretch/>
          </p:blipFill>
          <p:spPr>
            <a:xfrm>
              <a:off x="8467096" y="260648"/>
              <a:ext cx="3146057" cy="2394806"/>
            </a:xfrm>
            <a:custGeom>
              <a:avLst/>
              <a:gdLst/>
              <a:ahLst/>
              <a:cxnLst/>
              <a:rect l="l" t="t" r="r" b="b"/>
              <a:pathLst>
                <a:path w="6569769" h="3750734">
                  <a:moveTo>
                    <a:pt x="1738471" y="0"/>
                  </a:moveTo>
                  <a:lnTo>
                    <a:pt x="6569769" y="0"/>
                  </a:lnTo>
                  <a:lnTo>
                    <a:pt x="6569769" y="3750734"/>
                  </a:lnTo>
                  <a:lnTo>
                    <a:pt x="0" y="3750734"/>
                  </a:lnTo>
                  <a:close/>
                </a:path>
              </a:pathLst>
            </a:custGeom>
            <a:effectLst>
              <a:softEdge rad="63500"/>
            </a:effectLst>
          </p:spPr>
        </p:pic>
        <p:sp>
          <p:nvSpPr>
            <p:cNvPr id="286" name="Text Box 4">
              <a:extLst>
                <a:ext uri="{FF2B5EF4-FFF2-40B4-BE49-F238E27FC236}">
                  <a16:creationId xmlns:a16="http://schemas.microsoft.com/office/drawing/2014/main" id="{E29CD416-7095-6145-0939-011876521AEA}"/>
                </a:ext>
              </a:extLst>
            </p:cNvPr>
            <p:cNvSpPr txBox="1">
              <a:spLocks noChangeArrowheads="1"/>
            </p:cNvSpPr>
            <p:nvPr/>
          </p:nvSpPr>
          <p:spPr bwMode="auto">
            <a:xfrm>
              <a:off x="9672588" y="347517"/>
              <a:ext cx="1940550" cy="246221"/>
            </a:xfrm>
            <a:prstGeom prst="rect">
              <a:avLst/>
            </a:prstGeom>
            <a:solidFill>
              <a:schemeClr val="accent5">
                <a:alpha val="50000"/>
              </a:schemeClr>
            </a:solidFill>
            <a:ln>
              <a:noFill/>
            </a:ln>
            <a:effectLst>
              <a:softEdge rad="63500"/>
            </a:effectLst>
          </p:spPr>
          <p:style>
            <a:lnRef idx="0">
              <a:scrgbClr r="0" g="0" b="0"/>
            </a:lnRef>
            <a:fillRef idx="0">
              <a:scrgbClr r="0" g="0" b="0"/>
            </a:fillRef>
            <a:effectRef idx="0">
              <a:scrgbClr r="0" g="0" b="0"/>
            </a:effectRef>
            <a:fontRef idx="minor">
              <a:schemeClr val="lt1"/>
            </a:fontRef>
          </p:style>
          <p:txBody>
            <a:bodyPr wrap="square">
              <a:spAutoFit/>
            </a:bodyPr>
            <a:lstStyle>
              <a:lvl1pPr marL="292100" indent="-292100" algn="ctr" defTabSz="762000" eaLnBrk="0" hangingPunct="0">
                <a:spcBef>
                  <a:spcPct val="50000"/>
                </a:spcBef>
                <a:defRPr sz="1600">
                  <a:solidFill>
                    <a:schemeClr val="tx1"/>
                  </a:solidFill>
                  <a:latin typeface="Arial" charset="0"/>
                </a:defRPr>
              </a:lvl1pPr>
              <a:lvl2pPr marL="742950" indent="-285750" algn="ctr" defTabSz="762000" eaLnBrk="0" hangingPunct="0">
                <a:spcBef>
                  <a:spcPct val="50000"/>
                </a:spcBef>
                <a:defRPr sz="1600">
                  <a:solidFill>
                    <a:schemeClr val="tx1"/>
                  </a:solidFill>
                  <a:latin typeface="Arial" charset="0"/>
                </a:defRPr>
              </a:lvl2pPr>
              <a:lvl3pPr marL="1143000" indent="-228600" algn="ctr" defTabSz="762000" eaLnBrk="0" hangingPunct="0">
                <a:spcBef>
                  <a:spcPct val="50000"/>
                </a:spcBef>
                <a:defRPr sz="1600">
                  <a:solidFill>
                    <a:schemeClr val="tx1"/>
                  </a:solidFill>
                  <a:latin typeface="Arial" charset="0"/>
                </a:defRPr>
              </a:lvl3pPr>
              <a:lvl4pPr marL="1600200" indent="-228600" algn="ctr" defTabSz="762000" eaLnBrk="0" hangingPunct="0">
                <a:spcBef>
                  <a:spcPct val="50000"/>
                </a:spcBef>
                <a:defRPr sz="1600">
                  <a:solidFill>
                    <a:schemeClr val="tx1"/>
                  </a:solidFill>
                  <a:latin typeface="Arial" charset="0"/>
                </a:defRPr>
              </a:lvl4pPr>
              <a:lvl5pPr marL="2057400" indent="-228600" algn="ctr" defTabSz="762000" eaLnBrk="0" hangingPunct="0">
                <a:spcBef>
                  <a:spcPct val="50000"/>
                </a:spcBef>
                <a:defRPr sz="1600">
                  <a:solidFill>
                    <a:schemeClr val="tx1"/>
                  </a:solidFill>
                  <a:latin typeface="Arial" charset="0"/>
                </a:defRPr>
              </a:lvl5pPr>
              <a:lvl6pPr marL="2514600" indent="-228600" algn="ctr" defTabSz="762000" eaLnBrk="0" fontAlgn="base" hangingPunct="0">
                <a:spcBef>
                  <a:spcPct val="50000"/>
                </a:spcBef>
                <a:spcAft>
                  <a:spcPct val="0"/>
                </a:spcAft>
                <a:defRPr sz="1600">
                  <a:solidFill>
                    <a:schemeClr val="tx1"/>
                  </a:solidFill>
                  <a:latin typeface="Arial" charset="0"/>
                </a:defRPr>
              </a:lvl6pPr>
              <a:lvl7pPr marL="2971800" indent="-228600" algn="ctr" defTabSz="762000" eaLnBrk="0" fontAlgn="base" hangingPunct="0">
                <a:spcBef>
                  <a:spcPct val="50000"/>
                </a:spcBef>
                <a:spcAft>
                  <a:spcPct val="0"/>
                </a:spcAft>
                <a:defRPr sz="1600">
                  <a:solidFill>
                    <a:schemeClr val="tx1"/>
                  </a:solidFill>
                  <a:latin typeface="Arial" charset="0"/>
                </a:defRPr>
              </a:lvl7pPr>
              <a:lvl8pPr marL="3429000" indent="-228600" algn="ctr" defTabSz="762000" eaLnBrk="0" fontAlgn="base" hangingPunct="0">
                <a:spcBef>
                  <a:spcPct val="50000"/>
                </a:spcBef>
                <a:spcAft>
                  <a:spcPct val="0"/>
                </a:spcAft>
                <a:defRPr sz="1600">
                  <a:solidFill>
                    <a:schemeClr val="tx1"/>
                  </a:solidFill>
                  <a:latin typeface="Arial" charset="0"/>
                </a:defRPr>
              </a:lvl8pPr>
              <a:lvl9pPr marL="3886200" indent="-228600" algn="ctr" defTabSz="762000" eaLnBrk="0" fontAlgn="base" hangingPunct="0">
                <a:spcBef>
                  <a:spcPct val="50000"/>
                </a:spcBef>
                <a:spcAft>
                  <a:spcPct val="0"/>
                </a:spcAft>
                <a:defRPr sz="1600">
                  <a:solidFill>
                    <a:schemeClr val="tx1"/>
                  </a:solidFill>
                  <a:latin typeface="Arial" charset="0"/>
                </a:defRPr>
              </a:lvl9pPr>
            </a:lstStyle>
            <a:p>
              <a:pPr marL="292100" marR="0" lvl="0" indent="-292100" algn="r" defTabSz="762000" rtl="0" eaLnBrk="0" fontAlgn="auto" latinLnBrk="0" hangingPunct="0">
                <a:lnSpc>
                  <a:spcPct val="100000"/>
                </a:lnSpc>
                <a:spcBef>
                  <a:spcPct val="0"/>
                </a:spcBef>
                <a:spcAft>
                  <a:spcPts val="0"/>
                </a:spcAft>
                <a:buClrTx/>
                <a:buSzTx/>
                <a:buFontTx/>
                <a:buNone/>
                <a:tabLst/>
                <a:defRPr/>
              </a:pPr>
              <a:r>
                <a:rPr kumimoji="0" lang="de-DE" sz="1000" b="1" i="0" u="none" strike="noStrike" kern="0" cap="none" spc="0" normalizeH="0" baseline="0" noProof="0" dirty="0">
                  <a:ln>
                    <a:noFill/>
                  </a:ln>
                  <a:solidFill>
                    <a:srgbClr val="FFFFFF"/>
                  </a:solidFill>
                  <a:effectLst/>
                  <a:uLnTx/>
                  <a:uFillTx/>
                  <a:latin typeface="Arial" charset="0"/>
                  <a:ea typeface="+mn-ea"/>
                  <a:cs typeface="+mn-cs"/>
                </a:rPr>
                <a:t>3- &amp; 6-electrode rectangular</a:t>
              </a:r>
            </a:p>
          </p:txBody>
        </p:sp>
      </p:grpSp>
      <p:grpSp>
        <p:nvGrpSpPr>
          <p:cNvPr id="239" name="Group 238">
            <a:extLst>
              <a:ext uri="{FF2B5EF4-FFF2-40B4-BE49-F238E27FC236}">
                <a16:creationId xmlns:a16="http://schemas.microsoft.com/office/drawing/2014/main" id="{06A668B1-46F0-75F5-6A83-E6DD2ADD788C}"/>
              </a:ext>
            </a:extLst>
          </p:cNvPr>
          <p:cNvGrpSpPr/>
          <p:nvPr/>
        </p:nvGrpSpPr>
        <p:grpSpPr>
          <a:xfrm>
            <a:off x="5774783" y="2244093"/>
            <a:ext cx="2973562" cy="2395325"/>
            <a:chOff x="5774783" y="2244093"/>
            <a:chExt cx="2973562" cy="2395325"/>
          </a:xfrm>
        </p:grpSpPr>
        <p:pic>
          <p:nvPicPr>
            <p:cNvPr id="285" name="Picture 284">
              <a:extLst>
                <a:ext uri="{FF2B5EF4-FFF2-40B4-BE49-F238E27FC236}">
                  <a16:creationId xmlns:a16="http://schemas.microsoft.com/office/drawing/2014/main" id="{24727EDA-A274-AB49-6F8C-A8054FBA83C0}"/>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3273" t="21463" r="5599" b="13133"/>
            <a:stretch/>
          </p:blipFill>
          <p:spPr>
            <a:xfrm>
              <a:off x="5774797" y="2244093"/>
              <a:ext cx="2973548" cy="2395325"/>
            </a:xfrm>
            <a:custGeom>
              <a:avLst/>
              <a:gdLst/>
              <a:ahLst/>
              <a:cxnLst/>
              <a:rect l="l" t="t" r="r" b="b"/>
              <a:pathLst>
                <a:path w="6209553" h="3751536">
                  <a:moveTo>
                    <a:pt x="0" y="0"/>
                  </a:moveTo>
                  <a:lnTo>
                    <a:pt x="5776701" y="0"/>
                  </a:lnTo>
                  <a:lnTo>
                    <a:pt x="4041567" y="3746529"/>
                  </a:lnTo>
                  <a:lnTo>
                    <a:pt x="6209553" y="3746529"/>
                  </a:lnTo>
                  <a:lnTo>
                    <a:pt x="6209553" y="3746530"/>
                  </a:lnTo>
                  <a:lnTo>
                    <a:pt x="1647632" y="3746530"/>
                  </a:lnTo>
                  <a:lnTo>
                    <a:pt x="1647632" y="3751536"/>
                  </a:lnTo>
                  <a:lnTo>
                    <a:pt x="0" y="3751536"/>
                  </a:lnTo>
                  <a:close/>
                </a:path>
              </a:pathLst>
            </a:custGeom>
          </p:spPr>
        </p:pic>
        <p:sp>
          <p:nvSpPr>
            <p:cNvPr id="287" name="Text Box 4">
              <a:extLst>
                <a:ext uri="{FF2B5EF4-FFF2-40B4-BE49-F238E27FC236}">
                  <a16:creationId xmlns:a16="http://schemas.microsoft.com/office/drawing/2014/main" id="{6E3CAC52-0C98-C4AF-C6EB-006265F7F971}"/>
                </a:ext>
              </a:extLst>
            </p:cNvPr>
            <p:cNvSpPr txBox="1">
              <a:spLocks noChangeArrowheads="1"/>
            </p:cNvSpPr>
            <p:nvPr/>
          </p:nvSpPr>
          <p:spPr bwMode="auto">
            <a:xfrm>
              <a:off x="5774783" y="4349231"/>
              <a:ext cx="2002621" cy="246221"/>
            </a:xfrm>
            <a:prstGeom prst="rect">
              <a:avLst/>
            </a:prstGeom>
            <a:solidFill>
              <a:schemeClr val="accent5">
                <a:alpha val="50000"/>
              </a:schemeClr>
            </a:solidFill>
            <a:ln>
              <a:noFill/>
            </a:ln>
            <a:effectLst>
              <a:softEdge rad="63500"/>
            </a:effectLst>
          </p:spPr>
          <p:style>
            <a:lnRef idx="0">
              <a:scrgbClr r="0" g="0" b="0"/>
            </a:lnRef>
            <a:fillRef idx="0">
              <a:scrgbClr r="0" g="0" b="0"/>
            </a:fillRef>
            <a:effectRef idx="0">
              <a:scrgbClr r="0" g="0" b="0"/>
            </a:effectRef>
            <a:fontRef idx="minor">
              <a:schemeClr val="lt1"/>
            </a:fontRef>
          </p:style>
          <p:txBody>
            <a:bodyPr wrap="square">
              <a:spAutoFit/>
            </a:bodyPr>
            <a:lstStyle>
              <a:lvl1pPr marL="292100" indent="-292100" algn="ctr" defTabSz="762000" eaLnBrk="0" hangingPunct="0">
                <a:spcBef>
                  <a:spcPct val="50000"/>
                </a:spcBef>
                <a:defRPr sz="1600">
                  <a:solidFill>
                    <a:schemeClr val="tx1"/>
                  </a:solidFill>
                  <a:latin typeface="Arial" charset="0"/>
                </a:defRPr>
              </a:lvl1pPr>
              <a:lvl2pPr marL="742950" indent="-285750" algn="ctr" defTabSz="762000" eaLnBrk="0" hangingPunct="0">
                <a:spcBef>
                  <a:spcPct val="50000"/>
                </a:spcBef>
                <a:defRPr sz="1600">
                  <a:solidFill>
                    <a:schemeClr val="tx1"/>
                  </a:solidFill>
                  <a:latin typeface="Arial" charset="0"/>
                </a:defRPr>
              </a:lvl2pPr>
              <a:lvl3pPr marL="1143000" indent="-228600" algn="ctr" defTabSz="762000" eaLnBrk="0" hangingPunct="0">
                <a:spcBef>
                  <a:spcPct val="50000"/>
                </a:spcBef>
                <a:defRPr sz="1600">
                  <a:solidFill>
                    <a:schemeClr val="tx1"/>
                  </a:solidFill>
                  <a:latin typeface="Arial" charset="0"/>
                </a:defRPr>
              </a:lvl3pPr>
              <a:lvl4pPr marL="1600200" indent="-228600" algn="ctr" defTabSz="762000" eaLnBrk="0" hangingPunct="0">
                <a:spcBef>
                  <a:spcPct val="50000"/>
                </a:spcBef>
                <a:defRPr sz="1600">
                  <a:solidFill>
                    <a:schemeClr val="tx1"/>
                  </a:solidFill>
                  <a:latin typeface="Arial" charset="0"/>
                </a:defRPr>
              </a:lvl4pPr>
              <a:lvl5pPr marL="2057400" indent="-228600" algn="ctr" defTabSz="762000" eaLnBrk="0" hangingPunct="0">
                <a:spcBef>
                  <a:spcPct val="50000"/>
                </a:spcBef>
                <a:defRPr sz="1600">
                  <a:solidFill>
                    <a:schemeClr val="tx1"/>
                  </a:solidFill>
                  <a:latin typeface="Arial" charset="0"/>
                </a:defRPr>
              </a:lvl5pPr>
              <a:lvl6pPr marL="2514600" indent="-228600" algn="ctr" defTabSz="762000" eaLnBrk="0" fontAlgn="base" hangingPunct="0">
                <a:spcBef>
                  <a:spcPct val="50000"/>
                </a:spcBef>
                <a:spcAft>
                  <a:spcPct val="0"/>
                </a:spcAft>
                <a:defRPr sz="1600">
                  <a:solidFill>
                    <a:schemeClr val="tx1"/>
                  </a:solidFill>
                  <a:latin typeface="Arial" charset="0"/>
                </a:defRPr>
              </a:lvl6pPr>
              <a:lvl7pPr marL="2971800" indent="-228600" algn="ctr" defTabSz="762000" eaLnBrk="0" fontAlgn="base" hangingPunct="0">
                <a:spcBef>
                  <a:spcPct val="50000"/>
                </a:spcBef>
                <a:spcAft>
                  <a:spcPct val="0"/>
                </a:spcAft>
                <a:defRPr sz="1600">
                  <a:solidFill>
                    <a:schemeClr val="tx1"/>
                  </a:solidFill>
                  <a:latin typeface="Arial" charset="0"/>
                </a:defRPr>
              </a:lvl7pPr>
              <a:lvl8pPr marL="3429000" indent="-228600" algn="ctr" defTabSz="762000" eaLnBrk="0" fontAlgn="base" hangingPunct="0">
                <a:spcBef>
                  <a:spcPct val="50000"/>
                </a:spcBef>
                <a:spcAft>
                  <a:spcPct val="0"/>
                </a:spcAft>
                <a:defRPr sz="1600">
                  <a:solidFill>
                    <a:schemeClr val="tx1"/>
                  </a:solidFill>
                  <a:latin typeface="Arial" charset="0"/>
                </a:defRPr>
              </a:lvl8pPr>
              <a:lvl9pPr marL="3886200" indent="-228600" algn="ctr" defTabSz="762000" eaLnBrk="0" fontAlgn="base" hangingPunct="0">
                <a:spcBef>
                  <a:spcPct val="50000"/>
                </a:spcBef>
                <a:spcAft>
                  <a:spcPct val="0"/>
                </a:spcAft>
                <a:defRPr sz="1600">
                  <a:solidFill>
                    <a:schemeClr val="tx1"/>
                  </a:solidFill>
                  <a:latin typeface="Arial" charset="0"/>
                </a:defRPr>
              </a:lvl9pPr>
            </a:lstStyle>
            <a:p>
              <a:pPr marL="292100" marR="0" lvl="0" indent="-292100" algn="l" defTabSz="762000" rtl="0" eaLnBrk="0" fontAlgn="auto" latinLnBrk="0" hangingPunct="0">
                <a:lnSpc>
                  <a:spcPct val="100000"/>
                </a:lnSpc>
                <a:spcBef>
                  <a:spcPct val="0"/>
                </a:spcBef>
                <a:spcAft>
                  <a:spcPts val="0"/>
                </a:spcAft>
                <a:buClrTx/>
                <a:buSzTx/>
                <a:buFontTx/>
                <a:buNone/>
                <a:tabLst/>
                <a:defRPr/>
              </a:pPr>
              <a:r>
                <a:rPr kumimoji="0" lang="de-DE" sz="1000" b="1" i="0" u="none" strike="noStrike" kern="0" cap="none" spc="0" normalizeH="0" baseline="0" noProof="0" dirty="0">
                  <a:ln>
                    <a:noFill/>
                  </a:ln>
                  <a:solidFill>
                    <a:srgbClr val="FFFFFF"/>
                  </a:solidFill>
                  <a:effectLst/>
                  <a:uLnTx/>
                  <a:uFillTx/>
                  <a:latin typeface="Arial" charset="0"/>
                  <a:ea typeface="+mn-ea"/>
                  <a:cs typeface="+mn-cs"/>
                </a:rPr>
                <a:t>Large capacity closed circular</a:t>
              </a:r>
            </a:p>
          </p:txBody>
        </p:sp>
      </p:grpSp>
      <p:grpSp>
        <p:nvGrpSpPr>
          <p:cNvPr id="240" name="Group 239">
            <a:extLst>
              <a:ext uri="{FF2B5EF4-FFF2-40B4-BE49-F238E27FC236}">
                <a16:creationId xmlns:a16="http://schemas.microsoft.com/office/drawing/2014/main" id="{F9A85866-EFFB-3D40-C165-ED37D546346C}"/>
              </a:ext>
            </a:extLst>
          </p:cNvPr>
          <p:cNvGrpSpPr/>
          <p:nvPr/>
        </p:nvGrpSpPr>
        <p:grpSpPr>
          <a:xfrm>
            <a:off x="7777419" y="2743030"/>
            <a:ext cx="3835734" cy="1896388"/>
            <a:chOff x="7777419" y="2743030"/>
            <a:chExt cx="3835734" cy="1896388"/>
          </a:xfrm>
        </p:grpSpPr>
        <p:pic>
          <p:nvPicPr>
            <p:cNvPr id="284" name="Picture 2" descr="Q:\MEFP\Internal\01_Media SAF\Illustrationen_Creo\0_Öfen_gesamt\MSSIL\MSSIL2.67.jpg">
              <a:extLst>
                <a:ext uri="{FF2B5EF4-FFF2-40B4-BE49-F238E27FC236}">
                  <a16:creationId xmlns:a16="http://schemas.microsoft.com/office/drawing/2014/main" id="{BBA3CCF8-3E01-BD9A-2E55-2DC4409050D3}"/>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 t="6623" b="95"/>
            <a:stretch/>
          </p:blipFill>
          <p:spPr bwMode="auto">
            <a:xfrm>
              <a:off x="7777419" y="2743030"/>
              <a:ext cx="3835734" cy="1896388"/>
            </a:xfrm>
            <a:custGeom>
              <a:avLst/>
              <a:gdLst/>
              <a:ahLst/>
              <a:cxnLst/>
              <a:rect l="l" t="t" r="r" b="b"/>
              <a:pathLst>
                <a:path w="8009991" h="2970106">
                  <a:moveTo>
                    <a:pt x="1376648" y="0"/>
                  </a:moveTo>
                  <a:lnTo>
                    <a:pt x="8009991" y="0"/>
                  </a:lnTo>
                  <a:lnTo>
                    <a:pt x="8009991" y="2970106"/>
                  </a:lnTo>
                  <a:lnTo>
                    <a:pt x="0" y="2970106"/>
                  </a:lnTo>
                  <a:close/>
                </a:path>
              </a:pathLst>
            </a:custGeom>
            <a:noFill/>
            <a:effectLst>
              <a:softEdge rad="63500"/>
            </a:effectLst>
            <a:extLst>
              <a:ext uri="{909E8E84-426E-40DD-AFC4-6F175D3DCCD1}">
                <a14:hiddenFill xmlns:a14="http://schemas.microsoft.com/office/drawing/2010/main">
                  <a:solidFill>
                    <a:srgbClr val="FFFFFF"/>
                  </a:solidFill>
                </a14:hiddenFill>
              </a:ext>
            </a:extLst>
          </p:spPr>
        </p:pic>
        <p:sp>
          <p:nvSpPr>
            <p:cNvPr id="288" name="Text Box 4">
              <a:extLst>
                <a:ext uri="{FF2B5EF4-FFF2-40B4-BE49-F238E27FC236}">
                  <a16:creationId xmlns:a16="http://schemas.microsoft.com/office/drawing/2014/main" id="{81ABAB18-2035-9665-99F0-0CCA6906B2A2}"/>
                </a:ext>
              </a:extLst>
            </p:cNvPr>
            <p:cNvSpPr txBox="1">
              <a:spLocks noChangeArrowheads="1"/>
            </p:cNvSpPr>
            <p:nvPr/>
          </p:nvSpPr>
          <p:spPr bwMode="auto">
            <a:xfrm>
              <a:off x="9672589" y="4349229"/>
              <a:ext cx="1940549" cy="246221"/>
            </a:xfrm>
            <a:prstGeom prst="rect">
              <a:avLst/>
            </a:prstGeom>
            <a:solidFill>
              <a:schemeClr val="accent5">
                <a:alpha val="50000"/>
              </a:schemeClr>
            </a:solidFill>
            <a:ln>
              <a:noFill/>
            </a:ln>
            <a:effectLst>
              <a:softEdge rad="63500"/>
            </a:effectLst>
          </p:spPr>
          <p:style>
            <a:lnRef idx="0">
              <a:scrgbClr r="0" g="0" b="0"/>
            </a:lnRef>
            <a:fillRef idx="0">
              <a:scrgbClr r="0" g="0" b="0"/>
            </a:fillRef>
            <a:effectRef idx="0">
              <a:scrgbClr r="0" g="0" b="0"/>
            </a:effectRef>
            <a:fontRef idx="minor">
              <a:schemeClr val="lt1"/>
            </a:fontRef>
          </p:style>
          <p:txBody>
            <a:bodyPr wrap="square">
              <a:spAutoFit/>
            </a:bodyPr>
            <a:lstStyle>
              <a:lvl1pPr marL="292100" indent="-292100" algn="ctr" defTabSz="762000" eaLnBrk="0" hangingPunct="0">
                <a:spcBef>
                  <a:spcPct val="50000"/>
                </a:spcBef>
                <a:defRPr sz="1600">
                  <a:solidFill>
                    <a:schemeClr val="tx1"/>
                  </a:solidFill>
                  <a:latin typeface="Arial" charset="0"/>
                </a:defRPr>
              </a:lvl1pPr>
              <a:lvl2pPr marL="742950" indent="-285750" algn="ctr" defTabSz="762000" eaLnBrk="0" hangingPunct="0">
                <a:spcBef>
                  <a:spcPct val="50000"/>
                </a:spcBef>
                <a:defRPr sz="1600">
                  <a:solidFill>
                    <a:schemeClr val="tx1"/>
                  </a:solidFill>
                  <a:latin typeface="Arial" charset="0"/>
                </a:defRPr>
              </a:lvl2pPr>
              <a:lvl3pPr marL="1143000" indent="-228600" algn="ctr" defTabSz="762000" eaLnBrk="0" hangingPunct="0">
                <a:spcBef>
                  <a:spcPct val="50000"/>
                </a:spcBef>
                <a:defRPr sz="1600">
                  <a:solidFill>
                    <a:schemeClr val="tx1"/>
                  </a:solidFill>
                  <a:latin typeface="Arial" charset="0"/>
                </a:defRPr>
              </a:lvl3pPr>
              <a:lvl4pPr marL="1600200" indent="-228600" algn="ctr" defTabSz="762000" eaLnBrk="0" hangingPunct="0">
                <a:spcBef>
                  <a:spcPct val="50000"/>
                </a:spcBef>
                <a:defRPr sz="1600">
                  <a:solidFill>
                    <a:schemeClr val="tx1"/>
                  </a:solidFill>
                  <a:latin typeface="Arial" charset="0"/>
                </a:defRPr>
              </a:lvl4pPr>
              <a:lvl5pPr marL="2057400" indent="-228600" algn="ctr" defTabSz="762000" eaLnBrk="0" hangingPunct="0">
                <a:spcBef>
                  <a:spcPct val="50000"/>
                </a:spcBef>
                <a:defRPr sz="1600">
                  <a:solidFill>
                    <a:schemeClr val="tx1"/>
                  </a:solidFill>
                  <a:latin typeface="Arial" charset="0"/>
                </a:defRPr>
              </a:lvl5pPr>
              <a:lvl6pPr marL="2514600" indent="-228600" algn="ctr" defTabSz="762000" eaLnBrk="0" fontAlgn="base" hangingPunct="0">
                <a:spcBef>
                  <a:spcPct val="50000"/>
                </a:spcBef>
                <a:spcAft>
                  <a:spcPct val="0"/>
                </a:spcAft>
                <a:defRPr sz="1600">
                  <a:solidFill>
                    <a:schemeClr val="tx1"/>
                  </a:solidFill>
                  <a:latin typeface="Arial" charset="0"/>
                </a:defRPr>
              </a:lvl6pPr>
              <a:lvl7pPr marL="2971800" indent="-228600" algn="ctr" defTabSz="762000" eaLnBrk="0" fontAlgn="base" hangingPunct="0">
                <a:spcBef>
                  <a:spcPct val="50000"/>
                </a:spcBef>
                <a:spcAft>
                  <a:spcPct val="0"/>
                </a:spcAft>
                <a:defRPr sz="1600">
                  <a:solidFill>
                    <a:schemeClr val="tx1"/>
                  </a:solidFill>
                  <a:latin typeface="Arial" charset="0"/>
                </a:defRPr>
              </a:lvl7pPr>
              <a:lvl8pPr marL="3429000" indent="-228600" algn="ctr" defTabSz="762000" eaLnBrk="0" fontAlgn="base" hangingPunct="0">
                <a:spcBef>
                  <a:spcPct val="50000"/>
                </a:spcBef>
                <a:spcAft>
                  <a:spcPct val="0"/>
                </a:spcAft>
                <a:defRPr sz="1600">
                  <a:solidFill>
                    <a:schemeClr val="tx1"/>
                  </a:solidFill>
                  <a:latin typeface="Arial" charset="0"/>
                </a:defRPr>
              </a:lvl8pPr>
              <a:lvl9pPr marL="3886200" indent="-228600" algn="ctr" defTabSz="762000" eaLnBrk="0" fontAlgn="base" hangingPunct="0">
                <a:spcBef>
                  <a:spcPct val="50000"/>
                </a:spcBef>
                <a:spcAft>
                  <a:spcPct val="0"/>
                </a:spcAft>
                <a:defRPr sz="1600">
                  <a:solidFill>
                    <a:schemeClr val="tx1"/>
                  </a:solidFill>
                  <a:latin typeface="Arial" charset="0"/>
                </a:defRPr>
              </a:lvl9pPr>
            </a:lstStyle>
            <a:p>
              <a:pPr marL="292100" marR="0" lvl="0" indent="-292100" algn="r" defTabSz="762000" rtl="0" eaLnBrk="0" fontAlgn="auto" latinLnBrk="0" hangingPunct="0">
                <a:lnSpc>
                  <a:spcPct val="100000"/>
                </a:lnSpc>
                <a:spcBef>
                  <a:spcPct val="0"/>
                </a:spcBef>
                <a:spcAft>
                  <a:spcPts val="0"/>
                </a:spcAft>
                <a:buClrTx/>
                <a:buSzTx/>
                <a:buFontTx/>
                <a:buNone/>
                <a:tabLst/>
                <a:defRPr/>
              </a:pPr>
              <a:r>
                <a:rPr kumimoji="0" lang="de-DE" sz="1000" b="1" i="0" u="none" strike="noStrike" kern="0" cap="none" spc="0" normalizeH="0" baseline="0" noProof="0" dirty="0">
                  <a:ln>
                    <a:noFill/>
                  </a:ln>
                  <a:solidFill>
                    <a:srgbClr val="FFFFFF"/>
                  </a:solidFill>
                  <a:effectLst/>
                  <a:uLnTx/>
                  <a:uFillTx/>
                  <a:latin typeface="Arial" charset="0"/>
                  <a:ea typeface="+mn-ea"/>
                  <a:cs typeface="+mn-cs"/>
                </a:rPr>
                <a:t>Semi-closed &amp; rotating shell</a:t>
              </a:r>
            </a:p>
          </p:txBody>
        </p:sp>
      </p:grpSp>
      <p:grpSp>
        <p:nvGrpSpPr>
          <p:cNvPr id="241" name="Group 240">
            <a:extLst>
              <a:ext uri="{FF2B5EF4-FFF2-40B4-BE49-F238E27FC236}">
                <a16:creationId xmlns:a16="http://schemas.microsoft.com/office/drawing/2014/main" id="{069FBFD8-AB62-375F-05A7-370418F449BB}"/>
              </a:ext>
            </a:extLst>
          </p:cNvPr>
          <p:cNvGrpSpPr/>
          <p:nvPr/>
        </p:nvGrpSpPr>
        <p:grpSpPr>
          <a:xfrm>
            <a:off x="5774782" y="260648"/>
            <a:ext cx="3455231" cy="1895870"/>
            <a:chOff x="5774782" y="260648"/>
            <a:chExt cx="3455231" cy="1895870"/>
          </a:xfrm>
        </p:grpSpPr>
        <p:pic>
          <p:nvPicPr>
            <p:cNvPr id="282" name="Picture 281">
              <a:extLst>
                <a:ext uri="{FF2B5EF4-FFF2-40B4-BE49-F238E27FC236}">
                  <a16:creationId xmlns:a16="http://schemas.microsoft.com/office/drawing/2014/main" id="{7E483F5E-9E02-2DCE-A848-72851C83032C}"/>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4207" b="22633"/>
            <a:stretch/>
          </p:blipFill>
          <p:spPr>
            <a:xfrm>
              <a:off x="5774796" y="260648"/>
              <a:ext cx="3455217" cy="1895870"/>
            </a:xfrm>
            <a:custGeom>
              <a:avLst/>
              <a:gdLst/>
              <a:ahLst/>
              <a:cxnLst/>
              <a:rect l="l" t="t" r="r" b="b"/>
              <a:pathLst>
                <a:path w="7215401" h="2969304">
                  <a:moveTo>
                    <a:pt x="0" y="0"/>
                  </a:moveTo>
                  <a:lnTo>
                    <a:pt x="677334" y="0"/>
                  </a:lnTo>
                  <a:lnTo>
                    <a:pt x="1168036" y="0"/>
                  </a:lnTo>
                  <a:lnTo>
                    <a:pt x="1205499" y="0"/>
                  </a:lnTo>
                  <a:lnTo>
                    <a:pt x="1647632" y="0"/>
                  </a:lnTo>
                  <a:lnTo>
                    <a:pt x="7215401" y="0"/>
                  </a:lnTo>
                  <a:lnTo>
                    <a:pt x="5840224" y="2969304"/>
                  </a:lnTo>
                  <a:lnTo>
                    <a:pt x="0" y="2969304"/>
                  </a:lnTo>
                  <a:close/>
                </a:path>
              </a:pathLst>
            </a:custGeom>
            <a:effectLst>
              <a:softEdge rad="63500"/>
            </a:effectLst>
          </p:spPr>
        </p:pic>
        <p:sp>
          <p:nvSpPr>
            <p:cNvPr id="289" name="Text Box 4">
              <a:extLst>
                <a:ext uri="{FF2B5EF4-FFF2-40B4-BE49-F238E27FC236}">
                  <a16:creationId xmlns:a16="http://schemas.microsoft.com/office/drawing/2014/main" id="{E34B4814-EA9A-A7BE-3951-E404AE88C5D6}"/>
                </a:ext>
              </a:extLst>
            </p:cNvPr>
            <p:cNvSpPr txBox="1">
              <a:spLocks noChangeArrowheads="1"/>
            </p:cNvSpPr>
            <p:nvPr/>
          </p:nvSpPr>
          <p:spPr bwMode="auto">
            <a:xfrm>
              <a:off x="5774782" y="347517"/>
              <a:ext cx="1940551" cy="246221"/>
            </a:xfrm>
            <a:prstGeom prst="rect">
              <a:avLst/>
            </a:prstGeom>
            <a:solidFill>
              <a:schemeClr val="accent5">
                <a:alpha val="50000"/>
              </a:schemeClr>
            </a:solidFill>
            <a:ln>
              <a:noFill/>
            </a:ln>
            <a:effectLst>
              <a:softEdge rad="63500"/>
            </a:effectLst>
          </p:spPr>
          <p:style>
            <a:lnRef idx="0">
              <a:scrgbClr r="0" g="0" b="0"/>
            </a:lnRef>
            <a:fillRef idx="0">
              <a:scrgbClr r="0" g="0" b="0"/>
            </a:fillRef>
            <a:effectRef idx="0">
              <a:scrgbClr r="0" g="0" b="0"/>
            </a:effectRef>
            <a:fontRef idx="minor">
              <a:schemeClr val="lt1"/>
            </a:fontRef>
          </p:style>
          <p:txBody>
            <a:bodyPr wrap="square">
              <a:spAutoFit/>
            </a:bodyPr>
            <a:lstStyle>
              <a:lvl1pPr marL="292100" indent="-292100" algn="ctr" defTabSz="762000" eaLnBrk="0" hangingPunct="0">
                <a:spcBef>
                  <a:spcPct val="50000"/>
                </a:spcBef>
                <a:defRPr sz="1600">
                  <a:solidFill>
                    <a:schemeClr val="tx1"/>
                  </a:solidFill>
                  <a:latin typeface="Arial" charset="0"/>
                </a:defRPr>
              </a:lvl1pPr>
              <a:lvl2pPr marL="742950" indent="-285750" algn="ctr" defTabSz="762000" eaLnBrk="0" hangingPunct="0">
                <a:spcBef>
                  <a:spcPct val="50000"/>
                </a:spcBef>
                <a:defRPr sz="1600">
                  <a:solidFill>
                    <a:schemeClr val="tx1"/>
                  </a:solidFill>
                  <a:latin typeface="Arial" charset="0"/>
                </a:defRPr>
              </a:lvl2pPr>
              <a:lvl3pPr marL="1143000" indent="-228600" algn="ctr" defTabSz="762000" eaLnBrk="0" hangingPunct="0">
                <a:spcBef>
                  <a:spcPct val="50000"/>
                </a:spcBef>
                <a:defRPr sz="1600">
                  <a:solidFill>
                    <a:schemeClr val="tx1"/>
                  </a:solidFill>
                  <a:latin typeface="Arial" charset="0"/>
                </a:defRPr>
              </a:lvl3pPr>
              <a:lvl4pPr marL="1600200" indent="-228600" algn="ctr" defTabSz="762000" eaLnBrk="0" hangingPunct="0">
                <a:spcBef>
                  <a:spcPct val="50000"/>
                </a:spcBef>
                <a:defRPr sz="1600">
                  <a:solidFill>
                    <a:schemeClr val="tx1"/>
                  </a:solidFill>
                  <a:latin typeface="Arial" charset="0"/>
                </a:defRPr>
              </a:lvl4pPr>
              <a:lvl5pPr marL="2057400" indent="-228600" algn="ctr" defTabSz="762000" eaLnBrk="0" hangingPunct="0">
                <a:spcBef>
                  <a:spcPct val="50000"/>
                </a:spcBef>
                <a:defRPr sz="1600">
                  <a:solidFill>
                    <a:schemeClr val="tx1"/>
                  </a:solidFill>
                  <a:latin typeface="Arial" charset="0"/>
                </a:defRPr>
              </a:lvl5pPr>
              <a:lvl6pPr marL="2514600" indent="-228600" algn="ctr" defTabSz="762000" eaLnBrk="0" fontAlgn="base" hangingPunct="0">
                <a:spcBef>
                  <a:spcPct val="50000"/>
                </a:spcBef>
                <a:spcAft>
                  <a:spcPct val="0"/>
                </a:spcAft>
                <a:defRPr sz="1600">
                  <a:solidFill>
                    <a:schemeClr val="tx1"/>
                  </a:solidFill>
                  <a:latin typeface="Arial" charset="0"/>
                </a:defRPr>
              </a:lvl6pPr>
              <a:lvl7pPr marL="2971800" indent="-228600" algn="ctr" defTabSz="762000" eaLnBrk="0" fontAlgn="base" hangingPunct="0">
                <a:spcBef>
                  <a:spcPct val="50000"/>
                </a:spcBef>
                <a:spcAft>
                  <a:spcPct val="0"/>
                </a:spcAft>
                <a:defRPr sz="1600">
                  <a:solidFill>
                    <a:schemeClr val="tx1"/>
                  </a:solidFill>
                  <a:latin typeface="Arial" charset="0"/>
                </a:defRPr>
              </a:lvl7pPr>
              <a:lvl8pPr marL="3429000" indent="-228600" algn="ctr" defTabSz="762000" eaLnBrk="0" fontAlgn="base" hangingPunct="0">
                <a:spcBef>
                  <a:spcPct val="50000"/>
                </a:spcBef>
                <a:spcAft>
                  <a:spcPct val="0"/>
                </a:spcAft>
                <a:defRPr sz="1600">
                  <a:solidFill>
                    <a:schemeClr val="tx1"/>
                  </a:solidFill>
                  <a:latin typeface="Arial" charset="0"/>
                </a:defRPr>
              </a:lvl8pPr>
              <a:lvl9pPr marL="3886200" indent="-228600" algn="ctr" defTabSz="762000" eaLnBrk="0" fontAlgn="base" hangingPunct="0">
                <a:spcBef>
                  <a:spcPct val="50000"/>
                </a:spcBef>
                <a:spcAft>
                  <a:spcPct val="0"/>
                </a:spcAft>
                <a:defRPr sz="1600">
                  <a:solidFill>
                    <a:schemeClr val="tx1"/>
                  </a:solidFill>
                  <a:latin typeface="Arial" charset="0"/>
                </a:defRPr>
              </a:lvl9pPr>
            </a:lstStyle>
            <a:p>
              <a:pPr marL="292100" marR="0" lvl="0" indent="-292100" algn="l" defTabSz="762000" rtl="0" eaLnBrk="0" fontAlgn="auto" latinLnBrk="0" hangingPunct="0">
                <a:lnSpc>
                  <a:spcPct val="100000"/>
                </a:lnSpc>
                <a:spcBef>
                  <a:spcPct val="0"/>
                </a:spcBef>
                <a:spcAft>
                  <a:spcPts val="0"/>
                </a:spcAft>
                <a:buClrTx/>
                <a:buSzTx/>
                <a:buFontTx/>
                <a:buNone/>
                <a:tabLst/>
                <a:defRPr/>
              </a:pPr>
              <a:r>
                <a:rPr kumimoji="0" lang="de-DE" sz="1000" b="1" i="0" u="none" strike="noStrike" kern="0" cap="none" spc="0" normalizeH="0" baseline="0" noProof="0" dirty="0">
                  <a:ln>
                    <a:noFill/>
                  </a:ln>
                  <a:solidFill>
                    <a:srgbClr val="FFFFFF"/>
                  </a:solidFill>
                  <a:effectLst/>
                  <a:uLnTx/>
                  <a:uFillTx/>
                  <a:latin typeface="Arial" charset="0"/>
                  <a:ea typeface="+mn-ea"/>
                  <a:cs typeface="+mn-cs"/>
                </a:rPr>
                <a:t>Single electrode DC-arc</a:t>
              </a:r>
            </a:p>
          </p:txBody>
        </p:sp>
      </p:grpSp>
      <p:sp>
        <p:nvSpPr>
          <p:cNvPr id="291" name="TextBox 290">
            <a:extLst>
              <a:ext uri="{FF2B5EF4-FFF2-40B4-BE49-F238E27FC236}">
                <a16:creationId xmlns:a16="http://schemas.microsoft.com/office/drawing/2014/main" id="{27539E83-B389-2F16-02C2-CA5BBD0E5705}"/>
              </a:ext>
            </a:extLst>
          </p:cNvPr>
          <p:cNvSpPr txBox="1">
            <a:spLocks noChangeArrowheads="1"/>
          </p:cNvSpPr>
          <p:nvPr/>
        </p:nvSpPr>
        <p:spPr bwMode="auto">
          <a:xfrm>
            <a:off x="5700387" y="4746656"/>
            <a:ext cx="3443846" cy="1724878"/>
          </a:xfrm>
          <a:prstGeom prst="rect">
            <a:avLst/>
          </a:prstGeom>
        </p:spPr>
        <p:txBody>
          <a:bodyPr vert="horz" lIns="91440" tIns="45720" rIns="91440" bIns="45720" rtlCol="0" anchor="ctr">
            <a:normAutofit/>
          </a:bodyPr>
          <a:lstStyle>
            <a:defPPr>
              <a:defRPr lang="de-DE"/>
            </a:defPPr>
            <a:lvl1pPr marL="266700" indent="-266700" fontAlgn="base">
              <a:lnSpc>
                <a:spcPct val="150000"/>
              </a:lnSpc>
              <a:spcBef>
                <a:spcPts val="0"/>
              </a:spcBef>
              <a:spcAft>
                <a:spcPts val="300"/>
              </a:spcAft>
              <a:buClr>
                <a:schemeClr val="accent5"/>
              </a:buClr>
              <a:buSzPct val="90000"/>
              <a:buFont typeface="Wingdings" panose="05000000000000000000" pitchFamily="2" charset="2"/>
              <a:buChar char="u"/>
              <a:defRPr sz="1600" b="1">
                <a:solidFill>
                  <a:prstClr val="black"/>
                </a:solidFill>
                <a:cs typeface="Arial" pitchFamily="34" charset="0"/>
              </a:defRPr>
            </a:lvl1pPr>
            <a:lvl2pPr marL="539750" indent="-273050" fontAlgn="base">
              <a:spcBef>
                <a:spcPct val="0"/>
              </a:spcBef>
              <a:spcAft>
                <a:spcPts val="1200"/>
              </a:spcAft>
              <a:buClr>
                <a:schemeClr val="bg2"/>
              </a:buClr>
              <a:buFont typeface="Wingdings" pitchFamily="2" charset="2"/>
              <a:buChar char="§"/>
              <a:defRPr sz="1600">
                <a:cs typeface="Arial" charset="0"/>
              </a:defRPr>
            </a:lvl2pPr>
            <a:lvl3pPr marL="806450" indent="-266700" fontAlgn="base">
              <a:spcBef>
                <a:spcPct val="0"/>
              </a:spcBef>
              <a:spcAft>
                <a:spcPts val="1200"/>
              </a:spcAft>
              <a:buClr>
                <a:schemeClr val="bg2"/>
              </a:buClr>
              <a:buFont typeface="Arial" pitchFamily="34" charset="0"/>
              <a:buChar char="•"/>
              <a:defRPr sz="1600">
                <a:cs typeface="Arial" charset="0"/>
              </a:defRPr>
            </a:lvl3pPr>
            <a:lvl4pPr marL="1073150" indent="-266700" fontAlgn="base">
              <a:spcBef>
                <a:spcPct val="0"/>
              </a:spcBef>
              <a:spcAft>
                <a:spcPts val="1200"/>
              </a:spcAft>
              <a:buClr>
                <a:schemeClr val="bg2"/>
              </a:buClr>
              <a:buFont typeface="Arial" pitchFamily="34" charset="0"/>
              <a:buChar char="•"/>
              <a:defRPr sz="1600">
                <a:cs typeface="Arial" charset="0"/>
              </a:defRPr>
            </a:lvl4pPr>
            <a:lvl5pPr marL="1073150" indent="273050" fontAlgn="base">
              <a:spcBef>
                <a:spcPct val="0"/>
              </a:spcBef>
              <a:spcAft>
                <a:spcPts val="1200"/>
              </a:spcAft>
              <a:buClr>
                <a:schemeClr val="bg2"/>
              </a:buClr>
              <a:buFont typeface="Arial" pitchFamily="34" charset="0"/>
              <a:buChar char="•"/>
              <a:defRPr sz="1600">
                <a:cs typeface="Arial"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algn="just" defTabSz="914400" rtl="0" eaLnBrk="1" fontAlgn="base" latinLnBrk="0" hangingPunct="1">
              <a:lnSpc>
                <a:spcPct val="90000"/>
              </a:lnSpc>
              <a:spcBef>
                <a:spcPts val="0"/>
              </a:spcBef>
              <a:spcAft>
                <a:spcPts val="300"/>
              </a:spcAft>
              <a:buClrTx/>
              <a:buSzPct val="90000"/>
              <a:buFont typeface="Wingdings" panose="05000000000000000000" pitchFamily="2" charset="2"/>
              <a:buNone/>
              <a:tabLst/>
              <a:defRPr/>
            </a:pPr>
            <a:r>
              <a:rPr kumimoji="0" lang="en-US" altLang="en-US" sz="1400" b="1" i="0" u="none" strike="noStrike" kern="1200" cap="none" spc="0" normalizeH="0" baseline="0" noProof="0" dirty="0">
                <a:ln>
                  <a:noFill/>
                </a:ln>
                <a:solidFill>
                  <a:srgbClr val="000000"/>
                </a:solidFill>
                <a:effectLst/>
                <a:uLnTx/>
                <a:uFillTx/>
                <a:latin typeface="Calibri"/>
                <a:ea typeface="+mn-ea"/>
                <a:cs typeface="Arial" pitchFamily="34" charset="0"/>
              </a:rPr>
              <a:t>CORE CAPABILITIES</a:t>
            </a:r>
          </a:p>
          <a:p>
            <a:pPr marL="266700" marR="0" lvl="0" indent="-266700" algn="l" defTabSz="914400" rtl="0" eaLnBrk="1" fontAlgn="base" latinLnBrk="0" hangingPunct="1">
              <a:lnSpc>
                <a:spcPct val="90000"/>
              </a:lnSpc>
              <a:spcBef>
                <a:spcPts val="0"/>
              </a:spcBef>
              <a:spcAft>
                <a:spcPts val="300"/>
              </a:spcAft>
              <a:buClrTx/>
              <a:buSzPct val="90000"/>
              <a:buFont typeface="Wingdings" panose="05000000000000000000" pitchFamily="2" charset="2"/>
              <a:buChar char="u"/>
              <a:tabLst/>
              <a:defRPr/>
            </a:pPr>
            <a:r>
              <a:rPr kumimoji="0" lang="en-US" altLang="en-US" sz="1200" b="0" i="0" u="none" strike="noStrike" kern="1200" cap="none" spc="0" normalizeH="0" baseline="0" noProof="0" dirty="0">
                <a:ln>
                  <a:noFill/>
                </a:ln>
                <a:solidFill>
                  <a:srgbClr val="000000"/>
                </a:solidFill>
                <a:effectLst/>
                <a:uLnTx/>
                <a:uFillTx/>
                <a:latin typeface="Calibri"/>
                <a:ea typeface="+mn-ea"/>
                <a:cs typeface="Arial" pitchFamily="34" charset="0"/>
              </a:rPr>
              <a:t>All project formats (EP / -S / -C / -CM)</a:t>
            </a:r>
          </a:p>
          <a:p>
            <a:pPr marL="266700" marR="0" lvl="0" indent="-266700" algn="l" defTabSz="914400" rtl="0" eaLnBrk="1" fontAlgn="base" latinLnBrk="0" hangingPunct="1">
              <a:lnSpc>
                <a:spcPct val="90000"/>
              </a:lnSpc>
              <a:spcBef>
                <a:spcPts val="0"/>
              </a:spcBef>
              <a:spcAft>
                <a:spcPts val="300"/>
              </a:spcAft>
              <a:buClrTx/>
              <a:buSzPct val="90000"/>
              <a:buFont typeface="Wingdings" panose="05000000000000000000" pitchFamily="2" charset="2"/>
              <a:buChar char="u"/>
              <a:tabLst/>
              <a:defRPr/>
            </a:pPr>
            <a:r>
              <a:rPr kumimoji="0" lang="en-US" altLang="en-US" sz="1200" b="0" i="0" u="none" strike="noStrike" kern="1200" cap="none" spc="0" normalizeH="0" baseline="0" noProof="0" dirty="0">
                <a:ln>
                  <a:noFill/>
                </a:ln>
                <a:solidFill>
                  <a:srgbClr val="000000"/>
                </a:solidFill>
                <a:effectLst/>
                <a:uLnTx/>
                <a:uFillTx/>
                <a:latin typeface="Calibri"/>
                <a:ea typeface="+mn-ea"/>
                <a:cs typeface="Arial" pitchFamily="34" charset="0"/>
              </a:rPr>
              <a:t>Feasibility studies (FEL, PFS, DFS, FEED, BE, etc.)</a:t>
            </a:r>
          </a:p>
          <a:p>
            <a:pPr marL="266700" marR="0" lvl="0" indent="-266700" algn="l" defTabSz="914400" rtl="0" eaLnBrk="1" fontAlgn="base" latinLnBrk="0" hangingPunct="1">
              <a:lnSpc>
                <a:spcPct val="90000"/>
              </a:lnSpc>
              <a:spcBef>
                <a:spcPts val="0"/>
              </a:spcBef>
              <a:spcAft>
                <a:spcPts val="300"/>
              </a:spcAft>
              <a:buClrTx/>
              <a:buSzPct val="90000"/>
              <a:buFont typeface="Wingdings" panose="05000000000000000000" pitchFamily="2" charset="2"/>
              <a:buChar char="u"/>
              <a:tabLst/>
              <a:defRPr/>
            </a:pPr>
            <a:r>
              <a:rPr kumimoji="0" lang="en-US" altLang="en-US" sz="1200" b="0" i="0" u="none" strike="noStrike" kern="1200" cap="none" spc="0" normalizeH="0" baseline="0" noProof="0" dirty="0">
                <a:ln>
                  <a:noFill/>
                </a:ln>
                <a:solidFill>
                  <a:srgbClr val="000000"/>
                </a:solidFill>
                <a:effectLst/>
                <a:uLnTx/>
                <a:uFillTx/>
                <a:latin typeface="Calibri"/>
                <a:ea typeface="+mn-ea"/>
                <a:cs typeface="Arial" pitchFamily="34" charset="0"/>
              </a:rPr>
              <a:t>Building Information Modelling (BIM)</a:t>
            </a:r>
          </a:p>
          <a:p>
            <a:pPr marL="266700" marR="0" lvl="0" indent="-266700" algn="l" defTabSz="914400" rtl="0" eaLnBrk="1" fontAlgn="base" latinLnBrk="0" hangingPunct="1">
              <a:lnSpc>
                <a:spcPct val="90000"/>
              </a:lnSpc>
              <a:spcBef>
                <a:spcPts val="0"/>
              </a:spcBef>
              <a:spcAft>
                <a:spcPts val="300"/>
              </a:spcAft>
              <a:buClrTx/>
              <a:buSzPct val="90000"/>
              <a:buFont typeface="Wingdings" panose="05000000000000000000" pitchFamily="2" charset="2"/>
              <a:buChar char="u"/>
              <a:tabLst/>
              <a:defRPr/>
            </a:pPr>
            <a:r>
              <a:rPr kumimoji="0" lang="en-US" altLang="en-US" sz="1200" b="0" i="0" u="none" strike="noStrike" kern="1200" cap="none" spc="0" normalizeH="0" baseline="0" noProof="0" dirty="0">
                <a:ln>
                  <a:noFill/>
                </a:ln>
                <a:solidFill>
                  <a:srgbClr val="000000"/>
                </a:solidFill>
                <a:effectLst/>
                <a:uLnTx/>
                <a:uFillTx/>
                <a:latin typeface="Calibri"/>
                <a:ea typeface="+mn-ea"/>
                <a:cs typeface="Arial" pitchFamily="34" charset="0"/>
              </a:rPr>
              <a:t>Metallurgical and process design </a:t>
            </a:r>
          </a:p>
          <a:p>
            <a:pPr marL="266700" marR="0" lvl="0" indent="-266700" algn="l" defTabSz="914400" rtl="0" eaLnBrk="1" fontAlgn="base" latinLnBrk="0" hangingPunct="1">
              <a:lnSpc>
                <a:spcPct val="90000"/>
              </a:lnSpc>
              <a:spcBef>
                <a:spcPts val="0"/>
              </a:spcBef>
              <a:spcAft>
                <a:spcPts val="300"/>
              </a:spcAft>
              <a:buClrTx/>
              <a:buSzPct val="90000"/>
              <a:buFont typeface="Wingdings" panose="05000000000000000000" pitchFamily="2" charset="2"/>
              <a:buChar char="u"/>
              <a:tabLst/>
              <a:defRPr/>
            </a:pPr>
            <a:r>
              <a:rPr kumimoji="0" lang="en-US" altLang="en-US" sz="1200" b="0" i="0" u="none" strike="noStrike" kern="1200" cap="none" spc="0" normalizeH="0" baseline="0" noProof="0" dirty="0">
                <a:ln>
                  <a:noFill/>
                </a:ln>
                <a:solidFill>
                  <a:srgbClr val="000000"/>
                </a:solidFill>
                <a:effectLst/>
                <a:uLnTx/>
                <a:uFillTx/>
                <a:latin typeface="Calibri"/>
                <a:ea typeface="+mn-ea"/>
                <a:cs typeface="Arial" pitchFamily="34" charset="0"/>
              </a:rPr>
              <a:t>Pilot furnaces &amp; test work assistance</a:t>
            </a:r>
          </a:p>
          <a:p>
            <a:pPr marL="266700" marR="0" lvl="0" indent="-266700" algn="l" defTabSz="914400" rtl="0" eaLnBrk="1" fontAlgn="base" latinLnBrk="0" hangingPunct="1">
              <a:lnSpc>
                <a:spcPct val="90000"/>
              </a:lnSpc>
              <a:spcBef>
                <a:spcPts val="0"/>
              </a:spcBef>
              <a:spcAft>
                <a:spcPts val="300"/>
              </a:spcAft>
              <a:buClrTx/>
              <a:buSzPct val="90000"/>
              <a:buFont typeface="Wingdings" panose="05000000000000000000" pitchFamily="2" charset="2"/>
              <a:buChar char="u"/>
              <a:tabLst/>
              <a:defRPr/>
            </a:pPr>
            <a:r>
              <a:rPr kumimoji="0" lang="en-US" altLang="en-US" sz="1200" b="0" i="0" u="none" strike="noStrike" kern="1200" cap="none" spc="0" normalizeH="0" baseline="0" noProof="0" dirty="0">
                <a:ln>
                  <a:noFill/>
                </a:ln>
                <a:solidFill>
                  <a:srgbClr val="000000"/>
                </a:solidFill>
                <a:effectLst/>
                <a:uLnTx/>
                <a:uFillTx/>
                <a:latin typeface="Calibri"/>
                <a:ea typeface="+mn-ea"/>
                <a:cs typeface="Arial" pitchFamily="34" charset="0"/>
              </a:rPr>
              <a:t>After sales service &amp; support</a:t>
            </a:r>
          </a:p>
          <a:p>
            <a:pPr marL="266700" marR="0" lvl="0" indent="-266700" algn="l" defTabSz="914400" rtl="0" eaLnBrk="1" fontAlgn="base" latinLnBrk="0" hangingPunct="1">
              <a:lnSpc>
                <a:spcPct val="90000"/>
              </a:lnSpc>
              <a:spcBef>
                <a:spcPts val="0"/>
              </a:spcBef>
              <a:spcAft>
                <a:spcPts val="300"/>
              </a:spcAft>
              <a:buClrTx/>
              <a:buSzPct val="90000"/>
              <a:buFont typeface="Wingdings" panose="05000000000000000000" pitchFamily="2" charset="2"/>
              <a:buChar char="u"/>
              <a:tabLst/>
              <a:defRPr/>
            </a:pPr>
            <a:endParaRPr kumimoji="0" lang="en-US" altLang="en-US" sz="1200" b="0" i="0" u="none" strike="noStrike" kern="1200" cap="none" spc="0" normalizeH="0" baseline="0" noProof="0" dirty="0">
              <a:ln>
                <a:noFill/>
              </a:ln>
              <a:solidFill>
                <a:srgbClr val="000000"/>
              </a:solidFill>
              <a:effectLst/>
              <a:uLnTx/>
              <a:uFillTx/>
              <a:latin typeface="Calibri"/>
              <a:ea typeface="+mn-ea"/>
              <a:cs typeface="Arial" pitchFamily="34" charset="0"/>
            </a:endParaRPr>
          </a:p>
        </p:txBody>
      </p:sp>
      <p:graphicFrame>
        <p:nvGraphicFramePr>
          <p:cNvPr id="297" name="Table 296">
            <a:extLst>
              <a:ext uri="{FF2B5EF4-FFF2-40B4-BE49-F238E27FC236}">
                <a16:creationId xmlns:a16="http://schemas.microsoft.com/office/drawing/2014/main" id="{3CD0F607-9F01-AEA6-B09C-3E4F9C6CA866}"/>
              </a:ext>
            </a:extLst>
          </p:cNvPr>
          <p:cNvGraphicFramePr>
            <a:graphicFrameLocks noGrp="1"/>
          </p:cNvGraphicFramePr>
          <p:nvPr>
            <p:extLst>
              <p:ext uri="{D42A27DB-BD31-4B8C-83A1-F6EECF244321}">
                <p14:modId xmlns:p14="http://schemas.microsoft.com/office/powerpoint/2010/main" val="418632657"/>
              </p:ext>
            </p:extLst>
          </p:nvPr>
        </p:nvGraphicFramePr>
        <p:xfrm>
          <a:off x="309223" y="3852001"/>
          <a:ext cx="5412685" cy="1937744"/>
        </p:xfrm>
        <a:graphic>
          <a:graphicData uri="http://schemas.openxmlformats.org/drawingml/2006/table">
            <a:tbl>
              <a:tblPr firstRow="1" bandRow="1">
                <a:tableStyleId>{2D5ABB26-0587-4C30-8999-92F81FD0307C}</a:tableStyleId>
              </a:tblPr>
              <a:tblGrid>
                <a:gridCol w="1545207">
                  <a:extLst>
                    <a:ext uri="{9D8B030D-6E8A-4147-A177-3AD203B41FA5}">
                      <a16:colId xmlns:a16="http://schemas.microsoft.com/office/drawing/2014/main" val="439437824"/>
                    </a:ext>
                  </a:extLst>
                </a:gridCol>
                <a:gridCol w="1944216">
                  <a:extLst>
                    <a:ext uri="{9D8B030D-6E8A-4147-A177-3AD203B41FA5}">
                      <a16:colId xmlns:a16="http://schemas.microsoft.com/office/drawing/2014/main" val="2466447136"/>
                    </a:ext>
                  </a:extLst>
                </a:gridCol>
                <a:gridCol w="1923262">
                  <a:extLst>
                    <a:ext uri="{9D8B030D-6E8A-4147-A177-3AD203B41FA5}">
                      <a16:colId xmlns:a16="http://schemas.microsoft.com/office/drawing/2014/main" val="1169176294"/>
                    </a:ext>
                  </a:extLst>
                </a:gridCol>
              </a:tblGrid>
              <a:tr h="1937744">
                <a:tc>
                  <a:txBody>
                    <a:bodyPr/>
                    <a:lstStyle/>
                    <a:p>
                      <a:pPr marL="0" indent="0" algn="l" defTabSz="914400" rtl="0" eaLnBrk="1" fontAlgn="base" latinLnBrk="0" hangingPunct="1">
                        <a:lnSpc>
                          <a:spcPct val="90000"/>
                        </a:lnSpc>
                        <a:spcBef>
                          <a:spcPts val="0"/>
                        </a:spcBef>
                        <a:spcAft>
                          <a:spcPts val="300"/>
                        </a:spcAft>
                        <a:buClrTx/>
                        <a:buSzPct val="90000"/>
                        <a:buFont typeface="Wingdings" panose="05000000000000000000" pitchFamily="2" charset="2"/>
                        <a:buNone/>
                      </a:pPr>
                      <a:r>
                        <a:rPr lang="en-ZA" sz="1400" b="1" u="none" kern="1200" dirty="0">
                          <a:solidFill>
                            <a:schemeClr val="tx1"/>
                          </a:solidFill>
                          <a:latin typeface="+mn-lt"/>
                          <a:ea typeface="+mn-ea"/>
                          <a:cs typeface="+mn-cs"/>
                        </a:rPr>
                        <a:t>FERROUS </a:t>
                      </a:r>
                    </a:p>
                    <a:p>
                      <a:pPr marL="266700" indent="-266700" algn="l" defTabSz="914400" rtl="0" eaLnBrk="1" fontAlgn="base" latinLnBrk="0" hangingPunct="1">
                        <a:lnSpc>
                          <a:spcPct val="90000"/>
                        </a:lnSpc>
                        <a:spcBef>
                          <a:spcPts val="0"/>
                        </a:spcBef>
                        <a:spcAft>
                          <a:spcPts val="300"/>
                        </a:spcAft>
                        <a:buClrTx/>
                        <a:buSzPct val="90000"/>
                        <a:buFont typeface="Wingdings" panose="05000000000000000000" pitchFamily="2" charset="2"/>
                        <a:buChar char="u"/>
                      </a:pPr>
                      <a:r>
                        <a:rPr lang="en-ZA" sz="1200" b="0" u="none" kern="1200" dirty="0">
                          <a:solidFill>
                            <a:schemeClr val="tx1"/>
                          </a:solidFill>
                          <a:latin typeface="+mn-lt"/>
                          <a:ea typeface="+mn-ea"/>
                          <a:cs typeface="+mn-cs"/>
                        </a:rPr>
                        <a:t>Ferrochrome </a:t>
                      </a:r>
                    </a:p>
                    <a:p>
                      <a:pPr marL="266700" indent="-266700" algn="l" defTabSz="914400" rtl="0" eaLnBrk="1" fontAlgn="base" latinLnBrk="0" hangingPunct="1">
                        <a:lnSpc>
                          <a:spcPct val="90000"/>
                        </a:lnSpc>
                        <a:spcBef>
                          <a:spcPts val="0"/>
                        </a:spcBef>
                        <a:spcAft>
                          <a:spcPts val="300"/>
                        </a:spcAft>
                        <a:buClrTx/>
                        <a:buSzPct val="90000"/>
                        <a:buFont typeface="Wingdings" panose="05000000000000000000" pitchFamily="2" charset="2"/>
                        <a:buChar char="u"/>
                      </a:pPr>
                      <a:r>
                        <a:rPr lang="en-ZA" sz="1200" b="0" u="none" kern="1200" dirty="0">
                          <a:solidFill>
                            <a:schemeClr val="tx1"/>
                          </a:solidFill>
                          <a:latin typeface="+mn-lt"/>
                          <a:ea typeface="+mn-ea"/>
                          <a:cs typeface="+mn-cs"/>
                        </a:rPr>
                        <a:t>Ferromanganese </a:t>
                      </a:r>
                    </a:p>
                    <a:p>
                      <a:pPr marL="266700" indent="-266700" algn="l" defTabSz="914400" rtl="0" eaLnBrk="1" fontAlgn="base" latinLnBrk="0" hangingPunct="1">
                        <a:lnSpc>
                          <a:spcPct val="90000"/>
                        </a:lnSpc>
                        <a:spcBef>
                          <a:spcPts val="0"/>
                        </a:spcBef>
                        <a:spcAft>
                          <a:spcPts val="300"/>
                        </a:spcAft>
                        <a:buClrTx/>
                        <a:buSzPct val="90000"/>
                        <a:buFont typeface="Wingdings" panose="05000000000000000000" pitchFamily="2" charset="2"/>
                        <a:buChar char="u"/>
                      </a:pPr>
                      <a:r>
                        <a:rPr lang="en-ZA" sz="1200" b="0" u="none" kern="1200" dirty="0">
                          <a:solidFill>
                            <a:schemeClr val="tx1"/>
                          </a:solidFill>
                          <a:latin typeface="+mn-lt"/>
                          <a:ea typeface="+mn-ea"/>
                          <a:cs typeface="+mn-cs"/>
                        </a:rPr>
                        <a:t>Silicomanganese </a:t>
                      </a:r>
                    </a:p>
                    <a:p>
                      <a:pPr marL="266700" indent="-266700" algn="l" defTabSz="914400" rtl="0" eaLnBrk="1" fontAlgn="base" latinLnBrk="0" hangingPunct="1">
                        <a:lnSpc>
                          <a:spcPct val="90000"/>
                        </a:lnSpc>
                        <a:spcBef>
                          <a:spcPts val="0"/>
                        </a:spcBef>
                        <a:spcAft>
                          <a:spcPts val="300"/>
                        </a:spcAft>
                        <a:buClrTx/>
                        <a:buSzPct val="90000"/>
                        <a:buFont typeface="Wingdings" panose="05000000000000000000" pitchFamily="2" charset="2"/>
                        <a:buChar char="u"/>
                      </a:pPr>
                      <a:r>
                        <a:rPr lang="en-ZA" sz="1200" b="0" u="none" kern="1200" dirty="0">
                          <a:solidFill>
                            <a:schemeClr val="tx1"/>
                          </a:solidFill>
                          <a:latin typeface="+mn-lt"/>
                          <a:ea typeface="+mn-ea"/>
                          <a:cs typeface="+mn-cs"/>
                        </a:rPr>
                        <a:t>Ferrosilicon </a:t>
                      </a:r>
                    </a:p>
                    <a:p>
                      <a:pPr marL="266700" indent="-266700" algn="l" defTabSz="914400" rtl="0" eaLnBrk="1" fontAlgn="base" latinLnBrk="0" hangingPunct="1">
                        <a:lnSpc>
                          <a:spcPct val="90000"/>
                        </a:lnSpc>
                        <a:spcBef>
                          <a:spcPts val="0"/>
                        </a:spcBef>
                        <a:spcAft>
                          <a:spcPts val="300"/>
                        </a:spcAft>
                        <a:buClrTx/>
                        <a:buSzPct val="90000"/>
                        <a:buFont typeface="Wingdings" panose="05000000000000000000" pitchFamily="2" charset="2"/>
                        <a:buChar char="u"/>
                      </a:pPr>
                      <a:r>
                        <a:rPr lang="en-ZA" sz="1200" b="0" u="none" kern="1200" dirty="0">
                          <a:solidFill>
                            <a:schemeClr val="tx1"/>
                          </a:solidFill>
                          <a:latin typeface="+mn-lt"/>
                          <a:ea typeface="+mn-ea"/>
                          <a:cs typeface="+mn-cs"/>
                        </a:rPr>
                        <a:t>Ferrovanadium</a:t>
                      </a:r>
                    </a:p>
                    <a:p>
                      <a:pPr marL="266700" marR="0" lvl="0" indent="-266700" algn="l" defTabSz="914400" rtl="0" eaLnBrk="1" fontAlgn="base" latinLnBrk="0" hangingPunct="1">
                        <a:lnSpc>
                          <a:spcPct val="90000"/>
                        </a:lnSpc>
                        <a:spcBef>
                          <a:spcPts val="0"/>
                        </a:spcBef>
                        <a:spcAft>
                          <a:spcPts val="300"/>
                        </a:spcAft>
                        <a:buClrTx/>
                        <a:buSzPct val="90000"/>
                        <a:buFont typeface="Wingdings" panose="05000000000000000000" pitchFamily="2" charset="2"/>
                        <a:buChar char="u"/>
                        <a:tabLst/>
                        <a:defRPr/>
                      </a:pPr>
                      <a:r>
                        <a:rPr lang="en-ZA" sz="1200" b="0" u="none" kern="1200" dirty="0">
                          <a:solidFill>
                            <a:schemeClr val="tx1"/>
                          </a:solidFill>
                          <a:latin typeface="+mn-lt"/>
                          <a:ea typeface="+mn-ea"/>
                          <a:cs typeface="+mn-cs"/>
                        </a:rPr>
                        <a:t>Ferroniobium </a:t>
                      </a:r>
                    </a:p>
                    <a:p>
                      <a:pPr marL="266700" indent="-266700" algn="l" defTabSz="914400" rtl="0" eaLnBrk="1" fontAlgn="base" latinLnBrk="0" hangingPunct="1">
                        <a:lnSpc>
                          <a:spcPct val="90000"/>
                        </a:lnSpc>
                        <a:spcBef>
                          <a:spcPts val="0"/>
                        </a:spcBef>
                        <a:spcAft>
                          <a:spcPts val="300"/>
                        </a:spcAft>
                        <a:buClrTx/>
                        <a:buSzPct val="90000"/>
                        <a:buFont typeface="Wingdings" panose="05000000000000000000" pitchFamily="2" charset="2"/>
                        <a:buChar char="u"/>
                      </a:pPr>
                      <a:r>
                        <a:rPr lang="en-ZA" sz="1200" b="0" u="none" kern="1200" dirty="0">
                          <a:solidFill>
                            <a:schemeClr val="tx1"/>
                          </a:solidFill>
                          <a:latin typeface="+mn-lt"/>
                          <a:ea typeface="+mn-ea"/>
                          <a:cs typeface="+mn-cs"/>
                        </a:rPr>
                        <a:t>Ferronickel</a:t>
                      </a:r>
                      <a:r>
                        <a:rPr lang="en-ZA" sz="1200" b="1" u="none" kern="1200" dirty="0">
                          <a:solidFill>
                            <a:schemeClr val="tx1"/>
                          </a:solidFill>
                          <a:latin typeface="+mn-lt"/>
                          <a:ea typeface="+mn-ea"/>
                          <a:cs typeface="+mn-cs"/>
                        </a:rPr>
                        <a:t> </a:t>
                      </a:r>
                    </a:p>
                    <a:p>
                      <a:pPr marL="266700" indent="-266700" algn="l" defTabSz="914400" rtl="0" eaLnBrk="1" fontAlgn="base" latinLnBrk="0" hangingPunct="1">
                        <a:lnSpc>
                          <a:spcPct val="90000"/>
                        </a:lnSpc>
                        <a:spcBef>
                          <a:spcPts val="0"/>
                        </a:spcBef>
                        <a:spcAft>
                          <a:spcPts val="300"/>
                        </a:spcAft>
                        <a:buClrTx/>
                        <a:buSzPct val="90000"/>
                        <a:buFont typeface="Wingdings" panose="05000000000000000000" pitchFamily="2" charset="2"/>
                        <a:buChar char="u"/>
                      </a:pPr>
                      <a:r>
                        <a:rPr lang="en-ZA" sz="1200" b="0" u="none" kern="1200" dirty="0">
                          <a:solidFill>
                            <a:schemeClr val="tx1"/>
                          </a:solidFill>
                          <a:latin typeface="+mn-lt"/>
                          <a:ea typeface="+mn-ea"/>
                          <a:cs typeface="+mn-cs"/>
                        </a:rPr>
                        <a:t>Pig iron </a:t>
                      </a:r>
                    </a:p>
                  </a:txBody>
                  <a:tcPr marL="91273" marR="91273" marT="45637" marB="45637">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defTabSz="914400" rtl="0" eaLnBrk="1" fontAlgn="base" latinLnBrk="0" hangingPunct="1">
                        <a:lnSpc>
                          <a:spcPct val="90000"/>
                        </a:lnSpc>
                        <a:spcBef>
                          <a:spcPts val="0"/>
                        </a:spcBef>
                        <a:spcAft>
                          <a:spcPts val="300"/>
                        </a:spcAft>
                        <a:buClrTx/>
                        <a:buSzPct val="90000"/>
                        <a:buFont typeface="Wingdings" panose="05000000000000000000" pitchFamily="2" charset="2"/>
                        <a:buNone/>
                      </a:pPr>
                      <a:r>
                        <a:rPr lang="en-ZA" sz="1400" b="1" u="none" kern="1200" dirty="0">
                          <a:solidFill>
                            <a:schemeClr val="tx1"/>
                          </a:solidFill>
                          <a:latin typeface="+mn-lt"/>
                          <a:ea typeface="+mn-ea"/>
                          <a:cs typeface="+mn-cs"/>
                        </a:rPr>
                        <a:t>NON-FERROUS</a:t>
                      </a:r>
                    </a:p>
                    <a:p>
                      <a:pPr marL="266700" marR="0" lvl="0" indent="-266700" algn="l" defTabSz="914400" rtl="0" eaLnBrk="1" fontAlgn="base" latinLnBrk="0" hangingPunct="1">
                        <a:lnSpc>
                          <a:spcPct val="90000"/>
                        </a:lnSpc>
                        <a:spcBef>
                          <a:spcPts val="0"/>
                        </a:spcBef>
                        <a:spcAft>
                          <a:spcPts val="300"/>
                        </a:spcAft>
                        <a:buClrTx/>
                        <a:buSzPct val="90000"/>
                        <a:buFont typeface="Wingdings" panose="05000000000000000000" pitchFamily="2" charset="2"/>
                        <a:buChar char="u"/>
                        <a:tabLst/>
                        <a:defRPr/>
                      </a:pPr>
                      <a:r>
                        <a:rPr lang="en-ZA" sz="1200" b="0" u="none" kern="1200" dirty="0">
                          <a:solidFill>
                            <a:schemeClr val="tx1"/>
                          </a:solidFill>
                          <a:latin typeface="+mn-lt"/>
                          <a:ea typeface="+mn-ea"/>
                          <a:cs typeface="+mn-cs"/>
                        </a:rPr>
                        <a:t>Platinum Group Metals</a:t>
                      </a:r>
                    </a:p>
                    <a:p>
                      <a:pPr marL="266700" indent="-266700" algn="l" defTabSz="914400" rtl="0" eaLnBrk="1" fontAlgn="base" latinLnBrk="0" hangingPunct="1">
                        <a:lnSpc>
                          <a:spcPct val="90000"/>
                        </a:lnSpc>
                        <a:spcBef>
                          <a:spcPts val="0"/>
                        </a:spcBef>
                        <a:spcAft>
                          <a:spcPts val="300"/>
                        </a:spcAft>
                        <a:buClrTx/>
                        <a:buSzPct val="90000"/>
                        <a:buFont typeface="Wingdings" panose="05000000000000000000" pitchFamily="2" charset="2"/>
                        <a:buChar char="u"/>
                      </a:pPr>
                      <a:r>
                        <a:rPr lang="en-ZA" sz="1200" b="0" u="none" kern="1200" dirty="0">
                          <a:solidFill>
                            <a:schemeClr val="tx1"/>
                          </a:solidFill>
                          <a:latin typeface="+mn-lt"/>
                          <a:ea typeface="+mn-ea"/>
                          <a:cs typeface="+mn-cs"/>
                        </a:rPr>
                        <a:t>Base Metals (Cu, Co, Pb, Zn, Ni, Sn)</a:t>
                      </a:r>
                    </a:p>
                    <a:p>
                      <a:pPr marL="266700" indent="-266700" algn="l" defTabSz="914400" rtl="0" eaLnBrk="1" fontAlgn="base" latinLnBrk="0" hangingPunct="1">
                        <a:lnSpc>
                          <a:spcPct val="90000"/>
                        </a:lnSpc>
                        <a:spcBef>
                          <a:spcPts val="0"/>
                        </a:spcBef>
                        <a:spcAft>
                          <a:spcPts val="300"/>
                        </a:spcAft>
                        <a:buClrTx/>
                        <a:buSzPct val="90000"/>
                        <a:buFont typeface="Wingdings" panose="05000000000000000000" pitchFamily="2" charset="2"/>
                        <a:buChar char="u"/>
                      </a:pPr>
                      <a:r>
                        <a:rPr lang="en-ZA" sz="1200" b="0" u="none" kern="1200" dirty="0">
                          <a:solidFill>
                            <a:schemeClr val="tx1"/>
                          </a:solidFill>
                          <a:latin typeface="+mn-lt"/>
                          <a:ea typeface="+mn-ea"/>
                          <a:cs typeface="+mn-cs"/>
                        </a:rPr>
                        <a:t>Calcium Carbide</a:t>
                      </a:r>
                    </a:p>
                    <a:p>
                      <a:pPr marL="266700" indent="-266700" algn="l" defTabSz="914400" rtl="0" eaLnBrk="1" fontAlgn="base" latinLnBrk="0" hangingPunct="1">
                        <a:lnSpc>
                          <a:spcPct val="90000"/>
                        </a:lnSpc>
                        <a:spcBef>
                          <a:spcPts val="0"/>
                        </a:spcBef>
                        <a:spcAft>
                          <a:spcPts val="300"/>
                        </a:spcAft>
                        <a:buClrTx/>
                        <a:buSzPct val="90000"/>
                        <a:buFont typeface="Wingdings" panose="05000000000000000000" pitchFamily="2" charset="2"/>
                        <a:buChar char="u"/>
                      </a:pPr>
                      <a:r>
                        <a:rPr lang="en-ZA" sz="1200" b="0" u="none" kern="1200" dirty="0">
                          <a:solidFill>
                            <a:schemeClr val="tx1"/>
                          </a:solidFill>
                          <a:latin typeface="+mn-lt"/>
                          <a:ea typeface="+mn-ea"/>
                          <a:cs typeface="+mn-cs"/>
                        </a:rPr>
                        <a:t>Ilmenite (TiO</a:t>
                      </a:r>
                      <a:r>
                        <a:rPr lang="en-ZA" sz="1200" b="0" u="none" kern="1200" baseline="-25000" dirty="0">
                          <a:solidFill>
                            <a:schemeClr val="tx1"/>
                          </a:solidFill>
                          <a:latin typeface="+mn-lt"/>
                          <a:ea typeface="+mn-ea"/>
                          <a:cs typeface="+mn-cs"/>
                        </a:rPr>
                        <a:t>2</a:t>
                      </a:r>
                      <a:r>
                        <a:rPr lang="en-ZA" sz="1200" b="0" u="none" kern="1200" dirty="0">
                          <a:solidFill>
                            <a:schemeClr val="tx1"/>
                          </a:solidFill>
                          <a:latin typeface="+mn-lt"/>
                          <a:ea typeface="+mn-ea"/>
                          <a:cs typeface="+mn-cs"/>
                        </a:rPr>
                        <a:t> slag)</a:t>
                      </a:r>
                    </a:p>
                    <a:p>
                      <a:pPr marL="266700" indent="-266700" algn="l" defTabSz="914400" rtl="0" eaLnBrk="1" fontAlgn="base" latinLnBrk="0" hangingPunct="1">
                        <a:lnSpc>
                          <a:spcPct val="90000"/>
                        </a:lnSpc>
                        <a:spcBef>
                          <a:spcPts val="0"/>
                        </a:spcBef>
                        <a:spcAft>
                          <a:spcPts val="300"/>
                        </a:spcAft>
                        <a:buClrTx/>
                        <a:buSzPct val="90000"/>
                        <a:buFont typeface="Wingdings" panose="05000000000000000000" pitchFamily="2" charset="2"/>
                        <a:buChar char="u"/>
                      </a:pPr>
                      <a:r>
                        <a:rPr lang="en-ZA" sz="1200" b="0" u="none" kern="1200" dirty="0">
                          <a:solidFill>
                            <a:schemeClr val="tx1"/>
                          </a:solidFill>
                          <a:latin typeface="+mn-lt"/>
                          <a:ea typeface="+mn-ea"/>
                          <a:cs typeface="+mn-cs"/>
                        </a:rPr>
                        <a:t>Metallurgical Silicon</a:t>
                      </a:r>
                    </a:p>
                    <a:p>
                      <a:pPr marL="266700" indent="-266700" algn="l" defTabSz="914400" rtl="0" eaLnBrk="1" fontAlgn="base" latinLnBrk="0" hangingPunct="1">
                        <a:lnSpc>
                          <a:spcPct val="90000"/>
                        </a:lnSpc>
                        <a:spcBef>
                          <a:spcPts val="0"/>
                        </a:spcBef>
                        <a:spcAft>
                          <a:spcPts val="300"/>
                        </a:spcAft>
                        <a:buClrTx/>
                        <a:buSzPct val="90000"/>
                        <a:buFont typeface="Wingdings" panose="05000000000000000000" pitchFamily="2" charset="2"/>
                        <a:buChar char="u"/>
                      </a:pPr>
                      <a:r>
                        <a:rPr lang="en-ZA" sz="1200" b="0" u="none" kern="1200" dirty="0">
                          <a:solidFill>
                            <a:schemeClr val="tx1"/>
                          </a:solidFill>
                          <a:latin typeface="+mn-lt"/>
                          <a:ea typeface="+mn-ea"/>
                          <a:cs typeface="+mn-cs"/>
                        </a:rPr>
                        <a:t>Fused Magnesia</a:t>
                      </a:r>
                    </a:p>
                    <a:p>
                      <a:pPr marL="266700" indent="-266700" algn="l" defTabSz="914400" rtl="0" eaLnBrk="1" fontAlgn="base" latinLnBrk="0" hangingPunct="1">
                        <a:lnSpc>
                          <a:spcPct val="90000"/>
                        </a:lnSpc>
                        <a:spcBef>
                          <a:spcPts val="0"/>
                        </a:spcBef>
                        <a:spcAft>
                          <a:spcPts val="300"/>
                        </a:spcAft>
                        <a:buClrTx/>
                        <a:buSzPct val="90000"/>
                        <a:buFont typeface="Wingdings" panose="05000000000000000000" pitchFamily="2" charset="2"/>
                        <a:buChar char="u"/>
                      </a:pPr>
                      <a:endParaRPr lang="en-ZA" sz="1200" b="0" u="none" kern="1200" dirty="0">
                        <a:solidFill>
                          <a:schemeClr val="tx1"/>
                        </a:solidFill>
                        <a:latin typeface="+mn-lt"/>
                        <a:ea typeface="+mn-ea"/>
                        <a:cs typeface="+mn-cs"/>
                      </a:endParaRPr>
                    </a:p>
                  </a:txBody>
                  <a:tcPr marL="91273" marR="91273" marT="45637" marB="456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90000"/>
                        </a:lnSpc>
                        <a:spcBef>
                          <a:spcPts val="0"/>
                        </a:spcBef>
                        <a:spcAft>
                          <a:spcPts val="300"/>
                        </a:spcAft>
                        <a:buClrTx/>
                        <a:buSzPct val="90000"/>
                        <a:buFont typeface="Wingdings" panose="05000000000000000000" pitchFamily="2" charset="2"/>
                        <a:buNone/>
                        <a:tabLst/>
                        <a:defRPr/>
                      </a:pPr>
                      <a:r>
                        <a:rPr kumimoji="0" lang="en-US" altLang="en-US" sz="1400" b="1" i="0" u="none" strike="noStrike" kern="1200" cap="none" spc="0" normalizeH="0" baseline="0" noProof="0" dirty="0">
                          <a:ln>
                            <a:noFill/>
                          </a:ln>
                          <a:solidFill>
                            <a:srgbClr val="00B050"/>
                          </a:solidFill>
                          <a:effectLst/>
                          <a:uLnTx/>
                          <a:uFillTx/>
                          <a:latin typeface="+mn-lt"/>
                          <a:ea typeface="+mn-ea"/>
                          <a:cs typeface="+mn-cs"/>
                        </a:rPr>
                        <a:t>GREEN TECHNOLOGIES</a:t>
                      </a:r>
                    </a:p>
                    <a:p>
                      <a:pPr marL="266700" indent="-266700" algn="l" defTabSz="914400" rtl="0" eaLnBrk="1" fontAlgn="base" latinLnBrk="0" hangingPunct="1">
                        <a:lnSpc>
                          <a:spcPct val="90000"/>
                        </a:lnSpc>
                        <a:spcBef>
                          <a:spcPts val="0"/>
                        </a:spcBef>
                        <a:spcAft>
                          <a:spcPts val="300"/>
                        </a:spcAft>
                        <a:buClrTx/>
                        <a:buSzPct val="90000"/>
                        <a:buFont typeface="Wingdings" panose="05000000000000000000" pitchFamily="2" charset="2"/>
                        <a:buChar char="u"/>
                      </a:pPr>
                      <a:r>
                        <a:rPr lang="en-ZA" sz="1200" b="0" u="none" kern="1200" dirty="0">
                          <a:solidFill>
                            <a:schemeClr val="tx1"/>
                          </a:solidFill>
                          <a:latin typeface="+mn-lt"/>
                          <a:ea typeface="+mn-ea"/>
                          <a:cs typeface="+mn-cs"/>
                        </a:rPr>
                        <a:t>Iron &amp; Steel making</a:t>
                      </a:r>
                    </a:p>
                    <a:p>
                      <a:pPr marL="266700" indent="-266700" algn="l" defTabSz="914400" rtl="0" eaLnBrk="1" fontAlgn="base" latinLnBrk="0" hangingPunct="1">
                        <a:lnSpc>
                          <a:spcPct val="90000"/>
                        </a:lnSpc>
                        <a:spcBef>
                          <a:spcPts val="0"/>
                        </a:spcBef>
                        <a:spcAft>
                          <a:spcPts val="300"/>
                        </a:spcAft>
                        <a:buClrTx/>
                        <a:buSzPct val="90000"/>
                        <a:buFont typeface="Wingdings" panose="05000000000000000000" pitchFamily="2" charset="2"/>
                        <a:buChar char="u"/>
                      </a:pPr>
                      <a:r>
                        <a:rPr lang="en-ZA" sz="1200" b="0" u="none" kern="1200" dirty="0">
                          <a:solidFill>
                            <a:schemeClr val="tx1"/>
                          </a:solidFill>
                          <a:latin typeface="+mn-lt"/>
                          <a:ea typeface="+mn-ea"/>
                          <a:cs typeface="+mn-cs"/>
                        </a:rPr>
                        <a:t>Waste recycling</a:t>
                      </a:r>
                    </a:p>
                    <a:p>
                      <a:pPr marL="266700" indent="-266700" algn="l" defTabSz="914400" rtl="0" eaLnBrk="1" fontAlgn="base" latinLnBrk="0" hangingPunct="1">
                        <a:lnSpc>
                          <a:spcPct val="90000"/>
                        </a:lnSpc>
                        <a:spcBef>
                          <a:spcPts val="0"/>
                        </a:spcBef>
                        <a:spcAft>
                          <a:spcPts val="300"/>
                        </a:spcAft>
                        <a:buClrTx/>
                        <a:buSzPct val="90000"/>
                        <a:buFont typeface="Wingdings" panose="05000000000000000000" pitchFamily="2" charset="2"/>
                        <a:buChar char="u"/>
                      </a:pPr>
                      <a:r>
                        <a:rPr lang="en-ZA" sz="1200" b="0" u="none" kern="1200" dirty="0">
                          <a:solidFill>
                            <a:schemeClr val="tx1"/>
                          </a:solidFill>
                          <a:latin typeface="+mn-lt"/>
                          <a:ea typeface="+mn-ea"/>
                          <a:cs typeface="+mn-cs"/>
                        </a:rPr>
                        <a:t>Slag </a:t>
                      </a:r>
                      <a:r>
                        <a:rPr kumimoji="0" lang="en-ZA" sz="1200" b="0" i="0" u="none" strike="noStrike" kern="1200" cap="none" spc="0" normalizeH="0" baseline="0" noProof="0" dirty="0">
                          <a:ln>
                            <a:noFill/>
                          </a:ln>
                          <a:solidFill>
                            <a:srgbClr val="000000"/>
                          </a:solidFill>
                          <a:effectLst/>
                          <a:uLnTx/>
                          <a:uFillTx/>
                          <a:latin typeface="+mn-lt"/>
                          <a:ea typeface="+mn-ea"/>
                          <a:cs typeface="Arial" pitchFamily="34" charset="0"/>
                        </a:rPr>
                        <a:t>conditioning</a:t>
                      </a:r>
                      <a:endParaRPr lang="en-ZA" sz="1200" b="0" u="none" kern="1200" dirty="0">
                        <a:solidFill>
                          <a:schemeClr val="tx1"/>
                        </a:solidFill>
                        <a:latin typeface="+mn-lt"/>
                        <a:ea typeface="+mn-ea"/>
                        <a:cs typeface="+mn-cs"/>
                      </a:endParaRPr>
                    </a:p>
                  </a:txBody>
                  <a:tcPr marL="91273" marR="91273" marT="45637" marB="45637">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33745995"/>
                  </a:ext>
                </a:extLst>
              </a:tr>
            </a:tbl>
          </a:graphicData>
        </a:graphic>
      </p:graphicFrame>
      <p:grpSp>
        <p:nvGrpSpPr>
          <p:cNvPr id="243" name="Group 242">
            <a:extLst>
              <a:ext uri="{FF2B5EF4-FFF2-40B4-BE49-F238E27FC236}">
                <a16:creationId xmlns:a16="http://schemas.microsoft.com/office/drawing/2014/main" id="{87151456-85EC-86E9-F588-5FA3B86A3952}"/>
              </a:ext>
            </a:extLst>
          </p:cNvPr>
          <p:cNvGrpSpPr/>
          <p:nvPr/>
        </p:nvGrpSpPr>
        <p:grpSpPr>
          <a:xfrm>
            <a:off x="2100680" y="2194300"/>
            <a:ext cx="1748862" cy="913851"/>
            <a:chOff x="2100680" y="2194300"/>
            <a:chExt cx="1748862" cy="913851"/>
          </a:xfrm>
        </p:grpSpPr>
        <p:sp>
          <p:nvSpPr>
            <p:cNvPr id="244" name="Textfeld 504">
              <a:extLst>
                <a:ext uri="{FF2B5EF4-FFF2-40B4-BE49-F238E27FC236}">
                  <a16:creationId xmlns:a16="http://schemas.microsoft.com/office/drawing/2014/main" id="{EDC5247E-186F-3342-90B1-F7D59E868390}"/>
                </a:ext>
              </a:extLst>
            </p:cNvPr>
            <p:cNvSpPr txBox="1"/>
            <p:nvPr/>
          </p:nvSpPr>
          <p:spPr>
            <a:xfrm>
              <a:off x="2100680" y="2693356"/>
              <a:ext cx="1748862" cy="414795"/>
            </a:xfrm>
            <a:prstGeom prst="rect">
              <a:avLst/>
            </a:prstGeom>
          </p:spPr>
          <p:txBody>
            <a:bodyPr vert="horz"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1435100" algn="l"/>
                </a:tabLst>
                <a:defRPr/>
              </a:pPr>
              <a:r>
                <a:rPr kumimoji="0" lang="en-US" sz="1100" b="1" i="0" u="none" strike="noStrike" kern="1200" cap="none" spc="0" normalizeH="0" baseline="0" noProof="0" dirty="0">
                  <a:ln>
                    <a:noFill/>
                  </a:ln>
                  <a:solidFill>
                    <a:srgbClr val="000000"/>
                  </a:solidFill>
                  <a:effectLst/>
                  <a:uLnTx/>
                  <a:uFillTx/>
                  <a:latin typeface="Calibri"/>
                  <a:ea typeface="+mn-ea"/>
                  <a:cs typeface="+mn-cs"/>
                </a:rPr>
                <a:t>Metix (</a:t>
              </a:r>
              <a:r>
                <a:rPr kumimoji="0" lang="en-US" sz="1100" b="1" i="0" u="none" strike="noStrike" kern="1200" cap="none" spc="0" normalizeH="0" baseline="0" noProof="0" dirty="0" err="1">
                  <a:ln>
                    <a:noFill/>
                  </a:ln>
                  <a:solidFill>
                    <a:srgbClr val="000000"/>
                  </a:solidFill>
                  <a:effectLst/>
                  <a:uLnTx/>
                  <a:uFillTx/>
                  <a:latin typeface="Calibri"/>
                  <a:ea typeface="+mn-ea"/>
                  <a:cs typeface="+mn-cs"/>
                </a:rPr>
                <a:t>JHB</a:t>
              </a:r>
              <a:r>
                <a:rPr kumimoji="0" lang="en-US" sz="1100" b="1" i="0" u="none" strike="noStrike" kern="1200" cap="none" spc="0" normalizeH="0" baseline="0" noProof="0" dirty="0">
                  <a:ln>
                    <a:noFill/>
                  </a:ln>
                  <a:solidFill>
                    <a:srgbClr val="000000"/>
                  </a:solidFill>
                  <a:effectLst/>
                  <a:uLnTx/>
                  <a:uFillTx/>
                  <a:latin typeface="Calibri"/>
                  <a:ea typeface="+mn-ea"/>
                  <a:cs typeface="+mn-cs"/>
                </a:rPr>
                <a:t>, South Africa)</a:t>
              </a:r>
            </a:p>
            <a:p>
              <a:pPr marL="0" marR="0" lvl="0" indent="0" algn="ctr" defTabSz="914400" rtl="0" eaLnBrk="1" fontAlgn="auto" latinLnBrk="0" hangingPunct="1">
                <a:lnSpc>
                  <a:spcPct val="100000"/>
                </a:lnSpc>
                <a:spcBef>
                  <a:spcPts val="0"/>
                </a:spcBef>
                <a:spcAft>
                  <a:spcPts val="0"/>
                </a:spcAft>
                <a:buClrTx/>
                <a:buSzTx/>
                <a:buFontTx/>
                <a:buNone/>
                <a:tabLst>
                  <a:tab pos="1435100" algn="l"/>
                </a:tabLst>
                <a:defRPr/>
              </a:pPr>
              <a:r>
                <a:rPr kumimoji="0" lang="en-US" sz="1100" b="0" i="0" u="none" strike="noStrike" kern="1200" cap="none" spc="0" normalizeH="0" baseline="0" noProof="0" dirty="0">
                  <a:ln>
                    <a:noFill/>
                  </a:ln>
                  <a:solidFill>
                    <a:srgbClr val="000000"/>
                  </a:solidFill>
                  <a:effectLst/>
                  <a:uLnTx/>
                  <a:uFillTx/>
                  <a:latin typeface="Calibri"/>
                  <a:ea typeface="+mn-ea"/>
                  <a:cs typeface="+mn-cs"/>
                </a:rPr>
                <a:t>Team members: </a:t>
              </a:r>
              <a:r>
                <a:rPr kumimoji="0" lang="en-US" sz="1100" b="0" i="0" u="none" strike="noStrike" kern="1200" cap="none" spc="0" normalizeH="0" baseline="0" noProof="0" dirty="0">
                  <a:ln>
                    <a:noFill/>
                  </a:ln>
                  <a:solidFill>
                    <a:srgbClr val="000000"/>
                  </a:solidFill>
                  <a:effectLst/>
                  <a:uLnTx/>
                  <a:uFillTx/>
                  <a:latin typeface="Calibri"/>
                  <a:ea typeface="Cambria Math" panose="02040503050406030204" pitchFamily="18" charset="0"/>
                  <a:cs typeface="+mn-cs"/>
                </a:rPr>
                <a:t>~125</a:t>
              </a:r>
              <a:endParaRPr kumimoji="0" lang="en-US" sz="1100" b="0" i="0" u="none" strike="noStrike" kern="1200" cap="none" spc="0" normalizeH="0" baseline="0" noProof="0" dirty="0">
                <a:ln>
                  <a:noFill/>
                </a:ln>
                <a:solidFill>
                  <a:srgbClr val="000000"/>
                </a:solidFill>
                <a:effectLst/>
                <a:uLnTx/>
                <a:uFillTx/>
                <a:latin typeface="Calibri"/>
                <a:ea typeface="+mn-ea"/>
                <a:cs typeface="+mn-cs"/>
              </a:endParaRPr>
            </a:p>
          </p:txBody>
        </p:sp>
        <p:pic>
          <p:nvPicPr>
            <p:cNvPr id="245" name="Picture 244" descr="Text, logo, company name&#10;&#10;Description automatically generated">
              <a:extLst>
                <a:ext uri="{FF2B5EF4-FFF2-40B4-BE49-F238E27FC236}">
                  <a16:creationId xmlns:a16="http://schemas.microsoft.com/office/drawing/2014/main" id="{9B492093-6610-10DB-A1DF-439E1197B3A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792346" y="2491861"/>
              <a:ext cx="152390" cy="131589"/>
            </a:xfrm>
            <a:prstGeom prst="rect">
              <a:avLst/>
            </a:prstGeom>
          </p:spPr>
        </p:pic>
        <p:pic>
          <p:nvPicPr>
            <p:cNvPr id="246" name="Picture 245">
              <a:extLst>
                <a:ext uri="{FF2B5EF4-FFF2-40B4-BE49-F238E27FC236}">
                  <a16:creationId xmlns:a16="http://schemas.microsoft.com/office/drawing/2014/main" id="{C4053EA4-4A5F-BD68-5F8E-49D4AE55C205}"/>
                </a:ext>
              </a:extLst>
            </p:cNvPr>
            <p:cNvPicPr preferRelativeResize="0">
              <a:picLocks noChangeArrowheads="1"/>
            </p:cNvPicPr>
            <p:nvPr/>
          </p:nvPicPr>
          <p:blipFill>
            <a:blip r:embed="rId8" cstate="print">
              <a:extLst>
                <a:ext uri="{28A0092B-C50C-407E-A947-70E740481C1C}">
                  <a14:useLocalDpi xmlns:a14="http://schemas.microsoft.com/office/drawing/2010/main" val="0"/>
                </a:ext>
              </a:extLst>
            </a:blip>
            <a:srcRect l="6825" r="6825"/>
            <a:stretch/>
          </p:blipFill>
          <p:spPr bwMode="auto">
            <a:xfrm>
              <a:off x="2118594" y="2194300"/>
              <a:ext cx="382097" cy="340439"/>
            </a:xfrm>
            <a:prstGeom prst="ellipse">
              <a:avLst/>
            </a:prstGeom>
            <a:ln w="19050">
              <a:solidFill>
                <a:schemeClr val="accent4">
                  <a:lumMod val="75000"/>
                </a:schemeClr>
              </a:solidFill>
            </a:ln>
            <a:effectLst>
              <a:outerShdw blurRad="25400" dist="254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cxnSp>
          <p:nvCxnSpPr>
            <p:cNvPr id="247" name="Straight Arrow Connector 246">
              <a:extLst>
                <a:ext uri="{FF2B5EF4-FFF2-40B4-BE49-F238E27FC236}">
                  <a16:creationId xmlns:a16="http://schemas.microsoft.com/office/drawing/2014/main" id="{3E7F4A05-6A42-DFDE-4716-D1EA1880C005}"/>
                </a:ext>
              </a:extLst>
            </p:cNvPr>
            <p:cNvCxnSpPr>
              <a:stCxn id="246" idx="6"/>
              <a:endCxn id="245" idx="1"/>
            </p:cNvCxnSpPr>
            <p:nvPr/>
          </p:nvCxnSpPr>
          <p:spPr>
            <a:xfrm>
              <a:off x="2500693" y="2364517"/>
              <a:ext cx="291652" cy="193134"/>
            </a:xfrm>
            <a:prstGeom prst="straightConnector1">
              <a:avLst/>
            </a:prstGeom>
            <a:ln w="19050">
              <a:solidFill>
                <a:schemeClr val="accent4">
                  <a:lumMod val="75000"/>
                </a:schemeClr>
              </a:solidFill>
              <a:tailEnd type="triangle"/>
            </a:ln>
          </p:spPr>
          <p:style>
            <a:lnRef idx="3">
              <a:schemeClr val="accent2"/>
            </a:lnRef>
            <a:fillRef idx="0">
              <a:schemeClr val="accent2"/>
            </a:fillRef>
            <a:effectRef idx="2">
              <a:schemeClr val="accent2"/>
            </a:effectRef>
            <a:fontRef idx="minor">
              <a:schemeClr val="tx1"/>
            </a:fontRef>
          </p:style>
        </p:cxnSp>
      </p:grpSp>
      <p:sp>
        <p:nvSpPr>
          <p:cNvPr id="255" name="TextBox 254">
            <a:extLst>
              <a:ext uri="{FF2B5EF4-FFF2-40B4-BE49-F238E27FC236}">
                <a16:creationId xmlns:a16="http://schemas.microsoft.com/office/drawing/2014/main" id="{3293DAF4-81F0-20F4-E9E7-F67A12D1684B}"/>
              </a:ext>
            </a:extLst>
          </p:cNvPr>
          <p:cNvSpPr txBox="1">
            <a:spLocks noChangeArrowheads="1"/>
          </p:cNvSpPr>
          <p:nvPr/>
        </p:nvSpPr>
        <p:spPr bwMode="auto">
          <a:xfrm>
            <a:off x="8981183" y="4581128"/>
            <a:ext cx="3252564" cy="1364547"/>
          </a:xfrm>
          <a:prstGeom prst="rect">
            <a:avLst/>
          </a:prstGeom>
        </p:spPr>
        <p:txBody>
          <a:bodyPr vert="horz" lIns="91440" tIns="45720" rIns="91440" bIns="45720" rtlCol="0" anchor="ctr">
            <a:normAutofit/>
          </a:bodyPr>
          <a:lstStyle>
            <a:defPPr>
              <a:defRPr lang="de-DE"/>
            </a:defPPr>
            <a:lvl1pPr marL="266700" indent="-266700" fontAlgn="base">
              <a:lnSpc>
                <a:spcPct val="150000"/>
              </a:lnSpc>
              <a:spcBef>
                <a:spcPts val="0"/>
              </a:spcBef>
              <a:spcAft>
                <a:spcPts val="300"/>
              </a:spcAft>
              <a:buClr>
                <a:schemeClr val="accent5"/>
              </a:buClr>
              <a:buSzPct val="90000"/>
              <a:buFont typeface="Wingdings" panose="05000000000000000000" pitchFamily="2" charset="2"/>
              <a:buChar char="u"/>
              <a:defRPr sz="1600" b="1">
                <a:solidFill>
                  <a:prstClr val="black"/>
                </a:solidFill>
                <a:cs typeface="Arial" pitchFamily="34" charset="0"/>
              </a:defRPr>
            </a:lvl1pPr>
            <a:lvl2pPr marL="539750" indent="-273050" fontAlgn="base">
              <a:spcBef>
                <a:spcPct val="0"/>
              </a:spcBef>
              <a:spcAft>
                <a:spcPts val="1200"/>
              </a:spcAft>
              <a:buClr>
                <a:schemeClr val="bg2"/>
              </a:buClr>
              <a:buFont typeface="Wingdings" pitchFamily="2" charset="2"/>
              <a:buChar char="§"/>
              <a:defRPr sz="1600">
                <a:cs typeface="Arial" charset="0"/>
              </a:defRPr>
            </a:lvl2pPr>
            <a:lvl3pPr marL="806450" indent="-266700" fontAlgn="base">
              <a:spcBef>
                <a:spcPct val="0"/>
              </a:spcBef>
              <a:spcAft>
                <a:spcPts val="1200"/>
              </a:spcAft>
              <a:buClr>
                <a:schemeClr val="bg2"/>
              </a:buClr>
              <a:buFont typeface="Arial" pitchFamily="34" charset="0"/>
              <a:buChar char="•"/>
              <a:defRPr sz="1600">
                <a:cs typeface="Arial" charset="0"/>
              </a:defRPr>
            </a:lvl3pPr>
            <a:lvl4pPr marL="1073150" indent="-266700" fontAlgn="base">
              <a:spcBef>
                <a:spcPct val="0"/>
              </a:spcBef>
              <a:spcAft>
                <a:spcPts val="1200"/>
              </a:spcAft>
              <a:buClr>
                <a:schemeClr val="bg2"/>
              </a:buClr>
              <a:buFont typeface="Arial" pitchFamily="34" charset="0"/>
              <a:buChar char="•"/>
              <a:defRPr sz="1600">
                <a:cs typeface="Arial" charset="0"/>
              </a:defRPr>
            </a:lvl4pPr>
            <a:lvl5pPr marL="1073150" indent="273050" fontAlgn="base">
              <a:spcBef>
                <a:spcPct val="0"/>
              </a:spcBef>
              <a:spcAft>
                <a:spcPts val="1200"/>
              </a:spcAft>
              <a:buClr>
                <a:schemeClr val="bg2"/>
              </a:buClr>
              <a:buFont typeface="Arial" pitchFamily="34" charset="0"/>
              <a:buChar char="•"/>
              <a:defRPr sz="1600">
                <a:cs typeface="Arial"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algn="just" defTabSz="914400" rtl="0" eaLnBrk="1" fontAlgn="base" latinLnBrk="0" hangingPunct="1">
              <a:lnSpc>
                <a:spcPct val="90000"/>
              </a:lnSpc>
              <a:spcBef>
                <a:spcPts val="0"/>
              </a:spcBef>
              <a:spcAft>
                <a:spcPts val="300"/>
              </a:spcAft>
              <a:buClrTx/>
              <a:buSzPct val="90000"/>
              <a:buFont typeface="Wingdings" panose="05000000000000000000" pitchFamily="2" charset="2"/>
              <a:buNone/>
              <a:tabLst/>
              <a:defRPr/>
            </a:pPr>
            <a:r>
              <a:rPr kumimoji="0" lang="en-US" altLang="en-US" sz="1400" b="1" i="0" u="none" strike="noStrike" kern="1200" cap="none" spc="0" normalizeH="0" baseline="0" noProof="0" dirty="0">
                <a:ln>
                  <a:noFill/>
                </a:ln>
                <a:solidFill>
                  <a:srgbClr val="000000"/>
                </a:solidFill>
                <a:effectLst/>
                <a:uLnTx/>
                <a:uFillTx/>
                <a:latin typeface="Calibri"/>
                <a:ea typeface="+mn-ea"/>
                <a:cs typeface="Arial" pitchFamily="34" charset="0"/>
              </a:rPr>
              <a:t>CORE TECHNOLOGIES</a:t>
            </a:r>
          </a:p>
          <a:p>
            <a:pPr marL="266700" marR="0" lvl="0" indent="-266700" algn="l" defTabSz="914400" rtl="0" eaLnBrk="1" fontAlgn="base" latinLnBrk="0" hangingPunct="1">
              <a:lnSpc>
                <a:spcPct val="90000"/>
              </a:lnSpc>
              <a:spcBef>
                <a:spcPts val="0"/>
              </a:spcBef>
              <a:spcAft>
                <a:spcPts val="300"/>
              </a:spcAft>
              <a:buClrTx/>
              <a:buSzPct val="90000"/>
              <a:buFont typeface="Wingdings" panose="05000000000000000000" pitchFamily="2" charset="2"/>
              <a:buChar char="u"/>
              <a:tabLst/>
              <a:defRPr/>
            </a:pPr>
            <a:r>
              <a:rPr kumimoji="0" lang="en-US" altLang="en-US" sz="1200" b="0" i="0" u="none" strike="noStrike" kern="1200" cap="none" spc="0" normalizeH="0" baseline="0" noProof="0" dirty="0">
                <a:ln>
                  <a:noFill/>
                </a:ln>
                <a:solidFill>
                  <a:srgbClr val="000000"/>
                </a:solidFill>
                <a:effectLst/>
                <a:uLnTx/>
                <a:uFillTx/>
                <a:latin typeface="Calibri"/>
                <a:ea typeface="+mn-ea"/>
                <a:cs typeface="Arial" pitchFamily="34" charset="0"/>
              </a:rPr>
              <a:t>AC &amp; DC Furnaces (circular / rectangular)</a:t>
            </a:r>
          </a:p>
          <a:p>
            <a:pPr marL="266700" marR="0" lvl="0" indent="-266700" algn="l" defTabSz="914400" rtl="0" eaLnBrk="1" fontAlgn="base" latinLnBrk="0" hangingPunct="1">
              <a:lnSpc>
                <a:spcPct val="90000"/>
              </a:lnSpc>
              <a:spcBef>
                <a:spcPts val="0"/>
              </a:spcBef>
              <a:spcAft>
                <a:spcPts val="300"/>
              </a:spcAft>
              <a:buClrTx/>
              <a:buSzPct val="90000"/>
              <a:buFont typeface="Wingdings" panose="05000000000000000000" pitchFamily="2" charset="2"/>
              <a:buChar char="u"/>
              <a:tabLst/>
              <a:defRPr/>
            </a:pPr>
            <a:r>
              <a:rPr kumimoji="0" lang="en-US" altLang="en-US" sz="1200" b="0" i="0" u="none" strike="noStrike" kern="1200" cap="none" spc="0" normalizeH="0" baseline="0" noProof="0" dirty="0">
                <a:ln>
                  <a:noFill/>
                </a:ln>
                <a:solidFill>
                  <a:srgbClr val="000000"/>
                </a:solidFill>
                <a:effectLst/>
                <a:uLnTx/>
                <a:uFillTx/>
                <a:latin typeface="Calibri"/>
                <a:ea typeface="+mn-ea"/>
                <a:cs typeface="Arial" pitchFamily="34" charset="0"/>
              </a:rPr>
              <a:t>Submerged-, Brush-, Shielded- and Open arc</a:t>
            </a:r>
          </a:p>
          <a:p>
            <a:pPr marL="266700" marR="0" lvl="0" indent="-266700" algn="l" defTabSz="914400" rtl="0" eaLnBrk="1" fontAlgn="base" latinLnBrk="0" hangingPunct="1">
              <a:lnSpc>
                <a:spcPct val="90000"/>
              </a:lnSpc>
              <a:spcBef>
                <a:spcPts val="0"/>
              </a:spcBef>
              <a:spcAft>
                <a:spcPts val="300"/>
              </a:spcAft>
              <a:buClrTx/>
              <a:buSzPct val="90000"/>
              <a:buFont typeface="Wingdings" panose="05000000000000000000" pitchFamily="2" charset="2"/>
              <a:buChar char="u"/>
              <a:tabLst/>
              <a:defRPr/>
            </a:pPr>
            <a:r>
              <a:rPr kumimoji="0" lang="en-US" altLang="en-US" sz="1200" b="0" i="0" u="none" strike="noStrike" kern="1200" cap="none" spc="0" normalizeH="0" baseline="0" noProof="0" dirty="0">
                <a:ln>
                  <a:noFill/>
                </a:ln>
                <a:solidFill>
                  <a:srgbClr val="000000"/>
                </a:solidFill>
                <a:effectLst/>
                <a:uLnTx/>
                <a:uFillTx/>
                <a:latin typeface="Calibri"/>
                <a:ea typeface="+mn-ea"/>
                <a:cs typeface="Arial" pitchFamily="34" charset="0"/>
              </a:rPr>
              <a:t>Matte Settling &amp; Slag Cleaning</a:t>
            </a:r>
          </a:p>
          <a:p>
            <a:pPr marL="266700" marR="0" lvl="0" indent="-266700" algn="l" defTabSz="914400" rtl="0" eaLnBrk="1" fontAlgn="base" latinLnBrk="0" hangingPunct="1">
              <a:lnSpc>
                <a:spcPct val="90000"/>
              </a:lnSpc>
              <a:spcBef>
                <a:spcPts val="0"/>
              </a:spcBef>
              <a:spcAft>
                <a:spcPts val="300"/>
              </a:spcAft>
              <a:buClrTx/>
              <a:buSzPct val="90000"/>
              <a:buFont typeface="Wingdings" panose="05000000000000000000" pitchFamily="2" charset="2"/>
              <a:buChar char="u"/>
              <a:tabLst/>
              <a:defRPr/>
            </a:pPr>
            <a:r>
              <a:rPr kumimoji="0" lang="en-US" altLang="en-US" sz="1200" b="0" i="0" u="none" strike="noStrike" kern="1200" cap="none" spc="0" normalizeH="0" baseline="0" noProof="0" dirty="0">
                <a:ln>
                  <a:noFill/>
                </a:ln>
                <a:solidFill>
                  <a:srgbClr val="000000"/>
                </a:solidFill>
                <a:effectLst/>
                <a:uLnTx/>
                <a:uFillTx/>
                <a:latin typeface="Calibri"/>
                <a:ea typeface="+mn-ea"/>
                <a:cs typeface="Arial" pitchFamily="34" charset="0"/>
              </a:rPr>
              <a:t>Slag </a:t>
            </a:r>
            <a:r>
              <a:rPr kumimoji="0" lang="en-ZA" sz="1200" b="0" i="0" u="none" strike="noStrike" kern="1200" cap="none" spc="0" normalizeH="0" baseline="0" noProof="0" dirty="0">
                <a:ln>
                  <a:noFill/>
                </a:ln>
                <a:solidFill>
                  <a:srgbClr val="000000"/>
                </a:solidFill>
                <a:effectLst/>
                <a:uLnTx/>
                <a:uFillTx/>
                <a:latin typeface="+mn-lt"/>
                <a:ea typeface="+mn-ea"/>
                <a:cs typeface="Arial" pitchFamily="34" charset="0"/>
              </a:rPr>
              <a:t>Valorisation</a:t>
            </a:r>
            <a:endParaRPr kumimoji="0" lang="en-US" altLang="en-US" sz="1200" b="0" i="0" u="none" strike="noStrike" kern="1200" cap="none" spc="0" normalizeH="0" baseline="0" noProof="0" dirty="0">
              <a:ln>
                <a:noFill/>
              </a:ln>
              <a:solidFill>
                <a:srgbClr val="000000"/>
              </a:solidFill>
              <a:effectLst/>
              <a:uLnTx/>
              <a:uFillTx/>
              <a:latin typeface="Calibri"/>
              <a:ea typeface="+mn-ea"/>
              <a:cs typeface="Arial" pitchFamily="34" charset="0"/>
            </a:endParaRPr>
          </a:p>
        </p:txBody>
      </p:sp>
      <p:sp>
        <p:nvSpPr>
          <p:cNvPr id="5" name="Slide Number Placeholder 4">
            <a:extLst>
              <a:ext uri="{FF2B5EF4-FFF2-40B4-BE49-F238E27FC236}">
                <a16:creationId xmlns:a16="http://schemas.microsoft.com/office/drawing/2014/main" id="{530F53B7-AF03-2691-96EE-0CDB6F20CAF3}"/>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043744-42FE-4892-90BA-7087481EB81E}" type="slidenum">
              <a:rPr kumimoji="0" lang="de-DE" sz="10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de-DE" sz="1000" b="0" i="0" u="none" strike="noStrike" kern="1200" cap="none" spc="0" normalizeH="0" baseline="0" noProof="0" dirty="0">
              <a:ln>
                <a:noFill/>
              </a:ln>
              <a:solidFill>
                <a:srgbClr val="000000"/>
              </a:solidFill>
              <a:effectLst/>
              <a:uLnTx/>
              <a:uFillTx/>
              <a:latin typeface="Calibri"/>
              <a:ea typeface="+mn-ea"/>
              <a:cs typeface="+mn-cs"/>
            </a:endParaRPr>
          </a:p>
        </p:txBody>
      </p:sp>
      <p:sp>
        <p:nvSpPr>
          <p:cNvPr id="3" name="TextBox 2">
            <a:extLst>
              <a:ext uri="{FF2B5EF4-FFF2-40B4-BE49-F238E27FC236}">
                <a16:creationId xmlns:a16="http://schemas.microsoft.com/office/drawing/2014/main" id="{F6A0A9E8-BCF1-D98E-FD96-6E1AA5DF05F1}"/>
              </a:ext>
            </a:extLst>
          </p:cNvPr>
          <p:cNvSpPr txBox="1"/>
          <p:nvPr/>
        </p:nvSpPr>
        <p:spPr bwMode="black">
          <a:xfrm>
            <a:off x="6220750" y="6604084"/>
            <a:ext cx="5579269"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000" b="0" i="1" u="none" strike="noStrike" kern="12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mn-cs"/>
              </a:rPr>
              <a:t>Contains Trade Secrets, Confidential, Proprietary, or Privileged Information Exempt from Public Disclosure</a:t>
            </a:r>
            <a:endParaRPr kumimoji="0" lang="en-ZA" sz="1000" b="0" i="1" u="none" strike="noStrike" kern="1200" cap="none" spc="0" normalizeH="0" baseline="0" noProof="0" dirty="0">
              <a:ln>
                <a:noFill/>
              </a:ln>
              <a:solidFill>
                <a:srgbClr val="000000"/>
              </a:solidFill>
              <a:effectLst/>
              <a:uLnTx/>
              <a:uFillTx/>
              <a:latin typeface="Calibri"/>
              <a:ea typeface="+mn-ea"/>
              <a:cs typeface="+mn-cs"/>
            </a:endParaRPr>
          </a:p>
        </p:txBody>
      </p:sp>
      <p:pic>
        <p:nvPicPr>
          <p:cNvPr id="2" name="Picture 1" descr="A picture containing screenshot, graphics, graphic design, font&#10;&#10;Description automatically generated">
            <a:extLst>
              <a:ext uri="{FF2B5EF4-FFF2-40B4-BE49-F238E27FC236}">
                <a16:creationId xmlns:a16="http://schemas.microsoft.com/office/drawing/2014/main" id="{3B423A81-25A4-42EF-AEA2-A5C5BBC7DE6E}"/>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1229272" y="5826031"/>
            <a:ext cx="846835" cy="731246"/>
          </a:xfrm>
          <a:prstGeom prst="rect">
            <a:avLst/>
          </a:prstGeom>
        </p:spPr>
      </p:pic>
      <p:pic>
        <p:nvPicPr>
          <p:cNvPr id="4" name="Picture 3" descr="A group of circles with different colors&#10;&#10;AI-generated content may be incorrect.">
            <a:extLst>
              <a:ext uri="{FF2B5EF4-FFF2-40B4-BE49-F238E27FC236}">
                <a16:creationId xmlns:a16="http://schemas.microsoft.com/office/drawing/2014/main" id="{F1449B13-94D5-3395-5004-DB9A822B1C4C}"/>
              </a:ext>
            </a:extLst>
          </p:cNvPr>
          <p:cNvPicPr>
            <a:picLocks noChangeAspect="1"/>
          </p:cNvPicPr>
          <p:nvPr/>
        </p:nvPicPr>
        <p:blipFill>
          <a:blip r:embed="rId10"/>
          <a:stretch>
            <a:fillRect/>
          </a:stretch>
        </p:blipFill>
        <p:spPr>
          <a:xfrm>
            <a:off x="9479962" y="6257031"/>
            <a:ext cx="1633038" cy="222970"/>
          </a:xfrm>
          <a:prstGeom prst="rect">
            <a:avLst/>
          </a:prstGeom>
        </p:spPr>
      </p:pic>
    </p:spTree>
    <p:extLst>
      <p:ext uri="{BB962C8B-B14F-4D97-AF65-F5344CB8AC3E}">
        <p14:creationId xmlns:p14="http://schemas.microsoft.com/office/powerpoint/2010/main" val="2501203562"/>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785D6F-40C5-B931-3102-DEC542D27516}"/>
            </a:ext>
          </a:extLst>
        </p:cNvPr>
        <p:cNvGrpSpPr/>
        <p:nvPr/>
      </p:nvGrpSpPr>
      <p:grpSpPr>
        <a:xfrm>
          <a:off x="0" y="0"/>
          <a:ext cx="0" cy="0"/>
          <a:chOff x="0" y="0"/>
          <a:chExt cx="0" cy="0"/>
        </a:xfrm>
      </p:grpSpPr>
      <p:grpSp>
        <p:nvGrpSpPr>
          <p:cNvPr id="4" name="Group 3">
            <a:extLst>
              <a:ext uri="{FF2B5EF4-FFF2-40B4-BE49-F238E27FC236}">
                <a16:creationId xmlns:a16="http://schemas.microsoft.com/office/drawing/2014/main" id="{5CA1DA48-7B0A-E2F2-F25C-7E9FE23B9B06}"/>
              </a:ext>
            </a:extLst>
          </p:cNvPr>
          <p:cNvGrpSpPr/>
          <p:nvPr/>
        </p:nvGrpSpPr>
        <p:grpSpPr>
          <a:xfrm>
            <a:off x="0" y="0"/>
            <a:ext cx="12192000" cy="6858000"/>
            <a:chOff x="0" y="0"/>
            <a:chExt cx="12192000" cy="6858000"/>
          </a:xfrm>
        </p:grpSpPr>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4098" name="Picture 2" descr="H2 Green Stee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8527947" y="3820439"/>
              <a:ext cx="1128794" cy="175810"/>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Thyssenkrupp – Wikipedia"/>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8677192" y="2406302"/>
              <a:ext cx="886290" cy="684659"/>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Datei:Tata Steel Logo.svg – Wikipedia"/>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8050593" y="1413445"/>
              <a:ext cx="1201061" cy="15717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A blue letter and arrow on a black background&#10;&#10;Description automatically generated">
              <a:extLst>
                <a:ext uri="{FF2B5EF4-FFF2-40B4-BE49-F238E27FC236}">
                  <a16:creationId xmlns:a16="http://schemas.microsoft.com/office/drawing/2014/main" id="{63C49778-7406-62EB-C91E-106D5245993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997584" y="4013952"/>
              <a:ext cx="677819" cy="229117"/>
            </a:xfrm>
            <a:prstGeom prst="rect">
              <a:avLst/>
            </a:prstGeom>
          </p:spPr>
        </p:pic>
        <p:pic>
          <p:nvPicPr>
            <p:cNvPr id="7" name="Picture 6" descr="A picture containing screenshot, graphics, graphic design, font&#10;&#10;Description automatically generated">
              <a:extLst>
                <a:ext uri="{FF2B5EF4-FFF2-40B4-BE49-F238E27FC236}">
                  <a16:creationId xmlns:a16="http://schemas.microsoft.com/office/drawing/2014/main" id="{A1D6C10E-20B9-F350-A0B1-5E26C8545F5D}"/>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2578" y="2365662"/>
              <a:ext cx="350850" cy="302961"/>
            </a:xfrm>
            <a:prstGeom prst="rect">
              <a:avLst/>
            </a:prstGeom>
          </p:spPr>
        </p:pic>
        <p:pic>
          <p:nvPicPr>
            <p:cNvPr id="8" name="Picture 7" descr="A picture containing screenshot, graphics, graphic design, font&#10;&#10;Description automatically generated">
              <a:extLst>
                <a:ext uri="{FF2B5EF4-FFF2-40B4-BE49-F238E27FC236}">
                  <a16:creationId xmlns:a16="http://schemas.microsoft.com/office/drawing/2014/main" id="{7496DF3C-C0FD-3DCB-DB4E-AEC7EDC5CC30}"/>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199405" y="2365661"/>
              <a:ext cx="350850" cy="302961"/>
            </a:xfrm>
            <a:prstGeom prst="rect">
              <a:avLst/>
            </a:prstGeom>
          </p:spPr>
        </p:pic>
      </p:grpSp>
      <p:sp>
        <p:nvSpPr>
          <p:cNvPr id="5" name="Slide Number Placeholder 4">
            <a:extLst>
              <a:ext uri="{FF2B5EF4-FFF2-40B4-BE49-F238E27FC236}">
                <a16:creationId xmlns:a16="http://schemas.microsoft.com/office/drawing/2014/main" id="{72FFAD24-6A24-22AF-0228-2BFCF31135F2}"/>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043744-42FE-4892-90BA-7087481EB81E}" type="slidenum">
              <a:rPr kumimoji="0" lang="de-DE" sz="10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de-DE" sz="1000" b="0" i="0" u="none" strike="noStrike" kern="1200" cap="none" spc="0" normalizeH="0" baseline="0" noProof="0" dirty="0">
              <a:ln>
                <a:noFill/>
              </a:ln>
              <a:solidFill>
                <a:srgbClr val="000000"/>
              </a:solidFill>
              <a:effectLst/>
              <a:uLnTx/>
              <a:uFillTx/>
              <a:latin typeface="Calibri"/>
              <a:ea typeface="+mn-ea"/>
              <a:cs typeface="+mn-cs"/>
            </a:endParaRPr>
          </a:p>
        </p:txBody>
      </p:sp>
      <p:sp>
        <p:nvSpPr>
          <p:cNvPr id="3" name="TextBox 2">
            <a:extLst>
              <a:ext uri="{FF2B5EF4-FFF2-40B4-BE49-F238E27FC236}">
                <a16:creationId xmlns:a16="http://schemas.microsoft.com/office/drawing/2014/main" id="{77226A6B-BDE9-FC95-F642-0725AE845C8F}"/>
              </a:ext>
            </a:extLst>
          </p:cNvPr>
          <p:cNvSpPr txBox="1"/>
          <p:nvPr/>
        </p:nvSpPr>
        <p:spPr bwMode="black">
          <a:xfrm>
            <a:off x="6220750" y="6604084"/>
            <a:ext cx="5579269"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000" b="0" i="1" u="none" strike="noStrike" kern="12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mn-cs"/>
              </a:rPr>
              <a:t>Contains Trade Secrets, Confidential, Proprietary, or Privileged Information Exempt from Public Disclosure</a:t>
            </a:r>
            <a:endParaRPr kumimoji="0" lang="en-ZA" sz="1000" b="0" i="1" u="none" strike="noStrike" kern="1200" cap="none" spc="0" normalizeH="0" baseline="0" noProof="0" dirty="0">
              <a:ln>
                <a:noFill/>
              </a:ln>
              <a:solidFill>
                <a:srgbClr val="000000"/>
              </a:solidFill>
              <a:effectLst/>
              <a:uLnTx/>
              <a:uFillTx/>
              <a:latin typeface="Calibri"/>
              <a:ea typeface="+mn-ea"/>
              <a:cs typeface="+mn-cs"/>
            </a:endParaRPr>
          </a:p>
        </p:txBody>
      </p:sp>
      <p:pic>
        <p:nvPicPr>
          <p:cNvPr id="15" name="WhatsApp Video 2025-05-29 at 16.09.31">
            <a:hlinkClick r:id="" action="ppaction://media"/>
            <a:extLst>
              <a:ext uri="{FF2B5EF4-FFF2-40B4-BE49-F238E27FC236}">
                <a16:creationId xmlns:a16="http://schemas.microsoft.com/office/drawing/2014/main" id="{62DA38EB-EDA6-803C-2029-01883EE4B314}"/>
              </a:ext>
            </a:extLst>
          </p:cNvPr>
          <p:cNvPicPr>
            <a:picLocks noChangeAspect="1"/>
          </p:cNvPicPr>
          <p:nvPr>
            <a:videoFile r:link="rId2"/>
            <p:extLst>
              <p:ext uri="{DAA4B4D4-6D71-4841-9C94-3DE7FCFB9230}">
                <p14:media xmlns:p14="http://schemas.microsoft.com/office/powerpoint/2010/main" r:embed="rId1">
                  <p14:bmkLst>
                    <p14:bmk name="Bookmark 1" time="26305"/>
                  </p14:bmkLst>
                </p14:media>
              </p:ext>
            </p:extLst>
          </p:nvPr>
        </p:nvPicPr>
        <p:blipFill>
          <a:blip r:embed="rId10"/>
          <a:stretch>
            <a:fillRect/>
          </a:stretch>
        </p:blipFill>
        <p:spPr>
          <a:xfrm>
            <a:off x="1070096" y="2276872"/>
            <a:ext cx="2893002" cy="2893002"/>
          </a:xfrm>
          <a:prstGeom prst="roundRect">
            <a:avLst>
              <a:gd name="adj" fmla="val 5439"/>
            </a:avLst>
          </a:prstGeom>
          <a:ln>
            <a:noFill/>
          </a:ln>
          <a:effectLst>
            <a:innerShdw blurRad="114300" dist="50800">
              <a:srgbClr val="000000">
                <a:alpha val="0"/>
              </a:srgbClr>
            </a:innerShdw>
          </a:effectLst>
        </p:spPr>
      </p:pic>
      <p:pic>
        <p:nvPicPr>
          <p:cNvPr id="2" name="Picture 1" descr="A picture containing screenshot, graphics, graphic design, font&#10;&#10;Description automatically generated">
            <a:extLst>
              <a:ext uri="{FF2B5EF4-FFF2-40B4-BE49-F238E27FC236}">
                <a16:creationId xmlns:a16="http://schemas.microsoft.com/office/drawing/2014/main" id="{A03C9758-9812-F769-5316-E718F0A08B9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1229272" y="5826031"/>
            <a:ext cx="846835" cy="731246"/>
          </a:xfrm>
          <a:prstGeom prst="rect">
            <a:avLst/>
          </a:prstGeom>
        </p:spPr>
      </p:pic>
      <p:pic>
        <p:nvPicPr>
          <p:cNvPr id="9" name="Picture 8" descr="A group of circles with different colors&#10;&#10;AI-generated content may be incorrect.">
            <a:extLst>
              <a:ext uri="{FF2B5EF4-FFF2-40B4-BE49-F238E27FC236}">
                <a16:creationId xmlns:a16="http://schemas.microsoft.com/office/drawing/2014/main" id="{09F4E508-6313-2F62-C40B-3CAC2B2D47B9}"/>
              </a:ext>
            </a:extLst>
          </p:cNvPr>
          <p:cNvPicPr>
            <a:picLocks noChangeAspect="1"/>
          </p:cNvPicPr>
          <p:nvPr/>
        </p:nvPicPr>
        <p:blipFill>
          <a:blip r:embed="rId11"/>
          <a:stretch>
            <a:fillRect/>
          </a:stretch>
        </p:blipFill>
        <p:spPr>
          <a:xfrm>
            <a:off x="9479962" y="6257031"/>
            <a:ext cx="1633038" cy="222970"/>
          </a:xfrm>
          <a:prstGeom prst="rect">
            <a:avLst/>
          </a:prstGeom>
        </p:spPr>
      </p:pic>
    </p:spTree>
    <p:extLst>
      <p:ext uri="{BB962C8B-B14F-4D97-AF65-F5344CB8AC3E}">
        <p14:creationId xmlns:p14="http://schemas.microsoft.com/office/powerpoint/2010/main" val="1336828492"/>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6310" fill="hold"/>
                                        <p:tgtEl>
                                          <p:spTgt spid="1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15"/>
                </p:tgtEl>
              </p:cMediaNode>
            </p:video>
            <p:seq concurrent="1" nextAc="seek">
              <p:cTn id="8" restart="whenNotActive" fill="hold" evtFilter="cancelBubble" nodeType="interactiveSeq">
                <p:stCondLst>
                  <p:cond evt="onClick" delay="0">
                    <p:tgtEl>
                      <p:spTgt spid="1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5"/>
                                        </p:tgtEl>
                                      </p:cBhvr>
                                    </p:cmd>
                                  </p:childTnLst>
                                </p:cTn>
                              </p:par>
                            </p:childTnLst>
                          </p:cTn>
                        </p:par>
                      </p:childTnLst>
                    </p:cTn>
                  </p:par>
                </p:childTnLst>
              </p:cTn>
              <p:nextCondLst>
                <p:cond evt="onClick" delay="0">
                  <p:tgtEl>
                    <p:spTgt spid="15"/>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D3A860-1F22-4658-5FBE-213971594375}"/>
            </a:ext>
          </a:extLst>
        </p:cNvPr>
        <p:cNvGrpSpPr/>
        <p:nvPr/>
      </p:nvGrpSpPr>
      <p:grpSpPr>
        <a:xfrm>
          <a:off x="0" y="0"/>
          <a:ext cx="0" cy="0"/>
          <a:chOff x="0" y="0"/>
          <a:chExt cx="0" cy="0"/>
        </a:xfrm>
      </p:grpSpPr>
      <p:sp>
        <p:nvSpPr>
          <p:cNvPr id="20" name="Titel 3">
            <a:extLst>
              <a:ext uri="{FF2B5EF4-FFF2-40B4-BE49-F238E27FC236}">
                <a16:creationId xmlns:a16="http://schemas.microsoft.com/office/drawing/2014/main" id="{9E95BC34-FE85-37AF-D43E-241E0D46313B}"/>
              </a:ext>
            </a:extLst>
          </p:cNvPr>
          <p:cNvSpPr>
            <a:spLocks noGrp="1"/>
          </p:cNvSpPr>
          <p:nvPr>
            <p:ph type="title"/>
          </p:nvPr>
        </p:nvSpPr>
        <p:spPr>
          <a:xfrm>
            <a:off x="289453" y="377999"/>
            <a:ext cx="11613389" cy="702000"/>
          </a:xfrm>
        </p:spPr>
        <p:txBody>
          <a:bodyPr vert="horz"/>
          <a:lstStyle/>
          <a:p>
            <a:r>
              <a:rPr lang="en-US" dirty="0">
                <a:latin typeface="Calibri"/>
              </a:rPr>
              <a:t>US cement industry trade statistics </a:t>
            </a:r>
            <a:endParaRPr lang="en-US" b="0" dirty="0">
              <a:latin typeface="Calibri"/>
            </a:endParaRPr>
          </a:p>
        </p:txBody>
      </p:sp>
      <p:sp>
        <p:nvSpPr>
          <p:cNvPr id="5" name="Slide Number Placeholder 4">
            <a:extLst>
              <a:ext uri="{FF2B5EF4-FFF2-40B4-BE49-F238E27FC236}">
                <a16:creationId xmlns:a16="http://schemas.microsoft.com/office/drawing/2014/main" id="{9BA577D4-215D-3769-CCC6-95D93CD55E03}"/>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043744-42FE-4892-90BA-7087481EB81E}" type="slidenum">
              <a:rPr kumimoji="0" lang="de-DE" sz="10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de-DE" sz="1000" b="0" i="0" u="none" strike="noStrike" kern="1200" cap="none" spc="0" normalizeH="0" baseline="0" noProof="0" dirty="0">
              <a:ln>
                <a:noFill/>
              </a:ln>
              <a:solidFill>
                <a:srgbClr val="000000"/>
              </a:solidFill>
              <a:effectLst/>
              <a:uLnTx/>
              <a:uFillTx/>
              <a:latin typeface="Calibri"/>
              <a:ea typeface="+mn-ea"/>
              <a:cs typeface="+mn-cs"/>
            </a:endParaRPr>
          </a:p>
        </p:txBody>
      </p:sp>
      <p:sp>
        <p:nvSpPr>
          <p:cNvPr id="3" name="TextBox 2">
            <a:extLst>
              <a:ext uri="{FF2B5EF4-FFF2-40B4-BE49-F238E27FC236}">
                <a16:creationId xmlns:a16="http://schemas.microsoft.com/office/drawing/2014/main" id="{3003ACD3-E6E8-17D5-0751-3063F4143711}"/>
              </a:ext>
            </a:extLst>
          </p:cNvPr>
          <p:cNvSpPr txBox="1"/>
          <p:nvPr/>
        </p:nvSpPr>
        <p:spPr bwMode="black">
          <a:xfrm>
            <a:off x="6220750" y="6604084"/>
            <a:ext cx="5579269"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000" b="0" i="1" u="none" strike="noStrike" kern="12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mn-cs"/>
              </a:rPr>
              <a:t>Contains Trade Secrets, Confidential, Proprietary, or Privileged Information Exempt from Public Disclosure</a:t>
            </a:r>
            <a:endParaRPr kumimoji="0" lang="en-ZA" sz="1000" b="0" i="1" u="none" strike="noStrike" kern="1200" cap="none" spc="0" normalizeH="0" baseline="0" noProof="0" dirty="0">
              <a:ln>
                <a:noFill/>
              </a:ln>
              <a:solidFill>
                <a:srgbClr val="000000"/>
              </a:solidFill>
              <a:effectLst/>
              <a:uLnTx/>
              <a:uFillTx/>
              <a:latin typeface="Calibri"/>
              <a:ea typeface="+mn-ea"/>
              <a:cs typeface="+mn-cs"/>
            </a:endParaRPr>
          </a:p>
        </p:txBody>
      </p:sp>
      <p:pic>
        <p:nvPicPr>
          <p:cNvPr id="2" name="Picture 1" descr="A picture containing screenshot, graphics, graphic design, font&#10;&#10;Description automatically generated">
            <a:extLst>
              <a:ext uri="{FF2B5EF4-FFF2-40B4-BE49-F238E27FC236}">
                <a16:creationId xmlns:a16="http://schemas.microsoft.com/office/drawing/2014/main" id="{75B8DDA0-A845-F09C-E0B9-9899BEC66FD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229272" y="5826031"/>
            <a:ext cx="846835" cy="731246"/>
          </a:xfrm>
          <a:prstGeom prst="rect">
            <a:avLst/>
          </a:prstGeom>
        </p:spPr>
      </p:pic>
      <p:pic>
        <p:nvPicPr>
          <p:cNvPr id="6" name="Picture 5" descr="A group of circles with different colors&#10;&#10;AI-generated content may be incorrect.">
            <a:extLst>
              <a:ext uri="{FF2B5EF4-FFF2-40B4-BE49-F238E27FC236}">
                <a16:creationId xmlns:a16="http://schemas.microsoft.com/office/drawing/2014/main" id="{0DD966D9-6AEB-D0F6-FC17-17013334CAFA}"/>
              </a:ext>
            </a:extLst>
          </p:cNvPr>
          <p:cNvPicPr>
            <a:picLocks noChangeAspect="1"/>
          </p:cNvPicPr>
          <p:nvPr/>
        </p:nvPicPr>
        <p:blipFill>
          <a:blip r:embed="rId3"/>
          <a:stretch>
            <a:fillRect/>
          </a:stretch>
        </p:blipFill>
        <p:spPr>
          <a:xfrm>
            <a:off x="9479962" y="6257031"/>
            <a:ext cx="1633038" cy="222970"/>
          </a:xfrm>
          <a:prstGeom prst="rect">
            <a:avLst/>
          </a:prstGeom>
        </p:spPr>
      </p:pic>
      <p:pic>
        <p:nvPicPr>
          <p:cNvPr id="8" name="Picture 7">
            <a:extLst>
              <a:ext uri="{FF2B5EF4-FFF2-40B4-BE49-F238E27FC236}">
                <a16:creationId xmlns:a16="http://schemas.microsoft.com/office/drawing/2014/main" id="{28546E27-D677-FB46-AA1A-033CFA0F4C0A}"/>
              </a:ext>
            </a:extLst>
          </p:cNvPr>
          <p:cNvPicPr>
            <a:picLocks noChangeAspect="1"/>
          </p:cNvPicPr>
          <p:nvPr/>
        </p:nvPicPr>
        <p:blipFill>
          <a:blip r:embed="rId4"/>
          <a:srcRect b="10075"/>
          <a:stretch/>
        </p:blipFill>
        <p:spPr>
          <a:xfrm>
            <a:off x="542653" y="1079999"/>
            <a:ext cx="5447942" cy="3264460"/>
          </a:xfrm>
          <a:prstGeom prst="rect">
            <a:avLst/>
          </a:prstGeom>
        </p:spPr>
      </p:pic>
      <p:pic>
        <p:nvPicPr>
          <p:cNvPr id="9" name="Picture 8">
            <a:extLst>
              <a:ext uri="{FF2B5EF4-FFF2-40B4-BE49-F238E27FC236}">
                <a16:creationId xmlns:a16="http://schemas.microsoft.com/office/drawing/2014/main" id="{B3FD7C85-E0A1-8D1C-D793-B79C2A0891EA}"/>
              </a:ext>
            </a:extLst>
          </p:cNvPr>
          <p:cNvPicPr>
            <a:picLocks noChangeAspect="1"/>
          </p:cNvPicPr>
          <p:nvPr/>
        </p:nvPicPr>
        <p:blipFill>
          <a:blip r:embed="rId5"/>
          <a:srcRect b="15787"/>
          <a:stretch/>
        </p:blipFill>
        <p:spPr>
          <a:xfrm>
            <a:off x="542653" y="4320051"/>
            <a:ext cx="5447942" cy="1939008"/>
          </a:xfrm>
          <a:prstGeom prst="rect">
            <a:avLst/>
          </a:prstGeom>
        </p:spPr>
      </p:pic>
      <p:sp>
        <p:nvSpPr>
          <p:cNvPr id="10" name="Arrow: Left 9">
            <a:extLst>
              <a:ext uri="{FF2B5EF4-FFF2-40B4-BE49-F238E27FC236}">
                <a16:creationId xmlns:a16="http://schemas.microsoft.com/office/drawing/2014/main" id="{94639492-6514-2D6B-A62A-ADF2A4D1F0EB}"/>
              </a:ext>
            </a:extLst>
          </p:cNvPr>
          <p:cNvSpPr/>
          <p:nvPr/>
        </p:nvSpPr>
        <p:spPr>
          <a:xfrm rot="8104556">
            <a:off x="5337150" y="1168602"/>
            <a:ext cx="785811" cy="360000"/>
          </a:xfrm>
          <a:prstGeom prst="leftArrow">
            <a:avLst/>
          </a:prstGeom>
          <a:ln/>
        </p:spPr>
        <p:style>
          <a:lnRef idx="0">
            <a:schemeClr val="accent1"/>
          </a:lnRef>
          <a:fillRef idx="3">
            <a:schemeClr val="accent1"/>
          </a:fillRef>
          <a:effectRef idx="3">
            <a:schemeClr val="accent1"/>
          </a:effectRef>
          <a:fontRef idx="minor">
            <a:schemeClr val="lt1"/>
          </a:fontRef>
        </p:style>
        <p:txBody>
          <a:bodyPr lIns="72000" tIns="72000" rIns="72000" bIns="72000" rtlCol="0" anchor="ctr"/>
          <a:lstStyle/>
          <a:p>
            <a:pPr algn="ctr"/>
            <a:endParaRPr lang="en-GB" sz="1600" b="1" spc="50">
              <a:ln w="0"/>
              <a:solidFill>
                <a:schemeClr val="bg2"/>
              </a:solidFill>
              <a:effectLst>
                <a:innerShdw blurRad="63500" dist="50800" dir="13500000">
                  <a:srgbClr val="000000">
                    <a:alpha val="50000"/>
                  </a:srgbClr>
                </a:innerShdw>
              </a:effectLst>
            </a:endParaRPr>
          </a:p>
        </p:txBody>
      </p:sp>
      <p:sp>
        <p:nvSpPr>
          <p:cNvPr id="11" name="Rectangle 10">
            <a:extLst>
              <a:ext uri="{FF2B5EF4-FFF2-40B4-BE49-F238E27FC236}">
                <a16:creationId xmlns:a16="http://schemas.microsoft.com/office/drawing/2014/main" id="{B7D34D38-4F42-22A7-E594-2E1D1B5C292A}"/>
              </a:ext>
            </a:extLst>
          </p:cNvPr>
          <p:cNvSpPr/>
          <p:nvPr/>
        </p:nvSpPr>
        <p:spPr>
          <a:xfrm>
            <a:off x="5730056" y="800802"/>
            <a:ext cx="1369156" cy="461665"/>
          </a:xfrm>
          <a:prstGeom prst="rect">
            <a:avLst/>
          </a:prstGeom>
          <a:noFill/>
        </p:spPr>
        <p:txBody>
          <a:bodyPr wrap="square" lIns="91440" tIns="45720" rIns="91440" bIns="45720">
            <a:spAutoFit/>
          </a:bodyPr>
          <a:lstStyle/>
          <a:p>
            <a:pPr algn="ctr"/>
            <a:r>
              <a:rPr lang="en-US" sz="1200" dirty="0">
                <a:ln w="0"/>
                <a:solidFill>
                  <a:schemeClr val="accent1"/>
                </a:solidFill>
                <a:effectLst>
                  <a:outerShdw blurRad="38100" dist="25400" dir="5400000" algn="ctr" rotWithShape="0">
                    <a:srgbClr val="6E747A">
                      <a:alpha val="43000"/>
                    </a:srgbClr>
                  </a:outerShdw>
                </a:effectLst>
              </a:rPr>
              <a:t>INCREASED IMPORTS</a:t>
            </a:r>
          </a:p>
        </p:txBody>
      </p:sp>
      <p:pic>
        <p:nvPicPr>
          <p:cNvPr id="12" name="Picture 11">
            <a:extLst>
              <a:ext uri="{FF2B5EF4-FFF2-40B4-BE49-F238E27FC236}">
                <a16:creationId xmlns:a16="http://schemas.microsoft.com/office/drawing/2014/main" id="{08C3FCA6-0642-EA56-621F-83456AEFE882}"/>
              </a:ext>
            </a:extLst>
          </p:cNvPr>
          <p:cNvPicPr>
            <a:picLocks noChangeAspect="1"/>
          </p:cNvPicPr>
          <p:nvPr/>
        </p:nvPicPr>
        <p:blipFill>
          <a:blip r:embed="rId6"/>
          <a:stretch>
            <a:fillRect/>
          </a:stretch>
        </p:blipFill>
        <p:spPr>
          <a:xfrm>
            <a:off x="7347518" y="188640"/>
            <a:ext cx="3881754" cy="2729060"/>
          </a:xfrm>
          <a:prstGeom prst="rect">
            <a:avLst/>
          </a:prstGeom>
          <a:ln>
            <a:noFill/>
          </a:ln>
        </p:spPr>
      </p:pic>
      <p:pic>
        <p:nvPicPr>
          <p:cNvPr id="13" name="Picture 12">
            <a:extLst>
              <a:ext uri="{FF2B5EF4-FFF2-40B4-BE49-F238E27FC236}">
                <a16:creationId xmlns:a16="http://schemas.microsoft.com/office/drawing/2014/main" id="{FAE772E4-B6EC-828B-70C0-A4B127E276A0}"/>
              </a:ext>
            </a:extLst>
          </p:cNvPr>
          <p:cNvPicPr>
            <a:picLocks noChangeAspect="1"/>
          </p:cNvPicPr>
          <p:nvPr/>
        </p:nvPicPr>
        <p:blipFill>
          <a:blip r:embed="rId7"/>
          <a:stretch>
            <a:fillRect/>
          </a:stretch>
        </p:blipFill>
        <p:spPr>
          <a:xfrm>
            <a:off x="7680176" y="2984872"/>
            <a:ext cx="3033285" cy="3108424"/>
          </a:xfrm>
          <a:prstGeom prst="rect">
            <a:avLst/>
          </a:prstGeom>
          <a:ln>
            <a:noFill/>
          </a:ln>
        </p:spPr>
      </p:pic>
    </p:spTree>
    <p:extLst>
      <p:ext uri="{BB962C8B-B14F-4D97-AF65-F5344CB8AC3E}">
        <p14:creationId xmlns:p14="http://schemas.microsoft.com/office/powerpoint/2010/main" val="2707138169"/>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AD9097-953B-31D1-9358-5F9D22CBF062}"/>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1B47E283-38A2-F422-A3A0-FF762DA72C23}"/>
              </a:ext>
            </a:extLst>
          </p:cNvPr>
          <p:cNvPicPr>
            <a:picLocks noChangeAspect="1"/>
          </p:cNvPicPr>
          <p:nvPr/>
        </p:nvPicPr>
        <p:blipFill>
          <a:blip r:embed="rId2"/>
          <a:stretch>
            <a:fillRect/>
          </a:stretch>
        </p:blipFill>
        <p:spPr>
          <a:xfrm>
            <a:off x="142626" y="833212"/>
            <a:ext cx="3064671" cy="4712709"/>
          </a:xfrm>
          <a:prstGeom prst="rect">
            <a:avLst/>
          </a:prstGeom>
        </p:spPr>
      </p:pic>
      <p:pic>
        <p:nvPicPr>
          <p:cNvPr id="7" name="Picture 6">
            <a:extLst>
              <a:ext uri="{FF2B5EF4-FFF2-40B4-BE49-F238E27FC236}">
                <a16:creationId xmlns:a16="http://schemas.microsoft.com/office/drawing/2014/main" id="{60397201-5840-CED8-9E3F-0A6D71EF5D3C}"/>
              </a:ext>
            </a:extLst>
          </p:cNvPr>
          <p:cNvPicPr>
            <a:picLocks noChangeAspect="1"/>
          </p:cNvPicPr>
          <p:nvPr/>
        </p:nvPicPr>
        <p:blipFill>
          <a:blip r:embed="rId3"/>
          <a:stretch>
            <a:fillRect/>
          </a:stretch>
        </p:blipFill>
        <p:spPr>
          <a:xfrm>
            <a:off x="3207297" y="833212"/>
            <a:ext cx="3120655" cy="4712709"/>
          </a:xfrm>
          <a:prstGeom prst="rect">
            <a:avLst/>
          </a:prstGeom>
        </p:spPr>
      </p:pic>
      <p:grpSp>
        <p:nvGrpSpPr>
          <p:cNvPr id="33" name="Group 32">
            <a:extLst>
              <a:ext uri="{FF2B5EF4-FFF2-40B4-BE49-F238E27FC236}">
                <a16:creationId xmlns:a16="http://schemas.microsoft.com/office/drawing/2014/main" id="{80E00F6E-93AB-D794-B4AF-634CC4226932}"/>
              </a:ext>
            </a:extLst>
          </p:cNvPr>
          <p:cNvGrpSpPr>
            <a:grpSpLocks noChangeAspect="1"/>
          </p:cNvGrpSpPr>
          <p:nvPr/>
        </p:nvGrpSpPr>
        <p:grpSpPr>
          <a:xfrm>
            <a:off x="6678794" y="1077410"/>
            <a:ext cx="5237817" cy="4776385"/>
            <a:chOff x="6435488" y="975764"/>
            <a:chExt cx="5467059" cy="4985432"/>
          </a:xfrm>
        </p:grpSpPr>
        <p:sp>
          <p:nvSpPr>
            <p:cNvPr id="18" name="TextBox 17">
              <a:extLst>
                <a:ext uri="{FF2B5EF4-FFF2-40B4-BE49-F238E27FC236}">
                  <a16:creationId xmlns:a16="http://schemas.microsoft.com/office/drawing/2014/main" id="{802DE323-58BD-F10D-DEB5-91CF75B2293E}"/>
                </a:ext>
              </a:extLst>
            </p:cNvPr>
            <p:cNvSpPr txBox="1"/>
            <p:nvPr/>
          </p:nvSpPr>
          <p:spPr bwMode="black">
            <a:xfrm>
              <a:off x="6489613" y="5745752"/>
              <a:ext cx="5346174" cy="215444"/>
            </a:xfrm>
            <a:prstGeom prst="rect">
              <a:avLst/>
            </a:prstGeom>
          </p:spPr>
          <p:txBody>
            <a:bodyPr vert="horz" wrap="square" lIns="0" tIns="0" rIns="0" bIns="0" rtlCol="0">
              <a:spAutoFit/>
            </a:bodyPr>
            <a:lstStyle/>
            <a:p>
              <a:pPr algn="ctr"/>
              <a:r>
                <a:rPr lang="en-ZA" sz="700" dirty="0">
                  <a:solidFill>
                    <a:srgbClr val="0070C0"/>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https://www.mckinsey.com/industries/engineering-construction-and-building-materials/our-insights/the-future-cement-industry-a-cementitious-golden-age</a:t>
              </a:r>
              <a:r>
                <a:rPr lang="en-ZA" sz="700" dirty="0">
                  <a:solidFill>
                    <a:srgbClr val="0070C0"/>
                  </a:solidFill>
                  <a:latin typeface="Arial" panose="020B0604020202020204" pitchFamily="34" charset="0"/>
                  <a:cs typeface="Arial" panose="020B0604020202020204" pitchFamily="34" charset="0"/>
                </a:rPr>
                <a:t> </a:t>
              </a:r>
            </a:p>
          </p:txBody>
        </p:sp>
        <p:pic>
          <p:nvPicPr>
            <p:cNvPr id="31" name="Picture 30">
              <a:extLst>
                <a:ext uri="{FF2B5EF4-FFF2-40B4-BE49-F238E27FC236}">
                  <a16:creationId xmlns:a16="http://schemas.microsoft.com/office/drawing/2014/main" id="{8C85CCAB-60AA-EB29-4FDA-131784C30416}"/>
                </a:ext>
              </a:extLst>
            </p:cNvPr>
            <p:cNvPicPr>
              <a:picLocks noChangeAspect="1"/>
            </p:cNvPicPr>
            <p:nvPr/>
          </p:nvPicPr>
          <p:blipFill>
            <a:blip r:embed="rId5"/>
            <a:stretch>
              <a:fillRect/>
            </a:stretch>
          </p:blipFill>
          <p:spPr>
            <a:xfrm>
              <a:off x="6435488" y="975764"/>
              <a:ext cx="5467059" cy="4681254"/>
            </a:xfrm>
            <a:prstGeom prst="rect">
              <a:avLst/>
            </a:prstGeom>
          </p:spPr>
        </p:pic>
      </p:grpSp>
      <p:sp>
        <p:nvSpPr>
          <p:cNvPr id="24" name="TextBox 23">
            <a:extLst>
              <a:ext uri="{FF2B5EF4-FFF2-40B4-BE49-F238E27FC236}">
                <a16:creationId xmlns:a16="http://schemas.microsoft.com/office/drawing/2014/main" id="{CB0BCA89-97D5-F41D-EB58-4F1E93C23966}"/>
              </a:ext>
            </a:extLst>
          </p:cNvPr>
          <p:cNvSpPr txBox="1"/>
          <p:nvPr/>
        </p:nvSpPr>
        <p:spPr bwMode="black">
          <a:xfrm>
            <a:off x="437473" y="5638970"/>
            <a:ext cx="5539648" cy="111620"/>
          </a:xfrm>
          <a:prstGeom prst="rect">
            <a:avLst/>
          </a:prstGeom>
        </p:spPr>
        <p:txBody>
          <a:bodyPr vert="horz" wrap="square" lIns="0" tIns="0" rIns="0" bIns="0" rtlCol="0">
            <a:spAutoFit/>
          </a:bodyPr>
          <a:lstStyle/>
          <a:p>
            <a:pPr algn="ctr"/>
            <a:r>
              <a:rPr lang="en-ZA" sz="700" dirty="0">
                <a:solidFill>
                  <a:srgbClr val="0070C0"/>
                </a:solidFill>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https://cembureau.eu/media/1ibpjhpn/eu-cement-industry-trade-statistics-full-year-2023.pdf</a:t>
            </a:r>
            <a:r>
              <a:rPr lang="en-ZA" sz="700" dirty="0">
                <a:solidFill>
                  <a:srgbClr val="0070C0"/>
                </a:solidFill>
                <a:latin typeface="Arial" panose="020B0604020202020204" pitchFamily="34" charset="0"/>
                <a:cs typeface="Arial" panose="020B0604020202020204" pitchFamily="34" charset="0"/>
              </a:rPr>
              <a:t> </a:t>
            </a:r>
          </a:p>
        </p:txBody>
      </p:sp>
      <p:sp>
        <p:nvSpPr>
          <p:cNvPr id="20" name="Titel 3">
            <a:extLst>
              <a:ext uri="{FF2B5EF4-FFF2-40B4-BE49-F238E27FC236}">
                <a16:creationId xmlns:a16="http://schemas.microsoft.com/office/drawing/2014/main" id="{F26CC773-248E-FB4E-7B51-CFF2E4D8A613}"/>
              </a:ext>
            </a:extLst>
          </p:cNvPr>
          <p:cNvSpPr>
            <a:spLocks noGrp="1"/>
          </p:cNvSpPr>
          <p:nvPr>
            <p:ph type="title"/>
          </p:nvPr>
        </p:nvSpPr>
        <p:spPr>
          <a:xfrm>
            <a:off x="289453" y="377999"/>
            <a:ext cx="11613389" cy="702000"/>
          </a:xfrm>
        </p:spPr>
        <p:txBody>
          <a:bodyPr vert="horz"/>
          <a:lstStyle/>
          <a:p>
            <a:r>
              <a:rPr lang="en-US" dirty="0">
                <a:latin typeface="Calibri"/>
              </a:rPr>
              <a:t>EU cement industry trade statistics</a:t>
            </a:r>
            <a:endParaRPr lang="en-US" b="0" dirty="0">
              <a:latin typeface="Calibri"/>
            </a:endParaRPr>
          </a:p>
        </p:txBody>
      </p:sp>
      <p:sp>
        <p:nvSpPr>
          <p:cNvPr id="5" name="Slide Number Placeholder 4">
            <a:extLst>
              <a:ext uri="{FF2B5EF4-FFF2-40B4-BE49-F238E27FC236}">
                <a16:creationId xmlns:a16="http://schemas.microsoft.com/office/drawing/2014/main" id="{48C1D449-122B-F171-C1DF-969DA147D869}"/>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043744-42FE-4892-90BA-7087481EB81E}" type="slidenum">
              <a:rPr kumimoji="0" lang="de-DE" sz="10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de-DE" sz="1000" b="0" i="0" u="none" strike="noStrike" kern="1200" cap="none" spc="0" normalizeH="0" baseline="0" noProof="0" dirty="0">
              <a:ln>
                <a:noFill/>
              </a:ln>
              <a:solidFill>
                <a:srgbClr val="000000"/>
              </a:solidFill>
              <a:effectLst/>
              <a:uLnTx/>
              <a:uFillTx/>
              <a:latin typeface="Calibri"/>
              <a:ea typeface="+mn-ea"/>
              <a:cs typeface="+mn-cs"/>
            </a:endParaRPr>
          </a:p>
        </p:txBody>
      </p:sp>
      <p:sp>
        <p:nvSpPr>
          <p:cNvPr id="3" name="TextBox 2">
            <a:extLst>
              <a:ext uri="{FF2B5EF4-FFF2-40B4-BE49-F238E27FC236}">
                <a16:creationId xmlns:a16="http://schemas.microsoft.com/office/drawing/2014/main" id="{A9215182-0352-910F-457E-7AFDB6D589E2}"/>
              </a:ext>
            </a:extLst>
          </p:cNvPr>
          <p:cNvSpPr txBox="1"/>
          <p:nvPr/>
        </p:nvSpPr>
        <p:spPr bwMode="black">
          <a:xfrm>
            <a:off x="6220750" y="6604084"/>
            <a:ext cx="5579269"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000" b="0" i="1" u="none" strike="noStrike" kern="12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mn-cs"/>
              </a:rPr>
              <a:t>Contains Trade Secrets, Confidential, Proprietary, or Privileged Information Exempt from Public Disclosure</a:t>
            </a:r>
            <a:endParaRPr kumimoji="0" lang="en-ZA" sz="1000" b="0" i="1" u="none" strike="noStrike" kern="1200" cap="none" spc="0" normalizeH="0" baseline="0" noProof="0" dirty="0">
              <a:ln>
                <a:noFill/>
              </a:ln>
              <a:solidFill>
                <a:srgbClr val="000000"/>
              </a:solidFill>
              <a:effectLst/>
              <a:uLnTx/>
              <a:uFillTx/>
              <a:latin typeface="Calibri"/>
              <a:ea typeface="+mn-ea"/>
              <a:cs typeface="+mn-cs"/>
            </a:endParaRPr>
          </a:p>
        </p:txBody>
      </p:sp>
      <p:pic>
        <p:nvPicPr>
          <p:cNvPr id="2" name="Picture 1" descr="A picture containing screenshot, graphics, graphic design, font&#10;&#10;Description automatically generated">
            <a:extLst>
              <a:ext uri="{FF2B5EF4-FFF2-40B4-BE49-F238E27FC236}">
                <a16:creationId xmlns:a16="http://schemas.microsoft.com/office/drawing/2014/main" id="{7D102CA0-2A47-0E37-3D70-6020AEBA7BA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229272" y="5826031"/>
            <a:ext cx="846835" cy="731246"/>
          </a:xfrm>
          <a:prstGeom prst="rect">
            <a:avLst/>
          </a:prstGeom>
        </p:spPr>
      </p:pic>
      <p:pic>
        <p:nvPicPr>
          <p:cNvPr id="6" name="Picture 5" descr="A group of circles with different colors&#10;&#10;AI-generated content may be incorrect.">
            <a:extLst>
              <a:ext uri="{FF2B5EF4-FFF2-40B4-BE49-F238E27FC236}">
                <a16:creationId xmlns:a16="http://schemas.microsoft.com/office/drawing/2014/main" id="{7548633B-C357-BB81-8F74-B862637C1FDE}"/>
              </a:ext>
            </a:extLst>
          </p:cNvPr>
          <p:cNvPicPr>
            <a:picLocks noChangeAspect="1"/>
          </p:cNvPicPr>
          <p:nvPr/>
        </p:nvPicPr>
        <p:blipFill>
          <a:blip r:embed="rId8"/>
          <a:stretch>
            <a:fillRect/>
          </a:stretch>
        </p:blipFill>
        <p:spPr>
          <a:xfrm>
            <a:off x="9479962" y="6257031"/>
            <a:ext cx="1633038" cy="222970"/>
          </a:xfrm>
          <a:prstGeom prst="rect">
            <a:avLst/>
          </a:prstGeom>
        </p:spPr>
      </p:pic>
      <p:sp>
        <p:nvSpPr>
          <p:cNvPr id="8" name="Arrow: Left 7">
            <a:extLst>
              <a:ext uri="{FF2B5EF4-FFF2-40B4-BE49-F238E27FC236}">
                <a16:creationId xmlns:a16="http://schemas.microsoft.com/office/drawing/2014/main" id="{E62B915A-B5D7-7A91-8B98-02711929D1A0}"/>
              </a:ext>
            </a:extLst>
          </p:cNvPr>
          <p:cNvSpPr/>
          <p:nvPr/>
        </p:nvSpPr>
        <p:spPr>
          <a:xfrm rot="8104556">
            <a:off x="2273453" y="1475942"/>
            <a:ext cx="785811" cy="360000"/>
          </a:xfrm>
          <a:prstGeom prst="leftArrow">
            <a:avLst/>
          </a:prstGeom>
          <a:ln/>
        </p:spPr>
        <p:style>
          <a:lnRef idx="0">
            <a:schemeClr val="accent1"/>
          </a:lnRef>
          <a:fillRef idx="3">
            <a:schemeClr val="accent1"/>
          </a:fillRef>
          <a:effectRef idx="3">
            <a:schemeClr val="accent1"/>
          </a:effectRef>
          <a:fontRef idx="minor">
            <a:schemeClr val="lt1"/>
          </a:fontRef>
        </p:style>
        <p:txBody>
          <a:bodyPr lIns="72000" tIns="72000" rIns="72000" bIns="72000" rtlCol="0" anchor="ctr"/>
          <a:lstStyle/>
          <a:p>
            <a:pPr algn="ctr"/>
            <a:endParaRPr lang="en-GB" sz="1600" b="1" spc="50">
              <a:ln w="0"/>
              <a:solidFill>
                <a:schemeClr val="bg2"/>
              </a:solidFill>
              <a:effectLst>
                <a:innerShdw blurRad="63500" dist="50800" dir="13500000">
                  <a:srgbClr val="000000">
                    <a:alpha val="50000"/>
                  </a:srgbClr>
                </a:innerShdw>
              </a:effectLst>
            </a:endParaRPr>
          </a:p>
        </p:txBody>
      </p:sp>
      <p:sp>
        <p:nvSpPr>
          <p:cNvPr id="9" name="Rectangle 8">
            <a:extLst>
              <a:ext uri="{FF2B5EF4-FFF2-40B4-BE49-F238E27FC236}">
                <a16:creationId xmlns:a16="http://schemas.microsoft.com/office/drawing/2014/main" id="{098387A2-F319-12B7-AD79-84B59FF87FBA}"/>
              </a:ext>
            </a:extLst>
          </p:cNvPr>
          <p:cNvSpPr/>
          <p:nvPr/>
        </p:nvSpPr>
        <p:spPr>
          <a:xfrm>
            <a:off x="2249515" y="879103"/>
            <a:ext cx="1369156" cy="461665"/>
          </a:xfrm>
          <a:prstGeom prst="rect">
            <a:avLst/>
          </a:prstGeom>
          <a:noFill/>
        </p:spPr>
        <p:txBody>
          <a:bodyPr wrap="square" lIns="91440" tIns="45720" rIns="91440" bIns="45720">
            <a:spAutoFit/>
          </a:bodyPr>
          <a:lstStyle/>
          <a:p>
            <a:pPr algn="ctr"/>
            <a:r>
              <a:rPr lang="en-US" sz="1200" dirty="0">
                <a:ln w="0"/>
                <a:solidFill>
                  <a:schemeClr val="accent1"/>
                </a:solidFill>
                <a:effectLst>
                  <a:outerShdw blurRad="38100" dist="25400" dir="5400000" algn="ctr" rotWithShape="0">
                    <a:srgbClr val="6E747A">
                      <a:alpha val="43000"/>
                    </a:srgbClr>
                  </a:outerShdw>
                </a:effectLst>
              </a:rPr>
              <a:t>INCREASED IMPORTS</a:t>
            </a:r>
          </a:p>
        </p:txBody>
      </p:sp>
    </p:spTree>
    <p:extLst>
      <p:ext uri="{BB962C8B-B14F-4D97-AF65-F5344CB8AC3E}">
        <p14:creationId xmlns:p14="http://schemas.microsoft.com/office/powerpoint/2010/main" val="150335457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414314-B3D0-9DB0-33C4-B8698F6BE21E}"/>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8465E717-73C5-7957-7025-FBD64CC82D4B}"/>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043744-42FE-4892-90BA-7087481EB81E}" type="slidenum">
              <a:rPr kumimoji="0" lang="de-DE" sz="10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de-DE" sz="1000" b="0" i="0" u="none" strike="noStrike" kern="1200" cap="none" spc="0" normalizeH="0" baseline="0" noProof="0" dirty="0">
              <a:ln>
                <a:noFill/>
              </a:ln>
              <a:solidFill>
                <a:srgbClr val="000000"/>
              </a:solidFill>
              <a:effectLst/>
              <a:uLnTx/>
              <a:uFillTx/>
              <a:latin typeface="Calibri"/>
              <a:ea typeface="+mn-ea"/>
              <a:cs typeface="+mn-cs"/>
            </a:endParaRPr>
          </a:p>
        </p:txBody>
      </p:sp>
      <p:sp>
        <p:nvSpPr>
          <p:cNvPr id="3" name="TextBox 2">
            <a:extLst>
              <a:ext uri="{FF2B5EF4-FFF2-40B4-BE49-F238E27FC236}">
                <a16:creationId xmlns:a16="http://schemas.microsoft.com/office/drawing/2014/main" id="{3203D5D0-B9C6-F7C5-43F5-32127D049092}"/>
              </a:ext>
            </a:extLst>
          </p:cNvPr>
          <p:cNvSpPr txBox="1"/>
          <p:nvPr/>
        </p:nvSpPr>
        <p:spPr bwMode="black">
          <a:xfrm>
            <a:off x="6220750" y="6604084"/>
            <a:ext cx="5579269"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000" b="0" i="1" u="none" strike="noStrike" kern="12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mn-cs"/>
              </a:rPr>
              <a:t>Contains Trade Secrets, Confidential, Proprietary, or Privileged Information Exempt from Public Disclosure</a:t>
            </a:r>
            <a:endParaRPr kumimoji="0" lang="en-ZA" sz="1000" b="0" i="1" u="none" strike="noStrike" kern="1200" cap="none" spc="0" normalizeH="0" baseline="0" noProof="0" dirty="0">
              <a:ln>
                <a:noFill/>
              </a:ln>
              <a:solidFill>
                <a:srgbClr val="000000"/>
              </a:solidFill>
              <a:effectLst/>
              <a:uLnTx/>
              <a:uFillTx/>
              <a:latin typeface="Calibri"/>
              <a:ea typeface="+mn-ea"/>
              <a:cs typeface="+mn-cs"/>
            </a:endParaRPr>
          </a:p>
        </p:txBody>
      </p:sp>
      <p:sp>
        <p:nvSpPr>
          <p:cNvPr id="27" name="Titel 3">
            <a:extLst>
              <a:ext uri="{FF2B5EF4-FFF2-40B4-BE49-F238E27FC236}">
                <a16:creationId xmlns:a16="http://schemas.microsoft.com/office/drawing/2014/main" id="{25A719A7-245A-5377-7326-E364B148EB84}"/>
              </a:ext>
            </a:extLst>
          </p:cNvPr>
          <p:cNvSpPr txBox="1">
            <a:spLocks/>
          </p:cNvSpPr>
          <p:nvPr/>
        </p:nvSpPr>
        <p:spPr bwMode="auto">
          <a:xfrm rot="16200000">
            <a:off x="-2634812" y="3317245"/>
            <a:ext cx="6392606" cy="702000"/>
          </a:xfrm>
          <a:prstGeom prst="rect">
            <a:avLst/>
          </a:prstGeom>
        </p:spPr>
        <p:txBody>
          <a:bodyPr vert="horz" wrap="square" lIns="0" tIns="0" rIns="0" bIns="0" rtlCol="0" anchor="t" anchorCtr="0">
            <a:noAutofit/>
          </a:bodyPr>
          <a:lstStyle>
            <a:lvl1pPr algn="l" defTabSz="685800" rtl="0" eaLnBrk="1" latinLnBrk="0" hangingPunct="1">
              <a:spcBef>
                <a:spcPct val="0"/>
              </a:spcBef>
              <a:buNone/>
              <a:defRPr lang="de-DE" sz="2400" b="1" kern="1200">
                <a:solidFill>
                  <a:schemeClr val="tx1"/>
                </a:solidFill>
                <a:latin typeface="+mj-lt"/>
                <a:ea typeface="+mj-ea"/>
                <a:cs typeface="Arial" panose="020B0604020202020204" pitchFamily="34" charset="0"/>
              </a:defRPr>
            </a:lvl1pPr>
          </a:lstStyle>
          <a:p>
            <a:pPr marL="625475" indent="-625475" algn="r" fontAlgn="auto">
              <a:spcAft>
                <a:spcPts val="0"/>
              </a:spcAft>
            </a:pPr>
            <a:r>
              <a:rPr lang="en-US" dirty="0"/>
              <a:t>Existing steelmaking flowsheet</a:t>
            </a:r>
          </a:p>
        </p:txBody>
      </p:sp>
      <p:pic>
        <p:nvPicPr>
          <p:cNvPr id="2" name="Picture 1" descr="A picture containing screenshot, graphics, graphic design, font&#10;&#10;Description automatically generated">
            <a:extLst>
              <a:ext uri="{FF2B5EF4-FFF2-40B4-BE49-F238E27FC236}">
                <a16:creationId xmlns:a16="http://schemas.microsoft.com/office/drawing/2014/main" id="{1DD6B652-E86A-456E-9366-6B09E409ADE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229272" y="5826031"/>
            <a:ext cx="846835" cy="731246"/>
          </a:xfrm>
          <a:prstGeom prst="rect">
            <a:avLst/>
          </a:prstGeom>
        </p:spPr>
      </p:pic>
      <p:pic>
        <p:nvPicPr>
          <p:cNvPr id="6" name="Picture 5" descr="A group of circles with different colors&#10;&#10;AI-generated content may be incorrect.">
            <a:extLst>
              <a:ext uri="{FF2B5EF4-FFF2-40B4-BE49-F238E27FC236}">
                <a16:creationId xmlns:a16="http://schemas.microsoft.com/office/drawing/2014/main" id="{D1672420-A117-4E2D-4B40-05EDE49FCAF1}"/>
              </a:ext>
            </a:extLst>
          </p:cNvPr>
          <p:cNvPicPr>
            <a:picLocks noChangeAspect="1"/>
          </p:cNvPicPr>
          <p:nvPr/>
        </p:nvPicPr>
        <p:blipFill>
          <a:blip r:embed="rId3"/>
          <a:stretch>
            <a:fillRect/>
          </a:stretch>
        </p:blipFill>
        <p:spPr>
          <a:xfrm>
            <a:off x="9479962" y="6257031"/>
            <a:ext cx="1633038" cy="222970"/>
          </a:xfrm>
          <a:prstGeom prst="rect">
            <a:avLst/>
          </a:prstGeom>
        </p:spPr>
      </p:pic>
      <p:grpSp>
        <p:nvGrpSpPr>
          <p:cNvPr id="17" name="Group 16">
            <a:extLst>
              <a:ext uri="{FF2B5EF4-FFF2-40B4-BE49-F238E27FC236}">
                <a16:creationId xmlns:a16="http://schemas.microsoft.com/office/drawing/2014/main" id="{79EB1CF2-90E0-9716-34A2-2CE2123A9C45}"/>
              </a:ext>
            </a:extLst>
          </p:cNvPr>
          <p:cNvGrpSpPr/>
          <p:nvPr/>
        </p:nvGrpSpPr>
        <p:grpSpPr>
          <a:xfrm>
            <a:off x="1028764" y="42425"/>
            <a:ext cx="10485944" cy="5660052"/>
            <a:chOff x="1028764" y="42425"/>
            <a:chExt cx="10485944" cy="5660052"/>
          </a:xfrm>
        </p:grpSpPr>
        <p:pic>
          <p:nvPicPr>
            <p:cNvPr id="10" name="Picture 9" descr="A diagram of a factory&#10;&#10;AI-generated content may be incorrect.">
              <a:extLst>
                <a:ext uri="{FF2B5EF4-FFF2-40B4-BE49-F238E27FC236}">
                  <a16:creationId xmlns:a16="http://schemas.microsoft.com/office/drawing/2014/main" id="{87976428-E920-2A0C-D0C9-E591FA72D6B6}"/>
                </a:ext>
              </a:extLst>
            </p:cNvPr>
            <p:cNvPicPr>
              <a:picLocks noChangeAspect="1"/>
            </p:cNvPicPr>
            <p:nvPr/>
          </p:nvPicPr>
          <p:blipFill>
            <a:blip r:embed="rId4"/>
            <a:srcRect b="21110"/>
            <a:stretch/>
          </p:blipFill>
          <p:spPr>
            <a:xfrm>
              <a:off x="1028764" y="42425"/>
              <a:ext cx="10485944" cy="5186775"/>
            </a:xfrm>
            <a:prstGeom prst="rect">
              <a:avLst/>
            </a:prstGeom>
          </p:spPr>
        </p:pic>
        <p:pic>
          <p:nvPicPr>
            <p:cNvPr id="12" name="Picture 11">
              <a:extLst>
                <a:ext uri="{FF2B5EF4-FFF2-40B4-BE49-F238E27FC236}">
                  <a16:creationId xmlns:a16="http://schemas.microsoft.com/office/drawing/2014/main" id="{059FACB9-24A6-178F-C066-390FD38557EF}"/>
                </a:ext>
              </a:extLst>
            </p:cNvPr>
            <p:cNvPicPr>
              <a:picLocks noChangeAspect="1"/>
            </p:cNvPicPr>
            <p:nvPr/>
          </p:nvPicPr>
          <p:blipFill>
            <a:blip r:embed="rId5"/>
            <a:stretch>
              <a:fillRect/>
            </a:stretch>
          </p:blipFill>
          <p:spPr>
            <a:xfrm>
              <a:off x="7000744" y="3668244"/>
              <a:ext cx="319392" cy="1776979"/>
            </a:xfrm>
            <a:prstGeom prst="rect">
              <a:avLst/>
            </a:prstGeom>
          </p:spPr>
        </p:pic>
        <p:pic>
          <p:nvPicPr>
            <p:cNvPr id="14" name="Picture 13">
              <a:extLst>
                <a:ext uri="{FF2B5EF4-FFF2-40B4-BE49-F238E27FC236}">
                  <a16:creationId xmlns:a16="http://schemas.microsoft.com/office/drawing/2014/main" id="{5F19BE59-C783-D610-9440-4E0B2040DE8D}"/>
                </a:ext>
              </a:extLst>
            </p:cNvPr>
            <p:cNvPicPr>
              <a:picLocks noChangeAspect="1"/>
            </p:cNvPicPr>
            <p:nvPr/>
          </p:nvPicPr>
          <p:blipFill>
            <a:blip r:embed="rId5"/>
            <a:stretch>
              <a:fillRect/>
            </a:stretch>
          </p:blipFill>
          <p:spPr>
            <a:xfrm>
              <a:off x="6744072" y="4653136"/>
              <a:ext cx="459792" cy="253917"/>
            </a:xfrm>
            <a:prstGeom prst="rect">
              <a:avLst/>
            </a:prstGeom>
          </p:spPr>
        </p:pic>
        <p:pic>
          <p:nvPicPr>
            <p:cNvPr id="16" name="Picture 15">
              <a:extLst>
                <a:ext uri="{FF2B5EF4-FFF2-40B4-BE49-F238E27FC236}">
                  <a16:creationId xmlns:a16="http://schemas.microsoft.com/office/drawing/2014/main" id="{226DDBFE-A6F2-1925-519C-38706396DAE8}"/>
                </a:ext>
              </a:extLst>
            </p:cNvPr>
            <p:cNvPicPr>
              <a:picLocks noChangeAspect="1"/>
            </p:cNvPicPr>
            <p:nvPr/>
          </p:nvPicPr>
          <p:blipFill>
            <a:blip r:embed="rId5"/>
            <a:stretch>
              <a:fillRect/>
            </a:stretch>
          </p:blipFill>
          <p:spPr>
            <a:xfrm>
              <a:off x="4007768" y="5187969"/>
              <a:ext cx="7155468" cy="514508"/>
            </a:xfrm>
            <a:prstGeom prst="rect">
              <a:avLst/>
            </a:prstGeom>
          </p:spPr>
        </p:pic>
      </p:grpSp>
    </p:spTree>
    <p:extLst>
      <p:ext uri="{BB962C8B-B14F-4D97-AF65-F5344CB8AC3E}">
        <p14:creationId xmlns:p14="http://schemas.microsoft.com/office/powerpoint/2010/main" val="342387909"/>
      </p:ext>
    </p:extLst>
  </p:cSld>
  <p:clrMapOvr>
    <a:masterClrMapping/>
  </p:clrMapOvr>
  <mc:AlternateContent xmlns:mc="http://schemas.openxmlformats.org/markup-compatibility/2006">
    <mc:Choice xmlns:p14="http://schemas.microsoft.com/office/powerpoint/2010/main" Requires="p14">
      <p:transition p14:dur="200">
        <p:fade/>
      </p:transition>
    </mc:Choice>
    <mc:Fallback>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CEA66F-E2B4-9B04-56BB-1F7994542439}"/>
            </a:ext>
          </a:extLst>
        </p:cNvPr>
        <p:cNvGrpSpPr/>
        <p:nvPr/>
      </p:nvGrpSpPr>
      <p:grpSpPr>
        <a:xfrm>
          <a:off x="0" y="0"/>
          <a:ext cx="0" cy="0"/>
          <a:chOff x="0" y="0"/>
          <a:chExt cx="0" cy="0"/>
        </a:xfrm>
      </p:grpSpPr>
      <p:pic>
        <p:nvPicPr>
          <p:cNvPr id="4" name="Picture 3" descr="A diagram of a factory&#10;&#10;AI-generated content may be incorrect.">
            <a:extLst>
              <a:ext uri="{FF2B5EF4-FFF2-40B4-BE49-F238E27FC236}">
                <a16:creationId xmlns:a16="http://schemas.microsoft.com/office/drawing/2014/main" id="{B607B2F9-4053-0FE0-1A40-99C97A54C0C3}"/>
              </a:ext>
            </a:extLst>
          </p:cNvPr>
          <p:cNvPicPr>
            <a:picLocks noChangeAspect="1"/>
          </p:cNvPicPr>
          <p:nvPr/>
        </p:nvPicPr>
        <p:blipFill>
          <a:blip r:embed="rId2"/>
          <a:srcRect t="1" b="-332"/>
          <a:stretch/>
        </p:blipFill>
        <p:spPr>
          <a:xfrm>
            <a:off x="1028764" y="42425"/>
            <a:ext cx="10485944" cy="6596499"/>
          </a:xfrm>
          <a:prstGeom prst="rect">
            <a:avLst/>
          </a:prstGeom>
        </p:spPr>
      </p:pic>
      <p:pic>
        <p:nvPicPr>
          <p:cNvPr id="6" name="Picture 5">
            <a:extLst>
              <a:ext uri="{FF2B5EF4-FFF2-40B4-BE49-F238E27FC236}">
                <a16:creationId xmlns:a16="http://schemas.microsoft.com/office/drawing/2014/main" id="{9BF7744C-12C9-0C09-4600-699B0E50AAA0}"/>
              </a:ext>
            </a:extLst>
          </p:cNvPr>
          <p:cNvPicPr>
            <a:picLocks noChangeAspect="1"/>
          </p:cNvPicPr>
          <p:nvPr/>
        </p:nvPicPr>
        <p:blipFill>
          <a:blip r:embed="rId3"/>
          <a:stretch>
            <a:fillRect/>
          </a:stretch>
        </p:blipFill>
        <p:spPr>
          <a:xfrm>
            <a:off x="1443795" y="4838364"/>
            <a:ext cx="1998284" cy="1236052"/>
          </a:xfrm>
          <a:prstGeom prst="rect">
            <a:avLst/>
          </a:prstGeom>
        </p:spPr>
      </p:pic>
      <p:sp>
        <p:nvSpPr>
          <p:cNvPr id="5" name="Slide Number Placeholder 4">
            <a:extLst>
              <a:ext uri="{FF2B5EF4-FFF2-40B4-BE49-F238E27FC236}">
                <a16:creationId xmlns:a16="http://schemas.microsoft.com/office/drawing/2014/main" id="{2989A6AE-D4D5-0FE4-205D-020DD3D2E416}"/>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043744-42FE-4892-90BA-7087481EB81E}" type="slidenum">
              <a:rPr kumimoji="0" lang="de-DE" sz="10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e-DE" sz="1000" b="0" i="0" u="none" strike="noStrike" kern="1200" cap="none" spc="0" normalizeH="0" baseline="0" noProof="0" dirty="0">
              <a:ln>
                <a:noFill/>
              </a:ln>
              <a:solidFill>
                <a:srgbClr val="000000"/>
              </a:solidFill>
              <a:effectLst/>
              <a:uLnTx/>
              <a:uFillTx/>
              <a:latin typeface="Calibri"/>
              <a:ea typeface="+mn-ea"/>
              <a:cs typeface="+mn-cs"/>
            </a:endParaRPr>
          </a:p>
        </p:txBody>
      </p:sp>
      <p:sp>
        <p:nvSpPr>
          <p:cNvPr id="3" name="TextBox 2">
            <a:extLst>
              <a:ext uri="{FF2B5EF4-FFF2-40B4-BE49-F238E27FC236}">
                <a16:creationId xmlns:a16="http://schemas.microsoft.com/office/drawing/2014/main" id="{4F411C52-FA71-6EA0-75B7-B3604F32FF6B}"/>
              </a:ext>
            </a:extLst>
          </p:cNvPr>
          <p:cNvSpPr txBox="1"/>
          <p:nvPr/>
        </p:nvSpPr>
        <p:spPr bwMode="black">
          <a:xfrm>
            <a:off x="6220750" y="6604084"/>
            <a:ext cx="5579269"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000" b="0" i="1" u="none" strike="noStrike" kern="12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mn-cs"/>
              </a:rPr>
              <a:t>Contains Trade Secrets, Confidential, Proprietary, or Privileged Information Exempt from Public Disclosure</a:t>
            </a:r>
            <a:endParaRPr kumimoji="0" lang="en-ZA" sz="1000" b="0" i="1" u="none" strike="noStrike" kern="1200" cap="none" spc="0" normalizeH="0" baseline="0" noProof="0" dirty="0">
              <a:ln>
                <a:noFill/>
              </a:ln>
              <a:solidFill>
                <a:srgbClr val="000000"/>
              </a:solidFill>
              <a:effectLst/>
              <a:uLnTx/>
              <a:uFillTx/>
              <a:latin typeface="Calibri"/>
              <a:ea typeface="+mn-ea"/>
              <a:cs typeface="+mn-cs"/>
            </a:endParaRPr>
          </a:p>
        </p:txBody>
      </p:sp>
      <p:sp>
        <p:nvSpPr>
          <p:cNvPr id="27" name="Titel 3">
            <a:extLst>
              <a:ext uri="{FF2B5EF4-FFF2-40B4-BE49-F238E27FC236}">
                <a16:creationId xmlns:a16="http://schemas.microsoft.com/office/drawing/2014/main" id="{8DE72085-94C7-BC51-A00E-1A0ECB9826AA}"/>
              </a:ext>
            </a:extLst>
          </p:cNvPr>
          <p:cNvSpPr txBox="1">
            <a:spLocks/>
          </p:cNvSpPr>
          <p:nvPr/>
        </p:nvSpPr>
        <p:spPr bwMode="auto">
          <a:xfrm rot="16200000">
            <a:off x="-2634812" y="3317245"/>
            <a:ext cx="6392606" cy="702000"/>
          </a:xfrm>
          <a:prstGeom prst="rect">
            <a:avLst/>
          </a:prstGeom>
        </p:spPr>
        <p:txBody>
          <a:bodyPr vert="horz" wrap="square" lIns="0" tIns="0" rIns="0" bIns="0" rtlCol="0" anchor="t" anchorCtr="0">
            <a:noAutofit/>
          </a:bodyPr>
          <a:lstStyle>
            <a:lvl1pPr algn="l" defTabSz="685800" rtl="0" eaLnBrk="1" latinLnBrk="0" hangingPunct="1">
              <a:spcBef>
                <a:spcPct val="0"/>
              </a:spcBef>
              <a:buNone/>
              <a:defRPr lang="de-DE" sz="2400" b="1" kern="1200">
                <a:solidFill>
                  <a:schemeClr val="tx1"/>
                </a:solidFill>
                <a:latin typeface="+mj-lt"/>
                <a:ea typeface="+mj-ea"/>
                <a:cs typeface="Arial" panose="020B0604020202020204" pitchFamily="34" charset="0"/>
              </a:defRPr>
            </a:lvl1pPr>
          </a:lstStyle>
          <a:p>
            <a:pPr marL="625475" indent="-625475" algn="r" fontAlgn="auto">
              <a:spcAft>
                <a:spcPts val="0"/>
              </a:spcAft>
            </a:pPr>
            <a:r>
              <a:rPr lang="en-US" dirty="0">
                <a:solidFill>
                  <a:srgbClr val="0070C0"/>
                </a:solidFill>
              </a:rPr>
              <a:t>Improved</a:t>
            </a:r>
            <a:r>
              <a:rPr lang="en-US" dirty="0"/>
              <a:t> steelmaking flowsheet</a:t>
            </a:r>
          </a:p>
        </p:txBody>
      </p:sp>
      <p:pic>
        <p:nvPicPr>
          <p:cNvPr id="2" name="Picture 1" descr="A picture containing screenshot, graphics, graphic design, font&#10;&#10;Description automatically generated">
            <a:extLst>
              <a:ext uri="{FF2B5EF4-FFF2-40B4-BE49-F238E27FC236}">
                <a16:creationId xmlns:a16="http://schemas.microsoft.com/office/drawing/2014/main" id="{FA8D135A-26BC-1DED-9495-BA8D92B476F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29272" y="5826031"/>
            <a:ext cx="846835" cy="731246"/>
          </a:xfrm>
          <a:prstGeom prst="rect">
            <a:avLst/>
          </a:prstGeom>
        </p:spPr>
      </p:pic>
      <p:pic>
        <p:nvPicPr>
          <p:cNvPr id="7" name="Picture 6" descr="A group of circles with different colors&#10;&#10;AI-generated content may be incorrect.">
            <a:extLst>
              <a:ext uri="{FF2B5EF4-FFF2-40B4-BE49-F238E27FC236}">
                <a16:creationId xmlns:a16="http://schemas.microsoft.com/office/drawing/2014/main" id="{BE946458-81F6-E00D-C7AF-5E5E81A7C7B9}"/>
              </a:ext>
            </a:extLst>
          </p:cNvPr>
          <p:cNvPicPr>
            <a:picLocks noChangeAspect="1"/>
          </p:cNvPicPr>
          <p:nvPr/>
        </p:nvPicPr>
        <p:blipFill>
          <a:blip r:embed="rId5"/>
          <a:stretch>
            <a:fillRect/>
          </a:stretch>
        </p:blipFill>
        <p:spPr>
          <a:xfrm>
            <a:off x="9479962" y="6257031"/>
            <a:ext cx="1633038" cy="222970"/>
          </a:xfrm>
          <a:prstGeom prst="rect">
            <a:avLst/>
          </a:prstGeom>
        </p:spPr>
      </p:pic>
    </p:spTree>
    <p:extLst>
      <p:ext uri="{BB962C8B-B14F-4D97-AF65-F5344CB8AC3E}">
        <p14:creationId xmlns:p14="http://schemas.microsoft.com/office/powerpoint/2010/main" val="357204715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MS group - Presentation Master - v1.4">
  <a:themeElements>
    <a:clrScheme name="SMS group - Colors - Charcoal">
      <a:dk1>
        <a:srgbClr val="000000"/>
      </a:dk1>
      <a:lt1>
        <a:srgbClr val="FFFFFF"/>
      </a:lt1>
      <a:dk2>
        <a:srgbClr val="FFFFFF"/>
      </a:dk2>
      <a:lt2>
        <a:srgbClr val="000000"/>
      </a:lt2>
      <a:accent1>
        <a:srgbClr val="DF0024"/>
      </a:accent1>
      <a:accent2>
        <a:srgbClr val="0078BF"/>
      </a:accent2>
      <a:accent3>
        <a:srgbClr val="008100"/>
      </a:accent3>
      <a:accent4>
        <a:srgbClr val="818181"/>
      </a:accent4>
      <a:accent5>
        <a:srgbClr val="2E3135"/>
      </a:accent5>
      <a:accent6>
        <a:srgbClr val="FF9628"/>
      </a:accent6>
      <a:hlink>
        <a:srgbClr val="000000"/>
      </a:hlink>
      <a:folHlink>
        <a:srgbClr val="2E3135"/>
      </a:folHlink>
    </a:clrScheme>
    <a:fontScheme name="SMS group GmbH - Calibri">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w="9525">
          <a:solidFill>
            <a:schemeClr val="accent5"/>
          </a:solidFill>
        </a:ln>
      </a:spPr>
      <a:bodyPr lIns="72000" tIns="72000" rIns="72000" bIns="72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FF00FF"/>
          </a:solidFill>
        </a:ln>
      </a:spPr>
      <a:bodyPr/>
      <a:lstStyle/>
      <a:style>
        <a:lnRef idx="1">
          <a:schemeClr val="accent1"/>
        </a:lnRef>
        <a:fillRef idx="0">
          <a:schemeClr val="accent1"/>
        </a:fillRef>
        <a:effectRef idx="0">
          <a:schemeClr val="accent1"/>
        </a:effectRef>
        <a:fontRef idx="minor">
          <a:schemeClr val="tx1"/>
        </a:fontRef>
      </a:style>
    </a:lnDef>
    <a:txDef>
      <a:spPr bwMode="black"/>
      <a:bodyPr vert="horz" wrap="square" lIns="0" tIns="0" rIns="0" bIns="0" rtlCol="0">
        <a:spAutoFit/>
      </a:bodyPr>
      <a:lstStyle>
        <a:defPPr>
          <a:defRPr smtClean="0"/>
        </a:defPPr>
      </a:lstStyle>
    </a:txDef>
  </a:objectDefaults>
  <a:extraClrSchemeLst/>
  <a:extLst>
    <a:ext uri="{05A4C25C-085E-4340-85A3-A5531E510DB2}">
      <thm15:themeFamily xmlns:thm15="http://schemas.microsoft.com/office/thememl/2012/main" name="Metix Presentation Template 20200714 RC" id="{6F5FCCBF-1826-4F2C-ACAE-4DF6733DE13E}" vid="{C63C32A6-4EAC-491F-9809-97056482BAB9}"/>
    </a:ext>
  </a:extLst>
</a:theme>
</file>

<file path=ppt/theme/theme2.xml><?xml version="1.0" encoding="utf-8"?>
<a:theme xmlns:a="http://schemas.openxmlformats.org/drawingml/2006/main" name="1_SMS group - Presentation Master - v1.4">
  <a:themeElements>
    <a:clrScheme name="SMS group - Colors - Charcoal">
      <a:dk1>
        <a:srgbClr val="000000"/>
      </a:dk1>
      <a:lt1>
        <a:srgbClr val="FFFFFF"/>
      </a:lt1>
      <a:dk2>
        <a:srgbClr val="FFFFFF"/>
      </a:dk2>
      <a:lt2>
        <a:srgbClr val="000000"/>
      </a:lt2>
      <a:accent1>
        <a:srgbClr val="DF0024"/>
      </a:accent1>
      <a:accent2>
        <a:srgbClr val="0078BF"/>
      </a:accent2>
      <a:accent3>
        <a:srgbClr val="008100"/>
      </a:accent3>
      <a:accent4>
        <a:srgbClr val="818181"/>
      </a:accent4>
      <a:accent5>
        <a:srgbClr val="2E3135"/>
      </a:accent5>
      <a:accent6>
        <a:srgbClr val="FF9628"/>
      </a:accent6>
      <a:hlink>
        <a:srgbClr val="000000"/>
      </a:hlink>
      <a:folHlink>
        <a:srgbClr val="2E3135"/>
      </a:folHlink>
    </a:clrScheme>
    <a:fontScheme name="SMS group GmbH - Calibri">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w="9525">
          <a:solidFill>
            <a:schemeClr val="accent5"/>
          </a:solidFill>
        </a:ln>
      </a:spPr>
      <a:bodyPr lIns="72000" tIns="72000" rIns="72000" bIns="72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FF00FF"/>
          </a:solidFill>
        </a:ln>
      </a:spPr>
      <a:bodyPr/>
      <a:lstStyle/>
      <a:style>
        <a:lnRef idx="1">
          <a:schemeClr val="accent1"/>
        </a:lnRef>
        <a:fillRef idx="0">
          <a:schemeClr val="accent1"/>
        </a:fillRef>
        <a:effectRef idx="0">
          <a:schemeClr val="accent1"/>
        </a:effectRef>
        <a:fontRef idx="minor">
          <a:schemeClr val="tx1"/>
        </a:fontRef>
      </a:style>
    </a:lnDef>
    <a:txDef>
      <a:spPr bwMode="black"/>
      <a:bodyPr vert="horz" wrap="square" lIns="0" tIns="0" rIns="0" bIns="0" rtlCol="0">
        <a:spAutoFit/>
      </a:bodyPr>
      <a:lstStyle>
        <a:defPPr>
          <a:defRPr smtClean="0"/>
        </a:defPPr>
      </a:lstStyle>
    </a:txDef>
  </a:objectDefaults>
  <a:extraClrSchemeLst/>
  <a:extLst>
    <a:ext uri="{05A4C25C-085E-4340-85A3-A5531E510DB2}">
      <thm15:themeFamily xmlns:thm15="http://schemas.microsoft.com/office/thememl/2012/main" name="Metix Presentation Template 20200714 RC" id="{6F5FCCBF-1826-4F2C-ACAE-4DF6733DE13E}" vid="{C63C32A6-4EAC-491F-9809-97056482BAB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0</TotalTime>
  <Words>1836</Words>
  <Application>Microsoft Office PowerPoint</Application>
  <PresentationFormat>Widescreen</PresentationFormat>
  <Paragraphs>195</Paragraphs>
  <Slides>16</Slides>
  <Notes>1</Notes>
  <HiddenSlides>0</HiddenSlides>
  <MMClips>1</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6</vt:i4>
      </vt:variant>
    </vt:vector>
  </HeadingPairs>
  <TitlesOfParts>
    <vt:vector size="25" baseType="lpstr">
      <vt:lpstr>Aptos</vt:lpstr>
      <vt:lpstr>Arial</vt:lpstr>
      <vt:lpstr>Calibri</vt:lpstr>
      <vt:lpstr>Calibri  </vt:lpstr>
      <vt:lpstr>Times</vt:lpstr>
      <vt:lpstr>Wingdings</vt:lpstr>
      <vt:lpstr>SMS group - Presentation Master - v1.4</vt:lpstr>
      <vt:lpstr>1_SMS group - Presentation Master - v1.4</vt:lpstr>
      <vt:lpstr>think-cell Folie</vt:lpstr>
      <vt:lpstr>Business case for including a pyrometallurgical Slag Valorisation Furnace (SVF)  into a new or existing steelmaking operation</vt:lpstr>
      <vt:lpstr>SMS group: Your full liner project partner for all reduction furnace applications</vt:lpstr>
      <vt:lpstr>Your full liner project partner for all reduction furnace applications within SMS group</vt:lpstr>
      <vt:lpstr>Metix‘ core competence &amp; capabilities</vt:lpstr>
      <vt:lpstr>PowerPoint Presentation</vt:lpstr>
      <vt:lpstr>US cement industry trade statistics </vt:lpstr>
      <vt:lpstr>EU cement industry trade statistics</vt:lpstr>
      <vt:lpstr>PowerPoint Presentation</vt:lpstr>
      <vt:lpstr>PowerPoint Presentation</vt:lpstr>
      <vt:lpstr>SVF: Integrated EAF flowsheet improvement &amp; opportunities </vt:lpstr>
      <vt:lpstr>SVF: Dedicated test work completed</vt:lpstr>
      <vt:lpstr>SVF: Integrated EAF flowsheet improvement &amp; opportunities</vt:lpstr>
      <vt:lpstr>SVF: Integrated EAF flowsheet improvement &amp; opportunities  (based on several case studies) </vt:lpstr>
      <vt:lpstr>SVF: Tailoring a bespoke solution</vt:lpstr>
      <vt:lpstr>SVF: Conclusion</vt:lpstr>
      <vt:lpstr>PowerPoint Presentation</vt:lpstr>
    </vt:vector>
  </TitlesOfParts>
  <Company>PRo Publications International Lt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aper title</dc:title>
  <dc:creator>Lewis McCaffrey</dc:creator>
  <cp:lastModifiedBy>van der Westhuizen, Zak (METIX (Pty) Ltd.)</cp:lastModifiedBy>
  <cp:revision>43</cp:revision>
  <dcterms:created xsi:type="dcterms:W3CDTF">1999-11-01T13:09:47Z</dcterms:created>
  <dcterms:modified xsi:type="dcterms:W3CDTF">2025-09-11T20:55:34Z</dcterms:modified>
</cp:coreProperties>
</file>